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tiff" ContentType="image/tiff"/>
  <Default Extension="vml" ContentType="application/vnd.openxmlformats-officedocument.vmlDrawing"/>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ppt/tags/tag291.xml" ContentType="application/vnd.openxmlformats-officedocument.presentationml.tags+xml"/>
  <Override PartName="/ppt/tags/tag292.xml" ContentType="application/vnd.openxmlformats-officedocument.presentationml.tags+xml"/>
  <Override PartName="/ppt/tags/tag293.xml" ContentType="application/vnd.openxmlformats-officedocument.presentationml.tags+xml"/>
  <Override PartName="/ppt/tags/tag294.xml" ContentType="application/vnd.openxmlformats-officedocument.presentationml.tags+xml"/>
  <Override PartName="/ppt/tags/tag295.xml" ContentType="application/vnd.openxmlformats-officedocument.presentationml.tags+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tags/tag303.xml" ContentType="application/vnd.openxmlformats-officedocument.presentationml.tags+xml"/>
  <Override PartName="/ppt/tags/tag304.xml" ContentType="application/vnd.openxmlformats-officedocument.presentationml.tags+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tags/tag315.xml" ContentType="application/vnd.openxmlformats-officedocument.presentationml.tags+xml"/>
  <Override PartName="/ppt/tags/tag316.xml" ContentType="application/vnd.openxmlformats-officedocument.presentationml.tags+xml"/>
  <Override PartName="/ppt/tags/tag317.xml" ContentType="application/vnd.openxmlformats-officedocument.presentationml.tags+xml"/>
  <Override PartName="/ppt/tags/tag318.xml" ContentType="application/vnd.openxmlformats-officedocument.presentationml.tags+xml"/>
  <Override PartName="/ppt/tags/tag319.xml" ContentType="application/vnd.openxmlformats-officedocument.presentationml.tags+xml"/>
  <Override PartName="/ppt/tags/tag320.xml" ContentType="application/vnd.openxmlformats-officedocument.presentationml.tags+xml"/>
  <Override PartName="/ppt/tags/tag321.xml" ContentType="application/vnd.openxmlformats-officedocument.presentationml.tags+xml"/>
  <Override PartName="/ppt/tags/tag322.xml" ContentType="application/vnd.openxmlformats-officedocument.presentationml.tags+xml"/>
  <Override PartName="/ppt/tags/tag323.xml" ContentType="application/vnd.openxmlformats-officedocument.presentationml.tags+xml"/>
  <Override PartName="/ppt/tags/tag324.xml" ContentType="application/vnd.openxmlformats-officedocument.presentationml.tags+xml"/>
  <Override PartName="/ppt/tags/tag325.xml" ContentType="application/vnd.openxmlformats-officedocument.presentationml.tags+xml"/>
  <Override PartName="/ppt/tags/tag326.xml" ContentType="application/vnd.openxmlformats-officedocument.presentationml.tags+xml"/>
  <Override PartName="/ppt/tags/tag327.xml" ContentType="application/vnd.openxmlformats-officedocument.presentationml.tags+xml"/>
  <Override PartName="/ppt/tags/tag328.xml" ContentType="application/vnd.openxmlformats-officedocument.presentationml.tags+xml"/>
  <Override PartName="/ppt/tags/tag329.xml" ContentType="application/vnd.openxmlformats-officedocument.presentationml.tags+xml"/>
  <Override PartName="/ppt/tags/tag330.xml" ContentType="application/vnd.openxmlformats-officedocument.presentationml.tags+xml"/>
  <Override PartName="/ppt/tags/tag331.xml" ContentType="application/vnd.openxmlformats-officedocument.presentationml.tags+xml"/>
  <Override PartName="/ppt/tags/tag332.xml" ContentType="application/vnd.openxmlformats-officedocument.presentationml.tags+xml"/>
  <Override PartName="/ppt/tags/tag333.xml" ContentType="application/vnd.openxmlformats-officedocument.presentationml.tags+xml"/>
  <Override PartName="/ppt/tags/tag334.xml" ContentType="application/vnd.openxmlformats-officedocument.presentationml.tags+xml"/>
  <Override PartName="/ppt/tags/tag335.xml" ContentType="application/vnd.openxmlformats-officedocument.presentationml.tags+xml"/>
  <Override PartName="/ppt/tags/tag336.xml" ContentType="application/vnd.openxmlformats-officedocument.presentationml.tags+xml"/>
  <Override PartName="/ppt/tags/tag337.xml" ContentType="application/vnd.openxmlformats-officedocument.presentationml.tags+xml"/>
  <Override PartName="/ppt/tags/tag338.xml" ContentType="application/vnd.openxmlformats-officedocument.presentationml.tags+xml"/>
  <Override PartName="/ppt/tags/tag339.xml" ContentType="application/vnd.openxmlformats-officedocument.presentationml.tags+xml"/>
  <Override PartName="/ppt/tags/tag340.xml" ContentType="application/vnd.openxmlformats-officedocument.presentationml.tags+xml"/>
  <Override PartName="/ppt/tags/tag341.xml" ContentType="application/vnd.openxmlformats-officedocument.presentationml.tags+xml"/>
  <Override PartName="/ppt/tags/tag342.xml" ContentType="application/vnd.openxmlformats-officedocument.presentationml.tags+xml"/>
  <Override PartName="/ppt/tags/tag343.xml" ContentType="application/vnd.openxmlformats-officedocument.presentationml.tags+xml"/>
  <Override PartName="/ppt/tags/tag344.xml" ContentType="application/vnd.openxmlformats-officedocument.presentationml.tags+xml"/>
  <Override PartName="/ppt/tags/tag345.xml" ContentType="application/vnd.openxmlformats-officedocument.presentationml.tags+xml"/>
  <Override PartName="/ppt/tags/tag346.xml" ContentType="application/vnd.openxmlformats-officedocument.presentationml.tags+xml"/>
  <Override PartName="/ppt/tags/tag347.xml" ContentType="application/vnd.openxmlformats-officedocument.presentationml.tags+xml"/>
  <Override PartName="/ppt/tags/tag348.xml" ContentType="application/vnd.openxmlformats-officedocument.presentationml.tags+xml"/>
  <Override PartName="/ppt/tags/tag349.xml" ContentType="application/vnd.openxmlformats-officedocument.presentationml.tags+xml"/>
  <Override PartName="/ppt/tags/tag350.xml" ContentType="application/vnd.openxmlformats-officedocument.presentationml.tags+xml"/>
  <Override PartName="/ppt/tags/tag351.xml" ContentType="application/vnd.openxmlformats-officedocument.presentationml.tags+xml"/>
  <Override PartName="/ppt/tags/tag352.xml" ContentType="application/vnd.openxmlformats-officedocument.presentationml.tags+xml"/>
  <Override PartName="/ppt/tags/tag353.xml" ContentType="application/vnd.openxmlformats-officedocument.presentationml.tags+xml"/>
  <Override PartName="/ppt/tags/tag354.xml" ContentType="application/vnd.openxmlformats-officedocument.presentationml.tags+xml"/>
  <Override PartName="/ppt/tags/tag355.xml" ContentType="application/vnd.openxmlformats-officedocument.presentationml.tags+xml"/>
  <Override PartName="/ppt/tags/tag356.xml" ContentType="application/vnd.openxmlformats-officedocument.presentationml.tags+xml"/>
  <Override PartName="/ppt/tags/tag357.xml" ContentType="application/vnd.openxmlformats-officedocument.presentationml.tags+xml"/>
  <Override PartName="/ppt/tags/tag358.xml" ContentType="application/vnd.openxmlformats-officedocument.presentationml.tags+xml"/>
  <Override PartName="/ppt/tags/tag359.xml" ContentType="application/vnd.openxmlformats-officedocument.presentationml.tags+xml"/>
  <Override PartName="/ppt/tags/tag360.xml" ContentType="application/vnd.openxmlformats-officedocument.presentationml.tags+xml"/>
  <Override PartName="/ppt/tags/tag361.xml" ContentType="application/vnd.openxmlformats-officedocument.presentationml.tags+xml"/>
  <Override PartName="/ppt/tags/tag362.xml" ContentType="application/vnd.openxmlformats-officedocument.presentationml.tags+xml"/>
  <Override PartName="/ppt/tags/tag363.xml" ContentType="application/vnd.openxmlformats-officedocument.presentationml.tags+xml"/>
  <Override PartName="/ppt/tags/tag364.xml" ContentType="application/vnd.openxmlformats-officedocument.presentationml.tags+xml"/>
  <Override PartName="/ppt/tags/tag365.xml" ContentType="application/vnd.openxmlformats-officedocument.presentationml.tags+xml"/>
  <Override PartName="/ppt/tags/tag366.xml" ContentType="application/vnd.openxmlformats-officedocument.presentationml.tags+xml"/>
  <Override PartName="/ppt/tags/tag367.xml" ContentType="application/vnd.openxmlformats-officedocument.presentationml.tags+xml"/>
  <Override PartName="/ppt/tags/tag368.xml" ContentType="application/vnd.openxmlformats-officedocument.presentationml.tags+xml"/>
  <Override PartName="/ppt/tags/tag369.xml" ContentType="application/vnd.openxmlformats-officedocument.presentationml.tags+xml"/>
  <Override PartName="/ppt/tags/tag370.xml" ContentType="application/vnd.openxmlformats-officedocument.presentationml.tags+xml"/>
  <Override PartName="/ppt/tags/tag371.xml" ContentType="application/vnd.openxmlformats-officedocument.presentationml.tags+xml"/>
  <Override PartName="/ppt/tags/tag372.xml" ContentType="application/vnd.openxmlformats-officedocument.presentationml.tags+xml"/>
  <Override PartName="/ppt/tags/tag373.xml" ContentType="application/vnd.openxmlformats-officedocument.presentationml.tags+xml"/>
  <Override PartName="/ppt/tags/tag374.xml" ContentType="application/vnd.openxmlformats-officedocument.presentationml.tags+xml"/>
  <Override PartName="/ppt/tags/tag375.xml" ContentType="application/vnd.openxmlformats-officedocument.presentationml.tags+xml"/>
  <Override PartName="/ppt/tags/tag376.xml" ContentType="application/vnd.openxmlformats-officedocument.presentationml.tags+xml"/>
  <Override PartName="/ppt/tags/tag377.xml" ContentType="application/vnd.openxmlformats-officedocument.presentationml.tags+xml"/>
  <Override PartName="/ppt/tags/tag378.xml" ContentType="application/vnd.openxmlformats-officedocument.presentationml.tags+xml"/>
  <Override PartName="/ppt/tags/tag379.xml" ContentType="application/vnd.openxmlformats-officedocument.presentationml.tags+xml"/>
  <Override PartName="/ppt/tags/tag380.xml" ContentType="application/vnd.openxmlformats-officedocument.presentationml.tags+xml"/>
  <Override PartName="/ppt/tags/tag381.xml" ContentType="application/vnd.openxmlformats-officedocument.presentationml.tags+xml"/>
  <Override PartName="/ppt/tags/tag382.xml" ContentType="application/vnd.openxmlformats-officedocument.presentationml.tags+xml"/>
  <Override PartName="/ppt/tags/tag383.xml" ContentType="application/vnd.openxmlformats-officedocument.presentationml.tags+xml"/>
  <Override PartName="/ppt/tags/tag384.xml" ContentType="application/vnd.openxmlformats-officedocument.presentationml.tags+xml"/>
  <Override PartName="/ppt/tags/tag385.xml" ContentType="application/vnd.openxmlformats-officedocument.presentationml.tags+xml"/>
  <Override PartName="/ppt/tags/tag386.xml" ContentType="application/vnd.openxmlformats-officedocument.presentationml.tags+xml"/>
  <Override PartName="/ppt/tags/tag387.xml" ContentType="application/vnd.openxmlformats-officedocument.presentationml.tags+xml"/>
  <Override PartName="/ppt/tags/tag388.xml" ContentType="application/vnd.openxmlformats-officedocument.presentationml.tags+xml"/>
  <Override PartName="/ppt/tags/tag389.xml" ContentType="application/vnd.openxmlformats-officedocument.presentationml.tags+xml"/>
  <Override PartName="/ppt/tags/tag390.xml" ContentType="application/vnd.openxmlformats-officedocument.presentationml.tags+xml"/>
  <Override PartName="/ppt/tags/tag391.xml" ContentType="application/vnd.openxmlformats-officedocument.presentationml.tags+xml"/>
  <Override PartName="/ppt/tags/tag392.xml" ContentType="application/vnd.openxmlformats-officedocument.presentationml.tags+xml"/>
  <Override PartName="/ppt/tags/tag393.xml" ContentType="application/vnd.openxmlformats-officedocument.presentationml.tags+xml"/>
  <Override PartName="/ppt/tags/tag394.xml" ContentType="application/vnd.openxmlformats-officedocument.presentationml.tags+xml"/>
  <Override PartName="/ppt/tags/tag395.xml" ContentType="application/vnd.openxmlformats-officedocument.presentationml.tags+xml"/>
  <Override PartName="/ppt/tags/tag396.xml" ContentType="application/vnd.openxmlformats-officedocument.presentationml.tags+xml"/>
  <Override PartName="/ppt/tags/tag397.xml" ContentType="application/vnd.openxmlformats-officedocument.presentationml.tags+xml"/>
  <Override PartName="/ppt/tags/tag398.xml" ContentType="application/vnd.openxmlformats-officedocument.presentationml.tags+xml"/>
  <Override PartName="/ppt/tags/tag399.xml" ContentType="application/vnd.openxmlformats-officedocument.presentationml.tags+xml"/>
  <Override PartName="/ppt/tags/tag400.xml" ContentType="application/vnd.openxmlformats-officedocument.presentationml.tags+xml"/>
  <Override PartName="/ppt/tags/tag401.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notesSlides/notesSlide5.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notesSlides/notesSlide6.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7.xml" ContentType="application/vnd.openxmlformats-officedocument.presentationml.notesSlid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8.xml" ContentType="application/vnd.openxmlformats-officedocument.presentationml.notesSlide+xml"/>
  <Override PartName="/ppt/charts/chart7.xml" ContentType="application/vnd.openxmlformats-officedocument.drawingml.chart+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9.xml" ContentType="application/vnd.openxmlformats-officedocument.presentationml.notesSlid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charts/chart10.xml" ContentType="application/vnd.openxmlformats-officedocument.drawingml.chart+xml"/>
  <Override PartName="/ppt/notesSlides/notesSlide10.xml" ContentType="application/vnd.openxmlformats-officedocument.presentationml.notesSlide+xml"/>
  <Override PartName="/ppt/charts/chart11.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3.xml" ContentType="application/vnd.openxmlformats-officedocument.themeOverride+xml"/>
  <Override PartName="/ppt/charts/chart12.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4.xml" ContentType="application/vnd.openxmlformats-officedocument.themeOverride+xml"/>
  <Override PartName="/ppt/charts/chart13.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5.xml" ContentType="application/vnd.openxmlformats-officedocument.themeOverride+xml"/>
  <Override PartName="/ppt/charts/chart14.xml" ContentType="application/vnd.openxmlformats-officedocument.drawingml.chart+xml"/>
  <Override PartName="/ppt/charts/style12.xml" ContentType="application/vnd.ms-office.chartstyle+xml"/>
  <Override PartName="/ppt/charts/colors12.xml" ContentType="application/vnd.ms-office.chartcolorstyle+xml"/>
  <Override PartName="/ppt/theme/themeOverride6.xml" ContentType="application/vnd.openxmlformats-officedocument.themeOverr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charts/chart15.xml" ContentType="application/vnd.openxmlformats-officedocument.drawingml.chart+xml"/>
  <Override PartName="/ppt/charts/style13.xml" ContentType="application/vnd.ms-office.chartstyle+xml"/>
  <Override PartName="/ppt/charts/colors13.xml" ContentType="application/vnd.ms-office.chartcolorstyle+xml"/>
  <Override PartName="/ppt/theme/themeOverride7.xml" ContentType="application/vnd.openxmlformats-officedocument.themeOverride+xml"/>
  <Override PartName="/ppt/charts/chart16.xml" ContentType="application/vnd.openxmlformats-officedocument.drawingml.chart+xml"/>
  <Override PartName="/ppt/charts/style14.xml" ContentType="application/vnd.ms-office.chartstyle+xml"/>
  <Override PartName="/ppt/charts/colors14.xml" ContentType="application/vnd.ms-office.chartcolorstyle+xml"/>
  <Override PartName="/ppt/theme/themeOverride8.xml" ContentType="application/vnd.openxmlformats-officedocument.themeOverride+xml"/>
  <Override PartName="/ppt/charts/chart17.xml" ContentType="application/vnd.openxmlformats-officedocument.drawingml.chart+xml"/>
  <Override PartName="/ppt/charts/style15.xml" ContentType="application/vnd.ms-office.chartstyle+xml"/>
  <Override PartName="/ppt/charts/colors15.xml" ContentType="application/vnd.ms-office.chartcolorstyle+xml"/>
  <Override PartName="/ppt/theme/themeOverride9.xml" ContentType="application/vnd.openxmlformats-officedocument.themeOverride+xml"/>
  <Override PartName="/ppt/charts/chart18.xml" ContentType="application/vnd.openxmlformats-officedocument.drawingml.chart+xml"/>
  <Override PartName="/ppt/charts/style16.xml" ContentType="application/vnd.ms-office.chartstyle+xml"/>
  <Override PartName="/ppt/charts/colors16.xml" ContentType="application/vnd.ms-office.chartcolorstyle+xml"/>
  <Override PartName="/ppt/theme/themeOverride10.xml" ContentType="application/vnd.openxmlformats-officedocument.themeOverride+xml"/>
  <Override PartName="/ppt/charts/chart19.xml" ContentType="application/vnd.openxmlformats-officedocument.drawingml.chart+xml"/>
  <Override PartName="/ppt/charts/style17.xml" ContentType="application/vnd.ms-office.chartstyle+xml"/>
  <Override PartName="/ppt/charts/colors17.xml" ContentType="application/vnd.ms-office.chartcolorstyle+xml"/>
  <Override PartName="/ppt/theme/themeOverride11.xml" ContentType="application/vnd.openxmlformats-officedocument.themeOverride+xml"/>
  <Override PartName="/ppt/charts/chart20.xml" ContentType="application/vnd.openxmlformats-officedocument.drawingml.chart+xml"/>
  <Override PartName="/ppt/charts/style18.xml" ContentType="application/vnd.ms-office.chartstyle+xml"/>
  <Override PartName="/ppt/charts/colors18.xml" ContentType="application/vnd.ms-office.chartcolorstyle+xml"/>
  <Override PartName="/ppt/drawings/drawing1.xml" ContentType="application/vnd.openxmlformats-officedocument.drawingml.chartshape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rts/chart21.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15.xml" ContentType="application/vnd.openxmlformats-officedocument.presentationml.notesSlide+xml"/>
  <Override PartName="/ppt/charts/chart22.xml" ContentType="application/vnd.openxmlformats-officedocument.drawingml.chart+xml"/>
  <Override PartName="/ppt/charts/style20.xml" ContentType="application/vnd.ms-office.chartstyle+xml"/>
  <Override PartName="/ppt/charts/colors20.xml" ContentType="application/vnd.ms-office.chartcolorstyle+xml"/>
  <Override PartName="/ppt/theme/themeOverride12.xml" ContentType="application/vnd.openxmlformats-officedocument.themeOverride+xml"/>
  <Override PartName="/ppt/charts/chart23.xml" ContentType="application/vnd.openxmlformats-officedocument.drawingml.chart+xml"/>
  <Override PartName="/ppt/charts/style21.xml" ContentType="application/vnd.ms-office.chartstyle+xml"/>
  <Override PartName="/ppt/charts/colors21.xml" ContentType="application/vnd.ms-office.chartcolorstyle+xml"/>
  <Override PartName="/ppt/theme/themeOverride13.xml" ContentType="application/vnd.openxmlformats-officedocument.themeOverride+xml"/>
  <Override PartName="/ppt/charts/chart24.xml" ContentType="application/vnd.openxmlformats-officedocument.drawingml.chart+xml"/>
  <Override PartName="/ppt/charts/style22.xml" ContentType="application/vnd.ms-office.chartstyle+xml"/>
  <Override PartName="/ppt/charts/colors22.xml" ContentType="application/vnd.ms-office.chartcolorstyle+xml"/>
  <Override PartName="/ppt/theme/themeOverride14.xml" ContentType="application/vnd.openxmlformats-officedocument.themeOverride+xml"/>
  <Override PartName="/ppt/notesSlides/notesSlide16.xml" ContentType="application/vnd.openxmlformats-officedocument.presentationml.notesSlide+xml"/>
  <Override PartName="/ppt/charts/chart25.xml" ContentType="application/vnd.openxmlformats-officedocument.drawingml.chart+xml"/>
  <Override PartName="/ppt/charts/chart26.xml" ContentType="application/vnd.openxmlformats-officedocument.drawingml.chart+xml"/>
  <Override PartName="/ppt/charts/style23.xml" ContentType="application/vnd.ms-office.chartstyle+xml"/>
  <Override PartName="/ppt/charts/colors23.xml" ContentType="application/vnd.ms-office.chartcolorstyle+xml"/>
  <Override PartName="/ppt/notesSlides/notesSlide17.xml" ContentType="application/vnd.openxmlformats-officedocument.presentationml.notesSlide+xml"/>
  <Override PartName="/ppt/charts/chart27.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8.xml" ContentType="application/vnd.openxmlformats-officedocument.drawingml.chart+xml"/>
  <Override PartName="/ppt/notesSlides/notesSlide18.xml" ContentType="application/vnd.openxmlformats-officedocument.presentationml.notesSlide+xml"/>
  <Override PartName="/ppt/charts/chart29.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30.xml" ContentType="application/vnd.openxmlformats-officedocument.drawingml.chart+xml"/>
  <Override PartName="/ppt/charts/style26.xml" ContentType="application/vnd.ms-office.chartstyle+xml"/>
  <Override PartName="/ppt/charts/colors26.xml" ContentType="application/vnd.ms-office.chartcolorstyle+xml"/>
  <Override PartName="/ppt/notesSlides/notesSlide19.xml" ContentType="application/vnd.openxmlformats-officedocument.presentationml.notesSlide+xml"/>
  <Override PartName="/ppt/charts/chart31.xml" ContentType="application/vnd.openxmlformats-officedocument.drawingml.chart+xml"/>
  <Override PartName="/ppt/charts/style27.xml" ContentType="application/vnd.ms-office.chartstyle+xml"/>
  <Override PartName="/ppt/charts/colors27.xml" ContentType="application/vnd.ms-office.chartcolorstyle+xml"/>
  <Override PartName="/ppt/notesSlides/notesSlide20.xml" ContentType="application/vnd.openxmlformats-officedocument.presentationml.notesSlide+xml"/>
  <Override PartName="/ppt/charts/chart32.xml" ContentType="application/vnd.openxmlformats-officedocument.drawingml.chart+xml"/>
  <Override PartName="/ppt/charts/style28.xml" ContentType="application/vnd.ms-office.chartstyle+xml"/>
  <Override PartName="/ppt/charts/colors28.xml" ContentType="application/vnd.ms-office.chartcolorstyle+xml"/>
  <Override PartName="/ppt/notesSlides/notesSlide21.xml" ContentType="application/vnd.openxmlformats-officedocument.presentationml.notesSlide+xml"/>
  <Override PartName="/ppt/charts/chart33.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4.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5.xml" ContentType="application/vnd.openxmlformats-officedocument.drawingml.chart+xml"/>
  <Override PartName="/ppt/charts/style31.xml" ContentType="application/vnd.ms-office.chartstyle+xml"/>
  <Override PartName="/ppt/charts/colors31.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charts/chart36.xml" ContentType="application/vnd.openxmlformats-officedocument.drawingml.chart+xml"/>
  <Override PartName="/ppt/charts/style32.xml" ContentType="application/vnd.ms-office.chartstyle+xml"/>
  <Override PartName="/ppt/charts/colors32.xml" ContentType="application/vnd.ms-office.chartcolorstyle+xml"/>
  <Override PartName="/ppt/notesSlides/notesSlide24.xml" ContentType="application/vnd.openxmlformats-officedocument.presentationml.notesSlide+xml"/>
  <Override PartName="/ppt/charts/chart37.xml" ContentType="application/vnd.openxmlformats-officedocument.drawingml.chart+xml"/>
  <Override PartName="/ppt/charts/style33.xml" ContentType="application/vnd.ms-office.chartstyle+xml"/>
  <Override PartName="/ppt/charts/colors33.xml" ContentType="application/vnd.ms-office.chartcolorstyle+xml"/>
  <Override PartName="/ppt/drawings/drawing2.xml" ContentType="application/vnd.openxmlformats-officedocument.drawingml.chartshapes+xml"/>
  <Override PartName="/ppt/notesSlides/notesSlide25.xml" ContentType="application/vnd.openxmlformats-officedocument.presentationml.notesSlide+xml"/>
  <Override PartName="/ppt/charts/chart38.xml" ContentType="application/vnd.openxmlformats-officedocument.drawingml.chart+xml"/>
  <Override PartName="/ppt/charts/style34.xml" ContentType="application/vnd.ms-office.chartstyle+xml"/>
  <Override PartName="/ppt/charts/colors34.xml" ContentType="application/vnd.ms-office.chartcolorstyle+xml"/>
  <Override PartName="/ppt/theme/themeOverride15.xml" ContentType="application/vnd.openxmlformats-officedocument.themeOverride+xml"/>
  <Override PartName="/ppt/charts/chart39.xml" ContentType="application/vnd.openxmlformats-officedocument.drawingml.chart+xml"/>
  <Override PartName="/ppt/charts/style35.xml" ContentType="application/vnd.ms-office.chartstyle+xml"/>
  <Override PartName="/ppt/charts/colors35.xml" ContentType="application/vnd.ms-office.chartcolorstyle+xml"/>
  <Override PartName="/ppt/theme/themeOverride16.xml" ContentType="application/vnd.openxmlformats-officedocument.themeOverride+xml"/>
  <Override PartName="/ppt/charts/chart40.xml" ContentType="application/vnd.openxmlformats-officedocument.drawingml.chart+xml"/>
  <Override PartName="/ppt/charts/style36.xml" ContentType="application/vnd.ms-office.chartstyle+xml"/>
  <Override PartName="/ppt/charts/colors36.xml" ContentType="application/vnd.ms-office.chartcolorstyle+xml"/>
  <Override PartName="/ppt/theme/themeOverride17.xml" ContentType="application/vnd.openxmlformats-officedocument.themeOverride+xml"/>
  <Override PartName="/ppt/notesSlides/notesSlide26.xml" ContentType="application/vnd.openxmlformats-officedocument.presentationml.notesSlide+xml"/>
  <Override PartName="/ppt/charts/chart41.xml" ContentType="application/vnd.openxmlformats-officedocument.drawingml.chart+xml"/>
  <Override PartName="/ppt/charts/style37.xml" ContentType="application/vnd.ms-office.chartstyle+xml"/>
  <Override PartName="/ppt/charts/colors37.xml" ContentType="application/vnd.ms-office.chartcolorstyle+xml"/>
  <Override PartName="/ppt/theme/themeOverride18.xml" ContentType="application/vnd.openxmlformats-officedocument.themeOverride+xml"/>
  <Override PartName="/ppt/charts/chart42.xml" ContentType="application/vnd.openxmlformats-officedocument.drawingml.chart+xml"/>
  <Override PartName="/ppt/charts/style38.xml" ContentType="application/vnd.ms-office.chartstyle+xml"/>
  <Override PartName="/ppt/charts/colors38.xml" ContentType="application/vnd.ms-office.chartcolorstyle+xml"/>
  <Override PartName="/ppt/theme/themeOverride19.xml" ContentType="application/vnd.openxmlformats-officedocument.themeOverride+xml"/>
  <Override PartName="/ppt/charts/chart43.xml" ContentType="application/vnd.openxmlformats-officedocument.drawingml.chart+xml"/>
  <Override PartName="/ppt/charts/style39.xml" ContentType="application/vnd.ms-office.chartstyle+xml"/>
  <Override PartName="/ppt/charts/colors39.xml" ContentType="application/vnd.ms-office.chartcolorstyle+xml"/>
  <Override PartName="/ppt/theme/themeOverride20.xml" ContentType="application/vnd.openxmlformats-officedocument.themeOverride+xml"/>
  <Override PartName="/ppt/charts/chart44.xml" ContentType="application/vnd.openxmlformats-officedocument.drawingml.chart+xml"/>
  <Override PartName="/ppt/charts/style40.xml" ContentType="application/vnd.ms-office.chartstyle+xml"/>
  <Override PartName="/ppt/charts/colors40.xml" ContentType="application/vnd.ms-office.chartcolorstyle+xml"/>
  <Override PartName="/ppt/theme/themeOverride21.xml" ContentType="application/vnd.openxmlformats-officedocument.themeOverride+xml"/>
  <Override PartName="/ppt/charts/chart45.xml" ContentType="application/vnd.openxmlformats-officedocument.drawingml.chart+xml"/>
  <Override PartName="/ppt/charts/style41.xml" ContentType="application/vnd.ms-office.chartstyle+xml"/>
  <Override PartName="/ppt/charts/colors41.xml" ContentType="application/vnd.ms-office.chartcolorstyle+xml"/>
  <Override PartName="/ppt/theme/themeOverride22.xml" ContentType="application/vnd.openxmlformats-officedocument.themeOverride+xml"/>
  <Override PartName="/ppt/notesSlides/notesSlide27.xml" ContentType="application/vnd.openxmlformats-officedocument.presentationml.notesSlide+xml"/>
  <Override PartName="/ppt/charts/chart46.xml" ContentType="application/vnd.openxmlformats-officedocument.drawingml.chart+xml"/>
  <Override PartName="/ppt/charts/chart47.xml" ContentType="application/vnd.openxmlformats-officedocument.drawingml.chart+xml"/>
  <Override PartName="/ppt/charts/style42.xml" ContentType="application/vnd.ms-office.chartstyle+xml"/>
  <Override PartName="/ppt/charts/colors42.xml" ContentType="application/vnd.ms-office.chartcolorstyle+xml"/>
  <Override PartName="/ppt/charts/chart48.xml" ContentType="application/vnd.openxmlformats-officedocument.drawingml.chart+xml"/>
  <Override PartName="/ppt/charts/style43.xml" ContentType="application/vnd.ms-office.chartstyle+xml"/>
  <Override PartName="/ppt/charts/colors43.xml" ContentType="application/vnd.ms-office.chartcolorstyle+xml"/>
  <Override PartName="/ppt/drawings/drawing3.xml" ContentType="application/vnd.openxmlformats-officedocument.drawingml.chartshapes+xml"/>
  <Override PartName="/ppt/charts/chart49.xml" ContentType="application/vnd.openxmlformats-officedocument.drawingml.chart+xml"/>
  <Override PartName="/ppt/charts/style44.xml" ContentType="application/vnd.ms-office.chartstyle+xml"/>
  <Override PartName="/ppt/charts/colors44.xml" ContentType="application/vnd.ms-office.chartcolorstyle+xml"/>
  <Override PartName="/ppt/drawings/drawing4.xml" ContentType="application/vnd.openxmlformats-officedocument.drawingml.chartshapes+xml"/>
  <Override PartName="/ppt/charts/chart50.xml" ContentType="application/vnd.openxmlformats-officedocument.drawingml.chart+xml"/>
  <Override PartName="/ppt/charts/style45.xml" ContentType="application/vnd.ms-office.chartstyle+xml"/>
  <Override PartName="/ppt/charts/colors45.xml" ContentType="application/vnd.ms-office.chartcolorstyle+xml"/>
  <Override PartName="/ppt/notesSlides/notesSlide28.xml" ContentType="application/vnd.openxmlformats-officedocument.presentationml.notesSlide+xml"/>
  <Override PartName="/ppt/charts/chart51.xml" ContentType="application/vnd.openxmlformats-officedocument.drawingml.chart+xml"/>
  <Override PartName="/ppt/charts/style46.xml" ContentType="application/vnd.ms-office.chartstyle+xml"/>
  <Override PartName="/ppt/charts/colors46.xml" ContentType="application/vnd.ms-office.chartcolorstyle+xml"/>
  <Override PartName="/ppt/notesSlides/notesSlide29.xml" ContentType="application/vnd.openxmlformats-officedocument.presentationml.notesSlide+xml"/>
  <Override PartName="/ppt/charts/chart52.xml" ContentType="application/vnd.openxmlformats-officedocument.drawingml.chart+xml"/>
  <Override PartName="/ppt/charts/style47.xml" ContentType="application/vnd.ms-office.chartstyle+xml"/>
  <Override PartName="/ppt/charts/colors47.xml" ContentType="application/vnd.ms-office.chartcolorstyle+xml"/>
  <Override PartName="/ppt/notesSlides/notesSlide30.xml" ContentType="application/vnd.openxmlformats-officedocument.presentationml.notesSlide+xml"/>
  <Override PartName="/ppt/charts/chart53.xml" ContentType="application/vnd.openxmlformats-officedocument.drawingml.chart+xml"/>
  <Override PartName="/ppt/charts/style48.xml" ContentType="application/vnd.ms-office.chartstyle+xml"/>
  <Override PartName="/ppt/charts/colors48.xml" ContentType="application/vnd.ms-office.chartcolorstyle+xml"/>
  <Override PartName="/ppt/charts/chart54.xml" ContentType="application/vnd.openxmlformats-officedocument.drawingml.chart+xml"/>
  <Override PartName="/ppt/charts/style49.xml" ContentType="application/vnd.ms-office.chartstyle+xml"/>
  <Override PartName="/ppt/charts/colors49.xml" ContentType="application/vnd.ms-office.chartcolorstyl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charts/chart55.xml" ContentType="application/vnd.openxmlformats-officedocument.drawingml.chart+xml"/>
  <Override PartName="/ppt/charts/style50.xml" ContentType="application/vnd.ms-office.chartstyle+xml"/>
  <Override PartName="/ppt/charts/colors50.xml" ContentType="application/vnd.ms-office.chartcolorstyle+xml"/>
  <Override PartName="/ppt/charts/chart56.xml" ContentType="application/vnd.openxmlformats-officedocument.drawingml.chart+xml"/>
  <Override PartName="/ppt/charts/style51.xml" ContentType="application/vnd.ms-office.chartstyle+xml"/>
  <Override PartName="/ppt/charts/colors51.xml" ContentType="application/vnd.ms-office.chartcolorstyle+xml"/>
  <Override PartName="/ppt/notesSlides/notesSlide33.xml" ContentType="application/vnd.openxmlformats-officedocument.presentationml.notesSlide+xml"/>
  <Override PartName="/ppt/charts/chart57.xml" ContentType="application/vnd.openxmlformats-officedocument.drawingml.chart+xml"/>
  <Override PartName="/ppt/charts/style52.xml" ContentType="application/vnd.ms-office.chartstyle+xml"/>
  <Override PartName="/ppt/charts/colors52.xml" ContentType="application/vnd.ms-office.chartcolorstyle+xml"/>
  <Override PartName="/ppt/charts/chart58.xml" ContentType="application/vnd.openxmlformats-officedocument.drawingml.chart+xml"/>
  <Override PartName="/ppt/charts/style53.xml" ContentType="application/vnd.ms-office.chartstyle+xml"/>
  <Override PartName="/ppt/charts/colors53.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 id="2147483777" r:id="rId5"/>
    <p:sldMasterId id="2147483840" r:id="rId6"/>
    <p:sldMasterId id="2147483856" r:id="rId7"/>
  </p:sldMasterIdLst>
  <p:notesMasterIdLst>
    <p:notesMasterId r:id="rId58"/>
  </p:notesMasterIdLst>
  <p:handoutMasterIdLst>
    <p:handoutMasterId r:id="rId59"/>
  </p:handoutMasterIdLst>
  <p:sldIdLst>
    <p:sldId id="358" r:id="rId8"/>
    <p:sldId id="1721" r:id="rId9"/>
    <p:sldId id="1792" r:id="rId10"/>
    <p:sldId id="383" r:id="rId11"/>
    <p:sldId id="1714" r:id="rId12"/>
    <p:sldId id="261" r:id="rId13"/>
    <p:sldId id="1775" r:id="rId14"/>
    <p:sldId id="1776" r:id="rId15"/>
    <p:sldId id="1687" r:id="rId16"/>
    <p:sldId id="1690" r:id="rId17"/>
    <p:sldId id="1746" r:id="rId18"/>
    <p:sldId id="1755" r:id="rId19"/>
    <p:sldId id="1752" r:id="rId20"/>
    <p:sldId id="1754" r:id="rId21"/>
    <p:sldId id="1764" r:id="rId22"/>
    <p:sldId id="1734" r:id="rId23"/>
    <p:sldId id="1749" r:id="rId24"/>
    <p:sldId id="1691" r:id="rId25"/>
    <p:sldId id="1753" r:id="rId26"/>
    <p:sldId id="1761" r:id="rId27"/>
    <p:sldId id="1762" r:id="rId28"/>
    <p:sldId id="1737" r:id="rId29"/>
    <p:sldId id="1704" r:id="rId30"/>
    <p:sldId id="1733" r:id="rId31"/>
    <p:sldId id="1759" r:id="rId32"/>
    <p:sldId id="1695" r:id="rId33"/>
    <p:sldId id="1779" r:id="rId34"/>
    <p:sldId id="1797" r:id="rId35"/>
    <p:sldId id="1798" r:id="rId36"/>
    <p:sldId id="1758" r:id="rId37"/>
    <p:sldId id="1765" r:id="rId38"/>
    <p:sldId id="1781" r:id="rId39"/>
    <p:sldId id="1794" r:id="rId40"/>
    <p:sldId id="1795" r:id="rId41"/>
    <p:sldId id="1767" r:id="rId42"/>
    <p:sldId id="1777" r:id="rId43"/>
    <p:sldId id="1787" r:id="rId44"/>
    <p:sldId id="1807" r:id="rId45"/>
    <p:sldId id="1808" r:id="rId46"/>
    <p:sldId id="1809" r:id="rId47"/>
    <p:sldId id="1799" r:id="rId48"/>
    <p:sldId id="1800" r:id="rId49"/>
    <p:sldId id="1711" r:id="rId50"/>
    <p:sldId id="1568" r:id="rId51"/>
    <p:sldId id="1802" r:id="rId52"/>
    <p:sldId id="1803" r:id="rId53"/>
    <p:sldId id="1806" r:id="rId54"/>
    <p:sldId id="1804" r:id="rId55"/>
    <p:sldId id="1742" r:id="rId56"/>
    <p:sldId id="1805" r:id="rId57"/>
  </p:sldIdLst>
  <p:sldSz cx="12192000" cy="6858000"/>
  <p:notesSz cx="6858000" cy="9144000"/>
  <p:defaultTex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472"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 Wong" initials="TW" lastIdx="36" clrIdx="0">
    <p:extLst>
      <p:ext uri="{19B8F6BF-5375-455C-9EA6-DF929625EA0E}">
        <p15:presenceInfo xmlns:p15="http://schemas.microsoft.com/office/powerpoint/2012/main" userId="7ee3688e7d498933" providerId="Windows Live"/>
      </p:ext>
    </p:extLst>
  </p:cmAuthor>
  <p:cmAuthor id="2" name="John Ruchinskas" initials="JR" lastIdx="57" clrIdx="1">
    <p:extLst>
      <p:ext uri="{19B8F6BF-5375-455C-9EA6-DF929625EA0E}">
        <p15:presenceInfo xmlns:p15="http://schemas.microsoft.com/office/powerpoint/2012/main" userId="8b520dd3a2a299f0"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FF8C00"/>
    <a:srgbClr val="262626"/>
    <a:srgbClr val="3282BE"/>
    <a:srgbClr val="2CB8AE"/>
    <a:srgbClr val="002060"/>
    <a:srgbClr val="ED7D31"/>
    <a:srgbClr val="000000"/>
    <a:srgbClr val="DAA520"/>
    <a:srgbClr val="FF191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995" autoAdjust="0"/>
    <p:restoredTop sz="86760" autoAdjust="0"/>
  </p:normalViewPr>
  <p:slideViewPr>
    <p:cSldViewPr snapToGrid="0">
      <p:cViewPr varScale="1">
        <p:scale>
          <a:sx n="74" d="100"/>
          <a:sy n="74" d="100"/>
        </p:scale>
        <p:origin x="1042" y="53"/>
      </p:cViewPr>
      <p:guideLst>
        <p:guide orient="horz" pos="2472"/>
        <p:guide pos="3840"/>
      </p:guideLst>
    </p:cSldViewPr>
  </p:slideViewPr>
  <p:notesTextViewPr>
    <p:cViewPr>
      <p:scale>
        <a:sx n="3" d="2"/>
        <a:sy n="3" d="2"/>
      </p:scale>
      <p:origin x="0" y="0"/>
    </p:cViewPr>
  </p:notesTextViewPr>
  <p:sorterViewPr>
    <p:cViewPr varScale="1">
      <p:scale>
        <a:sx n="100" d="100"/>
        <a:sy n="100" d="100"/>
      </p:scale>
      <p:origin x="0" y="-14376"/>
    </p:cViewPr>
  </p:sorterViewPr>
  <p:notesViewPr>
    <p:cSldViewPr snapToGrid="0">
      <p:cViewPr varScale="1">
        <p:scale>
          <a:sx n="62" d="100"/>
          <a:sy n="62" d="100"/>
        </p:scale>
        <p:origin x="2299" y="7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slide" Target="slides/slide40.xml"/><Relationship Id="rId50" Type="http://schemas.openxmlformats.org/officeDocument/2006/relationships/slide" Target="slides/slide43.xml"/><Relationship Id="rId55" Type="http://schemas.openxmlformats.org/officeDocument/2006/relationships/slide" Target="slides/slide48.xml"/><Relationship Id="rId63"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9.xml"/><Relationship Id="rId29" Type="http://schemas.openxmlformats.org/officeDocument/2006/relationships/slide" Target="slides/slide22.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slide" Target="slides/slide38.xml"/><Relationship Id="rId53" Type="http://schemas.openxmlformats.org/officeDocument/2006/relationships/slide" Target="slides/slide46.xml"/><Relationship Id="rId58" Type="http://schemas.openxmlformats.org/officeDocument/2006/relationships/notesMaster" Target="notesMasters/notesMaster1.xml"/><Relationship Id="rId5" Type="http://schemas.openxmlformats.org/officeDocument/2006/relationships/slideMaster" Target="slideMasters/slideMaster2.xml"/><Relationship Id="rId61" Type="http://schemas.openxmlformats.org/officeDocument/2006/relationships/presProps" Target="presProps.xml"/><Relationship Id="rId19" Type="http://schemas.openxmlformats.org/officeDocument/2006/relationships/slide" Target="slides/slide1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slide" Target="slides/slide41.xml"/><Relationship Id="rId56" Type="http://schemas.openxmlformats.org/officeDocument/2006/relationships/slide" Target="slides/slide49.xml"/><Relationship Id="rId64" Type="http://schemas.openxmlformats.org/officeDocument/2006/relationships/tableStyles" Target="tableStyles.xml"/><Relationship Id="rId8" Type="http://schemas.openxmlformats.org/officeDocument/2006/relationships/slide" Target="slides/slide1.xml"/><Relationship Id="rId51" Type="http://schemas.openxmlformats.org/officeDocument/2006/relationships/slide" Target="slides/slide44.xml"/><Relationship Id="rId3" Type="http://schemas.openxmlformats.org/officeDocument/2006/relationships/customXml" Target="../customXml/item3.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slide" Target="slides/slide39.xml"/><Relationship Id="rId59" Type="http://schemas.openxmlformats.org/officeDocument/2006/relationships/handoutMaster" Target="handoutMasters/handoutMaster1.xml"/><Relationship Id="rId20" Type="http://schemas.openxmlformats.org/officeDocument/2006/relationships/slide" Target="slides/slide13.xml"/><Relationship Id="rId41" Type="http://schemas.openxmlformats.org/officeDocument/2006/relationships/slide" Target="slides/slide34.xml"/><Relationship Id="rId54" Type="http://schemas.openxmlformats.org/officeDocument/2006/relationships/slide" Target="slides/slide47.xml"/><Relationship Id="rId62"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slide" Target="slides/slide42.xml"/><Relationship Id="rId57" Type="http://schemas.openxmlformats.org/officeDocument/2006/relationships/slide" Target="slides/slide50.xml"/><Relationship Id="rId10" Type="http://schemas.openxmlformats.org/officeDocument/2006/relationships/slide" Target="slides/slide3.xml"/><Relationship Id="rId31" Type="http://schemas.openxmlformats.org/officeDocument/2006/relationships/slide" Target="slides/slide24.xml"/><Relationship Id="rId44" Type="http://schemas.openxmlformats.org/officeDocument/2006/relationships/slide" Target="slides/slide37.xml"/><Relationship Id="rId52" Type="http://schemas.openxmlformats.org/officeDocument/2006/relationships/slide" Target="slides/slide45.xml"/><Relationship Id="rId60"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9.xml"/><Relationship Id="rId1" Type="http://schemas.microsoft.com/office/2011/relationships/chartStyle" Target="style9.xml"/><Relationship Id="rId4"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10.xml"/><Relationship Id="rId1" Type="http://schemas.microsoft.com/office/2011/relationships/chartStyle" Target="style10.xml"/><Relationship Id="rId4" Type="http://schemas.openxmlformats.org/officeDocument/2006/relationships/package" Target="../embeddings/Microsoft_Excel_Worksheet11.xlsx"/></Relationships>
</file>

<file path=ppt/charts/_rels/chart13.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package" Target="../embeddings/Microsoft_Excel_Worksheet12.xlsx"/></Relationships>
</file>

<file path=ppt/charts/_rels/chart14.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12.xml"/><Relationship Id="rId1" Type="http://schemas.microsoft.com/office/2011/relationships/chartStyle" Target="style12.xml"/><Relationship Id="rId4" Type="http://schemas.openxmlformats.org/officeDocument/2006/relationships/package" Target="../embeddings/Microsoft_Excel_Worksheet13.xlsx"/></Relationships>
</file>

<file path=ppt/charts/_rels/chart15.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13.xml"/><Relationship Id="rId1" Type="http://schemas.microsoft.com/office/2011/relationships/chartStyle" Target="style13.xml"/><Relationship Id="rId4" Type="http://schemas.openxmlformats.org/officeDocument/2006/relationships/package" Target="../embeddings/Microsoft_Excel_Worksheet14.xlsx"/></Relationships>
</file>

<file path=ppt/charts/_rels/chart16.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14.xml"/><Relationship Id="rId1" Type="http://schemas.microsoft.com/office/2011/relationships/chartStyle" Target="style14.xml"/><Relationship Id="rId4"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15.xml"/><Relationship Id="rId1" Type="http://schemas.microsoft.com/office/2011/relationships/chartStyle" Target="style15.xml"/><Relationship Id="rId4" Type="http://schemas.openxmlformats.org/officeDocument/2006/relationships/package" Target="../embeddings/Microsoft_Excel_Worksheet16.xlsx"/></Relationships>
</file>

<file path=ppt/charts/_rels/chart18.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6.xml"/><Relationship Id="rId1" Type="http://schemas.microsoft.com/office/2011/relationships/chartStyle" Target="style16.xml"/><Relationship Id="rId4" Type="http://schemas.openxmlformats.org/officeDocument/2006/relationships/package" Target="../embeddings/Microsoft_Excel_Worksheet17.xlsx"/></Relationships>
</file>

<file path=ppt/charts/_rels/chart19.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7.xml"/><Relationship Id="rId1" Type="http://schemas.microsoft.com/office/2011/relationships/chartStyle" Target="style17.xml"/><Relationship Id="rId4" Type="http://schemas.openxmlformats.org/officeDocument/2006/relationships/package" Target="../embeddings/Microsoft_Excel_Worksheet18.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package" Target="../embeddings/Microsoft_Excel_Worksheet1.xlsx"/></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18.xml"/><Relationship Id="rId1" Type="http://schemas.microsoft.com/office/2011/relationships/chartStyle" Target="style18.xml"/><Relationship Id="rId4" Type="http://schemas.openxmlformats.org/officeDocument/2006/relationships/chartUserShapes" Target="../drawings/drawing1.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19.xml"/><Relationship Id="rId1" Type="http://schemas.microsoft.com/office/2011/relationships/chartStyle" Target="style19.xml"/></Relationships>
</file>

<file path=ppt/charts/_rels/chart22.xml.rels><?xml version="1.0" encoding="UTF-8" standalone="yes"?>
<Relationships xmlns="http://schemas.openxmlformats.org/package/2006/relationships"><Relationship Id="rId3" Type="http://schemas.openxmlformats.org/officeDocument/2006/relationships/themeOverride" Target="../theme/themeOverride12.xml"/><Relationship Id="rId2" Type="http://schemas.microsoft.com/office/2011/relationships/chartColorStyle" Target="colors20.xml"/><Relationship Id="rId1" Type="http://schemas.microsoft.com/office/2011/relationships/chartStyle" Target="style20.xml"/><Relationship Id="rId4" Type="http://schemas.openxmlformats.org/officeDocument/2006/relationships/package" Target="../embeddings/Microsoft_Excel_Worksheet21.xlsx"/></Relationships>
</file>

<file path=ppt/charts/_rels/chart23.xml.rels><?xml version="1.0" encoding="UTF-8" standalone="yes"?>
<Relationships xmlns="http://schemas.openxmlformats.org/package/2006/relationships"><Relationship Id="rId3" Type="http://schemas.openxmlformats.org/officeDocument/2006/relationships/themeOverride" Target="../theme/themeOverride13.xml"/><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package" Target="../embeddings/Microsoft_Excel_Worksheet22.xlsx"/></Relationships>
</file>

<file path=ppt/charts/_rels/chart24.xml.rels><?xml version="1.0" encoding="UTF-8" standalone="yes"?>
<Relationships xmlns="http://schemas.openxmlformats.org/package/2006/relationships"><Relationship Id="rId3" Type="http://schemas.openxmlformats.org/officeDocument/2006/relationships/themeOverride" Target="../theme/themeOverride14.xml"/><Relationship Id="rId2" Type="http://schemas.microsoft.com/office/2011/relationships/chartColorStyle" Target="colors22.xml"/><Relationship Id="rId1" Type="http://schemas.microsoft.com/office/2011/relationships/chartStyle" Target="style22.xml"/><Relationship Id="rId4" Type="http://schemas.openxmlformats.org/officeDocument/2006/relationships/package" Target="../embeddings/Microsoft_Excel_Worksheet23.xlsx"/></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3.xml"/><Relationship Id="rId1" Type="http://schemas.microsoft.com/office/2011/relationships/chartStyle" Target="style23.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4.xml"/><Relationship Id="rId1" Type="http://schemas.microsoft.com/office/2011/relationships/chartStyle" Target="style2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5.xml"/><Relationship Id="rId1" Type="http://schemas.microsoft.com/office/2011/relationships/chartStyle" Target="style25.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26.xml"/><Relationship Id="rId1" Type="http://schemas.microsoft.com/office/2011/relationships/chartStyle" Target="style26.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27.xml"/><Relationship Id="rId1" Type="http://schemas.microsoft.com/office/2011/relationships/chartStyle" Target="style27.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28.xml"/><Relationship Id="rId1" Type="http://schemas.microsoft.com/office/2011/relationships/chartStyle" Target="style28.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29.xml"/><Relationship Id="rId1" Type="http://schemas.microsoft.com/office/2011/relationships/chartStyle" Target="style29.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0.xml"/><Relationship Id="rId1" Type="http://schemas.microsoft.com/office/2011/relationships/chartStyle" Target="style30.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1.xml"/><Relationship Id="rId1" Type="http://schemas.microsoft.com/office/2011/relationships/chartStyle" Target="style31.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2.xml"/><Relationship Id="rId1" Type="http://schemas.microsoft.com/office/2011/relationships/chartStyle" Target="style32.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3.xml"/><Relationship Id="rId1" Type="http://schemas.microsoft.com/office/2011/relationships/chartStyle" Target="style33.xml"/><Relationship Id="rId4" Type="http://schemas.openxmlformats.org/officeDocument/2006/relationships/chartUserShapes" Target="../drawings/drawing2.xml"/></Relationships>
</file>

<file path=ppt/charts/_rels/chart38.xml.rels><?xml version="1.0" encoding="UTF-8" standalone="yes"?>
<Relationships xmlns="http://schemas.openxmlformats.org/package/2006/relationships"><Relationship Id="rId3" Type="http://schemas.openxmlformats.org/officeDocument/2006/relationships/themeOverride" Target="../theme/themeOverride15.xml"/><Relationship Id="rId2" Type="http://schemas.microsoft.com/office/2011/relationships/chartColorStyle" Target="colors34.xml"/><Relationship Id="rId1" Type="http://schemas.microsoft.com/office/2011/relationships/chartStyle" Target="style34.xml"/><Relationship Id="rId4" Type="http://schemas.openxmlformats.org/officeDocument/2006/relationships/package" Target="../embeddings/Microsoft_Excel_Worksheet37.xlsx"/></Relationships>
</file>

<file path=ppt/charts/_rels/chart39.xml.rels><?xml version="1.0" encoding="UTF-8" standalone="yes"?>
<Relationships xmlns="http://schemas.openxmlformats.org/package/2006/relationships"><Relationship Id="rId3" Type="http://schemas.openxmlformats.org/officeDocument/2006/relationships/themeOverride" Target="../theme/themeOverride16.xml"/><Relationship Id="rId2" Type="http://schemas.microsoft.com/office/2011/relationships/chartColorStyle" Target="colors35.xml"/><Relationship Id="rId1" Type="http://schemas.microsoft.com/office/2011/relationships/chartStyle" Target="style35.xml"/><Relationship Id="rId4" Type="http://schemas.openxmlformats.org/officeDocument/2006/relationships/package" Target="../embeddings/Microsoft_Excel_Worksheet38.xlsx"/></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themeOverride" Target="../theme/themeOverride17.xml"/><Relationship Id="rId2" Type="http://schemas.microsoft.com/office/2011/relationships/chartColorStyle" Target="colors36.xml"/><Relationship Id="rId1" Type="http://schemas.microsoft.com/office/2011/relationships/chartStyle" Target="style36.xml"/><Relationship Id="rId4"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3" Type="http://schemas.openxmlformats.org/officeDocument/2006/relationships/themeOverride" Target="../theme/themeOverride18.xml"/><Relationship Id="rId2" Type="http://schemas.microsoft.com/office/2011/relationships/chartColorStyle" Target="colors37.xml"/><Relationship Id="rId1" Type="http://schemas.microsoft.com/office/2011/relationships/chartStyle" Target="style37.xml"/><Relationship Id="rId4"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3" Type="http://schemas.openxmlformats.org/officeDocument/2006/relationships/themeOverride" Target="../theme/themeOverride19.xml"/><Relationship Id="rId2" Type="http://schemas.microsoft.com/office/2011/relationships/chartColorStyle" Target="colors38.xml"/><Relationship Id="rId1" Type="http://schemas.microsoft.com/office/2011/relationships/chartStyle" Target="style38.xml"/><Relationship Id="rId4"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3" Type="http://schemas.openxmlformats.org/officeDocument/2006/relationships/themeOverride" Target="../theme/themeOverride20.xml"/><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package" Target="../embeddings/Microsoft_Excel_Worksheet42.xlsx"/></Relationships>
</file>

<file path=ppt/charts/_rels/chart44.xml.rels><?xml version="1.0" encoding="UTF-8" standalone="yes"?>
<Relationships xmlns="http://schemas.openxmlformats.org/package/2006/relationships"><Relationship Id="rId3" Type="http://schemas.openxmlformats.org/officeDocument/2006/relationships/themeOverride" Target="../theme/themeOverride21.xml"/><Relationship Id="rId2" Type="http://schemas.microsoft.com/office/2011/relationships/chartColorStyle" Target="colors40.xml"/><Relationship Id="rId1" Type="http://schemas.microsoft.com/office/2011/relationships/chartStyle" Target="style40.xml"/><Relationship Id="rId4" Type="http://schemas.openxmlformats.org/officeDocument/2006/relationships/package" Target="../embeddings/Microsoft_Excel_Worksheet43.xlsx"/></Relationships>
</file>

<file path=ppt/charts/_rels/chart45.xml.rels><?xml version="1.0" encoding="UTF-8" standalone="yes"?>
<Relationships xmlns="http://schemas.openxmlformats.org/package/2006/relationships"><Relationship Id="rId3" Type="http://schemas.openxmlformats.org/officeDocument/2006/relationships/themeOverride" Target="../theme/themeOverride22.xml"/><Relationship Id="rId2" Type="http://schemas.microsoft.com/office/2011/relationships/chartColorStyle" Target="colors41.xml"/><Relationship Id="rId1" Type="http://schemas.microsoft.com/office/2011/relationships/chartStyle" Target="style41.xml"/><Relationship Id="rId4"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1" Type="http://schemas.openxmlformats.org/officeDocument/2006/relationships/package" Target="../embeddings/Microsoft_Excel_Worksheet45.xlsx"/></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2.xml"/><Relationship Id="rId1" Type="http://schemas.microsoft.com/office/2011/relationships/chartStyle" Target="style42.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3.xml"/><Relationship Id="rId1" Type="http://schemas.microsoft.com/office/2011/relationships/chartStyle" Target="style43.xml"/><Relationship Id="rId4" Type="http://schemas.openxmlformats.org/officeDocument/2006/relationships/chartUserShapes" Target="../drawings/drawing3.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4.xml"/><Relationship Id="rId1" Type="http://schemas.microsoft.com/office/2011/relationships/chartStyle" Target="style44.xml"/><Relationship Id="rId4" Type="http://schemas.openxmlformats.org/officeDocument/2006/relationships/chartUserShapes" Target="../drawings/drawing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45.xml"/><Relationship Id="rId1" Type="http://schemas.microsoft.com/office/2011/relationships/chartStyle" Target="style45.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46.xml"/><Relationship Id="rId1" Type="http://schemas.microsoft.com/office/2011/relationships/chartStyle" Target="style46.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47.xml"/><Relationship Id="rId1" Type="http://schemas.microsoft.com/office/2011/relationships/chartStyle" Target="style47.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48.xml"/><Relationship Id="rId1" Type="http://schemas.microsoft.com/office/2011/relationships/chartStyle" Target="style48.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49.xml"/><Relationship Id="rId1" Type="http://schemas.microsoft.com/office/2011/relationships/chartStyle" Target="style49.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0.xml"/><Relationship Id="rId1" Type="http://schemas.microsoft.com/office/2011/relationships/chartStyle" Target="style50.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1.xml"/><Relationship Id="rId1" Type="http://schemas.microsoft.com/office/2011/relationships/chartStyle" Target="style51.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2.xml"/><Relationship Id="rId1" Type="http://schemas.microsoft.com/office/2011/relationships/chartStyle" Target="style52.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3.xml"/><Relationship Id="rId1" Type="http://schemas.microsoft.com/office/2011/relationships/chartStyle" Target="style53.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8.xml"/><Relationship Id="rId1" Type="http://schemas.microsoft.com/office/2011/relationships/chartStyle" Target="style8.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Global DCI</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4375000000000003E-2"/>
          <c:y val="0"/>
          <c:w val="0.96562499999999996"/>
          <c:h val="0.93939073065255685"/>
        </c:manualLayout>
      </c:layout>
      <c:barChart>
        <c:barDir val="col"/>
        <c:grouping val="clustered"/>
        <c:varyColors val="0"/>
        <c:ser>
          <c:idx val="1"/>
          <c:order val="0"/>
          <c:tx>
            <c:strRef>
              <c:f>Sheet1!$B$1</c:f>
              <c:strCache>
                <c:ptCount val="1"/>
                <c:pt idx="0">
                  <c:v>DCI</c:v>
                </c:pt>
              </c:strCache>
            </c:strRef>
          </c:tx>
          <c:spPr>
            <a:solidFill>
              <a:schemeClr val="accent2"/>
            </a:solidFill>
            <a:ln>
              <a:noFill/>
            </a:ln>
            <a:effectLst/>
          </c:spPr>
          <c:invertIfNegative val="0"/>
          <c:dPt>
            <c:idx val="0"/>
            <c:invertIfNegative val="0"/>
            <c:bubble3D val="0"/>
            <c:spPr>
              <a:solidFill>
                <a:srgbClr val="3282BE"/>
              </a:solidFill>
              <a:ln>
                <a:noFill/>
              </a:ln>
              <a:effectLst/>
            </c:spPr>
            <c:extLst>
              <c:ext xmlns:c16="http://schemas.microsoft.com/office/drawing/2014/chart" uri="{C3380CC4-5D6E-409C-BE32-E72D297353CC}">
                <c16:uniqueId val="{00000001-0865-4F03-85AD-0F83E0F3E289}"/>
              </c:ext>
            </c:extLst>
          </c:dPt>
          <c:dPt>
            <c:idx val="1"/>
            <c:invertIfNegative val="0"/>
            <c:bubble3D val="0"/>
            <c:spPr>
              <a:solidFill>
                <a:srgbClr val="2860BE"/>
              </a:solidFill>
              <a:ln>
                <a:noFill/>
              </a:ln>
              <a:effectLst/>
            </c:spPr>
            <c:extLst>
              <c:ext xmlns:c16="http://schemas.microsoft.com/office/drawing/2014/chart" uri="{C3380CC4-5D6E-409C-BE32-E72D297353CC}">
                <c16:uniqueId val="{00000003-0865-4F03-85AD-0F83E0F3E289}"/>
              </c:ext>
            </c:extLst>
          </c:dPt>
          <c:dPt>
            <c:idx val="2"/>
            <c:invertIfNegative val="0"/>
            <c:bubble3D val="0"/>
            <c:spPr>
              <a:solidFill>
                <a:srgbClr val="2C608C"/>
              </a:solidFill>
              <a:ln>
                <a:noFill/>
              </a:ln>
              <a:effectLst/>
            </c:spPr>
            <c:extLst>
              <c:ext xmlns:c16="http://schemas.microsoft.com/office/drawing/2014/chart" uri="{C3380CC4-5D6E-409C-BE32-E72D297353CC}">
                <c16:uniqueId val="{00000005-0865-4F03-85AD-0F83E0F3E289}"/>
              </c:ext>
            </c:extLst>
          </c:dPt>
          <c:dPt>
            <c:idx val="3"/>
            <c:invertIfNegative val="0"/>
            <c:bubble3D val="0"/>
            <c:spPr>
              <a:solidFill>
                <a:srgbClr val="ED7D31"/>
              </a:solidFill>
              <a:ln>
                <a:noFill/>
              </a:ln>
              <a:effectLst/>
            </c:spPr>
            <c:extLst>
              <c:ext xmlns:c16="http://schemas.microsoft.com/office/drawing/2014/chart" uri="{C3380CC4-5D6E-409C-BE32-E72D297353CC}">
                <c16:uniqueId val="{00000007-0865-4F03-85AD-0F83E0F3E28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5</c:f>
              <c:numCache>
                <c:formatCode>0%</c:formatCode>
                <c:ptCount val="4"/>
                <c:pt idx="0">
                  <c:v>0.65</c:v>
                </c:pt>
                <c:pt idx="1">
                  <c:v>0.68</c:v>
                </c:pt>
                <c:pt idx="2">
                  <c:v>0.66</c:v>
                </c:pt>
                <c:pt idx="3">
                  <c:v>0.7</c:v>
                </c:pt>
              </c:numCache>
            </c:numRef>
          </c:val>
          <c:extLst>
            <c:ext xmlns:c16="http://schemas.microsoft.com/office/drawing/2014/chart" uri="{C3380CC4-5D6E-409C-BE32-E72D297353CC}">
              <c16:uniqueId val="{00000008-0865-4F03-85AD-0F83E0F3E289}"/>
            </c:ext>
          </c:extLst>
        </c:ser>
        <c:dLbls>
          <c:dLblPos val="outEnd"/>
          <c:showLegendKey val="0"/>
          <c:showVal val="1"/>
          <c:showCatName val="0"/>
          <c:showSerName val="0"/>
          <c:showPercent val="0"/>
          <c:showBubbleSize val="0"/>
        </c:dLbls>
        <c:gapWidth val="54"/>
        <c:axId val="790216912"/>
        <c:axId val="790218552"/>
      </c:barChart>
      <c:catAx>
        <c:axId val="790216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218552"/>
        <c:crosses val="autoZero"/>
        <c:auto val="1"/>
        <c:lblAlgn val="ctr"/>
        <c:lblOffset val="100"/>
        <c:noMultiLvlLbl val="0"/>
      </c:catAx>
      <c:valAx>
        <c:axId val="79021855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90216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76A4-4D63-B099-17211149C5EF}"/>
              </c:ext>
            </c:extLst>
          </c:dPt>
          <c:dPt>
            <c:idx val="1"/>
            <c:bubble3D val="0"/>
            <c:spPr>
              <a:solidFill>
                <a:schemeClr val="bg1"/>
              </a:solidFill>
            </c:spPr>
            <c:extLst>
              <c:ext xmlns:c16="http://schemas.microsoft.com/office/drawing/2014/chart" uri="{C3380CC4-5D6E-409C-BE32-E72D297353CC}">
                <c16:uniqueId val="{00000003-76A4-4D63-B099-17211149C5EF}"/>
              </c:ext>
            </c:extLst>
          </c:dPt>
          <c:cat>
            <c:strRef>
              <c:f>Sheet1!$A$2:$A$3</c:f>
              <c:strCache>
                <c:ptCount val="2"/>
                <c:pt idx="0">
                  <c:v>1st Qtr</c:v>
                </c:pt>
                <c:pt idx="1">
                  <c:v>2nd Qtr</c:v>
                </c:pt>
              </c:strCache>
            </c:strRef>
          </c:cat>
          <c:val>
            <c:numRef>
              <c:f>Sheet1!$B$2:$B$3</c:f>
              <c:numCache>
                <c:formatCode>General</c:formatCode>
                <c:ptCount val="2"/>
                <c:pt idx="0">
                  <c:v>75</c:v>
                </c:pt>
                <c:pt idx="1">
                  <c:v>25</c:v>
                </c:pt>
              </c:numCache>
            </c:numRef>
          </c:val>
          <c:extLst>
            <c:ext xmlns:c16="http://schemas.microsoft.com/office/drawing/2014/chart" uri="{C3380CC4-5D6E-409C-BE32-E72D297353CC}">
              <c16:uniqueId val="{00000004-76A4-4D63-B099-17211149C5E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latin typeface="Arial" panose="020B0604020202020204" pitchFamily="34" charset="0"/>
                <a:cs typeface="Arial" panose="020B0604020202020204" pitchFamily="34" charset="0"/>
              </a:rPr>
              <a:t>Unwanted contact</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Sheet1!$A$2</c:f>
              <c:strCache>
                <c:ptCount val="1"/>
                <c:pt idx="0">
                  <c:v>Big problem</c:v>
                </c:pt>
              </c:strCache>
            </c:strRef>
          </c:tx>
          <c:spPr>
            <a:ln w="76200" cap="rnd">
              <a:solidFill>
                <a:srgbClr val="2CB8AE"/>
              </a:solidFill>
              <a:round/>
            </a:ln>
            <a:effectLst/>
          </c:spPr>
          <c:marker>
            <c:symbol val="circle"/>
            <c:size val="14"/>
            <c:spPr>
              <a:solidFill>
                <a:schemeClr val="tx1"/>
              </a:solidFill>
              <a:ln w="9525">
                <a:solidFill>
                  <a:srgbClr val="262626"/>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189-4AA5-9E57-688AF000C693}"/>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189-4AA5-9E57-688AF000C693}"/>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2:$C$2</c:f>
              <c:numCache>
                <c:formatCode>0%</c:formatCode>
                <c:ptCount val="2"/>
                <c:pt idx="0">
                  <c:v>0.49</c:v>
                </c:pt>
                <c:pt idx="1">
                  <c:v>0.626</c:v>
                </c:pt>
              </c:numCache>
            </c:numRef>
          </c:val>
          <c:smooth val="0"/>
          <c:extLst>
            <c:ext xmlns:c16="http://schemas.microsoft.com/office/drawing/2014/chart" uri="{C3380CC4-5D6E-409C-BE32-E72D297353CC}">
              <c16:uniqueId val="{00000002-2189-4AA5-9E57-688AF000C693}"/>
            </c:ext>
          </c:extLst>
        </c:ser>
        <c:ser>
          <c:idx val="1"/>
          <c:order val="1"/>
          <c:tx>
            <c:strRef>
              <c:f>Sheet1!$A$3</c:f>
              <c:strCache>
                <c:ptCount val="1"/>
                <c:pt idx="0">
                  <c:v>Small problem</c:v>
                </c:pt>
              </c:strCache>
            </c:strRef>
          </c:tx>
          <c:spPr>
            <a:ln w="76200" cap="rnd">
              <a:solidFill>
                <a:srgbClr val="DAA520"/>
              </a:solidFill>
              <a:round/>
            </a:ln>
            <a:effectLst/>
          </c:spPr>
          <c:marker>
            <c:symbol val="circle"/>
            <c:size val="14"/>
            <c:spPr>
              <a:solidFill>
                <a:schemeClr val="tx1"/>
              </a:solidFill>
              <a:ln w="9525">
                <a:solidFill>
                  <a:schemeClr val="accent2"/>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189-4AA5-9E57-688AF000C693}"/>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3:$C$3</c:f>
              <c:numCache>
                <c:formatCode>0%</c:formatCode>
                <c:ptCount val="2"/>
                <c:pt idx="0">
                  <c:v>0.42</c:v>
                </c:pt>
                <c:pt idx="1">
                  <c:v>0.32800000000000001</c:v>
                </c:pt>
              </c:numCache>
            </c:numRef>
          </c:val>
          <c:smooth val="0"/>
          <c:extLst>
            <c:ext xmlns:c16="http://schemas.microsoft.com/office/drawing/2014/chart" uri="{C3380CC4-5D6E-409C-BE32-E72D297353CC}">
              <c16:uniqueId val="{00000004-2189-4AA5-9E57-688AF000C693}"/>
            </c:ext>
          </c:extLst>
        </c:ser>
        <c:ser>
          <c:idx val="2"/>
          <c:order val="2"/>
          <c:tx>
            <c:strRef>
              <c:f>Sheet1!$A$4</c:f>
              <c:strCache>
                <c:ptCount val="1"/>
                <c:pt idx="0">
                  <c:v>No problem</c:v>
                </c:pt>
              </c:strCache>
            </c:strRef>
          </c:tx>
          <c:spPr>
            <a:ln w="76200" cap="rnd">
              <a:solidFill>
                <a:srgbClr val="5CBE7A"/>
              </a:solidFill>
              <a:round/>
            </a:ln>
            <a:effectLst/>
          </c:spPr>
          <c:marker>
            <c:symbol val="circle"/>
            <c:size val="14"/>
            <c:spPr>
              <a:solidFill>
                <a:schemeClr val="tx1"/>
              </a:solidFill>
              <a:ln w="9525">
                <a:solidFill>
                  <a:schemeClr val="accent3"/>
                </a:solidFill>
              </a:ln>
              <a:effectLst/>
            </c:spPr>
          </c:marker>
          <c:dLbls>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189-4AA5-9E57-688AF000C693}"/>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4:$C$4</c:f>
              <c:numCache>
                <c:formatCode>0%</c:formatCode>
                <c:ptCount val="2"/>
                <c:pt idx="0">
                  <c:v>9.000000000000008E-2</c:v>
                </c:pt>
                <c:pt idx="1">
                  <c:v>4.6000000000000041E-2</c:v>
                </c:pt>
              </c:numCache>
            </c:numRef>
          </c:val>
          <c:smooth val="0"/>
          <c:extLst>
            <c:ext xmlns:c16="http://schemas.microsoft.com/office/drawing/2014/chart" uri="{C3380CC4-5D6E-409C-BE32-E72D297353CC}">
              <c16:uniqueId val="{00000006-2189-4AA5-9E57-688AF000C693}"/>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0.9"/>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latin typeface="Arial" panose="020B0604020202020204" pitchFamily="34" charset="0"/>
                <a:cs typeface="Arial" panose="020B0604020202020204" pitchFamily="34" charset="0"/>
              </a:rPr>
              <a:t>Hoaxes, scams</a:t>
            </a:r>
            <a:r>
              <a:rPr lang="en-US" baseline="0" dirty="0">
                <a:latin typeface="Arial" panose="020B0604020202020204" pitchFamily="34" charset="0"/>
                <a:cs typeface="Arial" panose="020B0604020202020204" pitchFamily="34" charset="0"/>
              </a:rPr>
              <a:t> &amp; frauds</a:t>
            </a:r>
            <a:endParaRPr lang="en-US"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Sheet1!$A$2</c:f>
              <c:strCache>
                <c:ptCount val="1"/>
                <c:pt idx="0">
                  <c:v>Big problem</c:v>
                </c:pt>
              </c:strCache>
            </c:strRef>
          </c:tx>
          <c:spPr>
            <a:ln w="76200" cap="rnd">
              <a:solidFill>
                <a:srgbClr val="2CB8AE"/>
              </a:solidFill>
              <a:round/>
            </a:ln>
            <a:effectLst/>
          </c:spPr>
          <c:marker>
            <c:symbol val="circle"/>
            <c:size val="14"/>
            <c:spPr>
              <a:solidFill>
                <a:schemeClr val="tx1"/>
              </a:solidFill>
              <a:ln w="9525">
                <a:solidFill>
                  <a:srgbClr val="262626"/>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B00F-406D-9FB7-489472BA3D71}"/>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00F-406D-9FB7-489472BA3D71}"/>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2:$C$2</c:f>
              <c:numCache>
                <c:formatCode>0%</c:formatCode>
                <c:ptCount val="2"/>
                <c:pt idx="0">
                  <c:v>0.73</c:v>
                </c:pt>
                <c:pt idx="1">
                  <c:v>0.80400000000000005</c:v>
                </c:pt>
              </c:numCache>
            </c:numRef>
          </c:val>
          <c:smooth val="0"/>
          <c:extLst>
            <c:ext xmlns:c16="http://schemas.microsoft.com/office/drawing/2014/chart" uri="{C3380CC4-5D6E-409C-BE32-E72D297353CC}">
              <c16:uniqueId val="{00000002-B00F-406D-9FB7-489472BA3D71}"/>
            </c:ext>
          </c:extLst>
        </c:ser>
        <c:ser>
          <c:idx val="1"/>
          <c:order val="1"/>
          <c:tx>
            <c:strRef>
              <c:f>Sheet1!$A$3</c:f>
              <c:strCache>
                <c:ptCount val="1"/>
                <c:pt idx="0">
                  <c:v>Small problem</c:v>
                </c:pt>
              </c:strCache>
            </c:strRef>
          </c:tx>
          <c:spPr>
            <a:ln w="76200" cap="rnd">
              <a:solidFill>
                <a:srgbClr val="DAA520"/>
              </a:solidFill>
              <a:round/>
            </a:ln>
            <a:effectLst/>
          </c:spPr>
          <c:marker>
            <c:symbol val="circle"/>
            <c:size val="14"/>
            <c:spPr>
              <a:solidFill>
                <a:schemeClr val="tx1"/>
              </a:solidFill>
              <a:ln w="9525">
                <a:solidFill>
                  <a:schemeClr val="accent2"/>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00F-406D-9FB7-489472BA3D71}"/>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B00F-406D-9FB7-489472BA3D71}"/>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3:$C$3</c:f>
              <c:numCache>
                <c:formatCode>0%</c:formatCode>
                <c:ptCount val="2"/>
                <c:pt idx="0">
                  <c:v>0.23</c:v>
                </c:pt>
                <c:pt idx="1">
                  <c:v>0.17199999999999999</c:v>
                </c:pt>
              </c:numCache>
            </c:numRef>
          </c:val>
          <c:smooth val="0"/>
          <c:extLst>
            <c:ext xmlns:c16="http://schemas.microsoft.com/office/drawing/2014/chart" uri="{C3380CC4-5D6E-409C-BE32-E72D297353CC}">
              <c16:uniqueId val="{00000005-B00F-406D-9FB7-489472BA3D71}"/>
            </c:ext>
          </c:extLst>
        </c:ser>
        <c:ser>
          <c:idx val="2"/>
          <c:order val="2"/>
          <c:tx>
            <c:strRef>
              <c:f>Sheet1!$A$4</c:f>
              <c:strCache>
                <c:ptCount val="1"/>
                <c:pt idx="0">
                  <c:v>No problem</c:v>
                </c:pt>
              </c:strCache>
            </c:strRef>
          </c:tx>
          <c:spPr>
            <a:ln w="76200" cap="rnd">
              <a:solidFill>
                <a:srgbClr val="5CBE7A"/>
              </a:solidFill>
              <a:round/>
            </a:ln>
            <a:effectLst/>
          </c:spPr>
          <c:marker>
            <c:symbol val="circle"/>
            <c:size val="14"/>
            <c:spPr>
              <a:solidFill>
                <a:schemeClr val="tx1"/>
              </a:solidFill>
              <a:ln w="9525">
                <a:solidFill>
                  <a:schemeClr val="accent3"/>
                </a:solidFill>
              </a:ln>
              <a:effectLst/>
            </c:spPr>
          </c:marker>
          <c:dLbls>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B00F-406D-9FB7-489472BA3D71}"/>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4:$C$4</c:f>
              <c:numCache>
                <c:formatCode>0%</c:formatCode>
                <c:ptCount val="2"/>
                <c:pt idx="0">
                  <c:v>4.0000000000000036E-2</c:v>
                </c:pt>
                <c:pt idx="1">
                  <c:v>2.4000000000000021E-2</c:v>
                </c:pt>
              </c:numCache>
            </c:numRef>
          </c:val>
          <c:smooth val="0"/>
          <c:extLst>
            <c:ext xmlns:c16="http://schemas.microsoft.com/office/drawing/2014/chart" uri="{C3380CC4-5D6E-409C-BE32-E72D297353CC}">
              <c16:uniqueId val="{00000007-B00F-406D-9FB7-489472BA3D71}"/>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latin typeface="Arial" panose="020B0604020202020204" pitchFamily="34" charset="0"/>
                <a:cs typeface="Arial" panose="020B0604020202020204" pitchFamily="34" charset="0"/>
              </a:rPr>
              <a:t>Behavioral</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23093372193770337"/>
          <c:w val="0.87533831325688249"/>
          <c:h val="0.65052190995500148"/>
        </c:manualLayout>
      </c:layout>
      <c:lineChart>
        <c:grouping val="standard"/>
        <c:varyColors val="0"/>
        <c:ser>
          <c:idx val="0"/>
          <c:order val="0"/>
          <c:tx>
            <c:strRef>
              <c:f>Sheet1!$A$2</c:f>
              <c:strCache>
                <c:ptCount val="1"/>
                <c:pt idx="0">
                  <c:v>Big problem</c:v>
                </c:pt>
              </c:strCache>
            </c:strRef>
          </c:tx>
          <c:spPr>
            <a:ln w="76200" cap="rnd">
              <a:solidFill>
                <a:srgbClr val="2CB8AE"/>
              </a:solidFill>
              <a:round/>
            </a:ln>
            <a:effectLst/>
          </c:spPr>
          <c:marker>
            <c:symbol val="circle"/>
            <c:size val="14"/>
            <c:spPr>
              <a:solidFill>
                <a:schemeClr val="tx1"/>
              </a:solidFill>
              <a:ln w="9525">
                <a:solidFill>
                  <a:srgbClr val="262626"/>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E076-410B-89FF-059C0F08D1ED}"/>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E076-410B-89FF-059C0F08D1ED}"/>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2:$C$2</c:f>
              <c:numCache>
                <c:formatCode>0%</c:formatCode>
                <c:ptCount val="2"/>
                <c:pt idx="0">
                  <c:v>0.63</c:v>
                </c:pt>
                <c:pt idx="1">
                  <c:v>0.70499999999999996</c:v>
                </c:pt>
              </c:numCache>
            </c:numRef>
          </c:val>
          <c:smooth val="0"/>
          <c:extLst>
            <c:ext xmlns:c16="http://schemas.microsoft.com/office/drawing/2014/chart" uri="{C3380CC4-5D6E-409C-BE32-E72D297353CC}">
              <c16:uniqueId val="{00000002-E076-410B-89FF-059C0F08D1ED}"/>
            </c:ext>
          </c:extLst>
        </c:ser>
        <c:ser>
          <c:idx val="1"/>
          <c:order val="1"/>
          <c:tx>
            <c:strRef>
              <c:f>Sheet1!$A$3</c:f>
              <c:strCache>
                <c:ptCount val="1"/>
                <c:pt idx="0">
                  <c:v>Small problem</c:v>
                </c:pt>
              </c:strCache>
            </c:strRef>
          </c:tx>
          <c:spPr>
            <a:ln w="76200" cap="rnd">
              <a:solidFill>
                <a:srgbClr val="DAA520"/>
              </a:solidFill>
              <a:round/>
            </a:ln>
            <a:effectLst/>
          </c:spPr>
          <c:marker>
            <c:symbol val="circle"/>
            <c:size val="14"/>
            <c:spPr>
              <a:solidFill>
                <a:schemeClr val="tx1"/>
              </a:solidFill>
              <a:ln w="9525">
                <a:solidFill>
                  <a:schemeClr val="accent2"/>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E076-410B-89FF-059C0F08D1ED}"/>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E076-410B-89FF-059C0F08D1ED}"/>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3:$C$3</c:f>
              <c:numCache>
                <c:formatCode>0%</c:formatCode>
                <c:ptCount val="2"/>
                <c:pt idx="0">
                  <c:v>0.3</c:v>
                </c:pt>
                <c:pt idx="1">
                  <c:v>0.25</c:v>
                </c:pt>
              </c:numCache>
            </c:numRef>
          </c:val>
          <c:smooth val="0"/>
          <c:extLst>
            <c:ext xmlns:c16="http://schemas.microsoft.com/office/drawing/2014/chart" uri="{C3380CC4-5D6E-409C-BE32-E72D297353CC}">
              <c16:uniqueId val="{00000005-E076-410B-89FF-059C0F08D1ED}"/>
            </c:ext>
          </c:extLst>
        </c:ser>
        <c:ser>
          <c:idx val="2"/>
          <c:order val="2"/>
          <c:tx>
            <c:strRef>
              <c:f>Sheet1!$A$4</c:f>
              <c:strCache>
                <c:ptCount val="1"/>
                <c:pt idx="0">
                  <c:v>No problem</c:v>
                </c:pt>
              </c:strCache>
            </c:strRef>
          </c:tx>
          <c:spPr>
            <a:ln w="76200" cap="rnd">
              <a:solidFill>
                <a:srgbClr val="5CBE7A"/>
              </a:solidFill>
              <a:round/>
            </a:ln>
            <a:effectLst/>
          </c:spPr>
          <c:marker>
            <c:symbol val="circle"/>
            <c:size val="14"/>
            <c:spPr>
              <a:solidFill>
                <a:schemeClr val="tx1"/>
              </a:solidFill>
              <a:ln w="9525">
                <a:solidFill>
                  <a:schemeClr val="accent3"/>
                </a:solidFill>
              </a:ln>
              <a:effectLst/>
            </c:spPr>
          </c:marker>
          <c:dLbls>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E076-410B-89FF-059C0F08D1ED}"/>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4:$C$4</c:f>
              <c:numCache>
                <c:formatCode>0%</c:formatCode>
                <c:ptCount val="2"/>
                <c:pt idx="0">
                  <c:v>7.0000000000000062E-2</c:v>
                </c:pt>
                <c:pt idx="1">
                  <c:v>4.500000000000004E-2</c:v>
                </c:pt>
              </c:numCache>
            </c:numRef>
          </c:val>
          <c:smooth val="0"/>
          <c:extLst>
            <c:ext xmlns:c16="http://schemas.microsoft.com/office/drawing/2014/chart" uri="{C3380CC4-5D6E-409C-BE32-E72D297353CC}">
              <c16:uniqueId val="{00000007-E076-410B-89FF-059C0F08D1ED}"/>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0.9"/>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latin typeface="Arial" panose="020B0604020202020204" pitchFamily="34" charset="0"/>
                <a:cs typeface="Arial" panose="020B0604020202020204" pitchFamily="34" charset="0"/>
              </a:rPr>
              <a:t>Sexual</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23093372193770342"/>
          <c:w val="0.87533831325688249"/>
          <c:h val="0.65052190995500148"/>
        </c:manualLayout>
      </c:layout>
      <c:lineChart>
        <c:grouping val="standard"/>
        <c:varyColors val="0"/>
        <c:ser>
          <c:idx val="0"/>
          <c:order val="0"/>
          <c:tx>
            <c:strRef>
              <c:f>Sheet1!$A$2</c:f>
              <c:strCache>
                <c:ptCount val="1"/>
                <c:pt idx="0">
                  <c:v>Big problem</c:v>
                </c:pt>
              </c:strCache>
            </c:strRef>
          </c:tx>
          <c:spPr>
            <a:ln w="76200" cap="rnd">
              <a:solidFill>
                <a:srgbClr val="2CB8AE"/>
              </a:solidFill>
              <a:round/>
            </a:ln>
            <a:effectLst/>
          </c:spPr>
          <c:marker>
            <c:symbol val="circle"/>
            <c:size val="14"/>
            <c:spPr>
              <a:solidFill>
                <a:schemeClr val="tx1"/>
              </a:solidFill>
              <a:ln w="9525">
                <a:solidFill>
                  <a:srgbClr val="262626"/>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941B-4EC2-8262-91BE7FF3E682}"/>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941B-4EC2-8262-91BE7FF3E682}"/>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2:$C$2</c:f>
              <c:numCache>
                <c:formatCode>0%</c:formatCode>
                <c:ptCount val="2"/>
                <c:pt idx="0">
                  <c:v>0.73</c:v>
                </c:pt>
                <c:pt idx="1">
                  <c:v>0.79100000000000004</c:v>
                </c:pt>
              </c:numCache>
            </c:numRef>
          </c:val>
          <c:smooth val="0"/>
          <c:extLst>
            <c:ext xmlns:c16="http://schemas.microsoft.com/office/drawing/2014/chart" uri="{C3380CC4-5D6E-409C-BE32-E72D297353CC}">
              <c16:uniqueId val="{00000002-941B-4EC2-8262-91BE7FF3E682}"/>
            </c:ext>
          </c:extLst>
        </c:ser>
        <c:ser>
          <c:idx val="1"/>
          <c:order val="1"/>
          <c:tx>
            <c:strRef>
              <c:f>Sheet1!$A$3</c:f>
              <c:strCache>
                <c:ptCount val="1"/>
                <c:pt idx="0">
                  <c:v>Small problem</c:v>
                </c:pt>
              </c:strCache>
            </c:strRef>
          </c:tx>
          <c:spPr>
            <a:ln w="76200" cap="rnd">
              <a:solidFill>
                <a:srgbClr val="DAA520"/>
              </a:solidFill>
              <a:round/>
            </a:ln>
            <a:effectLst/>
          </c:spPr>
          <c:marker>
            <c:symbol val="circle"/>
            <c:size val="14"/>
            <c:spPr>
              <a:solidFill>
                <a:schemeClr val="tx1"/>
              </a:solidFill>
              <a:ln w="9525">
                <a:solidFill>
                  <a:schemeClr val="accent2"/>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941B-4EC2-8262-91BE7FF3E682}"/>
                </c:ext>
              </c:extLst>
            </c:dLbl>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941B-4EC2-8262-91BE7FF3E682}"/>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3:$C$3</c:f>
              <c:numCache>
                <c:formatCode>0%</c:formatCode>
                <c:ptCount val="2"/>
                <c:pt idx="0">
                  <c:v>0.22</c:v>
                </c:pt>
                <c:pt idx="1">
                  <c:v>0.18</c:v>
                </c:pt>
              </c:numCache>
            </c:numRef>
          </c:val>
          <c:smooth val="0"/>
          <c:extLst>
            <c:ext xmlns:c16="http://schemas.microsoft.com/office/drawing/2014/chart" uri="{C3380CC4-5D6E-409C-BE32-E72D297353CC}">
              <c16:uniqueId val="{00000005-941B-4EC2-8262-91BE7FF3E682}"/>
            </c:ext>
          </c:extLst>
        </c:ser>
        <c:ser>
          <c:idx val="2"/>
          <c:order val="2"/>
          <c:tx>
            <c:strRef>
              <c:f>Sheet1!$A$4</c:f>
              <c:strCache>
                <c:ptCount val="1"/>
                <c:pt idx="0">
                  <c:v>No problem</c:v>
                </c:pt>
              </c:strCache>
            </c:strRef>
          </c:tx>
          <c:spPr>
            <a:ln w="76200" cap="rnd">
              <a:solidFill>
                <a:srgbClr val="5CBE7A"/>
              </a:solidFill>
              <a:round/>
            </a:ln>
            <a:effectLst/>
          </c:spPr>
          <c:marker>
            <c:symbol val="circle"/>
            <c:size val="14"/>
            <c:spPr>
              <a:solidFill>
                <a:schemeClr val="tx1"/>
              </a:solidFill>
              <a:ln w="9525">
                <a:solidFill>
                  <a:schemeClr val="accent3"/>
                </a:solidFill>
              </a:ln>
              <a:effectLst/>
            </c:spPr>
          </c:marker>
          <c:dLbls>
            <c:dLbl>
              <c:idx val="1"/>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41B-4EC2-8262-91BE7FF3E682}"/>
                </c:ext>
              </c:extLst>
            </c:dLbl>
            <c:spPr>
              <a:noFill/>
              <a:ln>
                <a:noFill/>
              </a:ln>
              <a:effectLst/>
            </c:spPr>
            <c:txPr>
              <a:bodyPr rot="0" spcFirstLastPara="1" vertOverflow="ellipsis" vert="horz" wrap="square" anchor="ctr" anchorCtr="1"/>
              <a:lstStyle/>
              <a:p>
                <a:pPr>
                  <a:defRPr sz="1400" b="0" i="0" u="none" strike="noStrike" kern="1200" baseline="0">
                    <a:solidFill>
                      <a:schemeClr val="tx1"/>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C$1</c:f>
              <c:strCache>
                <c:ptCount val="2"/>
                <c:pt idx="0">
                  <c:v>2018</c:v>
                </c:pt>
                <c:pt idx="1">
                  <c:v>2019</c:v>
                </c:pt>
              </c:strCache>
            </c:strRef>
          </c:cat>
          <c:val>
            <c:numRef>
              <c:f>Sheet1!$B$4:$C$4</c:f>
              <c:numCache>
                <c:formatCode>0%</c:formatCode>
                <c:ptCount val="2"/>
                <c:pt idx="0">
                  <c:v>5.0000000000000044E-2</c:v>
                </c:pt>
                <c:pt idx="1">
                  <c:v>2.8999999999999915E-2</c:v>
                </c:pt>
              </c:numCache>
            </c:numRef>
          </c:val>
          <c:smooth val="0"/>
          <c:extLst>
            <c:ext xmlns:c16="http://schemas.microsoft.com/office/drawing/2014/chart" uri="{C3380CC4-5D6E-409C-BE32-E72D297353CC}">
              <c16:uniqueId val="{00000007-941B-4EC2-8262-91BE7FF3E682}"/>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E698-4453-A7E6-8CE0206AC91A}"/>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E698-4453-A7E6-8CE0206AC91A}"/>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E698-4453-A7E6-8CE0206AC91A}"/>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E698-4453-A7E6-8CE0206AC91A}"/>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E698-4453-A7E6-8CE0206AC91A}"/>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E698-4453-A7E6-8CE0206AC91A}"/>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E698-4453-A7E6-8CE0206AC91A}"/>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E698-4453-A7E6-8CE0206AC91A}"/>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E698-4453-A7E6-8CE0206AC91A}"/>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E698-4453-A7E6-8CE0206AC91A}"/>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E698-4453-A7E6-8CE0206AC91A}"/>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5-2FE6-46B2-AB1B-C4DD02E7CCD8}"/>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5E39-4523-BF12-A2DA9E2EAB91}"/>
              </c:ext>
            </c:extLst>
          </c:dPt>
          <c:val>
            <c:numRef>
              <c:f>Sheet1!$C$2:$C$3</c:f>
              <c:numCache>
                <c:formatCode>General</c:formatCode>
                <c:ptCount val="2"/>
                <c:pt idx="0">
                  <c:v>79.8</c:v>
                </c:pt>
                <c:pt idx="1">
                  <c:v>20.2</c:v>
                </c:pt>
              </c:numCache>
            </c:numRef>
          </c:val>
          <c:extLst>
            <c:ext xmlns:c16="http://schemas.microsoft.com/office/drawing/2014/chart" uri="{C3380CC4-5D6E-409C-BE32-E72D297353CC}">
              <c16:uniqueId val="{00000017-5E39-4523-BF12-A2DA9E2EAB91}"/>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04AE-433A-B13E-05A5F9412247}"/>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04AE-433A-B13E-05A5F9412247}"/>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04AE-433A-B13E-05A5F9412247}"/>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04AE-433A-B13E-05A5F9412247}"/>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04AE-433A-B13E-05A5F9412247}"/>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04AE-433A-B13E-05A5F9412247}"/>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04AE-433A-B13E-05A5F9412247}"/>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04AE-433A-B13E-05A5F9412247}"/>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04AE-433A-B13E-05A5F9412247}"/>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04AE-433A-B13E-05A5F9412247}"/>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04AE-433A-B13E-05A5F9412247}"/>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04AE-433A-B13E-05A5F9412247}"/>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04AE-433A-B13E-05A5F9412247}"/>
              </c:ext>
            </c:extLst>
          </c:dPt>
          <c:val>
            <c:numRef>
              <c:f>Sheet1!$C$2:$C$3</c:f>
              <c:numCache>
                <c:formatCode>General</c:formatCode>
                <c:ptCount val="2"/>
                <c:pt idx="0">
                  <c:v>77</c:v>
                </c:pt>
                <c:pt idx="1">
                  <c:v>23</c:v>
                </c:pt>
              </c:numCache>
            </c:numRef>
          </c:val>
          <c:extLst>
            <c:ext xmlns:c16="http://schemas.microsoft.com/office/drawing/2014/chart" uri="{C3380CC4-5D6E-409C-BE32-E72D297353CC}">
              <c16:uniqueId val="{00000019-04AE-433A-B13E-05A5F9412247}"/>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F61C-40D1-9ED1-71C2456F1031}"/>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F61C-40D1-9ED1-71C2456F1031}"/>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F61C-40D1-9ED1-71C2456F1031}"/>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F61C-40D1-9ED1-71C2456F1031}"/>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F61C-40D1-9ED1-71C2456F1031}"/>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F61C-40D1-9ED1-71C2456F1031}"/>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F61C-40D1-9ED1-71C2456F1031}"/>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F61C-40D1-9ED1-71C2456F1031}"/>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F61C-40D1-9ED1-71C2456F1031}"/>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F61C-40D1-9ED1-71C2456F1031}"/>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F61C-40D1-9ED1-71C2456F1031}"/>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F61C-40D1-9ED1-71C2456F1031}"/>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F61C-40D1-9ED1-71C2456F1031}"/>
              </c:ext>
            </c:extLst>
          </c:dPt>
          <c:val>
            <c:numRef>
              <c:f>Sheet1!$C$2:$C$3</c:f>
              <c:numCache>
                <c:formatCode>General</c:formatCode>
                <c:ptCount val="2"/>
                <c:pt idx="0">
                  <c:v>74</c:v>
                </c:pt>
                <c:pt idx="1">
                  <c:v>26</c:v>
                </c:pt>
              </c:numCache>
            </c:numRef>
          </c:val>
          <c:extLst>
            <c:ext xmlns:c16="http://schemas.microsoft.com/office/drawing/2014/chart" uri="{C3380CC4-5D6E-409C-BE32-E72D297353CC}">
              <c16:uniqueId val="{00000019-F61C-40D1-9ED1-71C2456F1031}"/>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880F-4AB1-9B7E-D7F57791F252}"/>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880F-4AB1-9B7E-D7F57791F252}"/>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880F-4AB1-9B7E-D7F57791F252}"/>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880F-4AB1-9B7E-D7F57791F252}"/>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880F-4AB1-9B7E-D7F57791F252}"/>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880F-4AB1-9B7E-D7F57791F252}"/>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880F-4AB1-9B7E-D7F57791F252}"/>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880F-4AB1-9B7E-D7F57791F252}"/>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880F-4AB1-9B7E-D7F57791F252}"/>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880F-4AB1-9B7E-D7F57791F252}"/>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880F-4AB1-9B7E-D7F57791F252}"/>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880F-4AB1-9B7E-D7F57791F252}"/>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880F-4AB1-9B7E-D7F57791F252}"/>
              </c:ext>
            </c:extLst>
          </c:dPt>
          <c:val>
            <c:numRef>
              <c:f>Sheet1!$C$2:$C$3</c:f>
              <c:numCache>
                <c:formatCode>General</c:formatCode>
                <c:ptCount val="2"/>
                <c:pt idx="0">
                  <c:v>71</c:v>
                </c:pt>
                <c:pt idx="1">
                  <c:v>29</c:v>
                </c:pt>
              </c:numCache>
            </c:numRef>
          </c:val>
          <c:extLst>
            <c:ext xmlns:c16="http://schemas.microsoft.com/office/drawing/2014/chart" uri="{C3380CC4-5D6E-409C-BE32-E72D297353CC}">
              <c16:uniqueId val="{00000019-880F-4AB1-9B7E-D7F57791F252}"/>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269D-403E-981A-E0DF2AE7186B}"/>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269D-403E-981A-E0DF2AE7186B}"/>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269D-403E-981A-E0DF2AE7186B}"/>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269D-403E-981A-E0DF2AE7186B}"/>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269D-403E-981A-E0DF2AE7186B}"/>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269D-403E-981A-E0DF2AE7186B}"/>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269D-403E-981A-E0DF2AE7186B}"/>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269D-403E-981A-E0DF2AE7186B}"/>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269D-403E-981A-E0DF2AE7186B}"/>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269D-403E-981A-E0DF2AE7186B}"/>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269D-403E-981A-E0DF2AE7186B}"/>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269D-403E-981A-E0DF2AE7186B}"/>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269D-403E-981A-E0DF2AE7186B}"/>
              </c:ext>
            </c:extLst>
          </c:dPt>
          <c:val>
            <c:numRef>
              <c:f>Sheet1!$C$2:$C$3</c:f>
              <c:numCache>
                <c:formatCode>General</c:formatCode>
                <c:ptCount val="2"/>
                <c:pt idx="0">
                  <c:v>71</c:v>
                </c:pt>
                <c:pt idx="1">
                  <c:v>29</c:v>
                </c:pt>
              </c:numCache>
            </c:numRef>
          </c:val>
          <c:extLst>
            <c:ext xmlns:c16="http://schemas.microsoft.com/office/drawing/2014/chart" uri="{C3380CC4-5D6E-409C-BE32-E72D297353CC}">
              <c16:uniqueId val="{00000019-269D-403E-981A-E0DF2AE7186B}"/>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en-US" dirty="0"/>
              <a:t>Global DCI</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3.4375000000000003E-2"/>
          <c:y val="0"/>
          <c:w val="0.96562499999999996"/>
          <c:h val="0.93939073065255685"/>
        </c:manualLayout>
      </c:layout>
      <c:barChart>
        <c:barDir val="col"/>
        <c:grouping val="clustered"/>
        <c:varyColors val="0"/>
        <c:ser>
          <c:idx val="1"/>
          <c:order val="0"/>
          <c:tx>
            <c:strRef>
              <c:f>Sheet1!$B$1</c:f>
              <c:strCache>
                <c:ptCount val="1"/>
                <c:pt idx="0">
                  <c:v>DCI</c:v>
                </c:pt>
              </c:strCache>
            </c:strRef>
          </c:tx>
          <c:spPr>
            <a:solidFill>
              <a:schemeClr val="accent2"/>
            </a:solidFill>
            <a:ln>
              <a:noFill/>
            </a:ln>
            <a:effectLst/>
          </c:spPr>
          <c:invertIfNegative val="0"/>
          <c:dPt>
            <c:idx val="0"/>
            <c:invertIfNegative val="0"/>
            <c:bubble3D val="0"/>
            <c:spPr>
              <a:solidFill>
                <a:srgbClr val="3282BE"/>
              </a:solidFill>
              <a:ln>
                <a:noFill/>
              </a:ln>
              <a:effectLst/>
            </c:spPr>
            <c:extLst>
              <c:ext xmlns:c16="http://schemas.microsoft.com/office/drawing/2014/chart" uri="{C3380CC4-5D6E-409C-BE32-E72D297353CC}">
                <c16:uniqueId val="{00000001-0865-4F03-85AD-0F83E0F3E289}"/>
              </c:ext>
            </c:extLst>
          </c:dPt>
          <c:dPt>
            <c:idx val="1"/>
            <c:invertIfNegative val="0"/>
            <c:bubble3D val="0"/>
            <c:spPr>
              <a:solidFill>
                <a:srgbClr val="2860BE"/>
              </a:solidFill>
              <a:ln>
                <a:noFill/>
              </a:ln>
              <a:effectLst/>
            </c:spPr>
            <c:extLst>
              <c:ext xmlns:c16="http://schemas.microsoft.com/office/drawing/2014/chart" uri="{C3380CC4-5D6E-409C-BE32-E72D297353CC}">
                <c16:uniqueId val="{00000003-0865-4F03-85AD-0F83E0F3E289}"/>
              </c:ext>
            </c:extLst>
          </c:dPt>
          <c:dPt>
            <c:idx val="2"/>
            <c:invertIfNegative val="0"/>
            <c:bubble3D val="0"/>
            <c:spPr>
              <a:solidFill>
                <a:srgbClr val="2C608C"/>
              </a:solidFill>
              <a:ln>
                <a:noFill/>
              </a:ln>
              <a:effectLst/>
            </c:spPr>
            <c:extLst>
              <c:ext xmlns:c16="http://schemas.microsoft.com/office/drawing/2014/chart" uri="{C3380CC4-5D6E-409C-BE32-E72D297353CC}">
                <c16:uniqueId val="{00000005-0865-4F03-85AD-0F83E0F3E289}"/>
              </c:ext>
            </c:extLst>
          </c:dPt>
          <c:dPt>
            <c:idx val="3"/>
            <c:invertIfNegative val="0"/>
            <c:bubble3D val="0"/>
            <c:spPr>
              <a:solidFill>
                <a:srgbClr val="ED7D31"/>
              </a:solidFill>
              <a:ln>
                <a:noFill/>
              </a:ln>
              <a:effectLst/>
            </c:spPr>
            <c:extLst>
              <c:ext xmlns:c16="http://schemas.microsoft.com/office/drawing/2014/chart" uri="{C3380CC4-5D6E-409C-BE32-E72D297353CC}">
                <c16:uniqueId val="{00000007-0865-4F03-85AD-0F83E0F3E289}"/>
              </c:ext>
            </c:extLst>
          </c:dPt>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6</c:f>
              <c:numCache>
                <c:formatCode>General</c:formatCode>
                <c:ptCount val="5"/>
                <c:pt idx="0">
                  <c:v>2016</c:v>
                </c:pt>
                <c:pt idx="1">
                  <c:v>2017</c:v>
                </c:pt>
                <c:pt idx="2">
                  <c:v>2018</c:v>
                </c:pt>
                <c:pt idx="3">
                  <c:v>2019</c:v>
                </c:pt>
                <c:pt idx="4">
                  <c:v>2020</c:v>
                </c:pt>
              </c:numCache>
            </c:numRef>
          </c:cat>
          <c:val>
            <c:numRef>
              <c:f>Sheet1!$B$2:$B$5</c:f>
              <c:numCache>
                <c:formatCode>0%</c:formatCode>
                <c:ptCount val="4"/>
                <c:pt idx="0">
                  <c:v>0.65</c:v>
                </c:pt>
                <c:pt idx="1">
                  <c:v>0.68</c:v>
                </c:pt>
                <c:pt idx="2">
                  <c:v>0.66</c:v>
                </c:pt>
                <c:pt idx="3">
                  <c:v>0.7</c:v>
                </c:pt>
              </c:numCache>
            </c:numRef>
          </c:val>
          <c:extLst>
            <c:ext xmlns:c16="http://schemas.microsoft.com/office/drawing/2014/chart" uri="{C3380CC4-5D6E-409C-BE32-E72D297353CC}">
              <c16:uniqueId val="{00000008-0865-4F03-85AD-0F83E0F3E289}"/>
            </c:ext>
          </c:extLst>
        </c:ser>
        <c:dLbls>
          <c:dLblPos val="outEnd"/>
          <c:showLegendKey val="0"/>
          <c:showVal val="1"/>
          <c:showCatName val="0"/>
          <c:showSerName val="0"/>
          <c:showPercent val="0"/>
          <c:showBubbleSize val="0"/>
        </c:dLbls>
        <c:gapWidth val="54"/>
        <c:axId val="790216912"/>
        <c:axId val="790218552"/>
      </c:barChart>
      <c:catAx>
        <c:axId val="79021691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90218552"/>
        <c:crosses val="autoZero"/>
        <c:auto val="1"/>
        <c:lblAlgn val="ctr"/>
        <c:lblOffset val="100"/>
        <c:noMultiLvlLbl val="0"/>
      </c:catAx>
      <c:valAx>
        <c:axId val="79021855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9021691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7561275153105863"/>
          <c:y val="0.27524190924571518"/>
          <c:w val="0.6379202755905512"/>
          <c:h val="0.55310057538396651"/>
        </c:manualLayout>
      </c:layout>
      <c:barChart>
        <c:barDir val="col"/>
        <c:grouping val="clustered"/>
        <c:varyColors val="0"/>
        <c:ser>
          <c:idx val="0"/>
          <c:order val="0"/>
          <c:tx>
            <c:strRef>
              <c:f>Sheet1!$A$2</c:f>
              <c:strCache>
                <c:ptCount val="1"/>
                <c:pt idx="0">
                  <c:v>Extremely, very, somewhat worried</c:v>
                </c:pt>
              </c:strCache>
            </c:strRef>
          </c:tx>
          <c:spPr>
            <a:solidFill>
              <a:schemeClr val="accent1">
                <a:shade val="80000"/>
                <a:satMod val="180000"/>
              </a:schemeClr>
            </a:solidFill>
            <a:ln w="127000">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C$1</c:f>
              <c:strCache>
                <c:ptCount val="2"/>
                <c:pt idx="0">
                  <c:v>2018</c:v>
                </c:pt>
                <c:pt idx="1">
                  <c:v>2019</c:v>
                </c:pt>
              </c:strCache>
            </c:strRef>
          </c:cat>
          <c:val>
            <c:numRef>
              <c:f>Sheet1!$B$2:$C$2</c:f>
              <c:numCache>
                <c:formatCode>0%</c:formatCode>
                <c:ptCount val="2"/>
                <c:pt idx="0">
                  <c:v>0.52200000000000002</c:v>
                </c:pt>
                <c:pt idx="1">
                  <c:v>0.63600000000000001</c:v>
                </c:pt>
              </c:numCache>
            </c:numRef>
          </c:val>
          <c:extLst>
            <c:ext xmlns:c16="http://schemas.microsoft.com/office/drawing/2014/chart" uri="{C3380CC4-5D6E-409C-BE32-E72D297353CC}">
              <c16:uniqueId val="{00000000-F55E-4F66-8B11-61AD5F0A4307}"/>
            </c:ext>
          </c:extLst>
        </c:ser>
        <c:dLbls>
          <c:showLegendKey val="0"/>
          <c:showVal val="1"/>
          <c:showCatName val="0"/>
          <c:showSerName val="0"/>
          <c:showPercent val="0"/>
          <c:showBubbleSize val="0"/>
        </c:dLbls>
        <c:gapWidth val="100"/>
        <c:axId val="830347024"/>
        <c:axId val="830348336"/>
        <c:extLst>
          <c:ext xmlns:c15="http://schemas.microsoft.com/office/drawing/2012/chart" uri="{02D57815-91ED-43cb-92C2-25804820EDAC}">
            <c15:filteredBarSeries>
              <c15:ser>
                <c:idx val="1"/>
                <c:order val="1"/>
                <c:tx>
                  <c:strRef>
                    <c:extLst>
                      <c:ext uri="{02D57815-91ED-43cb-92C2-25804820EDAC}">
                        <c15:formulaRef>
                          <c15:sqref>Sheet1!$A$3</c15:sqref>
                        </c15:formulaRef>
                      </c:ext>
                    </c:extLst>
                    <c:strCache>
                      <c:ptCount val="1"/>
                      <c:pt idx="0">
                        <c:v>Slightly or not at all worried</c:v>
                      </c:pt>
                    </c:strCache>
                  </c:strRef>
                </c:tx>
                <c:spPr>
                  <a:solidFill>
                    <a:schemeClr val="accent2">
                      <a:shade val="80000"/>
                      <a:satMod val="180000"/>
                    </a:schemeClr>
                  </a:solidFill>
                  <a:ln w="127000">
                    <a:solidFill>
                      <a:srgbClr val="3282BE">
                        <a:alpha val="60000"/>
                      </a:srgbClr>
                    </a:solid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2"/>
                          </a:solidFill>
                          <a:latin typeface="+mn-lt"/>
                          <a:ea typeface="+mn-ea"/>
                          <a:cs typeface="+mn-cs"/>
                        </a:defRPr>
                      </a:pPr>
                      <a:endParaRPr lang="en-US"/>
                    </a:p>
                  </c:txPr>
                  <c:showLegendKey val="0"/>
                  <c:showVal val="1"/>
                  <c:showCatName val="0"/>
                  <c:showSerName val="0"/>
                  <c:showPercent val="0"/>
                  <c:showBubbleSize val="0"/>
                  <c:showLeaderLines val="0"/>
                  <c:extLst>
                    <c:ext uri="{CE6537A1-D6FC-4f65-9D91-7224C49458BB}">
                      <c15:showLeaderLines val="1"/>
                      <c15:leaderLines>
                        <c:spPr>
                          <a:ln w="9525">
                            <a:solidFill>
                              <a:schemeClr val="tx2">
                                <a:lumMod val="35000"/>
                                <a:lumOff val="65000"/>
                              </a:schemeClr>
                            </a:solidFill>
                          </a:ln>
                          <a:effectLst/>
                        </c:spPr>
                      </c15:leaderLines>
                    </c:ext>
                  </c:extLst>
                </c:dLbls>
                <c:cat>
                  <c:strRef>
                    <c:extLst>
                      <c:ext uri="{02D57815-91ED-43cb-92C2-25804820EDAC}">
                        <c15:formulaRef>
                          <c15:sqref>Sheet1!$B$1:$C$1</c15:sqref>
                        </c15:formulaRef>
                      </c:ext>
                    </c:extLst>
                    <c:strCache>
                      <c:ptCount val="2"/>
                      <c:pt idx="0">
                        <c:v>2018</c:v>
                      </c:pt>
                      <c:pt idx="1">
                        <c:v>2019</c:v>
                      </c:pt>
                    </c:strCache>
                  </c:strRef>
                </c:cat>
                <c:val>
                  <c:numRef>
                    <c:extLst>
                      <c:ext uri="{02D57815-91ED-43cb-92C2-25804820EDAC}">
                        <c15:formulaRef>
                          <c15:sqref>Sheet1!$B$3:$C$3</c15:sqref>
                        </c15:formulaRef>
                      </c:ext>
                    </c:extLst>
                    <c:numCache>
                      <c:formatCode>0%</c:formatCode>
                      <c:ptCount val="2"/>
                      <c:pt idx="0">
                        <c:v>0.73899999999999999</c:v>
                      </c:pt>
                      <c:pt idx="1">
                        <c:v>0.65300000000000002</c:v>
                      </c:pt>
                    </c:numCache>
                  </c:numRef>
                </c:val>
                <c:extLst>
                  <c:ext xmlns:c16="http://schemas.microsoft.com/office/drawing/2014/chart" uri="{C3380CC4-5D6E-409C-BE32-E72D297353CC}">
                    <c16:uniqueId val="{00000001-F55E-4F66-8B11-61AD5F0A4307}"/>
                  </c:ext>
                </c:extLst>
              </c15:ser>
            </c15:filteredBarSeries>
          </c:ext>
        </c:extLst>
      </c:barChart>
      <c:catAx>
        <c:axId val="830347024"/>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2000" b="0" i="0" u="none" strike="noStrike" kern="1200" baseline="0">
                <a:solidFill>
                  <a:schemeClr val="bg1">
                    <a:lumMod val="65000"/>
                    <a:lumOff val="35000"/>
                  </a:schemeClr>
                </a:solidFill>
                <a:latin typeface="+mn-lt"/>
                <a:ea typeface="+mn-ea"/>
                <a:cs typeface="+mn-cs"/>
              </a:defRPr>
            </a:pPr>
            <a:endParaRPr lang="en-US"/>
          </a:p>
        </c:txPr>
        <c:crossAx val="830348336"/>
        <c:crosses val="autoZero"/>
        <c:auto val="1"/>
        <c:lblAlgn val="ctr"/>
        <c:lblOffset val="100"/>
        <c:noMultiLvlLbl val="0"/>
      </c:catAx>
      <c:valAx>
        <c:axId val="830348336"/>
        <c:scaling>
          <c:orientation val="minMax"/>
          <c:max val="1"/>
          <c:min val="0"/>
        </c:scaling>
        <c:delete val="1"/>
        <c:axPos val="l"/>
        <c:numFmt formatCode="0%" sourceLinked="1"/>
        <c:majorTickMark val="out"/>
        <c:minorTickMark val="none"/>
        <c:tickLblPos val="nextTo"/>
        <c:crossAx val="83034702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9.872402255514702E-2"/>
          <c:y val="0.17686789411585854"/>
          <c:w val="0.57261227453125274"/>
          <c:h val="0.67757917420061808"/>
        </c:manualLayout>
      </c:layout>
      <c:barChart>
        <c:barDir val="col"/>
        <c:grouping val="stacked"/>
        <c:varyColors val="0"/>
        <c:ser>
          <c:idx val="0"/>
          <c:order val="0"/>
          <c:tx>
            <c:strRef>
              <c:f>Sheet1!$A$2</c:f>
              <c:strCache>
                <c:ptCount val="1"/>
                <c:pt idx="0">
                  <c:v>Strangers</c:v>
                </c:pt>
              </c:strCache>
            </c:strRef>
          </c:tx>
          <c:spPr>
            <a:solidFill>
              <a:srgbClr val="3282BE"/>
            </a:solidFill>
            <a:ln w="25400">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37</c:v>
                </c:pt>
                <c:pt idx="1">
                  <c:v>0.37</c:v>
                </c:pt>
                <c:pt idx="2">
                  <c:v>0.38800000000000001</c:v>
                </c:pt>
              </c:numCache>
            </c:numRef>
          </c:val>
          <c:extLst>
            <c:ext xmlns:c16="http://schemas.microsoft.com/office/drawing/2014/chart" uri="{C3380CC4-5D6E-409C-BE32-E72D297353CC}">
              <c16:uniqueId val="{00000000-094F-4C29-BA58-66B37E67AA9C}"/>
            </c:ext>
          </c:extLst>
        </c:ser>
        <c:ser>
          <c:idx val="1"/>
          <c:order val="1"/>
          <c:tx>
            <c:strRef>
              <c:f>Sheet1!$A$3</c:f>
              <c:strCache>
                <c:ptCount val="1"/>
                <c:pt idx="0">
                  <c:v>Know online only</c:v>
                </c:pt>
              </c:strCache>
            </c:strRef>
          </c:tx>
          <c:spPr>
            <a:solidFill>
              <a:srgbClr val="2860BE"/>
            </a:solidFill>
            <a:ln w="25400">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25</c:v>
                </c:pt>
                <c:pt idx="1">
                  <c:v>0.26</c:v>
                </c:pt>
                <c:pt idx="2">
                  <c:v>0.26900000000000002</c:v>
                </c:pt>
              </c:numCache>
            </c:numRef>
          </c:val>
          <c:extLst>
            <c:ext xmlns:c16="http://schemas.microsoft.com/office/drawing/2014/chart" uri="{C3380CC4-5D6E-409C-BE32-E72D297353CC}">
              <c16:uniqueId val="{00000001-094F-4C29-BA58-66B37E67AA9C}"/>
            </c:ext>
          </c:extLst>
        </c:ser>
        <c:ser>
          <c:idx val="2"/>
          <c:order val="2"/>
          <c:tx>
            <c:strRef>
              <c:f>Sheet1!$A$4</c:f>
              <c:strCache>
                <c:ptCount val="1"/>
                <c:pt idx="0">
                  <c:v>Aquaintances</c:v>
                </c:pt>
              </c:strCache>
            </c:strRef>
          </c:tx>
          <c:spPr>
            <a:solidFill>
              <a:srgbClr val="262626"/>
            </a:solidFill>
            <a:ln w="25400">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4:$D$4</c:f>
              <c:numCache>
                <c:formatCode>0%</c:formatCode>
                <c:ptCount val="3"/>
                <c:pt idx="0">
                  <c:v>0.19</c:v>
                </c:pt>
                <c:pt idx="1">
                  <c:v>0.21</c:v>
                </c:pt>
                <c:pt idx="2">
                  <c:v>0.22700000000000001</c:v>
                </c:pt>
              </c:numCache>
            </c:numRef>
          </c:val>
          <c:extLst>
            <c:ext xmlns:c16="http://schemas.microsoft.com/office/drawing/2014/chart" uri="{C3380CC4-5D6E-409C-BE32-E72D297353CC}">
              <c16:uniqueId val="{00000002-094F-4C29-BA58-66B37E67AA9C}"/>
            </c:ext>
          </c:extLst>
        </c:ser>
        <c:ser>
          <c:idx val="3"/>
          <c:order val="3"/>
          <c:tx>
            <c:strRef>
              <c:f>Sheet1!$A$5</c:f>
              <c:strCache>
                <c:ptCount val="1"/>
                <c:pt idx="0">
                  <c:v>Co-workers, colleagues</c:v>
                </c:pt>
              </c:strCache>
            </c:strRef>
          </c:tx>
          <c:spPr>
            <a:solidFill>
              <a:srgbClr val="2CB8AE"/>
            </a:solidFill>
            <a:ln w="25400">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094F-4C29-BA58-66B37E67AA9C}"/>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5:$D$5</c:f>
              <c:numCache>
                <c:formatCode>0%</c:formatCode>
                <c:ptCount val="3"/>
                <c:pt idx="1">
                  <c:v>0.09</c:v>
                </c:pt>
                <c:pt idx="2">
                  <c:v>9.2999999999999999E-2</c:v>
                </c:pt>
              </c:numCache>
            </c:numRef>
          </c:val>
          <c:extLst>
            <c:ext xmlns:c16="http://schemas.microsoft.com/office/drawing/2014/chart" uri="{C3380CC4-5D6E-409C-BE32-E72D297353CC}">
              <c16:uniqueId val="{00000003-094F-4C29-BA58-66B37E67AA9C}"/>
            </c:ext>
          </c:extLst>
        </c:ser>
        <c:ser>
          <c:idx val="4"/>
          <c:order val="4"/>
          <c:tx>
            <c:strRef>
              <c:f>Sheet1!$A$6</c:f>
              <c:strCache>
                <c:ptCount val="1"/>
                <c:pt idx="0">
                  <c:v>Friends</c:v>
                </c:pt>
              </c:strCache>
            </c:strRef>
          </c:tx>
          <c:spPr>
            <a:solidFill>
              <a:srgbClr val="5CBE7A"/>
            </a:solidFill>
            <a:ln w="25400">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6:$D$6</c:f>
              <c:numCache>
                <c:formatCode>0%</c:formatCode>
                <c:ptCount val="3"/>
                <c:pt idx="0">
                  <c:v>0.13</c:v>
                </c:pt>
                <c:pt idx="1">
                  <c:v>0.2</c:v>
                </c:pt>
                <c:pt idx="2">
                  <c:v>0.20799999999999999</c:v>
                </c:pt>
              </c:numCache>
            </c:numRef>
          </c:val>
          <c:extLst>
            <c:ext xmlns:c16="http://schemas.microsoft.com/office/drawing/2014/chart" uri="{C3380CC4-5D6E-409C-BE32-E72D297353CC}">
              <c16:uniqueId val="{00000004-094F-4C29-BA58-66B37E67AA9C}"/>
            </c:ext>
          </c:extLst>
        </c:ser>
        <c:ser>
          <c:idx val="5"/>
          <c:order val="5"/>
          <c:tx>
            <c:strRef>
              <c:f>Sheet1!$A$7</c:f>
              <c:strCache>
                <c:ptCount val="1"/>
                <c:pt idx="0">
                  <c:v>Family</c:v>
                </c:pt>
              </c:strCache>
            </c:strRef>
          </c:tx>
          <c:spPr>
            <a:solidFill>
              <a:srgbClr val="DAA520"/>
            </a:solidFill>
            <a:ln w="25400">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7:$D$7</c:f>
              <c:numCache>
                <c:formatCode>0%</c:formatCode>
                <c:ptCount val="3"/>
                <c:pt idx="0">
                  <c:v>0.04</c:v>
                </c:pt>
                <c:pt idx="1">
                  <c:v>0.08</c:v>
                </c:pt>
                <c:pt idx="2">
                  <c:v>9.4E-2</c:v>
                </c:pt>
              </c:numCache>
            </c:numRef>
          </c:val>
          <c:extLst>
            <c:ext xmlns:c16="http://schemas.microsoft.com/office/drawing/2014/chart" uri="{C3380CC4-5D6E-409C-BE32-E72D297353CC}">
              <c16:uniqueId val="{00000005-094F-4C29-BA58-66B37E67AA9C}"/>
            </c:ext>
          </c:extLst>
        </c:ser>
        <c:dLbls>
          <c:showLegendKey val="0"/>
          <c:showVal val="1"/>
          <c:showCatName val="0"/>
          <c:showSerName val="0"/>
          <c:showPercent val="0"/>
          <c:showBubbleSize val="0"/>
        </c:dLbls>
        <c:gapWidth val="50"/>
        <c:overlap val="100"/>
        <c:axId val="455177912"/>
        <c:axId val="455179832"/>
      </c:barChart>
      <c:catAx>
        <c:axId val="45517791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455179832"/>
        <c:crosses val="autoZero"/>
        <c:auto val="1"/>
        <c:lblAlgn val="ctr"/>
        <c:lblOffset val="100"/>
        <c:noMultiLvlLbl val="0"/>
      </c:catAx>
      <c:valAx>
        <c:axId val="455179832"/>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455177912"/>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16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dirty="0"/>
              <a:t>Nearly half had met the perpetrator in real life</a:t>
            </a: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8.4876543209876545E-2"/>
          <c:y val="0.19961556105825004"/>
          <c:w val="0.91512345679012341"/>
          <c:h val="0.7037394538838383"/>
        </c:manualLayout>
      </c:layout>
      <c:lineChart>
        <c:grouping val="standard"/>
        <c:varyColors val="0"/>
        <c:ser>
          <c:idx val="0"/>
          <c:order val="0"/>
          <c:tx>
            <c:strRef>
              <c:f>Sheet1!$A$2</c:f>
              <c:strCache>
                <c:ptCount val="1"/>
                <c:pt idx="0">
                  <c:v>Met in real life</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2D9-44C4-84BE-C4A08271A0DB}"/>
                </c:ext>
              </c:extLst>
            </c:dLbl>
            <c:dLbl>
              <c:idx val="3"/>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2D9-44C4-84BE-C4A08271A0DB}"/>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2:$E$2</c:f>
              <c:numCache>
                <c:formatCode>0%</c:formatCode>
                <c:ptCount val="4"/>
                <c:pt idx="0">
                  <c:v>0.51</c:v>
                </c:pt>
                <c:pt idx="1">
                  <c:v>0.53</c:v>
                </c:pt>
                <c:pt idx="2">
                  <c:v>0.48</c:v>
                </c:pt>
                <c:pt idx="3">
                  <c:v>0.48</c:v>
                </c:pt>
              </c:numCache>
            </c:numRef>
          </c:val>
          <c:smooth val="0"/>
          <c:extLst>
            <c:ext xmlns:c16="http://schemas.microsoft.com/office/drawing/2014/chart" uri="{C3380CC4-5D6E-409C-BE32-E72D297353CC}">
              <c16:uniqueId val="{00000002-72D9-44C4-84BE-C4A08271A0DB}"/>
            </c:ext>
          </c:extLst>
        </c:ser>
        <c:ser>
          <c:idx val="1"/>
          <c:order val="1"/>
          <c:tx>
            <c:strRef>
              <c:f>Sheet1!$A$3</c:f>
              <c:strCache>
                <c:ptCount val="1"/>
                <c:pt idx="0">
                  <c:v>Not met in real life</c:v>
                </c:pt>
              </c:strCache>
            </c:strRef>
          </c:tx>
          <c:spPr>
            <a:ln w="76200" cap="rnd">
              <a:solidFill>
                <a:srgbClr val="28608C"/>
              </a:solidFill>
              <a:round/>
            </a:ln>
            <a:effectLst/>
          </c:spPr>
          <c:marker>
            <c:symbol val="circle"/>
            <c:size val="14"/>
            <c:spPr>
              <a:solidFill>
                <a:schemeClr val="tx1"/>
              </a:solidFill>
              <a:ln w="9525">
                <a:solidFill>
                  <a:schemeClr val="accent2"/>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72D9-44C4-84BE-C4A08271A0DB}"/>
                </c:ext>
              </c:extLst>
            </c:dLbl>
            <c:dLbl>
              <c:idx val="1"/>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2D9-44C4-84BE-C4A08271A0DB}"/>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2D9-44C4-84BE-C4A08271A0DB}"/>
                </c:ext>
              </c:extLst>
            </c:dLbl>
            <c:dLbl>
              <c:idx val="3"/>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2D9-44C4-84BE-C4A08271A0DB}"/>
                </c:ext>
              </c:extLst>
            </c:dLbl>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49</c:v>
                </c:pt>
                <c:pt idx="1">
                  <c:v>0.47</c:v>
                </c:pt>
                <c:pt idx="2">
                  <c:v>0.52</c:v>
                </c:pt>
                <c:pt idx="3">
                  <c:v>0.52</c:v>
                </c:pt>
              </c:numCache>
            </c:numRef>
          </c:val>
          <c:smooth val="0"/>
          <c:extLst>
            <c:ext xmlns:c16="http://schemas.microsoft.com/office/drawing/2014/chart" uri="{C3380CC4-5D6E-409C-BE32-E72D297353CC}">
              <c16:uniqueId val="{00000007-72D9-44C4-84BE-C4A08271A0DB}"/>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0.60000000000000009"/>
          <c:min val="0.30000000000000004"/>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latin typeface="Arial" panose="020B0604020202020204" pitchFamily="34" charset="0"/>
          <a:cs typeface="Arial" panose="020B0604020202020204" pitchFamily="34" charset="0"/>
        </a:defRPr>
      </a:pPr>
      <a:endParaRPr lang="en-US"/>
    </a:p>
  </c:txPr>
  <c:externalData r:id="rId4">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1800" dirty="0">
                <a:effectLst/>
              </a:rPr>
              <a:t>Number of risks</a:t>
            </a:r>
            <a:r>
              <a:rPr lang="en-US" sz="1800" baseline="0" dirty="0">
                <a:effectLst/>
              </a:rPr>
              <a:t> is higher for those who</a:t>
            </a:r>
            <a:r>
              <a:rPr lang="en-US" sz="1800" dirty="0">
                <a:effectLst/>
              </a:rPr>
              <a:t> met the perpetrator</a:t>
            </a:r>
            <a:endParaRPr lang="en-US" dirty="0">
              <a:effectLst/>
            </a:endParaRP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4.2438271604938273E-2"/>
          <c:y val="0.31106959409168045"/>
          <c:w val="0.91512345679012341"/>
          <c:h val="0.58625109312796975"/>
        </c:manualLayout>
      </c:layout>
      <c:lineChart>
        <c:grouping val="standard"/>
        <c:varyColors val="0"/>
        <c:ser>
          <c:idx val="0"/>
          <c:order val="0"/>
          <c:tx>
            <c:strRef>
              <c:f>Sheet1!$A$2</c:f>
              <c:strCache>
                <c:ptCount val="1"/>
                <c:pt idx="0">
                  <c:v>Met in real life</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2:$E$2</c:f>
              <c:numCache>
                <c:formatCode>0.0</c:formatCode>
                <c:ptCount val="4"/>
                <c:pt idx="0">
                  <c:v>2.6</c:v>
                </c:pt>
                <c:pt idx="1">
                  <c:v>4.0999999999999996</c:v>
                </c:pt>
                <c:pt idx="2">
                  <c:v>5.3</c:v>
                </c:pt>
                <c:pt idx="3">
                  <c:v>5.3</c:v>
                </c:pt>
              </c:numCache>
            </c:numRef>
          </c:val>
          <c:smooth val="0"/>
          <c:extLst>
            <c:ext xmlns:c16="http://schemas.microsoft.com/office/drawing/2014/chart" uri="{C3380CC4-5D6E-409C-BE32-E72D297353CC}">
              <c16:uniqueId val="{00000000-EB70-4885-B334-9F4B5C59110E}"/>
            </c:ext>
          </c:extLst>
        </c:ser>
        <c:ser>
          <c:idx val="1"/>
          <c:order val="1"/>
          <c:tx>
            <c:strRef>
              <c:f>Sheet1!$A$3</c:f>
              <c:strCache>
                <c:ptCount val="1"/>
                <c:pt idx="0">
                  <c:v>Not met in real life</c:v>
                </c:pt>
              </c:strCache>
            </c:strRef>
          </c:tx>
          <c:spPr>
            <a:ln w="76200" cap="rnd">
              <a:solidFill>
                <a:srgbClr val="28608C"/>
              </a:solidFill>
              <a:round/>
            </a:ln>
            <a:effectLst/>
          </c:spPr>
          <c:marker>
            <c:symbol val="circle"/>
            <c:size val="14"/>
            <c:spPr>
              <a:solidFill>
                <a:schemeClr val="tx1"/>
              </a:solidFill>
              <a:ln w="9525">
                <a:solidFill>
                  <a:schemeClr val="accent2"/>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4"/>
                <c:pt idx="0">
                  <c:v>2016</c:v>
                </c:pt>
                <c:pt idx="1">
                  <c:v>2017</c:v>
                </c:pt>
                <c:pt idx="2">
                  <c:v>2018</c:v>
                </c:pt>
                <c:pt idx="3">
                  <c:v>2019</c:v>
                </c:pt>
              </c:strCache>
            </c:strRef>
          </c:cat>
          <c:val>
            <c:numRef>
              <c:f>Sheet1!$B$3:$E$3</c:f>
              <c:numCache>
                <c:formatCode>0.0</c:formatCode>
                <c:ptCount val="4"/>
                <c:pt idx="0">
                  <c:v>2</c:v>
                </c:pt>
                <c:pt idx="1">
                  <c:v>2.4</c:v>
                </c:pt>
                <c:pt idx="2">
                  <c:v>3</c:v>
                </c:pt>
                <c:pt idx="3">
                  <c:v>3</c:v>
                </c:pt>
              </c:numCache>
            </c:numRef>
          </c:val>
          <c:smooth val="0"/>
          <c:extLst>
            <c:ext xmlns:c16="http://schemas.microsoft.com/office/drawing/2014/chart" uri="{C3380CC4-5D6E-409C-BE32-E72D297353CC}">
              <c16:uniqueId val="{00000001-EB70-4885-B334-9F4B5C59110E}"/>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scaling>
        <c:delete val="1"/>
        <c:axPos val="l"/>
        <c:numFmt formatCode="0.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r>
              <a:rPr lang="en-US" baseline="0" dirty="0">
                <a:latin typeface="Arial" panose="020B0604020202020204" pitchFamily="34" charset="0"/>
                <a:cs typeface="Arial" panose="020B0604020202020204" pitchFamily="34" charset="0"/>
              </a:rPr>
              <a:t>Consequences are higher for those who met the perpetrator</a:t>
            </a:r>
            <a:endParaRPr lang="en-US"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192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30937998232939784"/>
          <c:w val="0.87533831325688249"/>
          <c:h val="0.58794070489025252"/>
        </c:manualLayout>
      </c:layout>
      <c:lineChart>
        <c:grouping val="standard"/>
        <c:varyColors val="0"/>
        <c:ser>
          <c:idx val="0"/>
          <c:order val="0"/>
          <c:tx>
            <c:strRef>
              <c:f>Sheet1!$A$2</c:f>
              <c:strCache>
                <c:ptCount val="1"/>
                <c:pt idx="0">
                  <c:v>Met perpetrator</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85</c:v>
                </c:pt>
                <c:pt idx="1">
                  <c:v>0.88</c:v>
                </c:pt>
                <c:pt idx="2">
                  <c:v>0.88</c:v>
                </c:pt>
              </c:numCache>
            </c:numRef>
          </c:val>
          <c:smooth val="0"/>
          <c:extLst>
            <c:ext xmlns:c16="http://schemas.microsoft.com/office/drawing/2014/chart" uri="{C3380CC4-5D6E-409C-BE32-E72D297353CC}">
              <c16:uniqueId val="{00000000-4863-42A9-8656-148814F7880F}"/>
            </c:ext>
          </c:extLst>
        </c:ser>
        <c:ser>
          <c:idx val="1"/>
          <c:order val="1"/>
          <c:tx>
            <c:strRef>
              <c:f>Sheet1!$A$3</c:f>
              <c:strCache>
                <c:ptCount val="1"/>
                <c:pt idx="0">
                  <c:v>No met perpetrator</c:v>
                </c:pt>
              </c:strCache>
            </c:strRef>
          </c:tx>
          <c:spPr>
            <a:ln w="76200" cap="rnd">
              <a:solidFill>
                <a:srgbClr val="28608C"/>
              </a:solidFill>
              <a:round/>
            </a:ln>
            <a:effectLst/>
          </c:spPr>
          <c:marker>
            <c:symbol val="circle"/>
            <c:size val="14"/>
            <c:spPr>
              <a:solidFill>
                <a:schemeClr val="tx1"/>
              </a:solidFill>
              <a:ln w="9525">
                <a:solidFill>
                  <a:schemeClr val="accent2"/>
                </a:solidFill>
              </a:ln>
              <a:effectLst/>
            </c:spPr>
          </c:marker>
          <c:dLbls>
            <c:spPr>
              <a:noFill/>
              <a:ln>
                <a:noFill/>
              </a:ln>
              <a:effectLst/>
            </c:spPr>
            <c:txPr>
              <a:bodyPr rot="0" spcFirstLastPara="1" vertOverflow="ellipsis" vert="horz" wrap="square" anchor="ctr" anchorCtr="1"/>
              <a:lstStyle/>
              <a:p>
                <a:pPr>
                  <a:defRPr sz="16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56000000000000005</c:v>
                </c:pt>
                <c:pt idx="1">
                  <c:v>0.67</c:v>
                </c:pt>
                <c:pt idx="2">
                  <c:v>0.7</c:v>
                </c:pt>
              </c:numCache>
            </c:numRef>
          </c:val>
          <c:smooth val="0"/>
          <c:extLst>
            <c:ext xmlns:c16="http://schemas.microsoft.com/office/drawing/2014/chart" uri="{C3380CC4-5D6E-409C-BE32-E72D297353CC}">
              <c16:uniqueId val="{00000001-4863-42A9-8656-148814F7880F}"/>
            </c:ext>
          </c:extLst>
        </c:ser>
        <c:dLbls>
          <c:dLblPos val="ctr"/>
          <c:showLegendKey val="0"/>
          <c:showVal val="1"/>
          <c:showCatName val="0"/>
          <c:showSerName val="0"/>
          <c:showPercent val="0"/>
          <c:showBubbleSize val="0"/>
        </c:dLbls>
        <c:marker val="1"/>
        <c:smooth val="0"/>
        <c:axId val="649088760"/>
        <c:axId val="649089080"/>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1"/>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76A4-4D63-B099-17211149C5EF}"/>
              </c:ext>
            </c:extLst>
          </c:dPt>
          <c:dPt>
            <c:idx val="1"/>
            <c:bubble3D val="0"/>
            <c:spPr>
              <a:solidFill>
                <a:schemeClr val="bg1"/>
              </a:solidFill>
            </c:spPr>
            <c:extLst>
              <c:ext xmlns:c16="http://schemas.microsoft.com/office/drawing/2014/chart" uri="{C3380CC4-5D6E-409C-BE32-E72D297353CC}">
                <c16:uniqueId val="{00000003-76A4-4D63-B099-17211149C5EF}"/>
              </c:ext>
            </c:extLst>
          </c:dPt>
          <c:cat>
            <c:strRef>
              <c:f>Sheet1!$A$2:$A$3</c:f>
              <c:strCache>
                <c:ptCount val="2"/>
                <c:pt idx="0">
                  <c:v>1st Qtr</c:v>
                </c:pt>
                <c:pt idx="1">
                  <c:v>2nd Qtr</c:v>
                </c:pt>
              </c:strCache>
            </c:strRef>
          </c:cat>
          <c:val>
            <c:numRef>
              <c:f>Sheet1!$B$2:$B$3</c:f>
              <c:numCache>
                <c:formatCode>General</c:formatCode>
                <c:ptCount val="2"/>
                <c:pt idx="0">
                  <c:v>76</c:v>
                </c:pt>
                <c:pt idx="1">
                  <c:v>24</c:v>
                </c:pt>
              </c:numCache>
            </c:numRef>
          </c:val>
          <c:extLst>
            <c:ext xmlns:c16="http://schemas.microsoft.com/office/drawing/2014/chart" uri="{C3380CC4-5D6E-409C-BE32-E72D297353CC}">
              <c16:uniqueId val="{00000004-76A4-4D63-B099-17211149C5E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dirty="0"/>
              <a:t>7 biggest changes</a:t>
            </a: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A$2</c:f>
              <c:strCache>
                <c:ptCount val="1"/>
                <c:pt idx="0">
                  <c:v>Was less likely to participate in social media, blogs and forums</c:v>
                </c:pt>
              </c:strCache>
            </c:strRef>
          </c:tx>
          <c:spPr>
            <a:ln w="50800" cap="rnd">
              <a:solidFill>
                <a:schemeClr val="accent1"/>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1E79-431A-A197-A494B4EE5F86}"/>
                </c:ext>
              </c:extLst>
            </c:dLbl>
            <c:dLbl>
              <c:idx val="1"/>
              <c:delete val="1"/>
              <c:extLst>
                <c:ext xmlns:c15="http://schemas.microsoft.com/office/drawing/2012/chart" uri="{CE6537A1-D6FC-4f65-9D91-7224C49458BB}"/>
                <c:ext xmlns:c16="http://schemas.microsoft.com/office/drawing/2014/chart" uri="{C3380CC4-5D6E-409C-BE32-E72D297353CC}">
                  <c16:uniqueId val="{00000007-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23</c:v>
                </c:pt>
                <c:pt idx="1">
                  <c:v>0.27</c:v>
                </c:pt>
                <c:pt idx="2">
                  <c:v>0.39</c:v>
                </c:pt>
              </c:numCache>
            </c:numRef>
          </c:val>
          <c:smooth val="0"/>
          <c:extLst>
            <c:ext xmlns:c16="http://schemas.microsoft.com/office/drawing/2014/chart" uri="{C3380CC4-5D6E-409C-BE32-E72D297353CC}">
              <c16:uniqueId val="{00000000-1E79-431A-A197-A494B4EE5F86}"/>
            </c:ext>
          </c:extLst>
        </c:ser>
        <c:ser>
          <c:idx val="1"/>
          <c:order val="1"/>
          <c:tx>
            <c:strRef>
              <c:f>Sheet1!$A$3</c:f>
              <c:strCache>
                <c:ptCount val="1"/>
                <c:pt idx="0">
                  <c:v>Personal reputation was damaged</c:v>
                </c:pt>
              </c:strCache>
            </c:strRef>
          </c:tx>
          <c:spPr>
            <a:ln w="50800" cap="rnd">
              <a:solidFill>
                <a:schemeClr val="accent2"/>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5-1E79-431A-A197-A494B4EE5F86}"/>
                </c:ext>
              </c:extLst>
            </c:dLbl>
            <c:dLbl>
              <c:idx val="1"/>
              <c:delete val="1"/>
              <c:extLst>
                <c:ext xmlns:c15="http://schemas.microsoft.com/office/drawing/2012/chart" uri="{CE6537A1-D6FC-4f65-9D91-7224C49458BB}"/>
                <c:ext xmlns:c16="http://schemas.microsoft.com/office/drawing/2014/chart" uri="{C3380CC4-5D6E-409C-BE32-E72D297353CC}">
                  <c16:uniqueId val="{00000014-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11</c:v>
                </c:pt>
                <c:pt idx="1">
                  <c:v>0.16</c:v>
                </c:pt>
                <c:pt idx="2">
                  <c:v>0.25</c:v>
                </c:pt>
              </c:numCache>
            </c:numRef>
          </c:val>
          <c:smooth val="0"/>
          <c:extLst>
            <c:ext xmlns:c16="http://schemas.microsoft.com/office/drawing/2014/chart" uri="{C3380CC4-5D6E-409C-BE32-E72D297353CC}">
              <c16:uniqueId val="{00000001-1E79-431A-A197-A494B4EE5F86}"/>
            </c:ext>
          </c:extLst>
        </c:ser>
        <c:ser>
          <c:idx val="2"/>
          <c:order val="2"/>
          <c:tx>
            <c:strRef>
              <c:f>Sheet1!$A$4</c:f>
              <c:strCache>
                <c:ptCount val="1"/>
                <c:pt idx="0">
                  <c:v>Lost money</c:v>
                </c:pt>
              </c:strCache>
            </c:strRef>
          </c:tx>
          <c:spPr>
            <a:ln w="50800"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1E79-431A-A197-A494B4EE5F86}"/>
                </c:ext>
              </c:extLst>
            </c:dLbl>
            <c:dLbl>
              <c:idx val="1"/>
              <c:delete val="1"/>
              <c:extLst>
                <c:ext xmlns:c15="http://schemas.microsoft.com/office/drawing/2012/chart" uri="{CE6537A1-D6FC-4f65-9D91-7224C49458BB}"/>
                <c:ext xmlns:c16="http://schemas.microsoft.com/office/drawing/2014/chart" uri="{C3380CC4-5D6E-409C-BE32-E72D297353CC}">
                  <c16:uniqueId val="{00000008-1E79-431A-A197-A494B4EE5F86}"/>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4:$D$4</c:f>
              <c:numCache>
                <c:formatCode>0%</c:formatCode>
                <c:ptCount val="3"/>
                <c:pt idx="0">
                  <c:v>0.14000000000000001</c:v>
                </c:pt>
                <c:pt idx="1">
                  <c:v>0.15</c:v>
                </c:pt>
                <c:pt idx="2">
                  <c:v>0.24</c:v>
                </c:pt>
              </c:numCache>
            </c:numRef>
          </c:val>
          <c:smooth val="0"/>
          <c:extLst>
            <c:ext xmlns:c16="http://schemas.microsoft.com/office/drawing/2014/chart" uri="{C3380CC4-5D6E-409C-BE32-E72D297353CC}">
              <c16:uniqueId val="{00000002-1E79-431A-A197-A494B4EE5F86}"/>
            </c:ext>
          </c:extLst>
        </c:ser>
        <c:ser>
          <c:idx val="3"/>
          <c:order val="3"/>
          <c:tx>
            <c:strRef>
              <c:f>Sheet1!$A$5</c:f>
              <c:strCache>
                <c:ptCount val="1"/>
                <c:pt idx="0">
                  <c:v>Had thoughts of suicide</c:v>
                </c:pt>
              </c:strCache>
            </c:strRef>
          </c:tx>
          <c:spPr>
            <a:ln w="50800" cap="rnd">
              <a:solidFill>
                <a:schemeClr val="accent4"/>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1E79-431A-A197-A494B4EE5F86}"/>
                </c:ext>
              </c:extLst>
            </c:dLbl>
            <c:dLbl>
              <c:idx val="1"/>
              <c:delete val="1"/>
              <c:extLst>
                <c:ext xmlns:c15="http://schemas.microsoft.com/office/drawing/2012/chart" uri="{CE6537A1-D6FC-4f65-9D91-7224C49458BB}"/>
                <c:ext xmlns:c16="http://schemas.microsoft.com/office/drawing/2014/chart" uri="{C3380CC4-5D6E-409C-BE32-E72D297353CC}">
                  <c16:uniqueId val="{0000000A-1E79-431A-A197-A494B4EE5F86}"/>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5:$D$5</c:f>
              <c:numCache>
                <c:formatCode>0%</c:formatCode>
                <c:ptCount val="3"/>
                <c:pt idx="0">
                  <c:v>7.0000000000000007E-2</c:v>
                </c:pt>
                <c:pt idx="1">
                  <c:v>0.09</c:v>
                </c:pt>
                <c:pt idx="2">
                  <c:v>0.14000000000000001</c:v>
                </c:pt>
              </c:numCache>
            </c:numRef>
          </c:val>
          <c:smooth val="0"/>
          <c:extLst>
            <c:ext xmlns:c16="http://schemas.microsoft.com/office/drawing/2014/chart" uri="{C3380CC4-5D6E-409C-BE32-E72D297353CC}">
              <c16:uniqueId val="{00000003-1E79-431A-A197-A494B4EE5F86}"/>
            </c:ext>
          </c:extLst>
        </c:ser>
        <c:ser>
          <c:idx val="4"/>
          <c:order val="4"/>
          <c:tx>
            <c:strRef>
              <c:f>Sheet1!$A$6</c:f>
              <c:strCache>
                <c:ptCount val="1"/>
                <c:pt idx="0">
                  <c:v>Quit my job</c:v>
                </c:pt>
              </c:strCache>
            </c:strRef>
          </c:tx>
          <c:spPr>
            <a:ln w="50800" cap="rnd">
              <a:solidFill>
                <a:schemeClr val="accent5"/>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C-1E79-431A-A197-A494B4EE5F86}"/>
                </c:ext>
              </c:extLst>
            </c:dLbl>
            <c:dLbl>
              <c:idx val="2"/>
              <c:layout>
                <c:manualLayout>
                  <c:x val="0"/>
                  <c:y val="2.8018007345101188E-2"/>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extLst>
                <c:ext xmlns:c15="http://schemas.microsoft.com/office/drawing/2012/chart" uri="{CE6537A1-D6FC-4f65-9D91-7224C49458BB}">
                  <c15:layout>
                    <c:manualLayout>
                      <c:w val="9.5364878218507296E-2"/>
                      <c:h val="6.0966943955601989E-2"/>
                    </c:manualLayout>
                  </c15:layout>
                </c:ext>
                <c:ext xmlns:c16="http://schemas.microsoft.com/office/drawing/2014/chart" uri="{C3380CC4-5D6E-409C-BE32-E72D297353CC}">
                  <c16:uniqueId val="{0000000E-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6:$D$6</c:f>
              <c:numCache>
                <c:formatCode>0%</c:formatCode>
                <c:ptCount val="3"/>
                <c:pt idx="0">
                  <c:v>0.03</c:v>
                </c:pt>
                <c:pt idx="1">
                  <c:v>0.05</c:v>
                </c:pt>
                <c:pt idx="2">
                  <c:v>0.13</c:v>
                </c:pt>
              </c:numCache>
            </c:numRef>
          </c:val>
          <c:smooth val="0"/>
          <c:extLst>
            <c:ext xmlns:c16="http://schemas.microsoft.com/office/drawing/2014/chart" uri="{C3380CC4-5D6E-409C-BE32-E72D297353CC}">
              <c16:uniqueId val="{00000004-1E79-431A-A197-A494B4EE5F86}"/>
            </c:ext>
          </c:extLst>
        </c:ser>
        <c:ser>
          <c:idx val="5"/>
          <c:order val="5"/>
          <c:tx>
            <c:strRef>
              <c:f>Sheet1!$A$7</c:f>
              <c:strCache>
                <c:ptCount val="1"/>
                <c:pt idx="0">
                  <c:v>Was physical harmed offline</c:v>
                </c:pt>
              </c:strCache>
            </c:strRef>
          </c:tx>
          <c:spPr>
            <a:ln w="50800" cap="rnd">
              <a:solidFill>
                <a:schemeClr val="accent6"/>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1E79-431A-A197-A494B4EE5F86}"/>
                </c:ext>
              </c:extLst>
            </c:dLbl>
            <c:dLbl>
              <c:idx val="1"/>
              <c:delete val="1"/>
              <c:extLst>
                <c:ext xmlns:c15="http://schemas.microsoft.com/office/drawing/2012/chart" uri="{CE6537A1-D6FC-4f65-9D91-7224C49458BB}"/>
                <c:ext xmlns:c16="http://schemas.microsoft.com/office/drawing/2014/chart" uri="{C3380CC4-5D6E-409C-BE32-E72D297353CC}">
                  <c16:uniqueId val="{0000000B-1E79-431A-A197-A494B4EE5F86}"/>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DB2-48E6-A5E2-AB2C68DB42FA}"/>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7:$D$7</c:f>
              <c:numCache>
                <c:formatCode>0%</c:formatCode>
                <c:ptCount val="3"/>
                <c:pt idx="0">
                  <c:v>0.05</c:v>
                </c:pt>
                <c:pt idx="1">
                  <c:v>7.0000000000000007E-2</c:v>
                </c:pt>
                <c:pt idx="2">
                  <c:v>0.09</c:v>
                </c:pt>
              </c:numCache>
            </c:numRef>
          </c:val>
          <c:smooth val="0"/>
          <c:extLst>
            <c:ext xmlns:c16="http://schemas.microsoft.com/office/drawing/2014/chart" uri="{C3380CC4-5D6E-409C-BE32-E72D297353CC}">
              <c16:uniqueId val="{00000005-1E79-431A-A197-A494B4EE5F86}"/>
            </c:ext>
          </c:extLst>
        </c:ser>
        <c:ser>
          <c:idx val="6"/>
          <c:order val="6"/>
          <c:tx>
            <c:strRef>
              <c:f>Sheet1!$A$8</c:f>
              <c:strCache>
                <c:ptCount val="1"/>
                <c:pt idx="0">
                  <c:v>Intentionally spent less time at school</c:v>
                </c:pt>
              </c:strCache>
            </c:strRef>
          </c:tx>
          <c:spPr>
            <a:ln w="50800" cap="rnd">
              <a:solidFill>
                <a:schemeClr val="accent1">
                  <a:lumMod val="60000"/>
                </a:schemeClr>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9-1E79-431A-A197-A494B4EE5F86}"/>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1E79-431A-A197-A494B4EE5F86}"/>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8:$D$8</c:f>
              <c:numCache>
                <c:formatCode>0%</c:formatCode>
                <c:ptCount val="3"/>
                <c:pt idx="0">
                  <c:v>0.11</c:v>
                </c:pt>
                <c:pt idx="1">
                  <c:v>0.12</c:v>
                </c:pt>
                <c:pt idx="2">
                  <c:v>0.15</c:v>
                </c:pt>
              </c:numCache>
            </c:numRef>
          </c:val>
          <c:smooth val="0"/>
          <c:extLst>
            <c:ext xmlns:c16="http://schemas.microsoft.com/office/drawing/2014/chart" uri="{C3380CC4-5D6E-409C-BE32-E72D297353CC}">
              <c16:uniqueId val="{00000006-1E79-431A-A197-A494B4EE5F86}"/>
            </c:ext>
          </c:extLst>
        </c:ser>
        <c:dLbls>
          <c:dLblPos val="t"/>
          <c:showLegendKey val="0"/>
          <c:showVal val="1"/>
          <c:showCatName val="0"/>
          <c:showSerName val="0"/>
          <c:showPercent val="0"/>
          <c:showBubbleSize val="0"/>
        </c:dLbls>
        <c:smooth val="0"/>
        <c:axId val="708610952"/>
        <c:axId val="708606152"/>
      </c:lineChart>
      <c:catAx>
        <c:axId val="708610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08606152"/>
        <c:crosses val="autoZero"/>
        <c:auto val="1"/>
        <c:lblAlgn val="ctr"/>
        <c:lblOffset val="100"/>
        <c:noMultiLvlLbl val="0"/>
      </c:catAx>
      <c:valAx>
        <c:axId val="708606152"/>
        <c:scaling>
          <c:orientation val="minMax"/>
          <c:max val="0.4"/>
        </c:scaling>
        <c:delete val="1"/>
        <c:axPos val="l"/>
        <c:numFmt formatCode="0%" sourceLinked="1"/>
        <c:majorTickMark val="out"/>
        <c:minorTickMark val="none"/>
        <c:tickLblPos val="nextTo"/>
        <c:crossAx val="708610952"/>
        <c:crosses val="autoZero"/>
        <c:crossBetween val="between"/>
        <c:minorUnit val="5.000000000000001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800" dirty="0"/>
              <a:t>7 biggest changes since 2017</a:t>
            </a: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Sheet1!$A$2</c:f>
              <c:strCache>
                <c:ptCount val="1"/>
                <c:pt idx="0">
                  <c:v>I stood up for myself</c:v>
                </c:pt>
              </c:strCache>
            </c:strRef>
          </c:tx>
          <c:spPr>
            <a:ln w="50800" cap="rnd">
              <a:solidFill>
                <a:schemeClr val="accent1"/>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CB1-45DC-BC4B-37A459D4735D}"/>
                </c:ext>
              </c:extLst>
            </c:dLbl>
            <c:dLbl>
              <c:idx val="1"/>
              <c:delete val="1"/>
              <c:extLst>
                <c:ext xmlns:c15="http://schemas.microsoft.com/office/drawing/2012/chart" uri="{CE6537A1-D6FC-4f65-9D91-7224C49458BB}"/>
                <c:ext xmlns:c16="http://schemas.microsoft.com/office/drawing/2014/chart" uri="{C3380CC4-5D6E-409C-BE32-E72D297353CC}">
                  <c16:uniqueId val="{00000001-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3</c:v>
                </c:pt>
                <c:pt idx="1">
                  <c:v>0.31</c:v>
                </c:pt>
                <c:pt idx="2">
                  <c:v>0.28000000000000003</c:v>
                </c:pt>
              </c:numCache>
            </c:numRef>
          </c:val>
          <c:smooth val="0"/>
          <c:extLst>
            <c:ext xmlns:c16="http://schemas.microsoft.com/office/drawing/2014/chart" uri="{C3380CC4-5D6E-409C-BE32-E72D297353CC}">
              <c16:uniqueId val="{00000002-DCB1-45DC-BC4B-37A459D4735D}"/>
            </c:ext>
          </c:extLst>
        </c:ser>
        <c:ser>
          <c:idx val="1"/>
          <c:order val="1"/>
          <c:tx>
            <c:strRef>
              <c:f>Sheet1!$A$3</c:f>
              <c:strCache>
                <c:ptCount val="1"/>
                <c:pt idx="0">
                  <c:v>I paused before replying to someone I disagreed with online</c:v>
                </c:pt>
              </c:strCache>
            </c:strRef>
          </c:tx>
          <c:spPr>
            <a:ln w="50800" cap="rnd">
              <a:solidFill>
                <a:schemeClr val="accent2"/>
              </a:solidFill>
              <a:round/>
            </a:ln>
            <a:effectLst/>
          </c:spPr>
          <c:marker>
            <c:symbol val="none"/>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CB1-45DC-BC4B-37A459D4735D}"/>
                </c:ext>
              </c:extLst>
            </c:dLbl>
            <c:dLbl>
              <c:idx val="1"/>
              <c:delete val="1"/>
              <c:extLst>
                <c:ext xmlns:c15="http://schemas.microsoft.com/office/drawing/2012/chart" uri="{CE6537A1-D6FC-4f65-9D91-7224C49458BB}"/>
                <c:ext xmlns:c16="http://schemas.microsoft.com/office/drawing/2014/chart" uri="{C3380CC4-5D6E-409C-BE32-E72D297353CC}">
                  <c16:uniqueId val="{00000004-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28999999999999998</c:v>
                </c:pt>
                <c:pt idx="1">
                  <c:v>0.24</c:v>
                </c:pt>
                <c:pt idx="2">
                  <c:v>0.21</c:v>
                </c:pt>
              </c:numCache>
            </c:numRef>
          </c:val>
          <c:smooth val="0"/>
          <c:extLst>
            <c:ext xmlns:c16="http://schemas.microsoft.com/office/drawing/2014/chart" uri="{C3380CC4-5D6E-409C-BE32-E72D297353CC}">
              <c16:uniqueId val="{00000005-DCB1-45DC-BC4B-37A459D4735D}"/>
            </c:ext>
          </c:extLst>
        </c:ser>
        <c:ser>
          <c:idx val="2"/>
          <c:order val="2"/>
          <c:tx>
            <c:strRef>
              <c:f>Sheet1!$A$4</c:f>
              <c:strCache>
                <c:ptCount val="1"/>
                <c:pt idx="0">
                  <c:v>I defended someone who was treated unsafe or uncivil online</c:v>
                </c:pt>
              </c:strCache>
            </c:strRef>
          </c:tx>
          <c:spPr>
            <a:ln w="50800" cap="rnd">
              <a:solidFill>
                <a:schemeClr val="accent3"/>
              </a:solidFill>
              <a:round/>
            </a:ln>
            <a:effectLst/>
          </c:spPr>
          <c:marker>
            <c:symbol val="none"/>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CB1-45DC-BC4B-37A459D4735D}"/>
                </c:ext>
              </c:extLst>
            </c:dLbl>
            <c:dLbl>
              <c:idx val="1"/>
              <c:delete val="1"/>
              <c:extLst>
                <c:ext xmlns:c15="http://schemas.microsoft.com/office/drawing/2012/chart" uri="{CE6537A1-D6FC-4f65-9D91-7224C49458BB}"/>
                <c:ext xmlns:c16="http://schemas.microsoft.com/office/drawing/2014/chart" uri="{C3380CC4-5D6E-409C-BE32-E72D297353CC}">
                  <c16:uniqueId val="{00000007-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4:$D$4</c:f>
              <c:numCache>
                <c:formatCode>0%</c:formatCode>
                <c:ptCount val="3"/>
                <c:pt idx="0">
                  <c:v>0.22</c:v>
                </c:pt>
                <c:pt idx="1">
                  <c:v>0.18</c:v>
                </c:pt>
                <c:pt idx="2">
                  <c:v>0.19</c:v>
                </c:pt>
              </c:numCache>
            </c:numRef>
          </c:val>
          <c:smooth val="0"/>
          <c:extLst>
            <c:ext xmlns:c16="http://schemas.microsoft.com/office/drawing/2014/chart" uri="{C3380CC4-5D6E-409C-BE32-E72D297353CC}">
              <c16:uniqueId val="{00000009-DCB1-45DC-BC4B-37A459D4735D}"/>
            </c:ext>
          </c:extLst>
        </c:ser>
        <c:ser>
          <c:idx val="3"/>
          <c:order val="3"/>
          <c:tx>
            <c:strRef>
              <c:f>Sheet1!$A$5</c:f>
              <c:strCache>
                <c:ptCount val="1"/>
                <c:pt idx="0">
                  <c:v>I showed respect for other people's point of view</c:v>
                </c:pt>
              </c:strCache>
            </c:strRef>
          </c:tx>
          <c:spPr>
            <a:ln w="50800" cap="rnd">
              <a:solidFill>
                <a:schemeClr val="accent4"/>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0B-DCB1-45DC-BC4B-37A459D4735D}"/>
                </c:ext>
              </c:extLst>
            </c:dLbl>
            <c:dLbl>
              <c:idx val="2"/>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5:$D$5</c:f>
              <c:numCache>
                <c:formatCode>0%</c:formatCode>
                <c:ptCount val="3"/>
                <c:pt idx="0">
                  <c:v>0.19</c:v>
                </c:pt>
                <c:pt idx="1">
                  <c:v>0.16</c:v>
                </c:pt>
                <c:pt idx="2">
                  <c:v>0.16</c:v>
                </c:pt>
              </c:numCache>
            </c:numRef>
          </c:val>
          <c:smooth val="0"/>
          <c:extLst>
            <c:ext xmlns:c16="http://schemas.microsoft.com/office/drawing/2014/chart" uri="{C3380CC4-5D6E-409C-BE32-E72D297353CC}">
              <c16:uniqueId val="{0000000D-DCB1-45DC-BC4B-37A459D4735D}"/>
            </c:ext>
          </c:extLst>
        </c:ser>
        <c:ser>
          <c:idx val="4"/>
          <c:order val="4"/>
          <c:tx>
            <c:strRef>
              <c:f>Sheet1!$A$6</c:f>
              <c:strCache>
                <c:ptCount val="1"/>
                <c:pt idx="0">
                  <c:v>I treated the other person with dignity and respect</c:v>
                </c:pt>
              </c:strCache>
            </c:strRef>
          </c:tx>
          <c:spPr>
            <a:ln w="50800" cap="rnd">
              <a:solidFill>
                <a:schemeClr val="accent5"/>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00-5A80-4826-946C-66D70A76F6B7}"/>
                </c:ext>
              </c:extLst>
            </c:dLbl>
            <c:dLbl>
              <c:idx val="1"/>
              <c:delete val="1"/>
              <c:extLst>
                <c:ext xmlns:c15="http://schemas.microsoft.com/office/drawing/2012/chart" uri="{CE6537A1-D6FC-4f65-9D91-7224C49458BB}"/>
                <c:ext xmlns:c16="http://schemas.microsoft.com/office/drawing/2014/chart" uri="{C3380CC4-5D6E-409C-BE32-E72D297353CC}">
                  <c16:uniqueId val="{0000000E-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6:$D$6</c:f>
              <c:numCache>
                <c:formatCode>0%</c:formatCode>
                <c:ptCount val="3"/>
                <c:pt idx="0">
                  <c:v>0.19</c:v>
                </c:pt>
                <c:pt idx="1">
                  <c:v>0.15</c:v>
                </c:pt>
                <c:pt idx="2">
                  <c:v>0.14000000000000001</c:v>
                </c:pt>
              </c:numCache>
            </c:numRef>
          </c:val>
          <c:smooth val="0"/>
          <c:extLst>
            <c:ext xmlns:c16="http://schemas.microsoft.com/office/drawing/2014/chart" uri="{C3380CC4-5D6E-409C-BE32-E72D297353CC}">
              <c16:uniqueId val="{00000010-DCB1-45DC-BC4B-37A459D4735D}"/>
            </c:ext>
          </c:extLst>
        </c:ser>
        <c:ser>
          <c:idx val="5"/>
          <c:order val="5"/>
          <c:tx>
            <c:strRef>
              <c:f>Sheet1!$A$7</c:f>
              <c:strCache>
                <c:ptCount val="1"/>
                <c:pt idx="0">
                  <c:v>Reduced the amount of personal information I share online</c:v>
                </c:pt>
              </c:strCache>
            </c:strRef>
          </c:tx>
          <c:spPr>
            <a:ln w="50800" cap="rnd">
              <a:solidFill>
                <a:schemeClr val="accent6"/>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D-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7:$D$7</c:f>
              <c:numCache>
                <c:formatCode>0%</c:formatCode>
                <c:ptCount val="3"/>
                <c:pt idx="0">
                  <c:v>0.39734043257680507</c:v>
                </c:pt>
                <c:pt idx="1">
                  <c:v>0.37344335791700961</c:v>
                </c:pt>
                <c:pt idx="2">
                  <c:v>0.35199999999999998</c:v>
                </c:pt>
              </c:numCache>
            </c:numRef>
          </c:val>
          <c:smooth val="0"/>
          <c:extLst>
            <c:ext xmlns:c16="http://schemas.microsoft.com/office/drawing/2014/chart" uri="{C3380CC4-5D6E-409C-BE32-E72D297353CC}">
              <c16:uniqueId val="{0000001B-DCB1-45DC-BC4B-37A459D4735D}"/>
            </c:ext>
          </c:extLst>
        </c:ser>
        <c:ser>
          <c:idx val="6"/>
          <c:order val="6"/>
          <c:tx>
            <c:strRef>
              <c:f>Sheet1!$A$8</c:f>
              <c:strCache>
                <c:ptCount val="1"/>
                <c:pt idx="0">
                  <c:v>I used tighter privacy settings on social media</c:v>
                </c:pt>
              </c:strCache>
            </c:strRef>
          </c:tx>
          <c:spPr>
            <a:ln w="50800" cap="rnd">
              <a:solidFill>
                <a:schemeClr val="accent1">
                  <a:lumMod val="60000"/>
                </a:schemeClr>
              </a:solidFill>
              <a:round/>
            </a:ln>
            <a:effectLst/>
          </c:spPr>
          <c:marker>
            <c:symbol val="none"/>
          </c:marker>
          <c:dLbls>
            <c:dLbl>
              <c:idx val="1"/>
              <c:delete val="1"/>
              <c:extLst>
                <c:ext xmlns:c15="http://schemas.microsoft.com/office/drawing/2012/chart" uri="{CE6537A1-D6FC-4f65-9D91-7224C49458BB}"/>
                <c:ext xmlns:c16="http://schemas.microsoft.com/office/drawing/2014/chart" uri="{C3380CC4-5D6E-409C-BE32-E72D297353CC}">
                  <c16:uniqueId val="{0000001E-DCB1-45DC-BC4B-37A459D473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8:$D$8</c:f>
              <c:numCache>
                <c:formatCode>0%</c:formatCode>
                <c:ptCount val="3"/>
                <c:pt idx="0">
                  <c:v>0.38826731192408043</c:v>
                </c:pt>
                <c:pt idx="1">
                  <c:v>0.35758557824647896</c:v>
                </c:pt>
                <c:pt idx="2">
                  <c:v>0.33900000000000002</c:v>
                </c:pt>
              </c:numCache>
            </c:numRef>
          </c:val>
          <c:smooth val="0"/>
          <c:extLst>
            <c:ext xmlns:c16="http://schemas.microsoft.com/office/drawing/2014/chart" uri="{C3380CC4-5D6E-409C-BE32-E72D297353CC}">
              <c16:uniqueId val="{0000001C-DCB1-45DC-BC4B-37A459D4735D}"/>
            </c:ext>
          </c:extLst>
        </c:ser>
        <c:dLbls>
          <c:dLblPos val="t"/>
          <c:showLegendKey val="0"/>
          <c:showVal val="1"/>
          <c:showCatName val="0"/>
          <c:showSerName val="0"/>
          <c:showPercent val="0"/>
          <c:showBubbleSize val="0"/>
        </c:dLbls>
        <c:smooth val="0"/>
        <c:axId val="708610952"/>
        <c:axId val="708606152"/>
      </c:lineChart>
      <c:catAx>
        <c:axId val="70861095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708606152"/>
        <c:crosses val="autoZero"/>
        <c:auto val="1"/>
        <c:lblAlgn val="ctr"/>
        <c:lblOffset val="100"/>
        <c:noMultiLvlLbl val="0"/>
      </c:catAx>
      <c:valAx>
        <c:axId val="708606152"/>
        <c:scaling>
          <c:orientation val="minMax"/>
          <c:max val="0.45"/>
        </c:scaling>
        <c:delete val="0"/>
        <c:axPos val="l"/>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708610952"/>
        <c:crosses val="autoZero"/>
        <c:crossBetween val="between"/>
        <c:minorUnit val="5.000000000000001E-2"/>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76A4-4D63-B099-17211149C5EF}"/>
              </c:ext>
            </c:extLst>
          </c:dPt>
          <c:dPt>
            <c:idx val="1"/>
            <c:bubble3D val="0"/>
            <c:spPr>
              <a:solidFill>
                <a:schemeClr val="bg1"/>
              </a:solidFill>
            </c:spPr>
            <c:extLst>
              <c:ext xmlns:c16="http://schemas.microsoft.com/office/drawing/2014/chart" uri="{C3380CC4-5D6E-409C-BE32-E72D297353CC}">
                <c16:uniqueId val="{00000003-76A4-4D63-B099-17211149C5EF}"/>
              </c:ext>
            </c:extLst>
          </c:dPt>
          <c:cat>
            <c:strRef>
              <c:f>Sheet1!$A$2:$A$3</c:f>
              <c:strCache>
                <c:ptCount val="2"/>
                <c:pt idx="0">
                  <c:v>1st Qtr</c:v>
                </c:pt>
                <c:pt idx="1">
                  <c:v>2nd Qtr</c:v>
                </c:pt>
              </c:strCache>
            </c:strRef>
          </c:cat>
          <c:val>
            <c:numRef>
              <c:f>Sheet1!$B$2:$B$3</c:f>
              <c:numCache>
                <c:formatCode>General</c:formatCode>
                <c:ptCount val="2"/>
                <c:pt idx="0">
                  <c:v>91</c:v>
                </c:pt>
                <c:pt idx="1">
                  <c:v>9</c:v>
                </c:pt>
              </c:numCache>
            </c:numRef>
          </c:val>
          <c:extLst>
            <c:ext xmlns:c16="http://schemas.microsoft.com/office/drawing/2014/chart" uri="{C3380CC4-5D6E-409C-BE32-E72D297353CC}">
              <c16:uniqueId val="{00000004-76A4-4D63-B099-17211149C5E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Bett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ullying</c:v>
                </c:pt>
                <c:pt idx="1">
                  <c:v>unwanted sexual contact</c:v>
                </c:pt>
                <c:pt idx="2">
                  <c:v>reputation attacked</c:v>
                </c:pt>
                <c:pt idx="3">
                  <c:v>unwanted contact</c:v>
                </c:pt>
              </c:strCache>
            </c:strRef>
          </c:cat>
          <c:val>
            <c:numRef>
              <c:f>Sheet1!$B$2:$B$5</c:f>
              <c:numCache>
                <c:formatCode>0%</c:formatCode>
                <c:ptCount val="4"/>
                <c:pt idx="0">
                  <c:v>0.25</c:v>
                </c:pt>
                <c:pt idx="1">
                  <c:v>0.23799999999999999</c:v>
                </c:pt>
                <c:pt idx="2">
                  <c:v>0.249</c:v>
                </c:pt>
                <c:pt idx="3">
                  <c:v>0.252</c:v>
                </c:pt>
              </c:numCache>
            </c:numRef>
          </c:val>
          <c:extLst>
            <c:ext xmlns:c16="http://schemas.microsoft.com/office/drawing/2014/chart" uri="{C3380CC4-5D6E-409C-BE32-E72D297353CC}">
              <c16:uniqueId val="{00000000-DF98-4E06-918E-A7A2F8DCF791}"/>
            </c:ext>
          </c:extLst>
        </c:ser>
        <c:ser>
          <c:idx val="1"/>
          <c:order val="1"/>
          <c:tx>
            <c:strRef>
              <c:f>Sheet1!$C$1</c:f>
              <c:strCache>
                <c:ptCount val="1"/>
                <c:pt idx="0">
                  <c:v>Wors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ullying</c:v>
                </c:pt>
                <c:pt idx="1">
                  <c:v>unwanted sexual contact</c:v>
                </c:pt>
                <c:pt idx="2">
                  <c:v>reputation attacked</c:v>
                </c:pt>
                <c:pt idx="3">
                  <c:v>unwanted contact</c:v>
                </c:pt>
              </c:strCache>
            </c:strRef>
          </c:cat>
          <c:val>
            <c:numRef>
              <c:f>Sheet1!$C$2:$C$5</c:f>
              <c:numCache>
                <c:formatCode>0%</c:formatCode>
                <c:ptCount val="4"/>
                <c:pt idx="0">
                  <c:v>0.40100000000000002</c:v>
                </c:pt>
                <c:pt idx="1">
                  <c:v>0.376</c:v>
                </c:pt>
                <c:pt idx="2">
                  <c:v>0.36099999999999999</c:v>
                </c:pt>
                <c:pt idx="3">
                  <c:v>0.35799999999999998</c:v>
                </c:pt>
              </c:numCache>
            </c:numRef>
          </c:val>
          <c:extLst>
            <c:ext xmlns:c16="http://schemas.microsoft.com/office/drawing/2014/chart" uri="{C3380CC4-5D6E-409C-BE32-E72D297353CC}">
              <c16:uniqueId val="{00000001-DF98-4E06-918E-A7A2F8DCF791}"/>
            </c:ext>
          </c:extLst>
        </c:ser>
        <c:ser>
          <c:idx val="2"/>
          <c:order val="2"/>
          <c:tx>
            <c:strRef>
              <c:f>Sheet1!$D$1</c:f>
              <c:strCache>
                <c:ptCount val="1"/>
                <c:pt idx="0">
                  <c:v>Sa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bullying</c:v>
                </c:pt>
                <c:pt idx="1">
                  <c:v>unwanted sexual contact</c:v>
                </c:pt>
                <c:pt idx="2">
                  <c:v>reputation attacked</c:v>
                </c:pt>
                <c:pt idx="3">
                  <c:v>unwanted contact</c:v>
                </c:pt>
              </c:strCache>
            </c:strRef>
          </c:cat>
          <c:val>
            <c:numRef>
              <c:f>Sheet1!$D$2:$D$5</c:f>
              <c:numCache>
                <c:formatCode>0%</c:formatCode>
                <c:ptCount val="4"/>
                <c:pt idx="0">
                  <c:v>0.34899999999999998</c:v>
                </c:pt>
                <c:pt idx="1">
                  <c:v>0.38700000000000001</c:v>
                </c:pt>
                <c:pt idx="2">
                  <c:v>0.39100000000000001</c:v>
                </c:pt>
                <c:pt idx="3">
                  <c:v>0.39</c:v>
                </c:pt>
              </c:numCache>
            </c:numRef>
          </c:val>
          <c:extLst>
            <c:ext xmlns:c16="http://schemas.microsoft.com/office/drawing/2014/chart" uri="{C3380CC4-5D6E-409C-BE32-E72D297353CC}">
              <c16:uniqueId val="{00000002-DF98-4E06-918E-A7A2F8DCF791}"/>
            </c:ext>
          </c:extLst>
        </c:ser>
        <c:dLbls>
          <c:dLblPos val="ctr"/>
          <c:showLegendKey val="0"/>
          <c:showVal val="1"/>
          <c:showCatName val="0"/>
          <c:showSerName val="0"/>
          <c:showPercent val="0"/>
          <c:showBubbleSize val="0"/>
        </c:dLbls>
        <c:gapWidth val="100"/>
        <c:overlap val="100"/>
        <c:axId val="649088760"/>
        <c:axId val="649089080"/>
      </c:barChart>
      <c:catAx>
        <c:axId val="649088760"/>
        <c:scaling>
          <c:orientation val="minMax"/>
        </c:scaling>
        <c:delete val="1"/>
        <c:axPos val="l"/>
        <c:numFmt formatCode="General" sourceLinked="1"/>
        <c:majorTickMark val="none"/>
        <c:minorTickMark val="none"/>
        <c:tickLblPos val="nextTo"/>
        <c:crossAx val="649089080"/>
        <c:crosses val="autoZero"/>
        <c:auto val="1"/>
        <c:lblAlgn val="ctr"/>
        <c:lblOffset val="100"/>
        <c:noMultiLvlLbl val="0"/>
      </c:catAx>
      <c:valAx>
        <c:axId val="649089080"/>
        <c:scaling>
          <c:orientation val="minMax"/>
        </c:scaling>
        <c:delete val="1"/>
        <c:axPos val="b"/>
        <c:numFmt formatCode="0%" sourceLinked="1"/>
        <c:majorTickMark val="none"/>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194444444444448E-2"/>
          <c:y val="3.6112025759532582E-3"/>
          <c:w val="0.92361111111111116"/>
          <c:h val="0.84822115573268453"/>
        </c:manualLayout>
      </c:layout>
      <c:lineChart>
        <c:grouping val="standard"/>
        <c:varyColors val="0"/>
        <c:ser>
          <c:idx val="1"/>
          <c:order val="1"/>
          <c:tx>
            <c:strRef>
              <c:f>Sheet1!$A$3</c:f>
              <c:strCache>
                <c:ptCount val="1"/>
                <c:pt idx="0">
                  <c:v>Unwanted contact</c:v>
                </c:pt>
              </c:strCache>
            </c:strRef>
          </c:tx>
          <c:spPr>
            <a:ln w="76200" cap="rnd">
              <a:solidFill>
                <a:srgbClr val="3282BE">
                  <a:alpha val="60000"/>
                </a:srgbClr>
              </a:solidFill>
              <a:round/>
            </a:ln>
            <a:effectLst/>
          </c:spPr>
          <c:marker>
            <c:symbol val="circle"/>
            <c:size val="11"/>
            <c:spPr>
              <a:solidFill>
                <a:schemeClr val="tx1"/>
              </a:solidFill>
              <a:ln w="12700">
                <a:solidFill>
                  <a:srgbClr val="FFB9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2-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11-C8E0-45C0-98A5-D3EF3747DAB8}"/>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43</c:v>
                </c:pt>
                <c:pt idx="1">
                  <c:v>0.43944206378318218</c:v>
                </c:pt>
                <c:pt idx="2">
                  <c:v>0.39605037747254068</c:v>
                </c:pt>
                <c:pt idx="3">
                  <c:v>0.39600000000000002</c:v>
                </c:pt>
              </c:numCache>
            </c:numRef>
          </c:val>
          <c:smooth val="0"/>
          <c:extLst>
            <c:ext xmlns:c16="http://schemas.microsoft.com/office/drawing/2014/chart" uri="{C3380CC4-5D6E-409C-BE32-E72D297353CC}">
              <c16:uniqueId val="{00000003-C8E0-45C0-98A5-D3EF3747DAB8}"/>
            </c:ext>
          </c:extLst>
        </c:ser>
        <c:ser>
          <c:idx val="2"/>
          <c:order val="2"/>
          <c:tx>
            <c:strRef>
              <c:f>Sheet1!$A$4</c:f>
              <c:strCache>
                <c:ptCount val="1"/>
                <c:pt idx="0">
                  <c:v>Hoaxes/frauds/scams</c:v>
                </c:pt>
              </c:strCache>
            </c:strRef>
          </c:tx>
          <c:spPr>
            <a:ln w="76200" cap="rnd">
              <a:solidFill>
                <a:srgbClr val="28608C">
                  <a:alpha val="60000"/>
                </a:srgbClr>
              </a:solidFill>
              <a:round/>
            </a:ln>
            <a:effectLst/>
          </c:spPr>
          <c:marker>
            <c:symbol val="circle"/>
            <c:size val="11"/>
            <c:spPr>
              <a:solidFill>
                <a:schemeClr val="tx1"/>
              </a:solidFill>
              <a:ln w="12700">
                <a:solidFill>
                  <a:schemeClr val="accent3"/>
                </a:solidFill>
                <a:round/>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12-C8E0-45C0-98A5-D3EF3747DAB8}"/>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4:$E$4</c:f>
              <c:numCache>
                <c:formatCode>0%</c:formatCode>
                <c:ptCount val="4"/>
                <c:pt idx="1">
                  <c:v>0.28098273306463134</c:v>
                </c:pt>
                <c:pt idx="2">
                  <c:v>0.28413827529416624</c:v>
                </c:pt>
                <c:pt idx="3">
                  <c:v>0.28699999999999998</c:v>
                </c:pt>
              </c:numCache>
            </c:numRef>
          </c:val>
          <c:smooth val="0"/>
          <c:extLst>
            <c:ext xmlns:c16="http://schemas.microsoft.com/office/drawing/2014/chart" uri="{C3380CC4-5D6E-409C-BE32-E72D297353CC}">
              <c16:uniqueId val="{00000004-C8E0-45C0-98A5-D3EF3747DAB8}"/>
            </c:ext>
          </c:extLst>
        </c:ser>
        <c:ser>
          <c:idx val="3"/>
          <c:order val="3"/>
          <c:tx>
            <c:strRef>
              <c:f>Sheet1!$A$5</c:f>
              <c:strCache>
                <c:ptCount val="1"/>
                <c:pt idx="0">
                  <c:v>Hate speech</c:v>
                </c:pt>
              </c:strCache>
            </c:strRef>
          </c:tx>
          <c:spPr>
            <a:ln w="76200" cap="rnd">
              <a:solidFill>
                <a:srgbClr val="2CB8AE">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Pt>
            <c:idx val="2"/>
            <c:marker>
              <c:symbol val="circle"/>
              <c:size val="11"/>
              <c:spPr>
                <a:solidFill>
                  <a:schemeClr val="tx1"/>
                </a:solidFill>
                <a:ln w="12700">
                  <a:solidFill>
                    <a:schemeClr val="bg1">
                      <a:lumMod val="50000"/>
                      <a:lumOff val="50000"/>
                    </a:schemeClr>
                  </a:solidFill>
                  <a:round/>
                </a:ln>
                <a:effectLst/>
              </c:spPr>
            </c:marker>
            <c:bubble3D val="0"/>
            <c:spPr>
              <a:ln w="76200" cap="rnd">
                <a:solidFill>
                  <a:srgbClr val="2CB8AE">
                    <a:alpha val="60000"/>
                  </a:srgbClr>
                </a:solidFill>
                <a:round/>
              </a:ln>
              <a:effectLst/>
            </c:spPr>
            <c:extLst>
              <c:ext xmlns:c16="http://schemas.microsoft.com/office/drawing/2014/chart" uri="{C3380CC4-5D6E-409C-BE32-E72D297353CC}">
                <c16:uniqueId val="{00000006-C8E0-45C0-98A5-D3EF3747DAB8}"/>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5FF-489D-BE61-DAA8E874FE0B}"/>
                </c:ext>
              </c:extLst>
            </c:dLbl>
            <c:dLbl>
              <c:idx val="1"/>
              <c:delete val="1"/>
              <c:extLst>
                <c:ext xmlns:c15="http://schemas.microsoft.com/office/drawing/2012/chart" uri="{CE6537A1-D6FC-4f65-9D91-7224C49458BB}"/>
                <c:ext xmlns:c16="http://schemas.microsoft.com/office/drawing/2014/chart" uri="{C3380CC4-5D6E-409C-BE32-E72D297353CC}">
                  <c16:uniqueId val="{00000007-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06-C8E0-45C0-98A5-D3EF3747DAB8}"/>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5FF-489D-BE61-DAA8E874FE0B}"/>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5:$E$5</c:f>
              <c:numCache>
                <c:formatCode>0%</c:formatCode>
                <c:ptCount val="4"/>
                <c:pt idx="0">
                  <c:v>0.16</c:v>
                </c:pt>
                <c:pt idx="1">
                  <c:v>0.17503446777838616</c:v>
                </c:pt>
                <c:pt idx="2">
                  <c:v>0.1665300498164444</c:v>
                </c:pt>
                <c:pt idx="3">
                  <c:v>0.17599999999999999</c:v>
                </c:pt>
              </c:numCache>
            </c:numRef>
          </c:val>
          <c:smooth val="0"/>
          <c:extLst>
            <c:ext xmlns:c16="http://schemas.microsoft.com/office/drawing/2014/chart" uri="{C3380CC4-5D6E-409C-BE32-E72D297353CC}">
              <c16:uniqueId val="{00000008-C8E0-45C0-98A5-D3EF3747DAB8}"/>
            </c:ext>
          </c:extLst>
        </c:ser>
        <c:ser>
          <c:idx val="4"/>
          <c:order val="4"/>
          <c:tx>
            <c:strRef>
              <c:f>Sheet1!$A$6</c:f>
              <c:strCache>
                <c:ptCount val="1"/>
                <c:pt idx="0">
                  <c:v>Discrimination</c:v>
                </c:pt>
              </c:strCache>
            </c:strRef>
          </c:tx>
          <c:spPr>
            <a:ln w="76200" cap="rnd">
              <a:solidFill>
                <a:srgbClr val="5CBE7A">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8E0-45C0-98A5-D3EF3747DAB8}"/>
                </c:ext>
              </c:extLst>
            </c:dLbl>
            <c:dLbl>
              <c:idx val="1"/>
              <c:delete val="1"/>
              <c:extLst>
                <c:ext xmlns:c15="http://schemas.microsoft.com/office/drawing/2012/chart" uri="{CE6537A1-D6FC-4f65-9D91-7224C49458BB}"/>
                <c:ext xmlns:c16="http://schemas.microsoft.com/office/drawing/2014/chart" uri="{C3380CC4-5D6E-409C-BE32-E72D297353CC}">
                  <c16:uniqueId val="{0000000A-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0B-C8E0-45C0-98A5-D3EF3747DAB8}"/>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2016</c:v>
                </c:pt>
                <c:pt idx="1">
                  <c:v>2017*</c:v>
                </c:pt>
                <c:pt idx="2">
                  <c:v>2018*</c:v>
                </c:pt>
                <c:pt idx="3">
                  <c:v>2019*</c:v>
                </c:pt>
              </c:strCache>
            </c:strRef>
          </c:cat>
          <c:val>
            <c:numRef>
              <c:f>Sheet1!$B$6:$E$6</c:f>
              <c:numCache>
                <c:formatCode>0%</c:formatCode>
                <c:ptCount val="4"/>
                <c:pt idx="0">
                  <c:v>0.1</c:v>
                </c:pt>
                <c:pt idx="1">
                  <c:v>0.11738951775703456</c:v>
                </c:pt>
                <c:pt idx="2">
                  <c:v>0.12989169340250312</c:v>
                </c:pt>
                <c:pt idx="3">
                  <c:v>0.14699999999999999</c:v>
                </c:pt>
              </c:numCache>
            </c:numRef>
          </c:val>
          <c:smooth val="0"/>
          <c:extLst>
            <c:ext xmlns:c16="http://schemas.microsoft.com/office/drawing/2014/chart" uri="{C3380CC4-5D6E-409C-BE32-E72D297353CC}">
              <c16:uniqueId val="{0000000C-C8E0-45C0-98A5-D3EF3747DAB8}"/>
            </c:ext>
          </c:extLst>
        </c:ser>
        <c:ser>
          <c:idx val="5"/>
          <c:order val="5"/>
          <c:tx>
            <c:strRef>
              <c:f>Sheet1!$A$7</c:f>
              <c:strCache>
                <c:ptCount val="1"/>
                <c:pt idx="0">
                  <c:v>Misogyny</c:v>
                </c:pt>
              </c:strCache>
            </c:strRef>
          </c:tx>
          <c:spPr>
            <a:ln w="76200" cap="rnd">
              <a:solidFill>
                <a:srgbClr val="82C650">
                  <a:alpha val="60000"/>
                </a:srgbClr>
              </a:solidFill>
              <a:round/>
            </a:ln>
            <a:effectLst/>
          </c:spPr>
          <c:marker>
            <c:symbol val="circle"/>
            <c:size val="11"/>
            <c:spPr>
              <a:solidFill>
                <a:schemeClr val="tx1"/>
              </a:solidFill>
              <a:ln w="12700">
                <a:solidFill>
                  <a:srgbClr val="FF8C00"/>
                </a:solidFill>
                <a:round/>
              </a:ln>
              <a:effectLst/>
            </c:spPr>
          </c:marker>
          <c:dLbls>
            <c:dLbl>
              <c:idx val="2"/>
              <c:delete val="1"/>
              <c:extLst>
                <c:ext xmlns:c15="http://schemas.microsoft.com/office/drawing/2012/chart" uri="{CE6537A1-D6FC-4f65-9D91-7224C49458BB}"/>
                <c:ext xmlns:c16="http://schemas.microsoft.com/office/drawing/2014/chart" uri="{C3380CC4-5D6E-409C-BE32-E72D297353CC}">
                  <c16:uniqueId val="{00000013-C8E0-45C0-98A5-D3EF3747DAB8}"/>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5FF-489D-BE61-DAA8E874FE0B}"/>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7:$E$7</c:f>
              <c:numCache>
                <c:formatCode>0%</c:formatCode>
                <c:ptCount val="4"/>
                <c:pt idx="1">
                  <c:v>6.3708286598214439E-2</c:v>
                </c:pt>
                <c:pt idx="2">
                  <c:v>6.1393397858162224E-2</c:v>
                </c:pt>
                <c:pt idx="3">
                  <c:v>7.0999999999999994E-2</c:v>
                </c:pt>
              </c:numCache>
            </c:numRef>
          </c:val>
          <c:smooth val="0"/>
          <c:extLst>
            <c:ext xmlns:c16="http://schemas.microsoft.com/office/drawing/2014/chart" uri="{C3380CC4-5D6E-409C-BE32-E72D297353CC}">
              <c16:uniqueId val="{0000000D-C8E0-45C0-98A5-D3EF3747DAB8}"/>
            </c:ext>
          </c:extLst>
        </c:ser>
        <c:ser>
          <c:idx val="6"/>
          <c:order val="6"/>
          <c:tx>
            <c:strRef>
              <c:f>Sheet1!$A$8</c:f>
              <c:strCache>
                <c:ptCount val="1"/>
                <c:pt idx="0">
                  <c:v>Terrorism recruiting</c:v>
                </c:pt>
              </c:strCache>
            </c:strRef>
          </c:tx>
          <c:spPr>
            <a:ln w="76200" cap="rnd">
              <a:solidFill>
                <a:srgbClr val="FF8C00">
                  <a:alpha val="60000"/>
                </a:srgbClr>
              </a:solidFill>
              <a:round/>
            </a:ln>
            <a:effectLst/>
          </c:spPr>
          <c:marker>
            <c:symbol val="circle"/>
            <c:size val="11"/>
            <c:spPr>
              <a:solidFill>
                <a:schemeClr val="tx1"/>
              </a:solidFill>
              <a:ln w="12700">
                <a:solidFill>
                  <a:srgbClr val="FF8C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E-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14-C8E0-45C0-98A5-D3EF3747DAB8}"/>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25FF-489D-BE61-DAA8E874FE0B}"/>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8:$E$8</c:f>
              <c:numCache>
                <c:formatCode>0%</c:formatCode>
                <c:ptCount val="4"/>
                <c:pt idx="0">
                  <c:v>0.01</c:v>
                </c:pt>
                <c:pt idx="1">
                  <c:v>8.9799518072067059E-3</c:v>
                </c:pt>
                <c:pt idx="2">
                  <c:v>8.5398228327003538E-3</c:v>
                </c:pt>
                <c:pt idx="3">
                  <c:v>1.6E-2</c:v>
                </c:pt>
              </c:numCache>
            </c:numRef>
          </c:val>
          <c:smooth val="0"/>
          <c:extLst>
            <c:ext xmlns:c16="http://schemas.microsoft.com/office/drawing/2014/chart" uri="{C3380CC4-5D6E-409C-BE32-E72D297353CC}">
              <c16:uniqueId val="{0000000F-C8E0-45C0-98A5-D3EF3747DAB8}"/>
            </c:ext>
          </c:extLst>
        </c:ser>
        <c:dLbls>
          <c:showLegendKey val="0"/>
          <c:showVal val="1"/>
          <c:showCatName val="0"/>
          <c:showSerName val="0"/>
          <c:showPercent val="0"/>
          <c:showBubbleSize val="0"/>
        </c:dLbls>
        <c:marker val="1"/>
        <c:smooth val="0"/>
        <c:axId val="830347024"/>
        <c:axId val="830348336"/>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Intrusive risks</c:v>
                      </c:pt>
                    </c:strCache>
                  </c:strRef>
                </c:tx>
                <c:spPr>
                  <a:ln w="127000" cap="rnd">
                    <a:solidFill>
                      <a:srgbClr val="262626">
                        <a:alpha val="80000"/>
                      </a:srgbClr>
                    </a:solidFill>
                    <a:round/>
                  </a:ln>
                  <a:effectLst/>
                </c:spPr>
                <c:marker>
                  <c:symbol val="circle"/>
                  <c:size val="14"/>
                  <c:spPr>
                    <a:solidFill>
                      <a:schemeClr val="tx1"/>
                    </a:solidFill>
                    <a:ln w="12700">
                      <a:solidFill>
                        <a:srgbClr val="002050"/>
                      </a:solidFill>
                      <a:round/>
                    </a:ln>
                    <a:effectLst/>
                  </c:spPr>
                </c:marker>
                <c:dLbls>
                  <c:dLbl>
                    <c:idx val="1"/>
                    <c:delete val="1"/>
                    <c:extLst>
                      <c:ext uri="{CE6537A1-D6FC-4f65-9D91-7224C49458BB}"/>
                      <c:ext xmlns:c16="http://schemas.microsoft.com/office/drawing/2014/chart" uri="{C3380CC4-5D6E-409C-BE32-E72D297353CC}">
                        <c16:uniqueId val="{00000000-C8E0-45C0-98A5-D3EF3747DAB8}"/>
                      </c:ext>
                    </c:extLst>
                  </c:dLbl>
                  <c:dLbl>
                    <c:idx val="2"/>
                    <c:delete val="1"/>
                    <c:extLst>
                      <c:ext uri="{CE6537A1-D6FC-4f65-9D91-7224C49458BB}"/>
                      <c:ext xmlns:c16="http://schemas.microsoft.com/office/drawing/2014/chart" uri="{C3380CC4-5D6E-409C-BE32-E72D297353CC}">
                        <c16:uniqueId val="{00000010-C8E0-45C0-98A5-D3EF3747DAB8}"/>
                      </c:ext>
                    </c:extLst>
                  </c:dLbl>
                  <c:dLbl>
                    <c:idx val="3"/>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07D5-470C-B382-4ED91D1732C1}"/>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B$1:$E$1</c15:sqref>
                        </c15:formulaRef>
                      </c:ext>
                    </c:extLst>
                    <c:strCache>
                      <c:ptCount val="4"/>
                      <c:pt idx="0">
                        <c:v>2016</c:v>
                      </c:pt>
                      <c:pt idx="1">
                        <c:v>2017*</c:v>
                      </c:pt>
                      <c:pt idx="2">
                        <c:v>2018*</c:v>
                      </c:pt>
                      <c:pt idx="3">
                        <c:v>2019*</c:v>
                      </c:pt>
                    </c:strCache>
                  </c:strRef>
                </c:cat>
                <c:val>
                  <c:numRef>
                    <c:extLst>
                      <c:ext uri="{02D57815-91ED-43cb-92C2-25804820EDAC}">
                        <c15:formulaRef>
                          <c15:sqref>Sheet1!$B$2:$E$2</c15:sqref>
                        </c15:formulaRef>
                      </c:ext>
                    </c:extLst>
                    <c:numCache>
                      <c:formatCode>0%</c:formatCode>
                      <c:ptCount val="4"/>
                      <c:pt idx="0">
                        <c:v>0.503</c:v>
                      </c:pt>
                      <c:pt idx="1">
                        <c:v>0.58363595663055057</c:v>
                      </c:pt>
                      <c:pt idx="2">
                        <c:v>0.55735008639620653</c:v>
                      </c:pt>
                      <c:pt idx="3">
                        <c:v>0.58299999999999996</c:v>
                      </c:pt>
                    </c:numCache>
                  </c:numRef>
                </c:val>
                <c:smooth val="0"/>
                <c:extLst>
                  <c:ext xmlns:c16="http://schemas.microsoft.com/office/drawing/2014/chart" uri="{C3380CC4-5D6E-409C-BE32-E72D297353CC}">
                    <c16:uniqueId val="{00000001-C8E0-45C0-98A5-D3EF3747DAB8}"/>
                  </c:ext>
                </c:extLst>
              </c15:ser>
            </c15:filteredLineSeries>
          </c:ext>
        </c:extLst>
      </c:lineChart>
      <c:catAx>
        <c:axId val="83034702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830348336"/>
        <c:crosses val="autoZero"/>
        <c:auto val="1"/>
        <c:lblAlgn val="ctr"/>
        <c:lblOffset val="100"/>
        <c:noMultiLvlLbl val="0"/>
      </c:catAx>
      <c:valAx>
        <c:axId val="830348336"/>
        <c:scaling>
          <c:orientation val="minMax"/>
          <c:max val="0.5"/>
          <c:min val="0"/>
        </c:scaling>
        <c:delete val="1"/>
        <c:axPos val="l"/>
        <c:numFmt formatCode="0%" sourceLinked="1"/>
        <c:majorTickMark val="out"/>
        <c:minorTickMark val="none"/>
        <c:tickLblPos val="nextTo"/>
        <c:crossAx val="83034702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Goo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putation attacked</c:v>
                </c:pt>
                <c:pt idx="1">
                  <c:v>unwanted contact</c:v>
                </c:pt>
                <c:pt idx="2">
                  <c:v>unwanted sexual contact</c:v>
                </c:pt>
                <c:pt idx="3">
                  <c:v>bullying</c:v>
                </c:pt>
              </c:strCache>
            </c:strRef>
          </c:cat>
          <c:val>
            <c:numRef>
              <c:f>Sheet1!$B$2:$B$5</c:f>
              <c:numCache>
                <c:formatCode>0%</c:formatCode>
                <c:ptCount val="4"/>
                <c:pt idx="0">
                  <c:v>0.124</c:v>
                </c:pt>
                <c:pt idx="1">
                  <c:v>0.11899999999999999</c:v>
                </c:pt>
                <c:pt idx="2">
                  <c:v>0.107</c:v>
                </c:pt>
                <c:pt idx="3">
                  <c:v>9.0999999999999998E-2</c:v>
                </c:pt>
              </c:numCache>
            </c:numRef>
          </c:val>
          <c:extLst>
            <c:ext xmlns:c16="http://schemas.microsoft.com/office/drawing/2014/chart" uri="{C3380CC4-5D6E-409C-BE32-E72D297353CC}">
              <c16:uniqueId val="{00000000-25E5-49E2-916C-180B2B222A14}"/>
            </c:ext>
          </c:extLst>
        </c:ser>
        <c:ser>
          <c:idx val="1"/>
          <c:order val="1"/>
          <c:tx>
            <c:strRef>
              <c:f>Sheet1!$C$1</c:f>
              <c:strCache>
                <c:ptCount val="1"/>
                <c:pt idx="0">
                  <c:v>Neutral</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putation attacked</c:v>
                </c:pt>
                <c:pt idx="1">
                  <c:v>unwanted contact</c:v>
                </c:pt>
                <c:pt idx="2">
                  <c:v>unwanted sexual contact</c:v>
                </c:pt>
                <c:pt idx="3">
                  <c:v>bullying</c:v>
                </c:pt>
              </c:strCache>
            </c:strRef>
          </c:cat>
          <c:val>
            <c:numRef>
              <c:f>Sheet1!$C$2:$C$5</c:f>
              <c:numCache>
                <c:formatCode>0%</c:formatCode>
                <c:ptCount val="4"/>
                <c:pt idx="0">
                  <c:v>0.41199999999999998</c:v>
                </c:pt>
                <c:pt idx="1">
                  <c:v>0.37459999999999999</c:v>
                </c:pt>
                <c:pt idx="2">
                  <c:v>0.38519999999999999</c:v>
                </c:pt>
                <c:pt idx="3">
                  <c:v>0.30499999999999999</c:v>
                </c:pt>
              </c:numCache>
            </c:numRef>
          </c:val>
          <c:extLst>
            <c:ext xmlns:c16="http://schemas.microsoft.com/office/drawing/2014/chart" uri="{C3380CC4-5D6E-409C-BE32-E72D297353CC}">
              <c16:uniqueId val="{00000001-25E5-49E2-916C-180B2B222A14}"/>
            </c:ext>
          </c:extLst>
        </c:ser>
        <c:ser>
          <c:idx val="2"/>
          <c:order val="2"/>
          <c:tx>
            <c:strRef>
              <c:f>Sheet1!$D$1</c:f>
              <c:strCache>
                <c:ptCount val="1"/>
                <c:pt idx="0">
                  <c:v>Bad</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reputation attacked</c:v>
                </c:pt>
                <c:pt idx="1">
                  <c:v>unwanted contact</c:v>
                </c:pt>
                <c:pt idx="2">
                  <c:v>unwanted sexual contact</c:v>
                </c:pt>
                <c:pt idx="3">
                  <c:v>bullying</c:v>
                </c:pt>
              </c:strCache>
            </c:strRef>
          </c:cat>
          <c:val>
            <c:numRef>
              <c:f>Sheet1!$D$2:$D$5</c:f>
              <c:numCache>
                <c:formatCode>0%</c:formatCode>
                <c:ptCount val="4"/>
                <c:pt idx="0">
                  <c:v>0.46400000000000002</c:v>
                </c:pt>
                <c:pt idx="1">
                  <c:v>0.50700000000000001</c:v>
                </c:pt>
                <c:pt idx="2">
                  <c:v>0.50900000000000001</c:v>
                </c:pt>
                <c:pt idx="3">
                  <c:v>0.59530000000000005</c:v>
                </c:pt>
              </c:numCache>
            </c:numRef>
          </c:val>
          <c:extLst>
            <c:ext xmlns:c16="http://schemas.microsoft.com/office/drawing/2014/chart" uri="{C3380CC4-5D6E-409C-BE32-E72D297353CC}">
              <c16:uniqueId val="{00000002-25E5-49E2-916C-180B2B222A14}"/>
            </c:ext>
          </c:extLst>
        </c:ser>
        <c:dLbls>
          <c:dLblPos val="ctr"/>
          <c:showLegendKey val="0"/>
          <c:showVal val="1"/>
          <c:showCatName val="0"/>
          <c:showSerName val="0"/>
          <c:showPercent val="0"/>
          <c:showBubbleSize val="0"/>
        </c:dLbls>
        <c:gapWidth val="100"/>
        <c:overlap val="100"/>
        <c:axId val="649088760"/>
        <c:axId val="649089080"/>
      </c:barChart>
      <c:catAx>
        <c:axId val="649088760"/>
        <c:scaling>
          <c:orientation val="minMax"/>
        </c:scaling>
        <c:delete val="1"/>
        <c:axPos val="l"/>
        <c:numFmt formatCode="General" sourceLinked="1"/>
        <c:majorTickMark val="none"/>
        <c:minorTickMark val="none"/>
        <c:tickLblPos val="nextTo"/>
        <c:crossAx val="649089080"/>
        <c:crosses val="autoZero"/>
        <c:auto val="1"/>
        <c:lblAlgn val="ctr"/>
        <c:lblOffset val="100"/>
        <c:noMultiLvlLbl val="0"/>
      </c:catAx>
      <c:valAx>
        <c:axId val="649089080"/>
        <c:scaling>
          <c:orientation val="minMax"/>
        </c:scaling>
        <c:delete val="1"/>
        <c:axPos val="b"/>
        <c:numFmt formatCode="0%" sourceLinked="1"/>
        <c:majorTickMark val="none"/>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Better</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en Bullying &amp; Harassment</c:v>
                </c:pt>
                <c:pt idx="1">
                  <c:v>Political discourse</c:v>
                </c:pt>
                <c:pt idx="2">
                  <c:v>Sexual harassment</c:v>
                </c:pt>
                <c:pt idx="3">
                  <c:v>Ability to protect </c:v>
                </c:pt>
                <c:pt idx="4">
                  <c:v>Tech tools</c:v>
                </c:pt>
              </c:strCache>
            </c:strRef>
          </c:cat>
          <c:val>
            <c:numRef>
              <c:f>Sheet1!$B$2:$B$6</c:f>
              <c:numCache>
                <c:formatCode>0%</c:formatCode>
                <c:ptCount val="5"/>
                <c:pt idx="0">
                  <c:v>0.32900000000000001</c:v>
                </c:pt>
                <c:pt idx="1">
                  <c:v>0.33200000000000002</c:v>
                </c:pt>
                <c:pt idx="2">
                  <c:v>0.33600000000000002</c:v>
                </c:pt>
                <c:pt idx="3">
                  <c:v>0.496</c:v>
                </c:pt>
                <c:pt idx="4">
                  <c:v>0.499</c:v>
                </c:pt>
              </c:numCache>
            </c:numRef>
          </c:val>
          <c:extLst>
            <c:ext xmlns:c16="http://schemas.microsoft.com/office/drawing/2014/chart" uri="{C3380CC4-5D6E-409C-BE32-E72D297353CC}">
              <c16:uniqueId val="{00000000-DF98-4E06-918E-A7A2F8DCF791}"/>
            </c:ext>
          </c:extLst>
        </c:ser>
        <c:ser>
          <c:idx val="1"/>
          <c:order val="1"/>
          <c:tx>
            <c:strRef>
              <c:f>Sheet1!$C$1</c:f>
              <c:strCache>
                <c:ptCount val="1"/>
                <c:pt idx="0">
                  <c:v>Worse</c:v>
                </c:pt>
              </c:strCache>
            </c:strRef>
          </c:tx>
          <c:spPr>
            <a:solidFill>
              <a:schemeClr val="accent2"/>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en Bullying &amp; Harassment</c:v>
                </c:pt>
                <c:pt idx="1">
                  <c:v>Political discourse</c:v>
                </c:pt>
                <c:pt idx="2">
                  <c:v>Sexual harassment</c:v>
                </c:pt>
                <c:pt idx="3">
                  <c:v>Ability to protect </c:v>
                </c:pt>
                <c:pt idx="4">
                  <c:v>Tech tools</c:v>
                </c:pt>
              </c:strCache>
            </c:strRef>
          </c:cat>
          <c:val>
            <c:numRef>
              <c:f>Sheet1!$C$2:$C$6</c:f>
              <c:numCache>
                <c:formatCode>0%</c:formatCode>
                <c:ptCount val="5"/>
                <c:pt idx="0">
                  <c:v>0.36399999999999999</c:v>
                </c:pt>
                <c:pt idx="1">
                  <c:v>0.30299999999999999</c:v>
                </c:pt>
                <c:pt idx="2">
                  <c:v>0.32700000000000001</c:v>
                </c:pt>
                <c:pt idx="3">
                  <c:v>0.214</c:v>
                </c:pt>
                <c:pt idx="4">
                  <c:v>0.17399999999999999</c:v>
                </c:pt>
              </c:numCache>
            </c:numRef>
          </c:val>
          <c:extLst>
            <c:ext xmlns:c16="http://schemas.microsoft.com/office/drawing/2014/chart" uri="{C3380CC4-5D6E-409C-BE32-E72D297353CC}">
              <c16:uniqueId val="{00000001-DF98-4E06-918E-A7A2F8DCF791}"/>
            </c:ext>
          </c:extLst>
        </c:ser>
        <c:ser>
          <c:idx val="2"/>
          <c:order val="2"/>
          <c:tx>
            <c:strRef>
              <c:f>Sheet1!$D$1</c:f>
              <c:strCache>
                <c:ptCount val="1"/>
                <c:pt idx="0">
                  <c:v>Same</c:v>
                </c:pt>
              </c:strCache>
            </c:strRef>
          </c:tx>
          <c:spPr>
            <a:solidFill>
              <a:schemeClr val="accent3"/>
            </a:solidFill>
            <a:ln>
              <a:noFill/>
            </a:ln>
            <a:effectLst/>
          </c:spPr>
          <c:invertIfNegative val="0"/>
          <c:dLbls>
            <c:spPr>
              <a:noFill/>
              <a:ln>
                <a:noFill/>
              </a:ln>
              <a:effectLst/>
            </c:spPr>
            <c:txPr>
              <a:bodyPr rot="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Teen Bullying &amp; Harassment</c:v>
                </c:pt>
                <c:pt idx="1">
                  <c:v>Political discourse</c:v>
                </c:pt>
                <c:pt idx="2">
                  <c:v>Sexual harassment</c:v>
                </c:pt>
                <c:pt idx="3">
                  <c:v>Ability to protect </c:v>
                </c:pt>
                <c:pt idx="4">
                  <c:v>Tech tools</c:v>
                </c:pt>
              </c:strCache>
            </c:strRef>
          </c:cat>
          <c:val>
            <c:numRef>
              <c:f>Sheet1!$D$2:$D$6</c:f>
              <c:numCache>
                <c:formatCode>0%</c:formatCode>
                <c:ptCount val="5"/>
                <c:pt idx="0">
                  <c:v>0.307</c:v>
                </c:pt>
                <c:pt idx="1">
                  <c:v>0.36599999999999999</c:v>
                </c:pt>
                <c:pt idx="2">
                  <c:v>0.33700000000000002</c:v>
                </c:pt>
                <c:pt idx="3">
                  <c:v>0.28999999999999998</c:v>
                </c:pt>
                <c:pt idx="4">
                  <c:v>0.32600000000000001</c:v>
                </c:pt>
              </c:numCache>
            </c:numRef>
          </c:val>
          <c:extLst>
            <c:ext xmlns:c16="http://schemas.microsoft.com/office/drawing/2014/chart" uri="{C3380CC4-5D6E-409C-BE32-E72D297353CC}">
              <c16:uniqueId val="{00000002-DF98-4E06-918E-A7A2F8DCF791}"/>
            </c:ext>
          </c:extLst>
        </c:ser>
        <c:dLbls>
          <c:dLblPos val="ctr"/>
          <c:showLegendKey val="0"/>
          <c:showVal val="1"/>
          <c:showCatName val="0"/>
          <c:showSerName val="0"/>
          <c:showPercent val="0"/>
          <c:showBubbleSize val="0"/>
        </c:dLbls>
        <c:gapWidth val="100"/>
        <c:overlap val="100"/>
        <c:axId val="649088760"/>
        <c:axId val="649089080"/>
      </c:barChart>
      <c:catAx>
        <c:axId val="649088760"/>
        <c:scaling>
          <c:orientation val="minMax"/>
        </c:scaling>
        <c:delete val="1"/>
        <c:axPos val="l"/>
        <c:numFmt formatCode="General" sourceLinked="1"/>
        <c:majorTickMark val="none"/>
        <c:minorTickMark val="none"/>
        <c:tickLblPos val="nextTo"/>
        <c:crossAx val="649089080"/>
        <c:crosses val="autoZero"/>
        <c:auto val="1"/>
        <c:lblAlgn val="ctr"/>
        <c:lblOffset val="100"/>
        <c:noMultiLvlLbl val="0"/>
      </c:catAx>
      <c:valAx>
        <c:axId val="649089080"/>
        <c:scaling>
          <c:orientation val="minMax"/>
        </c:scaling>
        <c:delete val="1"/>
        <c:axPos val="b"/>
        <c:numFmt formatCode="0%" sourceLinked="1"/>
        <c:majorTickMark val="none"/>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solidFill>
              <a:srgbClr val="3282BE"/>
            </a:solidFill>
            <a:ln>
              <a:noFill/>
            </a:ln>
            <a:effectLst/>
          </c:spPr>
          <c:invertIfNegative val="0"/>
          <c:dLbls>
            <c:spPr>
              <a:noFill/>
              <a:ln>
                <a:noFill/>
              </a:ln>
              <a:effectLst/>
            </c:spPr>
            <c:txPr>
              <a:bodyPr rot="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Respect</c:v>
                </c:pt>
                <c:pt idx="1">
                  <c:v>Safety</c:v>
                </c:pt>
                <c:pt idx="2">
                  <c:v>Freedom</c:v>
                </c:pt>
                <c:pt idx="3">
                  <c:v>Civility</c:v>
                </c:pt>
                <c:pt idx="4">
                  <c:v>Kindness</c:v>
                </c:pt>
                <c:pt idx="5">
                  <c:v>Empathy</c:v>
                </c:pt>
                <c:pt idx="6">
                  <c:v>Well-being</c:v>
                </c:pt>
                <c:pt idx="7">
                  <c:v>Inclusivity</c:v>
                </c:pt>
                <c:pt idx="8">
                  <c:v>Health</c:v>
                </c:pt>
                <c:pt idx="9">
                  <c:v>Compassion</c:v>
                </c:pt>
                <c:pt idx="10">
                  <c:v>Curiosity</c:v>
                </c:pt>
              </c:strCache>
            </c:strRef>
          </c:cat>
          <c:val>
            <c:numRef>
              <c:f>Sheet1!$B$2:$B$12</c:f>
              <c:numCache>
                <c:formatCode>0%</c:formatCode>
                <c:ptCount val="11"/>
                <c:pt idx="0">
                  <c:v>0.65800000000000003</c:v>
                </c:pt>
                <c:pt idx="1">
                  <c:v>0.57299999999999995</c:v>
                </c:pt>
                <c:pt idx="2">
                  <c:v>0.33400000000000002</c:v>
                </c:pt>
                <c:pt idx="3">
                  <c:v>0.318</c:v>
                </c:pt>
                <c:pt idx="4">
                  <c:v>0.26100000000000001</c:v>
                </c:pt>
                <c:pt idx="5">
                  <c:v>0.20899999999999999</c:v>
                </c:pt>
                <c:pt idx="6">
                  <c:v>0.15</c:v>
                </c:pt>
                <c:pt idx="7">
                  <c:v>0.14499999999999999</c:v>
                </c:pt>
                <c:pt idx="8">
                  <c:v>0.11600000000000001</c:v>
                </c:pt>
                <c:pt idx="9">
                  <c:v>0.114</c:v>
                </c:pt>
                <c:pt idx="10">
                  <c:v>0.113</c:v>
                </c:pt>
              </c:numCache>
            </c:numRef>
          </c:val>
          <c:extLst>
            <c:ext xmlns:c16="http://schemas.microsoft.com/office/drawing/2014/chart" uri="{C3380CC4-5D6E-409C-BE32-E72D297353CC}">
              <c16:uniqueId val="{00000000-4A95-42D9-8305-7C0CBDB3C1CC}"/>
            </c:ext>
          </c:extLst>
        </c:ser>
        <c:dLbls>
          <c:showLegendKey val="0"/>
          <c:showVal val="0"/>
          <c:showCatName val="0"/>
          <c:showSerName val="0"/>
          <c:showPercent val="0"/>
          <c:showBubbleSize val="0"/>
        </c:dLbls>
        <c:gapWidth val="50"/>
        <c:axId val="417652624"/>
        <c:axId val="417652944"/>
      </c:barChart>
      <c:catAx>
        <c:axId val="417652624"/>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417652944"/>
        <c:crosses val="autoZero"/>
        <c:auto val="1"/>
        <c:lblAlgn val="ctr"/>
        <c:lblOffset val="100"/>
        <c:noMultiLvlLbl val="0"/>
      </c:catAx>
      <c:valAx>
        <c:axId val="417652944"/>
        <c:scaling>
          <c:orientation val="minMax"/>
        </c:scaling>
        <c:delete val="1"/>
        <c:axPos val="t"/>
        <c:numFmt formatCode="0%" sourceLinked="1"/>
        <c:majorTickMark val="none"/>
        <c:minorTickMark val="none"/>
        <c:tickLblPos val="nextTo"/>
        <c:crossAx val="41765262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600">
          <a:solidFill>
            <a:schemeClr val="bg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Confidence in handling risks inches higher…</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1"/>
          <c:order val="0"/>
          <c:tx>
            <c:strRef>
              <c:f>Sheet1!$B$1</c:f>
              <c:strCache>
                <c:ptCount val="1"/>
                <c:pt idx="0">
                  <c:v>Extremely/very confident</c:v>
                </c:pt>
              </c:strCache>
            </c:strRef>
          </c:tx>
          <c:spPr>
            <a:ln w="76200" cap="rnd">
              <a:solidFill>
                <a:srgbClr val="262626"/>
              </a:solidFill>
              <a:round/>
            </a:ln>
            <a:effectLst/>
          </c:spPr>
          <c:marker>
            <c:symbol val="circle"/>
            <c:size val="14"/>
            <c:spPr>
              <a:solidFill>
                <a:schemeClr val="tx1"/>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3"/>
                <c:pt idx="0">
                  <c:v>2017</c:v>
                </c:pt>
                <c:pt idx="1">
                  <c:v>2018</c:v>
                </c:pt>
                <c:pt idx="2">
                  <c:v>2019</c:v>
                </c:pt>
              </c:numCache>
            </c:numRef>
          </c:cat>
          <c:val>
            <c:numRef>
              <c:f>Sheet1!$B$2:$B$5</c:f>
              <c:numCache>
                <c:formatCode>0%</c:formatCode>
                <c:ptCount val="3"/>
                <c:pt idx="0">
                  <c:v>0.46</c:v>
                </c:pt>
                <c:pt idx="1">
                  <c:v>0.48</c:v>
                </c:pt>
                <c:pt idx="2">
                  <c:v>0.5</c:v>
                </c:pt>
              </c:numCache>
            </c:numRef>
          </c:val>
          <c:smooth val="0"/>
          <c:extLst>
            <c:ext xmlns:c16="http://schemas.microsoft.com/office/drawing/2014/chart" uri="{C3380CC4-5D6E-409C-BE32-E72D297353CC}">
              <c16:uniqueId val="{00000005-4529-41B2-A48B-E5DFA577E8CE}"/>
            </c:ext>
          </c:extLst>
        </c:ser>
        <c:dLbls>
          <c:dLblPos val="t"/>
          <c:showLegendKey val="0"/>
          <c:showVal val="1"/>
          <c:showCatName val="0"/>
          <c:showSerName val="0"/>
          <c:showPercent val="0"/>
          <c:showBubbleSize val="0"/>
        </c:dLbls>
        <c:marker val="1"/>
        <c:smooth val="0"/>
        <c:axId val="708620872"/>
        <c:axId val="708621832"/>
        <c:extLst>
          <c:ext xmlns:c15="http://schemas.microsoft.com/office/drawing/2012/chart" uri="{02D57815-91ED-43cb-92C2-25804820EDAC}">
            <c15:filteredLineSeries>
              <c15:ser>
                <c:idx val="2"/>
                <c:order val="1"/>
                <c:tx>
                  <c:strRef>
                    <c:extLst>
                      <c:ext uri="{02D57815-91ED-43cb-92C2-25804820EDAC}">
                        <c15:formulaRef>
                          <c15:sqref>Sheet1!$C$1</c15:sqref>
                        </c15:formulaRef>
                      </c:ext>
                    </c:extLst>
                    <c:strCache>
                      <c:ptCount val="1"/>
                      <c:pt idx="0">
                        <c:v>Somewhat confident</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5</c15:sqref>
                        </c15:formulaRef>
                      </c:ext>
                    </c:extLst>
                    <c:numCache>
                      <c:formatCode>General</c:formatCode>
                      <c:ptCount val="3"/>
                      <c:pt idx="0">
                        <c:v>2017</c:v>
                      </c:pt>
                      <c:pt idx="1">
                        <c:v>2018</c:v>
                      </c:pt>
                      <c:pt idx="2">
                        <c:v>2019</c:v>
                      </c:pt>
                    </c:numCache>
                  </c:numRef>
                </c:cat>
                <c:val>
                  <c:numRef>
                    <c:extLst>
                      <c:ext uri="{02D57815-91ED-43cb-92C2-25804820EDAC}">
                        <c15:formulaRef>
                          <c15:sqref>Sheet1!$C$2:$C$5</c15:sqref>
                        </c15:formulaRef>
                      </c:ext>
                    </c:extLst>
                    <c:numCache>
                      <c:formatCode>0%</c:formatCode>
                      <c:ptCount val="3"/>
                      <c:pt idx="0">
                        <c:v>0.4</c:v>
                      </c:pt>
                      <c:pt idx="1">
                        <c:v>0.38</c:v>
                      </c:pt>
                      <c:pt idx="2">
                        <c:v>0.371</c:v>
                      </c:pt>
                    </c:numCache>
                  </c:numRef>
                </c:val>
                <c:smooth val="0"/>
                <c:extLst>
                  <c:ext xmlns:c16="http://schemas.microsoft.com/office/drawing/2014/chart" uri="{C3380CC4-5D6E-409C-BE32-E72D297353CC}">
                    <c16:uniqueId val="{00000006-4529-41B2-A48B-E5DFA577E8CE}"/>
                  </c:ext>
                </c:extLst>
              </c15:ser>
            </c15:filteredLineSeries>
            <c15:filteredLineSeries>
              <c15:ser>
                <c:idx val="0"/>
                <c:order val="2"/>
                <c:tx>
                  <c:strRef>
                    <c:extLst>
                      <c:ext xmlns:c15="http://schemas.microsoft.com/office/drawing/2012/chart" uri="{02D57815-91ED-43cb-92C2-25804820EDAC}">
                        <c15:formulaRef>
                          <c15:sqref>Sheet1!$D$1</c15:sqref>
                        </c15:formulaRef>
                      </c:ext>
                    </c:extLst>
                    <c:strCache>
                      <c:ptCount val="1"/>
                      <c:pt idx="0">
                        <c:v>Slightly/not at all confident</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xmlns:c15="http://schemas.microsoft.com/office/drawing/2012/chart" uri="{02D57815-91ED-43cb-92C2-25804820EDAC}">
                        <c15:formulaRef>
                          <c15:sqref>Sheet1!$A$2:$A$5</c15:sqref>
                        </c15:formulaRef>
                      </c:ext>
                    </c:extLst>
                    <c:numCache>
                      <c:formatCode>General</c:formatCode>
                      <c:ptCount val="3"/>
                      <c:pt idx="0">
                        <c:v>2017</c:v>
                      </c:pt>
                      <c:pt idx="1">
                        <c:v>2018</c:v>
                      </c:pt>
                      <c:pt idx="2">
                        <c:v>2019</c:v>
                      </c:pt>
                    </c:numCache>
                  </c:numRef>
                </c:cat>
                <c:val>
                  <c:numRef>
                    <c:extLst>
                      <c:ext xmlns:c15="http://schemas.microsoft.com/office/drawing/2012/chart" uri="{02D57815-91ED-43cb-92C2-25804820EDAC}">
                        <c15:formulaRef>
                          <c15:sqref>Sheet1!$D$2:$D$5</c15:sqref>
                        </c15:formulaRef>
                      </c:ext>
                    </c:extLst>
                    <c:numCache>
                      <c:formatCode>0%</c:formatCode>
                      <c:ptCount val="3"/>
                      <c:pt idx="0">
                        <c:v>0.14000000000000001</c:v>
                      </c:pt>
                      <c:pt idx="1">
                        <c:v>0.14000000000000001</c:v>
                      </c:pt>
                      <c:pt idx="2">
                        <c:v>0.129</c:v>
                      </c:pt>
                    </c:numCache>
                  </c:numRef>
                </c:val>
                <c:smooth val="0"/>
                <c:extLst xmlns:c15="http://schemas.microsoft.com/office/drawing/2012/chart">
                  <c:ext xmlns:c16="http://schemas.microsoft.com/office/drawing/2014/chart" uri="{C3380CC4-5D6E-409C-BE32-E72D297353CC}">
                    <c16:uniqueId val="{00000008-4529-41B2-A48B-E5DFA577E8CE}"/>
                  </c:ext>
                </c:extLst>
              </c15:ser>
            </c15:filteredLineSeries>
            <c15:filteredLineSeries>
              <c15:ser>
                <c:idx val="3"/>
                <c:order val="3"/>
                <c:tx>
                  <c:strRef>
                    <c:extLst>
                      <c:ext xmlns:c15="http://schemas.microsoft.com/office/drawing/2012/chart" uri="{02D57815-91ED-43cb-92C2-25804820EDAC}">
                        <c15:formulaRef>
                          <c15:sqref>Sheet1!$E$1</c15:sqref>
                        </c15:formulaRef>
                      </c:ext>
                    </c:extLst>
                    <c:strCache>
                      <c:ptCount val="1"/>
                      <c:pt idx="0">
                        <c:v>Teens</c:v>
                      </c:pt>
                    </c:strCache>
                  </c:strRef>
                </c:tx>
                <c:spPr>
                  <a:ln w="28575" cap="rnd">
                    <a:solidFill>
                      <a:schemeClr val="accent4"/>
                    </a:solidFill>
                    <a:round/>
                  </a:ln>
                  <a:effectLst/>
                </c:spPr>
                <c:marker>
                  <c:symbol val="circle"/>
                  <c:size val="5"/>
                  <c:spPr>
                    <a:solidFill>
                      <a:schemeClr val="accent4"/>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xmlns:c15="http://schemas.microsoft.com/office/drawing/2012/chart" uri="{02D57815-91ED-43cb-92C2-25804820EDAC}">
                        <c15:formulaRef>
                          <c15:sqref>Sheet1!$A$2:$A$5</c15:sqref>
                        </c15:formulaRef>
                      </c:ext>
                    </c:extLst>
                    <c:numCache>
                      <c:formatCode>General</c:formatCode>
                      <c:ptCount val="3"/>
                      <c:pt idx="0">
                        <c:v>2017</c:v>
                      </c:pt>
                      <c:pt idx="1">
                        <c:v>2018</c:v>
                      </c:pt>
                      <c:pt idx="2">
                        <c:v>2019</c:v>
                      </c:pt>
                    </c:numCache>
                  </c:numRef>
                </c:cat>
                <c:val>
                  <c:numRef>
                    <c:extLst>
                      <c:ext xmlns:c15="http://schemas.microsoft.com/office/drawing/2012/chart" uri="{02D57815-91ED-43cb-92C2-25804820EDAC}">
                        <c15:formulaRef>
                          <c15:sqref>Sheet1!$E$2:$E$5</c15:sqref>
                        </c15:formulaRef>
                      </c:ext>
                    </c:extLst>
                    <c:numCache>
                      <c:formatCode>0%</c:formatCode>
                      <c:ptCount val="3"/>
                      <c:pt idx="0">
                        <c:v>0.46</c:v>
                      </c:pt>
                      <c:pt idx="1">
                        <c:v>0.46</c:v>
                      </c:pt>
                      <c:pt idx="2">
                        <c:v>0.48</c:v>
                      </c:pt>
                    </c:numCache>
                  </c:numRef>
                </c:val>
                <c:smooth val="0"/>
                <c:extLst xmlns:c15="http://schemas.microsoft.com/office/drawing/2012/chart">
                  <c:ext xmlns:c16="http://schemas.microsoft.com/office/drawing/2014/chart" uri="{C3380CC4-5D6E-409C-BE32-E72D297353CC}">
                    <c16:uniqueId val="{00000000-4D74-4221-B3C2-184E21FC502A}"/>
                  </c:ext>
                </c:extLst>
              </c15:ser>
            </c15:filteredLineSeries>
            <c15:filteredLineSeries>
              <c15:ser>
                <c:idx val="4"/>
                <c:order val="4"/>
                <c:tx>
                  <c:strRef>
                    <c:extLst>
                      <c:ext xmlns:c15="http://schemas.microsoft.com/office/drawing/2012/chart" uri="{02D57815-91ED-43cb-92C2-25804820EDAC}">
                        <c15:formulaRef>
                          <c15:sqref>Sheet1!$F$1</c15:sqref>
                        </c15:formulaRef>
                      </c:ext>
                    </c:extLst>
                    <c:strCache>
                      <c:ptCount val="1"/>
                      <c:pt idx="0">
                        <c:v>Adults</c:v>
                      </c:pt>
                    </c:strCache>
                  </c:strRef>
                </c:tx>
                <c:spPr>
                  <a:ln w="28575" cap="rnd">
                    <a:solidFill>
                      <a:schemeClr val="accent5"/>
                    </a:solidFill>
                    <a:round/>
                  </a:ln>
                  <a:effectLst/>
                </c:spPr>
                <c:marker>
                  <c:symbol val="circle"/>
                  <c:size val="5"/>
                  <c:spPr>
                    <a:solidFill>
                      <a:schemeClr val="accent5"/>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xmlns:c15="http://schemas.microsoft.com/office/drawing/2012/chart" uri="{02D57815-91ED-43cb-92C2-25804820EDAC}">
                        <c15:formulaRef>
                          <c15:sqref>Sheet1!$A$2:$A$5</c15:sqref>
                        </c15:formulaRef>
                      </c:ext>
                    </c:extLst>
                    <c:numCache>
                      <c:formatCode>General</c:formatCode>
                      <c:ptCount val="3"/>
                      <c:pt idx="0">
                        <c:v>2017</c:v>
                      </c:pt>
                      <c:pt idx="1">
                        <c:v>2018</c:v>
                      </c:pt>
                      <c:pt idx="2">
                        <c:v>2019</c:v>
                      </c:pt>
                    </c:numCache>
                  </c:numRef>
                </c:cat>
                <c:val>
                  <c:numRef>
                    <c:extLst>
                      <c:ext xmlns:c15="http://schemas.microsoft.com/office/drawing/2012/chart" uri="{02D57815-91ED-43cb-92C2-25804820EDAC}">
                        <c15:formulaRef>
                          <c15:sqref>Sheet1!$F$2:$F$5</c15:sqref>
                        </c15:formulaRef>
                      </c:ext>
                    </c:extLst>
                    <c:numCache>
                      <c:formatCode>0%</c:formatCode>
                      <c:ptCount val="3"/>
                      <c:pt idx="0">
                        <c:v>0.46</c:v>
                      </c:pt>
                      <c:pt idx="1">
                        <c:v>0.5</c:v>
                      </c:pt>
                      <c:pt idx="2">
                        <c:v>0.52</c:v>
                      </c:pt>
                    </c:numCache>
                  </c:numRef>
                </c:val>
                <c:smooth val="0"/>
                <c:extLst xmlns:c15="http://schemas.microsoft.com/office/drawing/2012/chart">
                  <c:ext xmlns:c16="http://schemas.microsoft.com/office/drawing/2014/chart" uri="{C3380CC4-5D6E-409C-BE32-E72D297353CC}">
                    <c16:uniqueId val="{00000001-4D74-4221-B3C2-184E21FC502A}"/>
                  </c:ext>
                </c:extLst>
              </c15:ser>
            </c15:filteredLineSeries>
          </c:ext>
        </c:extLst>
      </c:lineChart>
      <c:catAx>
        <c:axId val="708620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08621832"/>
        <c:crosses val="autoZero"/>
        <c:auto val="1"/>
        <c:lblAlgn val="ctr"/>
        <c:lblOffset val="100"/>
        <c:noMultiLvlLbl val="0"/>
      </c:catAx>
      <c:valAx>
        <c:axId val="708621832"/>
        <c:scaling>
          <c:orientation val="minMax"/>
          <c:max val="0.8"/>
          <c:min val="0"/>
        </c:scaling>
        <c:delete val="1"/>
        <c:axPos val="l"/>
        <c:numFmt formatCode="0%" sourceLinked="1"/>
        <c:majorTickMark val="out"/>
        <c:minorTickMark val="none"/>
        <c:tickLblPos val="nextTo"/>
        <c:crossAx val="70862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noFill/>
    </a:ln>
    <a:effectLst>
      <a:outerShdw blurRad="50800" dist="38100" algn="l" rotWithShape="0">
        <a:prstClr val="black">
          <a:alpha val="40000"/>
        </a:prstClr>
      </a:outerShdw>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while knowing where to find help continues to rise…</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0"/>
          <c:order val="0"/>
          <c:tx>
            <c:strRef>
              <c:f>Sheet1!$B$1</c:f>
              <c:strCache>
                <c:ptCount val="1"/>
                <c:pt idx="0">
                  <c:v>Yes</c:v>
                </c:pt>
              </c:strCache>
            </c:strRef>
          </c:tx>
          <c:spPr>
            <a:ln w="76200" cap="rnd">
              <a:solidFill>
                <a:srgbClr val="262626"/>
              </a:solidFill>
              <a:round/>
            </a:ln>
            <a:effectLst/>
          </c:spPr>
          <c:marker>
            <c:symbol val="circle"/>
            <c:size val="14"/>
            <c:spPr>
              <a:solidFill>
                <a:schemeClr val="tx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3"/>
                <c:pt idx="0">
                  <c:v>2017</c:v>
                </c:pt>
                <c:pt idx="1">
                  <c:v>2018</c:v>
                </c:pt>
                <c:pt idx="2">
                  <c:v>2019</c:v>
                </c:pt>
              </c:numCache>
              <c:extLst/>
            </c:numRef>
          </c:cat>
          <c:val>
            <c:numRef>
              <c:f>Sheet1!$B$2:$B$5</c:f>
              <c:numCache>
                <c:formatCode>0%</c:formatCode>
                <c:ptCount val="3"/>
                <c:pt idx="0">
                  <c:v>0.45</c:v>
                </c:pt>
                <c:pt idx="1">
                  <c:v>0.49</c:v>
                </c:pt>
                <c:pt idx="2">
                  <c:v>0.51900000000000002</c:v>
                </c:pt>
              </c:numCache>
              <c:extLst/>
            </c:numRef>
          </c:val>
          <c:smooth val="0"/>
          <c:extLst>
            <c:ext xmlns:c16="http://schemas.microsoft.com/office/drawing/2014/chart" uri="{C3380CC4-5D6E-409C-BE32-E72D297353CC}">
              <c16:uniqueId val="{00000002-3A0D-409E-9F5A-72F2558CD27A}"/>
            </c:ext>
          </c:extLst>
        </c:ser>
        <c:ser>
          <c:idx val="3"/>
          <c:order val="3"/>
          <c:tx>
            <c:strRef>
              <c:f>Sheet1!$E$1</c:f>
              <c:strCache>
                <c:ptCount val="1"/>
                <c:pt idx="0">
                  <c:v>Teens</c:v>
                </c:pt>
              </c:strCache>
            </c:strRef>
          </c:tx>
          <c:spPr>
            <a:ln w="28575" cap="rnd">
              <a:solidFill>
                <a:schemeClr val="accent4"/>
              </a:solidFill>
              <a:round/>
            </a:ln>
            <a:effectLst/>
          </c:spPr>
          <c:marker>
            <c:symbol val="circle"/>
            <c:size val="5"/>
            <c:spPr>
              <a:solidFill>
                <a:schemeClr val="tx1"/>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3"/>
                <c:pt idx="0">
                  <c:v>2017</c:v>
                </c:pt>
                <c:pt idx="1">
                  <c:v>2018</c:v>
                </c:pt>
                <c:pt idx="2">
                  <c:v>2019</c:v>
                </c:pt>
              </c:numCache>
              <c:extLst/>
            </c:numRef>
          </c:cat>
          <c:val>
            <c:numRef>
              <c:f>Sheet1!$E$2:$E$5</c:f>
              <c:numCache>
                <c:formatCode>0%</c:formatCode>
                <c:ptCount val="3"/>
                <c:pt idx="0">
                  <c:v>0.56000000000000005</c:v>
                </c:pt>
                <c:pt idx="1">
                  <c:v>0.6</c:v>
                </c:pt>
                <c:pt idx="2">
                  <c:v>0.65</c:v>
                </c:pt>
              </c:numCache>
              <c:extLst/>
            </c:numRef>
          </c:val>
          <c:smooth val="0"/>
          <c:extLst>
            <c:ext xmlns:c16="http://schemas.microsoft.com/office/drawing/2014/chart" uri="{C3380CC4-5D6E-409C-BE32-E72D297353CC}">
              <c16:uniqueId val="{00000000-4382-44DE-B892-E38A94C97F80}"/>
            </c:ext>
          </c:extLst>
        </c:ser>
        <c:ser>
          <c:idx val="4"/>
          <c:order val="4"/>
          <c:tx>
            <c:strRef>
              <c:f>Sheet1!$F$1</c:f>
              <c:strCache>
                <c:ptCount val="1"/>
                <c:pt idx="0">
                  <c:v>Adults</c:v>
                </c:pt>
              </c:strCache>
            </c:strRef>
          </c:tx>
          <c:spPr>
            <a:ln w="28575" cap="rnd">
              <a:solidFill>
                <a:srgbClr val="2CB8AE"/>
              </a:solidFill>
              <a:round/>
            </a:ln>
            <a:effectLst/>
          </c:spPr>
          <c:marker>
            <c:symbol val="circle"/>
            <c:size val="5"/>
            <c:spPr>
              <a:solidFill>
                <a:schemeClr val="tx1"/>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5</c:f>
              <c:numCache>
                <c:formatCode>General</c:formatCode>
                <c:ptCount val="3"/>
                <c:pt idx="0">
                  <c:v>2017</c:v>
                </c:pt>
                <c:pt idx="1">
                  <c:v>2018</c:v>
                </c:pt>
                <c:pt idx="2">
                  <c:v>2019</c:v>
                </c:pt>
              </c:numCache>
              <c:extLst/>
            </c:numRef>
          </c:cat>
          <c:val>
            <c:numRef>
              <c:f>Sheet1!$F$2:$F$5</c:f>
              <c:numCache>
                <c:formatCode>0%</c:formatCode>
                <c:ptCount val="3"/>
                <c:pt idx="0">
                  <c:v>0.33</c:v>
                </c:pt>
                <c:pt idx="1">
                  <c:v>0.37</c:v>
                </c:pt>
                <c:pt idx="2">
                  <c:v>0.39</c:v>
                </c:pt>
              </c:numCache>
              <c:extLst/>
            </c:numRef>
          </c:val>
          <c:smooth val="0"/>
          <c:extLst>
            <c:ext xmlns:c16="http://schemas.microsoft.com/office/drawing/2014/chart" uri="{C3380CC4-5D6E-409C-BE32-E72D297353CC}">
              <c16:uniqueId val="{00000001-4382-44DE-B892-E38A94C97F80}"/>
            </c:ext>
          </c:extLst>
        </c:ser>
        <c:dLbls>
          <c:dLblPos val="t"/>
          <c:showLegendKey val="0"/>
          <c:showVal val="1"/>
          <c:showCatName val="0"/>
          <c:showSerName val="0"/>
          <c:showPercent val="0"/>
          <c:showBubbleSize val="0"/>
        </c:dLbls>
        <c:marker val="1"/>
        <c:smooth val="0"/>
        <c:axId val="708620872"/>
        <c:axId val="708621832"/>
        <c:extLst>
          <c:ext xmlns:c15="http://schemas.microsoft.com/office/drawing/2012/chart" uri="{02D57815-91ED-43cb-92C2-25804820EDAC}">
            <c15:filteredLineSeries>
              <c15:ser>
                <c:idx val="1"/>
                <c:order val="1"/>
                <c:tx>
                  <c:strRef>
                    <c:extLst>
                      <c:ext uri="{02D57815-91ED-43cb-92C2-25804820EDAC}">
                        <c15:formulaRef>
                          <c15:sqref>Sheet1!$C$1</c15:sqref>
                        </c15:formulaRef>
                      </c:ext>
                    </c:extLst>
                    <c:strCache>
                      <c:ptCount val="1"/>
                      <c:pt idx="0">
                        <c:v>No</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5</c15:sqref>
                        </c15:formulaRef>
                      </c:ext>
                    </c:extLst>
                    <c:numCache>
                      <c:formatCode>General</c:formatCode>
                      <c:ptCount val="3"/>
                      <c:pt idx="0">
                        <c:v>2017</c:v>
                      </c:pt>
                      <c:pt idx="1">
                        <c:v>2018</c:v>
                      </c:pt>
                      <c:pt idx="2">
                        <c:v>2019</c:v>
                      </c:pt>
                    </c:numCache>
                  </c:numRef>
                </c:cat>
                <c:val>
                  <c:numRef>
                    <c:extLst>
                      <c:ext uri="{02D57815-91ED-43cb-92C2-25804820EDAC}">
                        <c15:formulaRef>
                          <c15:sqref>Sheet1!$C$2:$C$5</c15:sqref>
                        </c15:formulaRef>
                      </c:ext>
                    </c:extLst>
                    <c:numCache>
                      <c:formatCode>0%</c:formatCode>
                      <c:ptCount val="3"/>
                      <c:pt idx="0">
                        <c:v>0.25</c:v>
                      </c:pt>
                      <c:pt idx="1">
                        <c:v>0.22</c:v>
                      </c:pt>
                      <c:pt idx="2">
                        <c:v>0.22500000000000001</c:v>
                      </c:pt>
                    </c:numCache>
                  </c:numRef>
                </c:val>
                <c:smooth val="0"/>
                <c:extLst>
                  <c:ext xmlns:c16="http://schemas.microsoft.com/office/drawing/2014/chart" uri="{C3380CC4-5D6E-409C-BE32-E72D297353CC}">
                    <c16:uniqueId val="{00000003-3A0D-409E-9F5A-72F2558CD27A}"/>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Unsure</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5</c15:sqref>
                        </c15:formulaRef>
                      </c:ext>
                    </c:extLst>
                    <c:numCache>
                      <c:formatCode>General</c:formatCode>
                      <c:ptCount val="3"/>
                      <c:pt idx="0">
                        <c:v>2017</c:v>
                      </c:pt>
                      <c:pt idx="1">
                        <c:v>2018</c:v>
                      </c:pt>
                      <c:pt idx="2">
                        <c:v>2019</c:v>
                      </c:pt>
                    </c:numCache>
                  </c:numRef>
                </c:cat>
                <c:val>
                  <c:numRef>
                    <c:extLst xmlns:c15="http://schemas.microsoft.com/office/drawing/2012/chart">
                      <c:ext xmlns:c15="http://schemas.microsoft.com/office/drawing/2012/chart" uri="{02D57815-91ED-43cb-92C2-25804820EDAC}">
                        <c15:formulaRef>
                          <c15:sqref>Sheet1!$D$2:$D$5</c15:sqref>
                        </c15:formulaRef>
                      </c:ext>
                    </c:extLst>
                    <c:numCache>
                      <c:formatCode>0%</c:formatCode>
                      <c:ptCount val="3"/>
                      <c:pt idx="0">
                        <c:v>0.31</c:v>
                      </c:pt>
                      <c:pt idx="1">
                        <c:v>0.28999999999999998</c:v>
                      </c:pt>
                      <c:pt idx="2">
                        <c:v>0.25600000000000001</c:v>
                      </c:pt>
                    </c:numCache>
                  </c:numRef>
                </c:val>
                <c:smooth val="0"/>
                <c:extLst xmlns:c15="http://schemas.microsoft.com/office/drawing/2012/chart">
                  <c:ext xmlns:c16="http://schemas.microsoft.com/office/drawing/2014/chart" uri="{C3380CC4-5D6E-409C-BE32-E72D297353CC}">
                    <c16:uniqueId val="{00000004-3A0D-409E-9F5A-72F2558CD27A}"/>
                  </c:ext>
                </c:extLst>
              </c15:ser>
            </c15:filteredLineSeries>
          </c:ext>
        </c:extLst>
      </c:lineChart>
      <c:catAx>
        <c:axId val="708620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08621832"/>
        <c:crosses val="autoZero"/>
        <c:auto val="1"/>
        <c:lblAlgn val="ctr"/>
        <c:lblOffset val="100"/>
        <c:noMultiLvlLbl val="0"/>
      </c:catAx>
      <c:valAx>
        <c:axId val="708621832"/>
        <c:scaling>
          <c:orientation val="minMax"/>
          <c:max val="0.8"/>
          <c:min val="0"/>
        </c:scaling>
        <c:delete val="1"/>
        <c:axPos val="l"/>
        <c:numFmt formatCode="0%" sourceLinked="1"/>
        <c:majorTickMark val="out"/>
        <c:minorTickMark val="none"/>
        <c:tickLblPos val="nextTo"/>
        <c:crossAx val="70862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noFill/>
    </a:ln>
    <a:effectLst>
      <a:outerShdw blurRad="50800" dist="38100" algn="l" rotWithShape="0">
        <a:prstClr val="black">
          <a:alpha val="40000"/>
        </a:prstClr>
      </a:outerShdw>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r>
              <a:rPr lang="en-US" dirty="0"/>
              <a:t>…And getting the help you needed became easier </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lineChart>
        <c:grouping val="standard"/>
        <c:varyColors val="0"/>
        <c:ser>
          <c:idx val="3"/>
          <c:order val="1"/>
          <c:tx>
            <c:strRef>
              <c:f>Sheet1!$C$1</c:f>
              <c:strCache>
                <c:ptCount val="1"/>
                <c:pt idx="0">
                  <c:v>Easy to get</c:v>
                </c:pt>
              </c:strCache>
            </c:strRef>
          </c:tx>
          <c:spPr>
            <a:ln w="76200" cap="rnd">
              <a:solidFill>
                <a:srgbClr val="262626"/>
              </a:solidFill>
              <a:round/>
            </a:ln>
            <a:effectLst/>
          </c:spPr>
          <c:marker>
            <c:symbol val="circle"/>
            <c:size val="14"/>
            <c:spPr>
              <a:solidFill>
                <a:schemeClr val="tx1"/>
              </a:solidFill>
              <a:ln w="9525">
                <a:solidFill>
                  <a:schemeClr val="accent4"/>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C$2:$C$4</c:f>
              <c:numCache>
                <c:formatCode>0%</c:formatCode>
                <c:ptCount val="3"/>
                <c:pt idx="0">
                  <c:v>0.27</c:v>
                </c:pt>
                <c:pt idx="1">
                  <c:v>0.27</c:v>
                </c:pt>
                <c:pt idx="2">
                  <c:v>0.32</c:v>
                </c:pt>
              </c:numCache>
            </c:numRef>
          </c:val>
          <c:smooth val="0"/>
          <c:extLst xmlns:c15="http://schemas.microsoft.com/office/drawing/2012/chart">
            <c:ext xmlns:c16="http://schemas.microsoft.com/office/drawing/2014/chart" uri="{C3380CC4-5D6E-409C-BE32-E72D297353CC}">
              <c16:uniqueId val="{00000007-0763-43A7-8EA0-B4D5B7EB35AE}"/>
            </c:ext>
          </c:extLst>
        </c:ser>
        <c:ser>
          <c:idx val="4"/>
          <c:order val="3"/>
          <c:tx>
            <c:strRef>
              <c:f>Sheet1!$E$1</c:f>
              <c:strCache>
                <c:ptCount val="1"/>
                <c:pt idx="0">
                  <c:v>Teens</c:v>
                </c:pt>
              </c:strCache>
            </c:strRef>
          </c:tx>
          <c:spPr>
            <a:ln w="28575" cap="rnd">
              <a:solidFill>
                <a:schemeClr val="accent5"/>
              </a:solidFill>
              <a:round/>
            </a:ln>
            <a:effectLst/>
          </c:spPr>
          <c:marker>
            <c:symbol val="circle"/>
            <c:size val="5"/>
            <c:spPr>
              <a:solidFill>
                <a:schemeClr val="tx1"/>
              </a:solidFill>
              <a:ln w="9525">
                <a:solidFill>
                  <a:schemeClr val="accent5"/>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E$2:$E$4</c:f>
              <c:numCache>
                <c:formatCode>0%</c:formatCode>
                <c:ptCount val="3"/>
                <c:pt idx="0">
                  <c:v>0.36</c:v>
                </c:pt>
                <c:pt idx="1">
                  <c:v>0.39</c:v>
                </c:pt>
                <c:pt idx="2">
                  <c:v>0.43</c:v>
                </c:pt>
              </c:numCache>
            </c:numRef>
          </c:val>
          <c:smooth val="0"/>
          <c:extLst>
            <c:ext xmlns:c16="http://schemas.microsoft.com/office/drawing/2014/chart" uri="{C3380CC4-5D6E-409C-BE32-E72D297353CC}">
              <c16:uniqueId val="{00000001-25F4-4DEC-8088-D9E6C910F011}"/>
            </c:ext>
          </c:extLst>
        </c:ser>
        <c:ser>
          <c:idx val="5"/>
          <c:order val="4"/>
          <c:tx>
            <c:strRef>
              <c:f>Sheet1!$F$1</c:f>
              <c:strCache>
                <c:ptCount val="1"/>
                <c:pt idx="0">
                  <c:v>Adults</c:v>
                </c:pt>
              </c:strCache>
            </c:strRef>
          </c:tx>
          <c:spPr>
            <a:ln w="28575" cap="rnd">
              <a:solidFill>
                <a:srgbClr val="2CB8AE"/>
              </a:solidFill>
              <a:round/>
            </a:ln>
            <a:effectLst/>
          </c:spPr>
          <c:marker>
            <c:symbol val="circle"/>
            <c:size val="5"/>
            <c:spPr>
              <a:solidFill>
                <a:schemeClr val="tx1"/>
              </a:solidFill>
              <a:ln w="9525">
                <a:solidFill>
                  <a:schemeClr val="accent6"/>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7</c:v>
                </c:pt>
                <c:pt idx="1">
                  <c:v>2018</c:v>
                </c:pt>
                <c:pt idx="2">
                  <c:v>2019</c:v>
                </c:pt>
              </c:numCache>
            </c:numRef>
          </c:cat>
          <c:val>
            <c:numRef>
              <c:f>Sheet1!$F$2:$F$4</c:f>
              <c:numCache>
                <c:formatCode>0%</c:formatCode>
                <c:ptCount val="3"/>
                <c:pt idx="0">
                  <c:v>0.19</c:v>
                </c:pt>
                <c:pt idx="1">
                  <c:v>0.23</c:v>
                </c:pt>
                <c:pt idx="2">
                  <c:v>0.21</c:v>
                </c:pt>
              </c:numCache>
            </c:numRef>
          </c:val>
          <c:smooth val="0"/>
          <c:extLst>
            <c:ext xmlns:c16="http://schemas.microsoft.com/office/drawing/2014/chart" uri="{C3380CC4-5D6E-409C-BE32-E72D297353CC}">
              <c16:uniqueId val="{00000002-25F4-4DEC-8088-D9E6C910F011}"/>
            </c:ext>
          </c:extLst>
        </c:ser>
        <c:dLbls>
          <c:dLblPos val="t"/>
          <c:showLegendKey val="0"/>
          <c:showVal val="1"/>
          <c:showCatName val="0"/>
          <c:showSerName val="0"/>
          <c:showPercent val="0"/>
          <c:showBubbleSize val="0"/>
        </c:dLbls>
        <c:marker val="1"/>
        <c:smooth val="0"/>
        <c:axId val="708620872"/>
        <c:axId val="708621832"/>
        <c:extLst>
          <c:ext xmlns:c15="http://schemas.microsoft.com/office/drawing/2012/chart" uri="{02D57815-91ED-43cb-92C2-25804820EDAC}">
            <c15:filteredLineSeries>
              <c15:ser>
                <c:idx val="2"/>
                <c:order val="0"/>
                <c:tx>
                  <c:strRef>
                    <c:extLst>
                      <c:ext uri="{02D57815-91ED-43cb-92C2-25804820EDAC}">
                        <c15:formulaRef>
                          <c15:sqref>Sheet1!$B$1</c15:sqref>
                        </c15:formulaRef>
                      </c:ext>
                    </c:extLst>
                    <c:strCache>
                      <c:ptCount val="1"/>
                      <c:pt idx="0">
                        <c:v>Difficult to get</c:v>
                      </c:pt>
                    </c:strCache>
                  </c:strRef>
                </c:tx>
                <c:spPr>
                  <a:ln w="76200" cap="rnd">
                    <a:solidFill>
                      <a:srgbClr val="002050"/>
                    </a:solidFill>
                    <a:round/>
                  </a:ln>
                  <a:effectLst/>
                </c:spPr>
                <c:marker>
                  <c:symbol val="circle"/>
                  <c:size val="14"/>
                  <c:spPr>
                    <a:solidFill>
                      <a:schemeClr val="tx1"/>
                    </a:solidFill>
                    <a:ln w="9525">
                      <a:solidFill>
                        <a:schemeClr val="accent3"/>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c:ext uri="{02D57815-91ED-43cb-92C2-25804820EDAC}">
                        <c15:formulaRef>
                          <c15:sqref>Sheet1!$A$2:$A$4</c15:sqref>
                        </c15:formulaRef>
                      </c:ext>
                    </c:extLst>
                    <c:numCache>
                      <c:formatCode>General</c:formatCode>
                      <c:ptCount val="3"/>
                      <c:pt idx="0">
                        <c:v>2017</c:v>
                      </c:pt>
                      <c:pt idx="1">
                        <c:v>2018</c:v>
                      </c:pt>
                      <c:pt idx="2">
                        <c:v>2019</c:v>
                      </c:pt>
                    </c:numCache>
                  </c:numRef>
                </c:cat>
                <c:val>
                  <c:numRef>
                    <c:extLst>
                      <c:ext uri="{02D57815-91ED-43cb-92C2-25804820EDAC}">
                        <c15:formulaRef>
                          <c15:sqref>Sheet1!$B$2:$B$4</c15:sqref>
                        </c15:formulaRef>
                      </c:ext>
                    </c:extLst>
                    <c:numCache>
                      <c:formatCode>0%</c:formatCode>
                      <c:ptCount val="3"/>
                      <c:pt idx="0">
                        <c:v>0.41</c:v>
                      </c:pt>
                      <c:pt idx="1">
                        <c:v>0.42</c:v>
                      </c:pt>
                      <c:pt idx="2">
                        <c:v>0.42799999999999999</c:v>
                      </c:pt>
                    </c:numCache>
                  </c:numRef>
                </c:val>
                <c:smooth val="0"/>
                <c:extLst>
                  <c:ext xmlns:c16="http://schemas.microsoft.com/office/drawing/2014/chart" uri="{C3380CC4-5D6E-409C-BE32-E72D297353CC}">
                    <c16:uniqueId val="{00000006-0763-43A7-8EA0-B4D5B7EB35AE}"/>
                  </c:ext>
                </c:extLst>
              </c15:ser>
            </c15:filteredLineSeries>
            <c15:filteredLineSeries>
              <c15:ser>
                <c:idx val="0"/>
                <c:order val="2"/>
                <c:tx>
                  <c:strRef>
                    <c:extLst xmlns:c15="http://schemas.microsoft.com/office/drawing/2012/chart">
                      <c:ext xmlns:c15="http://schemas.microsoft.com/office/drawing/2012/chart" uri="{02D57815-91ED-43cb-92C2-25804820EDAC}">
                        <c15:formulaRef>
                          <c15:sqref>Sheet1!$D$1</c15:sqref>
                        </c15:formulaRef>
                      </c:ext>
                    </c:extLst>
                    <c:strCache>
                      <c:ptCount val="1"/>
                      <c:pt idx="0">
                        <c:v>Didn't ask for help</c:v>
                      </c:pt>
                    </c:strCache>
                  </c:strRef>
                </c:tx>
                <c:spPr>
                  <a:ln w="76200" cap="rnd">
                    <a:solidFill>
                      <a:schemeClr val="accent1"/>
                    </a:solidFill>
                    <a:round/>
                  </a:ln>
                  <a:effectLst/>
                </c:spPr>
                <c:marker>
                  <c:symbol val="circle"/>
                  <c:size val="14"/>
                  <c:spPr>
                    <a:solidFill>
                      <a:schemeClr val="tx1"/>
                    </a:solidFill>
                    <a:ln w="9525">
                      <a:solidFill>
                        <a:schemeClr val="accent1"/>
                      </a:solidFill>
                    </a:ln>
                    <a:effectLst/>
                  </c:spPr>
                </c:marker>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lumMod val="75000"/>
                              <a:lumOff val="25000"/>
                            </a:schemeClr>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extLst xmlns:c15="http://schemas.microsoft.com/office/drawing/2012/chart">
                      <c:ext xmlns:c15="http://schemas.microsoft.com/office/drawing/2012/chart" uri="{02D57815-91ED-43cb-92C2-25804820EDAC}">
                        <c15:formulaRef>
                          <c15:sqref>Sheet1!$A$2:$A$4</c15:sqref>
                        </c15:formulaRef>
                      </c:ext>
                    </c:extLst>
                    <c:numCache>
                      <c:formatCode>General</c:formatCode>
                      <c:ptCount val="3"/>
                      <c:pt idx="0">
                        <c:v>2017</c:v>
                      </c:pt>
                      <c:pt idx="1">
                        <c:v>2018</c:v>
                      </c:pt>
                      <c:pt idx="2">
                        <c:v>2019</c:v>
                      </c:pt>
                    </c:numCache>
                  </c:numRef>
                </c:cat>
                <c:val>
                  <c:numRef>
                    <c:extLst xmlns:c15="http://schemas.microsoft.com/office/drawing/2012/chart">
                      <c:ext xmlns:c15="http://schemas.microsoft.com/office/drawing/2012/chart" uri="{02D57815-91ED-43cb-92C2-25804820EDAC}">
                        <c15:formulaRef>
                          <c15:sqref>Sheet1!$D$2:$D$4</c15:sqref>
                        </c15:formulaRef>
                      </c:ext>
                    </c:extLst>
                    <c:numCache>
                      <c:formatCode>0%</c:formatCode>
                      <c:ptCount val="3"/>
                      <c:pt idx="0">
                        <c:v>0.31</c:v>
                      </c:pt>
                      <c:pt idx="1">
                        <c:v>0.27</c:v>
                      </c:pt>
                      <c:pt idx="2">
                        <c:v>0.252</c:v>
                      </c:pt>
                    </c:numCache>
                  </c:numRef>
                </c:val>
                <c:smooth val="0"/>
                <c:extLst xmlns:c15="http://schemas.microsoft.com/office/drawing/2012/chart">
                  <c:ext xmlns:c16="http://schemas.microsoft.com/office/drawing/2014/chart" uri="{C3380CC4-5D6E-409C-BE32-E72D297353CC}">
                    <c16:uniqueId val="{00000000-25F4-4DEC-8088-D9E6C910F011}"/>
                  </c:ext>
                </c:extLst>
              </c15:ser>
            </c15:filteredLineSeries>
          </c:ext>
        </c:extLst>
      </c:lineChart>
      <c:catAx>
        <c:axId val="7086208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crossAx val="708621832"/>
        <c:crosses val="autoZero"/>
        <c:auto val="1"/>
        <c:lblAlgn val="ctr"/>
        <c:lblOffset val="100"/>
        <c:noMultiLvlLbl val="0"/>
      </c:catAx>
      <c:valAx>
        <c:axId val="708621832"/>
        <c:scaling>
          <c:orientation val="minMax"/>
          <c:max val="0.5"/>
          <c:min val="0"/>
        </c:scaling>
        <c:delete val="1"/>
        <c:axPos val="l"/>
        <c:numFmt formatCode="0%" sourceLinked="1"/>
        <c:majorTickMark val="out"/>
        <c:minorTickMark val="none"/>
        <c:tickLblPos val="nextTo"/>
        <c:crossAx val="708620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Arial" panose="020B0604020202020204" pitchFamily="34" charset="0"/>
              <a:ea typeface="+mn-ea"/>
              <a:cs typeface="Arial" panose="020B0604020202020204" pitchFamily="34" charset="0"/>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noFill/>
    </a:ln>
    <a:effectLst>
      <a:outerShdw blurRad="50800" dist="38100" algn="l" rotWithShape="0">
        <a:prstClr val="black">
          <a:alpha val="40000"/>
        </a:prstClr>
      </a:outerShdw>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757644811311734E-2"/>
          <c:y val="2.7938033162465362E-2"/>
          <c:w val="0.96484710377376537"/>
          <c:h val="0.97206196683753465"/>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24"/>
            <c:spPr>
              <a:solidFill>
                <a:srgbClr val="FFFF00"/>
              </a:solidFill>
              <a:ln w="25400">
                <a:solidFill>
                  <a:schemeClr val="bg1"/>
                </a:solidFill>
              </a:ln>
              <a:effectLst/>
            </c:spPr>
          </c:marker>
          <c:dPt>
            <c:idx val="0"/>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3-F6FD-4519-B38B-83697C0D326E}"/>
              </c:ext>
            </c:extLst>
          </c:dPt>
          <c:dPt>
            <c:idx val="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5-F6FD-4519-B38B-83697C0D326E}"/>
              </c:ext>
            </c:extLst>
          </c:dPt>
          <c:dPt>
            <c:idx val="2"/>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4-F6FD-4519-B38B-83697C0D326E}"/>
              </c:ext>
            </c:extLst>
          </c:dPt>
          <c:dPt>
            <c:idx val="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2-F6FD-4519-B38B-83697C0D326E}"/>
              </c:ext>
            </c:extLst>
          </c:dPt>
          <c:dPt>
            <c:idx val="4"/>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6-F6FD-4519-B38B-83697C0D326E}"/>
              </c:ext>
            </c:extLst>
          </c:dPt>
          <c:dPt>
            <c:idx val="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8-F6FD-4519-B38B-83697C0D326E}"/>
              </c:ext>
            </c:extLst>
          </c:dPt>
          <c:dPt>
            <c:idx val="6"/>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9-F6FD-4519-B38B-83697C0D326E}"/>
              </c:ext>
            </c:extLst>
          </c:dPt>
          <c:dPt>
            <c:idx val="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A-F6FD-4519-B38B-83697C0D326E}"/>
              </c:ext>
            </c:extLst>
          </c:dPt>
          <c:dPt>
            <c:idx val="8"/>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7-F6FD-4519-B38B-83697C0D326E}"/>
              </c:ext>
            </c:extLst>
          </c:dPt>
          <c:dPt>
            <c:idx val="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B-F6FD-4519-B38B-83697C0D326E}"/>
              </c:ext>
            </c:extLst>
          </c:dPt>
          <c:dPt>
            <c:idx val="10"/>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0-BAF1-4924-914C-D0E81ABFE605}"/>
              </c:ext>
            </c:extLst>
          </c:dPt>
          <c:dPt>
            <c:idx val="12"/>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D-F6FD-4519-B38B-83697C0D326E}"/>
              </c:ext>
            </c:extLst>
          </c:dPt>
          <c:dPt>
            <c:idx val="1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C-92B3-4A90-854A-7DB325A47A22}"/>
              </c:ext>
            </c:extLst>
          </c:dPt>
          <c:dPt>
            <c:idx val="14"/>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1-BAF1-4924-914C-D0E81ABFE605}"/>
              </c:ext>
            </c:extLst>
          </c:dPt>
          <c:dPt>
            <c:idx val="1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E-F6FD-4519-B38B-83697C0D326E}"/>
              </c:ext>
            </c:extLst>
          </c:dPt>
          <c:dPt>
            <c:idx val="16"/>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00-9513-4DE2-8BCB-74FCFBBBED6A}"/>
              </c:ext>
            </c:extLst>
          </c:dPt>
          <c:dPt>
            <c:idx val="18"/>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1-F6FD-4519-B38B-83697C0D326E}"/>
              </c:ext>
            </c:extLst>
          </c:dPt>
          <c:dPt>
            <c:idx val="1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0-F6FD-4519-B38B-83697C0D326E}"/>
              </c:ext>
            </c:extLst>
          </c:dPt>
          <c:dPt>
            <c:idx val="2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7-F6FD-4519-B38B-83697C0D326E}"/>
              </c:ext>
            </c:extLst>
          </c:dPt>
          <c:dPt>
            <c:idx val="22"/>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8-F6FD-4519-B38B-83697C0D326E}"/>
              </c:ext>
            </c:extLst>
          </c:dPt>
          <c:dPt>
            <c:idx val="2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2-F6FD-4519-B38B-83697C0D326E}"/>
              </c:ext>
            </c:extLst>
          </c:dPt>
          <c:dPt>
            <c:idx val="24"/>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4-F6FD-4519-B38B-83697C0D326E}"/>
              </c:ext>
            </c:extLst>
          </c:dPt>
          <c:dPt>
            <c:idx val="2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5-F6FD-4519-B38B-83697C0D326E}"/>
              </c:ext>
            </c:extLst>
          </c:dPt>
          <c:dPt>
            <c:idx val="2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6-F6FD-4519-B38B-83697C0D326E}"/>
              </c:ext>
            </c:extLst>
          </c:dPt>
          <c:dPt>
            <c:idx val="3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9-F6FD-4519-B38B-83697C0D326E}"/>
              </c:ext>
            </c:extLst>
          </c:dPt>
          <c:dPt>
            <c:idx val="3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3-F6FD-4519-B38B-83697C0D326E}"/>
              </c:ext>
            </c:extLst>
          </c:dPt>
          <c:xVal>
            <c:numRef>
              <c:f>Sheet1!$A$2:$A$19</c:f>
              <c:numCache>
                <c:formatCode>General</c:formatCode>
                <c:ptCount val="18"/>
                <c:pt idx="0">
                  <c:v>66</c:v>
                </c:pt>
                <c:pt idx="1">
                  <c:v>72</c:v>
                </c:pt>
                <c:pt idx="2">
                  <c:v>53</c:v>
                </c:pt>
                <c:pt idx="3">
                  <c:v>51</c:v>
                </c:pt>
                <c:pt idx="4">
                  <c:v>74</c:v>
                </c:pt>
                <c:pt idx="5">
                  <c:v>73</c:v>
                </c:pt>
                <c:pt idx="6">
                  <c:v>70</c:v>
                </c:pt>
                <c:pt idx="7">
                  <c:v>66</c:v>
                </c:pt>
                <c:pt idx="8">
                  <c:v>66</c:v>
                </c:pt>
                <c:pt idx="9">
                  <c:v>61</c:v>
                </c:pt>
                <c:pt idx="10">
                  <c:v>75</c:v>
                </c:pt>
                <c:pt idx="11">
                  <c:v>77</c:v>
                </c:pt>
                <c:pt idx="12">
                  <c:v>48</c:v>
                </c:pt>
                <c:pt idx="13">
                  <c:v>52</c:v>
                </c:pt>
                <c:pt idx="14">
                  <c:v>65</c:v>
                </c:pt>
                <c:pt idx="15">
                  <c:v>39</c:v>
                </c:pt>
                <c:pt idx="16">
                  <c:v>41</c:v>
                </c:pt>
                <c:pt idx="17">
                  <c:v>45</c:v>
                </c:pt>
              </c:numCache>
            </c:numRef>
          </c:xVal>
          <c:yVal>
            <c:numRef>
              <c:f>Sheet1!$B$2:$B$19</c:f>
              <c:numCache>
                <c:formatCode>General</c:formatCode>
                <c:ptCount val="18"/>
                <c:pt idx="0">
                  <c:v>85</c:v>
                </c:pt>
                <c:pt idx="1">
                  <c:v>85</c:v>
                </c:pt>
                <c:pt idx="2">
                  <c:v>75</c:v>
                </c:pt>
                <c:pt idx="3">
                  <c:v>75</c:v>
                </c:pt>
                <c:pt idx="4">
                  <c:v>65</c:v>
                </c:pt>
                <c:pt idx="5">
                  <c:v>65</c:v>
                </c:pt>
                <c:pt idx="6">
                  <c:v>55</c:v>
                </c:pt>
                <c:pt idx="7">
                  <c:v>55</c:v>
                </c:pt>
                <c:pt idx="8">
                  <c:v>45</c:v>
                </c:pt>
                <c:pt idx="9">
                  <c:v>45</c:v>
                </c:pt>
                <c:pt idx="10">
                  <c:v>35</c:v>
                </c:pt>
                <c:pt idx="11">
                  <c:v>35</c:v>
                </c:pt>
                <c:pt idx="12">
                  <c:v>25</c:v>
                </c:pt>
                <c:pt idx="13">
                  <c:v>25</c:v>
                </c:pt>
                <c:pt idx="14">
                  <c:v>15</c:v>
                </c:pt>
                <c:pt idx="15">
                  <c:v>15</c:v>
                </c:pt>
                <c:pt idx="16">
                  <c:v>5</c:v>
                </c:pt>
                <c:pt idx="17">
                  <c:v>5</c:v>
                </c:pt>
              </c:numCache>
            </c:numRef>
          </c:yVal>
          <c:smooth val="0"/>
          <c:extLst>
            <c:ext xmlns:c16="http://schemas.microsoft.com/office/drawing/2014/chart" uri="{C3380CC4-5D6E-409C-BE32-E72D297353CC}">
              <c16:uniqueId val="{00000000-F6FD-4519-B38B-83697C0D326E}"/>
            </c:ext>
          </c:extLst>
        </c:ser>
        <c:dLbls>
          <c:showLegendKey val="0"/>
          <c:showVal val="0"/>
          <c:showCatName val="0"/>
          <c:showSerName val="0"/>
          <c:showPercent val="0"/>
          <c:showBubbleSize val="0"/>
        </c:dLbls>
        <c:axId val="1376733560"/>
        <c:axId val="1376733888"/>
      </c:scatterChart>
      <c:valAx>
        <c:axId val="1376733560"/>
        <c:scaling>
          <c:orientation val="minMax"/>
          <c:max val="90"/>
          <c:min val="0"/>
        </c:scaling>
        <c:delete val="1"/>
        <c:axPos val="b"/>
        <c:majorGridlines>
          <c:spPr>
            <a:ln w="9525" cap="flat" cmpd="sng" algn="ctr">
              <a:noFill/>
              <a:round/>
            </a:ln>
            <a:effectLst/>
          </c:spPr>
        </c:majorGridlines>
        <c:numFmt formatCode="General" sourceLinked="1"/>
        <c:majorTickMark val="out"/>
        <c:minorTickMark val="none"/>
        <c:tickLblPos val="nextTo"/>
        <c:crossAx val="1376733888"/>
        <c:crosses val="autoZero"/>
        <c:crossBetween val="midCat"/>
      </c:valAx>
      <c:valAx>
        <c:axId val="1376733888"/>
        <c:scaling>
          <c:orientation val="minMax"/>
        </c:scaling>
        <c:delete val="1"/>
        <c:axPos val="r"/>
        <c:majorGridlines>
          <c:spPr>
            <a:ln w="9525" cap="flat" cmpd="sng" algn="ctr">
              <a:solidFill>
                <a:schemeClr val="bg1">
                  <a:lumMod val="50000"/>
                  <a:lumOff val="50000"/>
                </a:schemeClr>
              </a:solidFill>
              <a:prstDash val="sysDash"/>
              <a:round/>
            </a:ln>
            <a:effectLst/>
          </c:spPr>
        </c:majorGridlines>
        <c:numFmt formatCode="General" sourceLinked="1"/>
        <c:majorTickMark val="out"/>
        <c:minorTickMark val="none"/>
        <c:tickLblPos val="nextTo"/>
        <c:crossAx val="1376733560"/>
        <c:crosses val="max"/>
        <c:crossBetween val="midCat"/>
      </c:valAx>
      <c:spPr>
        <a:solidFill>
          <a:srgbClr val="262626"/>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72165951865946E-2"/>
          <c:y val="1.3770894561540776E-2"/>
          <c:w val="0.96484710377376537"/>
          <c:h val="0.97365736055317087"/>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24"/>
            <c:spPr>
              <a:solidFill>
                <a:srgbClr val="FFFF00"/>
              </a:solidFill>
              <a:ln w="25400">
                <a:solidFill>
                  <a:schemeClr val="bg1"/>
                </a:solidFill>
              </a:ln>
              <a:effectLst/>
            </c:spPr>
          </c:marker>
          <c:dPt>
            <c:idx val="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0-630F-48E7-9396-2B85EF3DC44A}"/>
              </c:ext>
            </c:extLst>
          </c:dPt>
          <c:dPt>
            <c:idx val="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1-630F-48E7-9396-2B85EF3DC44A}"/>
              </c:ext>
            </c:extLst>
          </c:dPt>
          <c:dPt>
            <c:idx val="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2-630F-48E7-9396-2B85EF3DC44A}"/>
              </c:ext>
            </c:extLst>
          </c:dPt>
          <c:dPt>
            <c:idx val="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3-630F-48E7-9396-2B85EF3DC44A}"/>
              </c:ext>
            </c:extLst>
          </c:dPt>
          <c:dPt>
            <c:idx val="4"/>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4-630F-48E7-9396-2B85EF3DC44A}"/>
              </c:ext>
            </c:extLst>
          </c:dPt>
          <c:dPt>
            <c:idx val="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5-630F-48E7-9396-2B85EF3DC44A}"/>
              </c:ext>
            </c:extLst>
          </c:dPt>
          <c:dPt>
            <c:idx val="6"/>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6-630F-48E7-9396-2B85EF3DC44A}"/>
              </c:ext>
            </c:extLst>
          </c:dPt>
          <c:dPt>
            <c:idx val="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7-630F-48E7-9396-2B85EF3DC44A}"/>
              </c:ext>
            </c:extLst>
          </c:dPt>
          <c:dPt>
            <c:idx val="8"/>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8-630F-48E7-9396-2B85EF3DC44A}"/>
              </c:ext>
            </c:extLst>
          </c:dPt>
          <c:dPt>
            <c:idx val="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9-630F-48E7-9396-2B85EF3DC44A}"/>
              </c:ext>
            </c:extLst>
          </c:dPt>
          <c:dPt>
            <c:idx val="10"/>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A-630F-48E7-9396-2B85EF3DC44A}"/>
              </c:ext>
            </c:extLst>
          </c:dPt>
          <c:dPt>
            <c:idx val="1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B-630F-48E7-9396-2B85EF3DC44A}"/>
              </c:ext>
            </c:extLst>
          </c:dPt>
          <c:dPt>
            <c:idx val="1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C-630F-48E7-9396-2B85EF3DC44A}"/>
              </c:ext>
            </c:extLst>
          </c:dPt>
          <c:dPt>
            <c:idx val="14"/>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D-630F-48E7-9396-2B85EF3DC44A}"/>
              </c:ext>
            </c:extLst>
          </c:dPt>
          <c:dPt>
            <c:idx val="1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E-630F-48E7-9396-2B85EF3DC44A}"/>
              </c:ext>
            </c:extLst>
          </c:dPt>
          <c:dPt>
            <c:idx val="16"/>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F-630F-48E7-9396-2B85EF3DC44A}"/>
              </c:ext>
            </c:extLst>
          </c:dPt>
          <c:dPt>
            <c:idx val="1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0-630F-48E7-9396-2B85EF3DC44A}"/>
              </c:ext>
            </c:extLst>
          </c:dPt>
          <c:dPt>
            <c:idx val="18"/>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1-630F-48E7-9396-2B85EF3DC44A}"/>
              </c:ext>
            </c:extLst>
          </c:dPt>
          <c:dPt>
            <c:idx val="1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2-630F-48E7-9396-2B85EF3DC44A}"/>
              </c:ext>
            </c:extLst>
          </c:dPt>
          <c:dPt>
            <c:idx val="2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3-630F-48E7-9396-2B85EF3DC44A}"/>
              </c:ext>
            </c:extLst>
          </c:dPt>
          <c:dPt>
            <c:idx val="2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4-630F-48E7-9396-2B85EF3DC44A}"/>
              </c:ext>
            </c:extLst>
          </c:dPt>
          <c:dPt>
            <c:idx val="22"/>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5-630F-48E7-9396-2B85EF3DC44A}"/>
              </c:ext>
            </c:extLst>
          </c:dPt>
          <c:dPt>
            <c:idx val="2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6-630F-48E7-9396-2B85EF3DC44A}"/>
              </c:ext>
            </c:extLst>
          </c:dPt>
          <c:dPt>
            <c:idx val="24"/>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7-630F-48E7-9396-2B85EF3DC44A}"/>
              </c:ext>
            </c:extLst>
          </c:dPt>
          <c:dPt>
            <c:idx val="2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8-630F-48E7-9396-2B85EF3DC44A}"/>
              </c:ext>
            </c:extLst>
          </c:dPt>
          <c:dPt>
            <c:idx val="26"/>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9-630F-48E7-9396-2B85EF3DC44A}"/>
              </c:ext>
            </c:extLst>
          </c:dPt>
          <c:dPt>
            <c:idx val="2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A-630F-48E7-9396-2B85EF3DC44A}"/>
              </c:ext>
            </c:extLst>
          </c:dPt>
          <c:dPt>
            <c:idx val="28"/>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B-630F-48E7-9396-2B85EF3DC44A}"/>
              </c:ext>
            </c:extLst>
          </c:dPt>
          <c:dPt>
            <c:idx val="2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C-630F-48E7-9396-2B85EF3DC44A}"/>
              </c:ext>
            </c:extLst>
          </c:dPt>
          <c:dPt>
            <c:idx val="3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D-630F-48E7-9396-2B85EF3DC44A}"/>
              </c:ext>
            </c:extLst>
          </c:dPt>
          <c:dPt>
            <c:idx val="3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E-630F-48E7-9396-2B85EF3DC44A}"/>
              </c:ext>
            </c:extLst>
          </c:dPt>
          <c:xVal>
            <c:numRef>
              <c:f>Sheet1!$A$2:$A$17</c:f>
              <c:numCache>
                <c:formatCode>General</c:formatCode>
                <c:ptCount val="16"/>
                <c:pt idx="0">
                  <c:v>66</c:v>
                </c:pt>
                <c:pt idx="1">
                  <c:v>66</c:v>
                </c:pt>
                <c:pt idx="2">
                  <c:v>51</c:v>
                </c:pt>
                <c:pt idx="3">
                  <c:v>55</c:v>
                </c:pt>
                <c:pt idx="4">
                  <c:v>71</c:v>
                </c:pt>
                <c:pt idx="5">
                  <c:v>76</c:v>
                </c:pt>
                <c:pt idx="6">
                  <c:v>68</c:v>
                </c:pt>
                <c:pt idx="7">
                  <c:v>73</c:v>
                </c:pt>
                <c:pt idx="8">
                  <c:v>64</c:v>
                </c:pt>
                <c:pt idx="9">
                  <c:v>69</c:v>
                </c:pt>
                <c:pt idx="10">
                  <c:v>74</c:v>
                </c:pt>
                <c:pt idx="11">
                  <c:v>75</c:v>
                </c:pt>
                <c:pt idx="12">
                  <c:v>50</c:v>
                </c:pt>
                <c:pt idx="13">
                  <c:v>45</c:v>
                </c:pt>
                <c:pt idx="14">
                  <c:v>40</c:v>
                </c:pt>
                <c:pt idx="15">
                  <c:v>42</c:v>
                </c:pt>
              </c:numCache>
            </c:numRef>
          </c:xVal>
          <c:yVal>
            <c:numRef>
              <c:f>Sheet1!$B$2:$B$17</c:f>
              <c:numCache>
                <c:formatCode>General</c:formatCode>
                <c:ptCount val="16"/>
                <c:pt idx="0">
                  <c:v>85</c:v>
                </c:pt>
                <c:pt idx="1">
                  <c:v>85</c:v>
                </c:pt>
                <c:pt idx="2">
                  <c:v>75</c:v>
                </c:pt>
                <c:pt idx="3">
                  <c:v>75</c:v>
                </c:pt>
                <c:pt idx="4">
                  <c:v>65</c:v>
                </c:pt>
                <c:pt idx="5">
                  <c:v>65</c:v>
                </c:pt>
                <c:pt idx="6">
                  <c:v>55</c:v>
                </c:pt>
                <c:pt idx="7">
                  <c:v>55</c:v>
                </c:pt>
                <c:pt idx="8">
                  <c:v>45</c:v>
                </c:pt>
                <c:pt idx="9">
                  <c:v>45</c:v>
                </c:pt>
                <c:pt idx="10">
                  <c:v>35</c:v>
                </c:pt>
                <c:pt idx="11">
                  <c:v>35</c:v>
                </c:pt>
                <c:pt idx="12">
                  <c:v>25</c:v>
                </c:pt>
                <c:pt idx="13">
                  <c:v>25</c:v>
                </c:pt>
                <c:pt idx="14">
                  <c:v>15</c:v>
                </c:pt>
                <c:pt idx="15">
                  <c:v>15</c:v>
                </c:pt>
              </c:numCache>
            </c:numRef>
          </c:yVal>
          <c:smooth val="0"/>
          <c:extLst>
            <c:ext xmlns:c16="http://schemas.microsoft.com/office/drawing/2014/chart" uri="{C3380CC4-5D6E-409C-BE32-E72D297353CC}">
              <c16:uniqueId val="{0000001F-630F-48E7-9396-2B85EF3DC44A}"/>
            </c:ext>
          </c:extLst>
        </c:ser>
        <c:dLbls>
          <c:showLegendKey val="0"/>
          <c:showVal val="0"/>
          <c:showCatName val="0"/>
          <c:showSerName val="0"/>
          <c:showPercent val="0"/>
          <c:showBubbleSize val="0"/>
        </c:dLbls>
        <c:axId val="1376733560"/>
        <c:axId val="1376733888"/>
      </c:scatterChart>
      <c:valAx>
        <c:axId val="1376733560"/>
        <c:scaling>
          <c:orientation val="minMax"/>
          <c:max val="90"/>
        </c:scaling>
        <c:delete val="1"/>
        <c:axPos val="b"/>
        <c:majorGridlines>
          <c:spPr>
            <a:ln w="9525" cap="flat" cmpd="sng" algn="ctr">
              <a:noFill/>
              <a:round/>
            </a:ln>
            <a:effectLst/>
          </c:spPr>
        </c:majorGridlines>
        <c:numFmt formatCode="General" sourceLinked="1"/>
        <c:majorTickMark val="out"/>
        <c:minorTickMark val="none"/>
        <c:tickLblPos val="nextTo"/>
        <c:crossAx val="1376733888"/>
        <c:crosses val="autoZero"/>
        <c:crossBetween val="midCat"/>
      </c:valAx>
      <c:valAx>
        <c:axId val="1376733888"/>
        <c:scaling>
          <c:orientation val="minMax"/>
        </c:scaling>
        <c:delete val="1"/>
        <c:axPos val="r"/>
        <c:majorGridlines>
          <c:spPr>
            <a:ln w="9525" cap="flat" cmpd="sng" algn="ctr">
              <a:solidFill>
                <a:schemeClr val="bg1">
                  <a:lumMod val="50000"/>
                  <a:lumOff val="50000"/>
                </a:schemeClr>
              </a:solidFill>
              <a:prstDash val="sysDash"/>
              <a:round/>
            </a:ln>
            <a:effectLst/>
          </c:spPr>
        </c:majorGridlines>
        <c:numFmt formatCode="General" sourceLinked="1"/>
        <c:majorTickMark val="out"/>
        <c:minorTickMark val="none"/>
        <c:tickLblPos val="nextTo"/>
        <c:crossAx val="1376733560"/>
        <c:crosses val="max"/>
        <c:crossBetween val="midCat"/>
      </c:valAx>
      <c:spPr>
        <a:solidFill>
          <a:srgbClr val="262626"/>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2400" baseline="0" dirty="0">
                <a:latin typeface="Arial" panose="020B0604020202020204" pitchFamily="34" charset="0"/>
                <a:cs typeface="Arial" panose="020B0604020202020204" pitchFamily="34" charset="0"/>
              </a:rPr>
              <a:t>Teens more likely to ask for help</a:t>
            </a:r>
            <a:endParaRPr lang="en-US" sz="2400"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23289721143988995"/>
          <c:w val="0.87533831325688249"/>
          <c:h val="0.73103740077593948"/>
        </c:manualLayout>
      </c:layout>
      <c:lineChart>
        <c:grouping val="standard"/>
        <c:varyColors val="0"/>
        <c:ser>
          <c:idx val="0"/>
          <c:order val="0"/>
          <c:tx>
            <c:strRef>
              <c:f>Sheet1!$A$2</c:f>
              <c:strCache>
                <c:ptCount val="1"/>
                <c:pt idx="0">
                  <c:v>Asked my parents for help</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D-FAFC-4561-AE0A-4C90294FABC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3"/>
                <c:pt idx="0">
                  <c:v>2017</c:v>
                </c:pt>
                <c:pt idx="1">
                  <c:v>2018</c:v>
                </c:pt>
                <c:pt idx="2">
                  <c:v>2019</c:v>
                </c:pt>
              </c:strCache>
            </c:strRef>
          </c:cat>
          <c:val>
            <c:numRef>
              <c:f>Sheet1!$B$2:$E$2</c:f>
              <c:numCache>
                <c:formatCode>0%</c:formatCode>
                <c:ptCount val="3"/>
                <c:pt idx="0">
                  <c:v>0.1</c:v>
                </c:pt>
                <c:pt idx="1">
                  <c:v>0.42</c:v>
                </c:pt>
                <c:pt idx="2">
                  <c:v>0.48099999999999998</c:v>
                </c:pt>
              </c:numCache>
            </c:numRef>
          </c:val>
          <c:smooth val="0"/>
          <c:extLst>
            <c:ext xmlns:c16="http://schemas.microsoft.com/office/drawing/2014/chart" uri="{C3380CC4-5D6E-409C-BE32-E72D297353CC}">
              <c16:uniqueId val="{00000000-FAFC-4561-AE0A-4C90294FABC5}"/>
            </c:ext>
          </c:extLst>
        </c:ser>
        <c:ser>
          <c:idx val="4"/>
          <c:order val="4"/>
          <c:tx>
            <c:strRef>
              <c:f>Sheet1!$A$6</c:f>
              <c:strCache>
                <c:ptCount val="1"/>
                <c:pt idx="0">
                  <c:v>Asked for help from an adult</c:v>
                </c:pt>
              </c:strCache>
            </c:strRef>
          </c:tx>
          <c:spPr>
            <a:ln w="76200" cap="rnd">
              <a:solidFill>
                <a:srgbClr val="28608C"/>
              </a:solidFill>
              <a:round/>
            </a:ln>
            <a:effectLst/>
          </c:spPr>
          <c:marker>
            <c:symbol val="circle"/>
            <c:size val="14"/>
            <c:spPr>
              <a:solidFill>
                <a:sysClr val="window" lastClr="FFFFFF"/>
              </a:solidFill>
              <a:ln w="9525">
                <a:solidFill>
                  <a:schemeClr val="accent5"/>
                </a:solidFill>
              </a:ln>
              <a:effectLst/>
            </c:spPr>
          </c:marker>
          <c:dLbls>
            <c:dLbl>
              <c:idx val="0"/>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AFC-4561-AE0A-4C90294FABC5}"/>
                </c:ext>
              </c:extLst>
            </c:dLbl>
            <c:dLbl>
              <c:idx val="1"/>
              <c:delete val="1"/>
              <c:extLst>
                <c:ext xmlns:c15="http://schemas.microsoft.com/office/drawing/2012/chart" uri="{CE6537A1-D6FC-4f65-9D91-7224C49458BB}"/>
                <c:ext xmlns:c16="http://schemas.microsoft.com/office/drawing/2014/chart" uri="{C3380CC4-5D6E-409C-BE32-E72D297353CC}">
                  <c16:uniqueId val="{00000007-FAFC-4561-AE0A-4C90294FABC5}"/>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FAFC-4561-AE0A-4C90294FABC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3"/>
                <c:pt idx="0">
                  <c:v>2017</c:v>
                </c:pt>
                <c:pt idx="1">
                  <c:v>2018</c:v>
                </c:pt>
                <c:pt idx="2">
                  <c:v>2019</c:v>
                </c:pt>
              </c:strCache>
            </c:strRef>
          </c:cat>
          <c:val>
            <c:numRef>
              <c:f>Sheet1!$B$6:$E$6</c:f>
              <c:numCache>
                <c:formatCode>0%</c:formatCode>
                <c:ptCount val="3"/>
                <c:pt idx="0">
                  <c:v>0.09</c:v>
                </c:pt>
                <c:pt idx="1">
                  <c:v>0.28000000000000003</c:v>
                </c:pt>
                <c:pt idx="2">
                  <c:v>0.29599999999999999</c:v>
                </c:pt>
              </c:numCache>
            </c:numRef>
          </c:val>
          <c:smooth val="0"/>
          <c:extLst>
            <c:ext xmlns:c16="http://schemas.microsoft.com/office/drawing/2014/chart" uri="{C3380CC4-5D6E-409C-BE32-E72D297353CC}">
              <c16:uniqueId val="{00000005-FAFC-4561-AE0A-4C90294FABC5}"/>
            </c:ext>
          </c:extLst>
        </c:ser>
        <c:dLbls>
          <c:showLegendKey val="0"/>
          <c:showVal val="0"/>
          <c:showCatName val="0"/>
          <c:showSerName val="0"/>
          <c:showPercent val="0"/>
          <c:showBubbleSize val="0"/>
        </c:dLbls>
        <c:marker val="1"/>
        <c:smooth val="0"/>
        <c:axId val="649088760"/>
        <c:axId val="649089080"/>
        <c:extLst>
          <c:ext xmlns:c15="http://schemas.microsoft.com/office/drawing/2012/chart" uri="{02D57815-91ED-43cb-92C2-25804820EDAC}">
            <c15:filteredLineSeries>
              <c15:ser>
                <c:idx val="1"/>
                <c:order val="1"/>
                <c:tx>
                  <c:strRef>
                    <c:extLst>
                      <c:ext uri="{02D57815-91ED-43cb-92C2-25804820EDAC}">
                        <c15:formulaRef>
                          <c15:sqref>Sheet1!$A$3</c15:sqref>
                        </c15:formulaRef>
                      </c:ext>
                    </c:extLst>
                    <c:strCache>
                      <c:ptCount val="1"/>
                      <c:pt idx="0">
                        <c:v>Unfriended or blocked the person responsible</c:v>
                      </c:pt>
                    </c:strCache>
                  </c:strRef>
                </c:tx>
                <c:spPr>
                  <a:ln w="28575" cap="rnd">
                    <a:solidFill>
                      <a:srgbClr val="28608C"/>
                    </a:solidFill>
                    <a:round/>
                  </a:ln>
                  <a:effectLst/>
                </c:spPr>
                <c:marker>
                  <c:symbol val="circle"/>
                  <c:size val="7"/>
                  <c:spPr>
                    <a:solidFill>
                      <a:schemeClr val="tx1"/>
                    </a:solidFill>
                    <a:ln w="9525">
                      <a:solidFill>
                        <a:schemeClr val="accent2"/>
                      </a:solidFill>
                    </a:ln>
                    <a:effectLst/>
                  </c:spPr>
                </c:marker>
                <c:cat>
                  <c:strRef>
                    <c:extLst>
                      <c:ext uri="{02D57815-91ED-43cb-92C2-25804820EDAC}">
                        <c15:formulaRef>
                          <c15:sqref>Sheet1!$B$1:$E$1</c15:sqref>
                        </c15:formulaRef>
                      </c:ext>
                    </c:extLst>
                    <c:strCache>
                      <c:ptCount val="3"/>
                      <c:pt idx="0">
                        <c:v>2017</c:v>
                      </c:pt>
                      <c:pt idx="1">
                        <c:v>2018</c:v>
                      </c:pt>
                      <c:pt idx="2">
                        <c:v>2019</c:v>
                      </c:pt>
                    </c:strCache>
                  </c:strRef>
                </c:cat>
                <c:val>
                  <c:numRef>
                    <c:extLst>
                      <c:ext uri="{02D57815-91ED-43cb-92C2-25804820EDAC}">
                        <c15:formulaRef>
                          <c15:sqref>Sheet1!$B$3:$E$3</c15:sqref>
                        </c15:formulaRef>
                      </c:ext>
                    </c:extLst>
                    <c:numCache>
                      <c:formatCode>0%</c:formatCode>
                      <c:ptCount val="3"/>
                      <c:pt idx="1">
                        <c:v>0.49853683500695295</c:v>
                      </c:pt>
                      <c:pt idx="2">
                        <c:v>0.47899999999999998</c:v>
                      </c:pt>
                    </c:numCache>
                  </c:numRef>
                </c:val>
                <c:smooth val="0"/>
                <c:extLst>
                  <c:ext xmlns:c16="http://schemas.microsoft.com/office/drawing/2014/chart" uri="{C3380CC4-5D6E-409C-BE32-E72D297353CC}">
                    <c16:uniqueId val="{00000001-FAFC-4561-AE0A-4C90294FABC5}"/>
                  </c:ext>
                </c:extLst>
              </c15:ser>
            </c15:filteredLineSeries>
            <c15:filteredLineSeries>
              <c15:ser>
                <c:idx val="2"/>
                <c:order val="2"/>
                <c:tx>
                  <c:strRef>
                    <c:extLst xmlns:c15="http://schemas.microsoft.com/office/drawing/2012/chart">
                      <c:ext xmlns:c15="http://schemas.microsoft.com/office/drawing/2012/chart" uri="{02D57815-91ED-43cb-92C2-25804820EDAC}">
                        <c15:formulaRef>
                          <c15:sqref>Sheet1!$A$4</c15:sqref>
                        </c15:formulaRef>
                      </c:ext>
                    </c:extLst>
                    <c:strCache>
                      <c:ptCount val="1"/>
                      <c:pt idx="0">
                        <c:v>Reduced the amount of personal information I share online</c:v>
                      </c:pt>
                    </c:strCache>
                  </c:strRef>
                </c:tx>
                <c:spPr>
                  <a:ln w="28575" cap="rnd">
                    <a:solidFill>
                      <a:schemeClr val="accent3"/>
                    </a:solidFill>
                    <a:round/>
                  </a:ln>
                  <a:effectLst/>
                </c:spPr>
                <c:marker>
                  <c:symbol val="circle"/>
                  <c:size val="7"/>
                  <c:spPr>
                    <a:solidFill>
                      <a:sysClr val="window" lastClr="FFFFFF"/>
                    </a:solidFill>
                    <a:ln w="9525">
                      <a:solidFill>
                        <a:schemeClr val="accent3"/>
                      </a:solidFill>
                    </a:ln>
                    <a:effectLst/>
                  </c:spPr>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1-FAFC-4561-AE0A-4C90294FABC5}"/>
                      </c:ext>
                    </c:extLst>
                  </c:dLbl>
                  <c:dLbl>
                    <c:idx val="1"/>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2-FAFC-4561-AE0A-4C90294FABC5}"/>
                      </c:ext>
                    </c:extLst>
                  </c:dLbl>
                  <c:dLbl>
                    <c:idx val="2"/>
                    <c:layout>
                      <c:manualLayout>
                        <c:x val="-2.7777777777777779E-3"/>
                        <c:y val="-3.9474959723690868E-2"/>
                      </c:manualLayout>
                    </c:layout>
                    <c:dLblPos val="r"/>
                    <c:showLegendKey val="0"/>
                    <c:showVal val="1"/>
                    <c:showCatName val="0"/>
                    <c:showSerName val="0"/>
                    <c:showPercent val="0"/>
                    <c:showBubbleSize val="0"/>
                    <c:extLst xmlns:c15="http://schemas.microsoft.com/office/drawing/2012/chart">
                      <c:ext xmlns:c15="http://schemas.microsoft.com/office/drawing/2012/chart" uri="{CE6537A1-D6FC-4f65-9D91-7224C49458BB}"/>
                      <c:ext xmlns:c16="http://schemas.microsoft.com/office/drawing/2014/chart" uri="{C3380CC4-5D6E-409C-BE32-E72D297353CC}">
                        <c16:uniqueId val="{00000013-FAFC-4561-AE0A-4C90294FABC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B$1:$E$1</c15:sqref>
                        </c15:formulaRef>
                      </c:ext>
                    </c:extLst>
                    <c:strCache>
                      <c:ptCount val="3"/>
                      <c:pt idx="0">
                        <c:v>2017</c:v>
                      </c:pt>
                      <c:pt idx="1">
                        <c:v>2018</c:v>
                      </c:pt>
                      <c:pt idx="2">
                        <c:v>2019</c:v>
                      </c:pt>
                    </c:strCache>
                  </c:strRef>
                </c:cat>
                <c:val>
                  <c:numRef>
                    <c:extLst xmlns:c15="http://schemas.microsoft.com/office/drawing/2012/chart">
                      <c:ext xmlns:c15="http://schemas.microsoft.com/office/drawing/2012/chart" uri="{02D57815-91ED-43cb-92C2-25804820EDAC}">
                        <c15:formulaRef>
                          <c15:sqref>Sheet1!$B$4:$E$4</c15:sqref>
                        </c15:formulaRef>
                      </c:ext>
                    </c:extLst>
                    <c:numCache>
                      <c:formatCode>0%</c:formatCode>
                      <c:ptCount val="3"/>
                      <c:pt idx="0">
                        <c:v>0.39734043257680507</c:v>
                      </c:pt>
                      <c:pt idx="1">
                        <c:v>0.37344335791700961</c:v>
                      </c:pt>
                      <c:pt idx="2">
                        <c:v>0.35199999999999998</c:v>
                      </c:pt>
                    </c:numCache>
                  </c:numRef>
                </c:val>
                <c:smooth val="0"/>
                <c:extLst xmlns:c15="http://schemas.microsoft.com/office/drawing/2012/chart">
                  <c:ext xmlns:c16="http://schemas.microsoft.com/office/drawing/2014/chart" uri="{C3380CC4-5D6E-409C-BE32-E72D297353CC}">
                    <c16:uniqueId val="{00000003-FAFC-4561-AE0A-4C90294FABC5}"/>
                  </c:ext>
                </c:extLst>
              </c15:ser>
            </c15:filteredLineSeries>
            <c15:filteredLineSeries>
              <c15:ser>
                <c:idx val="3"/>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I used tighter privacy settings on social media</c:v>
                      </c:pt>
                    </c:strCache>
                  </c:strRef>
                </c:tx>
                <c:spPr>
                  <a:ln w="28575" cap="rnd">
                    <a:solidFill>
                      <a:schemeClr val="accent4"/>
                    </a:solidFill>
                    <a:round/>
                  </a:ln>
                  <a:effectLst/>
                </c:spPr>
                <c:marker>
                  <c:symbol val="circle"/>
                  <c:size val="7"/>
                  <c:spPr>
                    <a:solidFill>
                      <a:sysClr val="window" lastClr="FFFFFF"/>
                    </a:solidFill>
                    <a:ln w="9525">
                      <a:solidFill>
                        <a:schemeClr val="accent4"/>
                      </a:solidFill>
                    </a:ln>
                    <a:effectLst/>
                  </c:spPr>
                </c:marker>
                <c:dLbls>
                  <c:dLbl>
                    <c:idx val="0"/>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0F-FAFC-4561-AE0A-4C90294FABC5}"/>
                      </c:ext>
                    </c:extLst>
                  </c:dLbl>
                  <c:dLbl>
                    <c:idx val="1"/>
                    <c:delete val="1"/>
                    <c:extLst xmlns:c15="http://schemas.microsoft.com/office/drawing/2012/chart">
                      <c:ext xmlns:c15="http://schemas.microsoft.com/office/drawing/2012/chart" uri="{CE6537A1-D6FC-4f65-9D91-7224C49458BB}"/>
                      <c:ext xmlns:c16="http://schemas.microsoft.com/office/drawing/2014/chart" uri="{C3380CC4-5D6E-409C-BE32-E72D297353CC}">
                        <c16:uniqueId val="{00000010-FAFC-4561-AE0A-4C90294FABC5}"/>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B$1:$E$1</c15:sqref>
                        </c15:formulaRef>
                      </c:ext>
                    </c:extLst>
                    <c:strCache>
                      <c:ptCount val="3"/>
                      <c:pt idx="0">
                        <c:v>2017</c:v>
                      </c:pt>
                      <c:pt idx="1">
                        <c:v>2018</c:v>
                      </c:pt>
                      <c:pt idx="2">
                        <c:v>2019</c:v>
                      </c:pt>
                    </c:strCache>
                  </c:strRef>
                </c:cat>
                <c:val>
                  <c:numRef>
                    <c:extLst xmlns:c15="http://schemas.microsoft.com/office/drawing/2012/chart">
                      <c:ext xmlns:c15="http://schemas.microsoft.com/office/drawing/2012/chart" uri="{02D57815-91ED-43cb-92C2-25804820EDAC}">
                        <c15:formulaRef>
                          <c15:sqref>Sheet1!$B$5:$E$5</c15:sqref>
                        </c15:formulaRef>
                      </c:ext>
                    </c:extLst>
                    <c:numCache>
                      <c:formatCode>0%</c:formatCode>
                      <c:ptCount val="3"/>
                      <c:pt idx="0">
                        <c:v>0.38826731192408043</c:v>
                      </c:pt>
                      <c:pt idx="1">
                        <c:v>0.35758557824647896</c:v>
                      </c:pt>
                      <c:pt idx="2">
                        <c:v>0.33900000000000002</c:v>
                      </c:pt>
                    </c:numCache>
                  </c:numRef>
                </c:val>
                <c:smooth val="0"/>
                <c:extLst xmlns:c15="http://schemas.microsoft.com/office/drawing/2012/chart">
                  <c:ext xmlns:c16="http://schemas.microsoft.com/office/drawing/2014/chart" uri="{C3380CC4-5D6E-409C-BE32-E72D297353CC}">
                    <c16:uniqueId val="{00000004-FAFC-4561-AE0A-4C90294FABC5}"/>
                  </c:ext>
                </c:extLst>
              </c15:ser>
            </c15:filteredLineSeries>
          </c:ext>
        </c:extLst>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0.55000000000000004"/>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2400" baseline="0" dirty="0">
                <a:latin typeface="Arial" panose="020B0604020202020204" pitchFamily="34" charset="0"/>
                <a:cs typeface="Arial" panose="020B0604020202020204" pitchFamily="34" charset="0"/>
              </a:rPr>
              <a:t>Two-thirds know where to find help</a:t>
            </a:r>
            <a:endParaRPr lang="en-US" sz="2400"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23289721143988995"/>
          <c:w val="0.87533831325688249"/>
          <c:h val="0.67900304378719156"/>
        </c:manualLayout>
      </c:layout>
      <c:lineChart>
        <c:grouping val="standard"/>
        <c:varyColors val="0"/>
        <c:ser>
          <c:idx val="0"/>
          <c:order val="0"/>
          <c:tx>
            <c:strRef>
              <c:f>Sheet1!$A$2</c:f>
              <c:strCache>
                <c:ptCount val="1"/>
                <c:pt idx="0">
                  <c:v>Yes</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B35E-46F1-A3DD-68FD7B666DA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59199999999999997</c:v>
                </c:pt>
                <c:pt idx="1">
                  <c:v>0.60299999999999998</c:v>
                </c:pt>
                <c:pt idx="2">
                  <c:v>0.64800000000000002</c:v>
                </c:pt>
              </c:numCache>
            </c:numRef>
          </c:val>
          <c:smooth val="0"/>
          <c:extLst>
            <c:ext xmlns:c16="http://schemas.microsoft.com/office/drawing/2014/chart" uri="{C3380CC4-5D6E-409C-BE32-E72D297353CC}">
              <c16:uniqueId val="{00000001-B35E-46F1-A3DD-68FD7B666DA3}"/>
            </c:ext>
          </c:extLst>
        </c:ser>
        <c:ser>
          <c:idx val="1"/>
          <c:order val="1"/>
          <c:tx>
            <c:strRef>
              <c:f>Sheet1!$A$3</c:f>
              <c:strCache>
                <c:ptCount val="1"/>
                <c:pt idx="0">
                  <c:v>No</c:v>
                </c:pt>
              </c:strCache>
            </c:strRef>
          </c:tx>
          <c:spPr>
            <a:ln w="76200" cap="rnd">
              <a:solidFill>
                <a:srgbClr val="2CB8AE"/>
              </a:solidFill>
              <a:round/>
            </a:ln>
            <a:effectLst/>
          </c:spPr>
          <c:marker>
            <c:symbol val="circle"/>
            <c:size val="14"/>
            <c:spPr>
              <a:solidFill>
                <a:schemeClr val="tx1"/>
              </a:solidFill>
              <a:ln w="9525">
                <a:solidFill>
                  <a:schemeClr val="accent2"/>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1-B35E-46F1-A3DD-68FD7B666DA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16400000000000001</c:v>
                </c:pt>
                <c:pt idx="1">
                  <c:v>0.15</c:v>
                </c:pt>
                <c:pt idx="2">
                  <c:v>0.153</c:v>
                </c:pt>
              </c:numCache>
            </c:numRef>
          </c:val>
          <c:smooth val="0"/>
          <c:extLst>
            <c:ext xmlns:c16="http://schemas.microsoft.com/office/drawing/2014/chart" uri="{C3380CC4-5D6E-409C-BE32-E72D297353CC}">
              <c16:uniqueId val="{0000000E-B35E-46F1-A3DD-68FD7B666DA3}"/>
            </c:ext>
          </c:extLst>
        </c:ser>
        <c:ser>
          <c:idx val="2"/>
          <c:order val="2"/>
          <c:tx>
            <c:strRef>
              <c:f>Sheet1!$A$4</c:f>
              <c:strCache>
                <c:ptCount val="1"/>
                <c:pt idx="0">
                  <c:v>Unsure</c:v>
                </c:pt>
              </c:strCache>
            </c:strRef>
          </c:tx>
          <c:spPr>
            <a:ln w="76200" cap="rnd">
              <a:solidFill>
                <a:srgbClr val="28608C"/>
              </a:solidFill>
              <a:round/>
            </a:ln>
            <a:effectLst/>
          </c:spPr>
          <c:marker>
            <c:symbol val="circle"/>
            <c:size val="14"/>
            <c:spPr>
              <a:solidFill>
                <a:sysClr val="window" lastClr="FFFFFF"/>
              </a:solidFill>
              <a:ln w="9525">
                <a:solidFill>
                  <a:schemeClr val="accent3"/>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0-B35E-46F1-A3DD-68FD7B666DA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4:$D$4</c:f>
              <c:numCache>
                <c:formatCode>0%</c:formatCode>
                <c:ptCount val="3"/>
                <c:pt idx="0">
                  <c:v>0.24399999999999999</c:v>
                </c:pt>
                <c:pt idx="1">
                  <c:v>0.247</c:v>
                </c:pt>
                <c:pt idx="2">
                  <c:v>0.19899999999999995</c:v>
                </c:pt>
              </c:numCache>
            </c:numRef>
          </c:val>
          <c:smooth val="0"/>
          <c:extLst>
            <c:ext xmlns:c16="http://schemas.microsoft.com/office/drawing/2014/chart" uri="{C3380CC4-5D6E-409C-BE32-E72D297353CC}">
              <c16:uniqueId val="{0000000F-B35E-46F1-A3DD-68FD7B666DA3}"/>
            </c:ext>
          </c:extLst>
        </c:ser>
        <c:dLbls>
          <c:dLblPos val="t"/>
          <c:showLegendKey val="0"/>
          <c:showVal val="1"/>
          <c:showCatName val="0"/>
          <c:showSerName val="0"/>
          <c:showPercent val="0"/>
          <c:showBubbleSize val="0"/>
        </c:dLbls>
        <c:marker val="1"/>
        <c:smooth val="0"/>
        <c:axId val="649088760"/>
        <c:axId val="649089080"/>
        <c:extLst/>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1"/>
          <c:min val="0"/>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194444444444448E-2"/>
          <c:y val="3.6112025759532582E-3"/>
          <c:w val="0.92361111111111116"/>
          <c:h val="0.84822115573268453"/>
        </c:manualLayout>
      </c:layout>
      <c:lineChart>
        <c:grouping val="standard"/>
        <c:varyColors val="0"/>
        <c:ser>
          <c:idx val="1"/>
          <c:order val="1"/>
          <c:tx>
            <c:strRef>
              <c:f>Sheet1!$A$3</c:f>
              <c:strCache>
                <c:ptCount val="1"/>
                <c:pt idx="0">
                  <c:v>Treated mean</c:v>
                </c:pt>
              </c:strCache>
            </c:strRef>
          </c:tx>
          <c:spPr>
            <a:ln w="76200" cap="rnd">
              <a:solidFill>
                <a:srgbClr val="3282BE">
                  <a:alpha val="40000"/>
                </a:srgbClr>
              </a:solidFill>
              <a:round/>
            </a:ln>
            <a:effectLst/>
          </c:spPr>
          <c:marker>
            <c:symbol val="circle"/>
            <c:size val="11"/>
            <c:spPr>
              <a:solidFill>
                <a:schemeClr val="tx1"/>
              </a:solidFill>
              <a:ln w="12700">
                <a:solidFill>
                  <a:srgbClr val="FFB9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3-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4-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22</c:v>
                </c:pt>
                <c:pt idx="1">
                  <c:v>0.22</c:v>
                </c:pt>
                <c:pt idx="2">
                  <c:v>0.23</c:v>
                </c:pt>
                <c:pt idx="3">
                  <c:v>0.23499999999999999</c:v>
                </c:pt>
              </c:numCache>
            </c:numRef>
          </c:val>
          <c:smooth val="0"/>
          <c:extLst>
            <c:ext xmlns:c16="http://schemas.microsoft.com/office/drawing/2014/chart" uri="{C3380CC4-5D6E-409C-BE32-E72D297353CC}">
              <c16:uniqueId val="{00000005-6760-4095-A181-9528C940F5F5}"/>
            </c:ext>
          </c:extLst>
        </c:ser>
        <c:ser>
          <c:idx val="2"/>
          <c:order val="2"/>
          <c:tx>
            <c:strRef>
              <c:f>Sheet1!$A$4</c:f>
              <c:strCache>
                <c:ptCount val="1"/>
                <c:pt idx="0">
                  <c:v>Trolling</c:v>
                </c:pt>
              </c:strCache>
            </c:strRef>
          </c:tx>
          <c:spPr>
            <a:ln w="76200" cap="rnd">
              <a:solidFill>
                <a:srgbClr val="28608C">
                  <a:alpha val="60000"/>
                </a:srgbClr>
              </a:solidFill>
              <a:round/>
            </a:ln>
            <a:effectLst/>
          </c:spPr>
          <c:marker>
            <c:symbol val="circle"/>
            <c:size val="11"/>
            <c:spPr>
              <a:solidFill>
                <a:schemeClr val="tx1"/>
              </a:solidFill>
              <a:ln w="12700">
                <a:solidFill>
                  <a:schemeClr val="accent3"/>
                </a:solidFill>
                <a:round/>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6760-4095-A181-9528C940F5F5}"/>
                </c:ext>
              </c:extLst>
            </c:dLbl>
            <c:dLbl>
              <c:idx val="1"/>
              <c:delete val="1"/>
              <c:extLst>
                <c:ext xmlns:c15="http://schemas.microsoft.com/office/drawing/2012/chart" uri="{CE6537A1-D6FC-4f65-9D91-7224C49458BB}"/>
                <c:ext xmlns:c16="http://schemas.microsoft.com/office/drawing/2014/chart" uri="{C3380CC4-5D6E-409C-BE32-E72D297353CC}">
                  <c16:uniqueId val="{00000015-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6-6760-4095-A181-9528C940F5F5}"/>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4:$E$4</c:f>
              <c:numCache>
                <c:formatCode>0%</c:formatCode>
                <c:ptCount val="4"/>
                <c:pt idx="0">
                  <c:v>0.21</c:v>
                </c:pt>
                <c:pt idx="1">
                  <c:v>0.2</c:v>
                </c:pt>
                <c:pt idx="2">
                  <c:v>0.19</c:v>
                </c:pt>
                <c:pt idx="3">
                  <c:v>0.19500000000000001</c:v>
                </c:pt>
              </c:numCache>
            </c:numRef>
          </c:val>
          <c:smooth val="0"/>
          <c:extLst>
            <c:ext xmlns:c16="http://schemas.microsoft.com/office/drawing/2014/chart" uri="{C3380CC4-5D6E-409C-BE32-E72D297353CC}">
              <c16:uniqueId val="{00000007-6760-4095-A181-9528C940F5F5}"/>
            </c:ext>
          </c:extLst>
        </c:ser>
        <c:ser>
          <c:idx val="3"/>
          <c:order val="3"/>
          <c:tx>
            <c:strRef>
              <c:f>Sheet1!$A$5</c:f>
              <c:strCache>
                <c:ptCount val="1"/>
                <c:pt idx="0">
                  <c:v>Online harassment</c:v>
                </c:pt>
              </c:strCache>
            </c:strRef>
          </c:tx>
          <c:spPr>
            <a:ln w="76200" cap="rnd">
              <a:solidFill>
                <a:srgbClr val="2CB8AE">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Pt>
            <c:idx val="2"/>
            <c:marker>
              <c:symbol val="circle"/>
              <c:size val="11"/>
              <c:spPr>
                <a:solidFill>
                  <a:schemeClr val="tx1"/>
                </a:solidFill>
                <a:ln w="12700">
                  <a:solidFill>
                    <a:schemeClr val="bg1">
                      <a:lumMod val="50000"/>
                      <a:lumOff val="50000"/>
                    </a:schemeClr>
                  </a:solidFill>
                  <a:round/>
                </a:ln>
                <a:effectLst/>
              </c:spPr>
            </c:marker>
            <c:bubble3D val="0"/>
            <c:spPr>
              <a:ln w="76200" cap="rnd">
                <a:solidFill>
                  <a:srgbClr val="2CB8AE">
                    <a:alpha val="60000"/>
                  </a:srgbClr>
                </a:solidFill>
                <a:round/>
              </a:ln>
              <a:effectLst/>
            </c:spPr>
            <c:extLst>
              <c:ext xmlns:c16="http://schemas.microsoft.com/office/drawing/2014/chart" uri="{C3380CC4-5D6E-409C-BE32-E72D297353CC}">
                <c16:uniqueId val="{00000009-6760-4095-A181-9528C940F5F5}"/>
              </c:ext>
            </c:extLst>
          </c:dPt>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092-45F5-9073-57201BA0B5B4}"/>
                </c:ext>
              </c:extLst>
            </c:dLbl>
            <c:dLbl>
              <c:idx val="1"/>
              <c:delete val="1"/>
              <c:extLst>
                <c:ext xmlns:c15="http://schemas.microsoft.com/office/drawing/2012/chart" uri="{CE6537A1-D6FC-4f65-9D91-7224C49458BB}"/>
                <c:ext xmlns:c16="http://schemas.microsoft.com/office/drawing/2014/chart" uri="{C3380CC4-5D6E-409C-BE32-E72D297353CC}">
                  <c16:uniqueId val="{0000000A-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9-6760-4095-A181-9528C940F5F5}"/>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3092-45F5-9073-57201BA0B5B4}"/>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5:$E$5</c:f>
              <c:numCache>
                <c:formatCode>0%</c:formatCode>
                <c:ptCount val="4"/>
                <c:pt idx="0">
                  <c:v>0.17</c:v>
                </c:pt>
                <c:pt idx="1">
                  <c:v>0.15</c:v>
                </c:pt>
                <c:pt idx="2">
                  <c:v>0.15</c:v>
                </c:pt>
                <c:pt idx="3">
                  <c:v>0.17499999999999999</c:v>
                </c:pt>
              </c:numCache>
            </c:numRef>
          </c:val>
          <c:smooth val="0"/>
          <c:extLst>
            <c:ext xmlns:c16="http://schemas.microsoft.com/office/drawing/2014/chart" uri="{C3380CC4-5D6E-409C-BE32-E72D297353CC}">
              <c16:uniqueId val="{0000000B-6760-4095-A181-9528C940F5F5}"/>
            </c:ext>
          </c:extLst>
        </c:ser>
        <c:ser>
          <c:idx val="4"/>
          <c:order val="4"/>
          <c:tx>
            <c:strRef>
              <c:f>Sheet1!$A$6</c:f>
              <c:strCache>
                <c:ptCount val="1"/>
                <c:pt idx="0">
                  <c:v>Microagression</c:v>
                </c:pt>
              </c:strCache>
            </c:strRef>
          </c:tx>
          <c:spPr>
            <a:ln w="76200" cap="rnd">
              <a:solidFill>
                <a:srgbClr val="5CBE7A">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Lbls>
            <c:dLbl>
              <c:idx val="1"/>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E-6760-4095-A181-9528C940F5F5}"/>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6:$E$6</c:f>
              <c:numCache>
                <c:formatCode>0%</c:formatCode>
                <c:ptCount val="4"/>
                <c:pt idx="1">
                  <c:v>0.13</c:v>
                </c:pt>
                <c:pt idx="2">
                  <c:v>0.11</c:v>
                </c:pt>
                <c:pt idx="3">
                  <c:v>0.1353</c:v>
                </c:pt>
              </c:numCache>
            </c:numRef>
          </c:val>
          <c:smooth val="0"/>
          <c:extLst>
            <c:ext xmlns:c16="http://schemas.microsoft.com/office/drawing/2014/chart" uri="{C3380CC4-5D6E-409C-BE32-E72D297353CC}">
              <c16:uniqueId val="{0000000F-6760-4095-A181-9528C940F5F5}"/>
            </c:ext>
          </c:extLst>
        </c:ser>
        <c:ser>
          <c:idx val="5"/>
          <c:order val="5"/>
          <c:tx>
            <c:strRef>
              <c:f>Sheet1!$A$7</c:f>
              <c:strCache>
                <c:ptCount val="1"/>
                <c:pt idx="0">
                  <c:v>Cyberbullying</c:v>
                </c:pt>
              </c:strCache>
            </c:strRef>
          </c:tx>
          <c:spPr>
            <a:ln w="76200" cap="rnd">
              <a:solidFill>
                <a:srgbClr val="82C650">
                  <a:alpha val="60000"/>
                </a:srgbClr>
              </a:solidFill>
              <a:round/>
            </a:ln>
            <a:effectLst/>
          </c:spPr>
          <c:marker>
            <c:symbol val="circle"/>
            <c:size val="11"/>
            <c:spPr>
              <a:solidFill>
                <a:schemeClr val="tx1"/>
              </a:solidFill>
              <a:ln w="12700">
                <a:solidFill>
                  <a:srgbClr val="FF8C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6-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10-6760-4095-A181-9528C940F5F5}"/>
                </c:ext>
              </c:extLst>
            </c:dLbl>
            <c:dLbl>
              <c:idx val="3"/>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3092-45F5-9073-57201BA0B5B4}"/>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l"/>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7:$E$7</c:f>
              <c:numCache>
                <c:formatCode>0%</c:formatCode>
                <c:ptCount val="4"/>
                <c:pt idx="0">
                  <c:v>0.09</c:v>
                </c:pt>
                <c:pt idx="1">
                  <c:v>0.09</c:v>
                </c:pt>
                <c:pt idx="2">
                  <c:v>0.1</c:v>
                </c:pt>
                <c:pt idx="3">
                  <c:v>0.121</c:v>
                </c:pt>
              </c:numCache>
            </c:numRef>
          </c:val>
          <c:smooth val="0"/>
          <c:extLst>
            <c:ext xmlns:c16="http://schemas.microsoft.com/office/drawing/2014/chart" uri="{C3380CC4-5D6E-409C-BE32-E72D297353CC}">
              <c16:uniqueId val="{00000011-6760-4095-A181-9528C940F5F5}"/>
            </c:ext>
          </c:extLst>
        </c:ser>
        <c:ser>
          <c:idx val="6"/>
          <c:order val="6"/>
          <c:tx>
            <c:strRef>
              <c:f>Sheet1!$A$8</c:f>
              <c:strCache>
                <c:ptCount val="1"/>
                <c:pt idx="0">
                  <c:v>Swatting</c:v>
                </c:pt>
              </c:strCache>
            </c:strRef>
          </c:tx>
          <c:spPr>
            <a:ln w="76200" cap="rnd">
              <a:solidFill>
                <a:srgbClr val="FF8C00">
                  <a:alpha val="60000"/>
                </a:srgbClr>
              </a:solidFill>
              <a:round/>
            </a:ln>
            <a:effectLst/>
          </c:spPr>
          <c:marker>
            <c:symbol val="circle"/>
            <c:size val="11"/>
            <c:spPr>
              <a:solidFill>
                <a:schemeClr val="tx1"/>
              </a:solidFill>
              <a:ln w="12700">
                <a:solidFill>
                  <a:srgbClr val="FF8C00"/>
                </a:solidFill>
                <a:round/>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092-45F5-9073-57201BA0B5B4}"/>
                </c:ext>
              </c:extLst>
            </c:dLbl>
            <c:dLbl>
              <c:idx val="1"/>
              <c:delete val="1"/>
              <c:extLst>
                <c:ext xmlns:c15="http://schemas.microsoft.com/office/drawing/2012/chart" uri="{CE6537A1-D6FC-4f65-9D91-7224C49458BB}"/>
                <c:ext xmlns:c16="http://schemas.microsoft.com/office/drawing/2014/chart" uri="{C3380CC4-5D6E-409C-BE32-E72D297353CC}">
                  <c16:uniqueId val="{00000012-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13-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8:$E$8</c:f>
              <c:numCache>
                <c:formatCode>0%</c:formatCode>
                <c:ptCount val="4"/>
                <c:pt idx="0">
                  <c:v>0.03</c:v>
                </c:pt>
                <c:pt idx="1">
                  <c:v>0.03</c:v>
                </c:pt>
                <c:pt idx="2">
                  <c:v>0.02</c:v>
                </c:pt>
                <c:pt idx="3">
                  <c:v>4.1000000000000002E-2</c:v>
                </c:pt>
              </c:numCache>
            </c:numRef>
          </c:val>
          <c:smooth val="0"/>
          <c:extLst>
            <c:ext xmlns:c16="http://schemas.microsoft.com/office/drawing/2014/chart" uri="{C3380CC4-5D6E-409C-BE32-E72D297353CC}">
              <c16:uniqueId val="{00000014-6760-4095-A181-9528C940F5F5}"/>
            </c:ext>
          </c:extLst>
        </c:ser>
        <c:dLbls>
          <c:showLegendKey val="0"/>
          <c:showVal val="1"/>
          <c:showCatName val="0"/>
          <c:showSerName val="0"/>
          <c:showPercent val="0"/>
          <c:showBubbleSize val="0"/>
        </c:dLbls>
        <c:marker val="1"/>
        <c:smooth val="0"/>
        <c:axId val="830347024"/>
        <c:axId val="830348336"/>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Behavioral risks</c:v>
                      </c:pt>
                    </c:strCache>
                  </c:strRef>
                </c:tx>
                <c:spPr>
                  <a:ln w="127000" cap="rnd">
                    <a:solidFill>
                      <a:srgbClr val="262626">
                        <a:alpha val="80000"/>
                      </a:srgbClr>
                    </a:solidFill>
                    <a:round/>
                  </a:ln>
                  <a:effectLst/>
                </c:spPr>
                <c:marker>
                  <c:symbol val="circle"/>
                  <c:size val="14"/>
                  <c:spPr>
                    <a:solidFill>
                      <a:schemeClr val="tx1"/>
                    </a:solidFill>
                    <a:ln w="12700">
                      <a:solidFill>
                        <a:srgbClr val="002050"/>
                      </a:solidFill>
                      <a:round/>
                    </a:ln>
                    <a:effectLst/>
                  </c:spPr>
                </c:marker>
                <c:dLbls>
                  <c:dLbl>
                    <c:idx val="1"/>
                    <c:delete val="1"/>
                    <c:extLst>
                      <c:ext uri="{CE6537A1-D6FC-4f65-9D91-7224C49458BB}"/>
                      <c:ext xmlns:c16="http://schemas.microsoft.com/office/drawing/2014/chart" uri="{C3380CC4-5D6E-409C-BE32-E72D297353CC}">
                        <c16:uniqueId val="{00000000-6760-4095-A181-9528C940F5F5}"/>
                      </c:ext>
                    </c:extLst>
                  </c:dLbl>
                  <c:dLbl>
                    <c:idx val="2"/>
                    <c:delete val="1"/>
                    <c:extLst>
                      <c:ext uri="{CE6537A1-D6FC-4f65-9D91-7224C49458BB}"/>
                      <c:ext xmlns:c16="http://schemas.microsoft.com/office/drawing/2014/chart" uri="{C3380CC4-5D6E-409C-BE32-E72D297353CC}">
                        <c16:uniqueId val="{00000001-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B$1:$E$1</c15:sqref>
                        </c15:formulaRef>
                      </c:ext>
                    </c:extLst>
                    <c:strCache>
                      <c:ptCount val="4"/>
                      <c:pt idx="0">
                        <c:v>2016</c:v>
                      </c:pt>
                      <c:pt idx="1">
                        <c:v>2017*</c:v>
                      </c:pt>
                      <c:pt idx="2">
                        <c:v>2018*</c:v>
                      </c:pt>
                      <c:pt idx="3">
                        <c:v>2019*</c:v>
                      </c:pt>
                    </c:strCache>
                  </c:strRef>
                </c:cat>
                <c:val>
                  <c:numRef>
                    <c:extLst>
                      <c:ext uri="{02D57815-91ED-43cb-92C2-25804820EDAC}">
                        <c15:formulaRef>
                          <c15:sqref>Sheet1!$B$2:$E$2</c15:sqref>
                        </c15:formulaRef>
                      </c:ext>
                    </c:extLst>
                    <c:numCache>
                      <c:formatCode>0%</c:formatCode>
                      <c:ptCount val="4"/>
                      <c:pt idx="0">
                        <c:v>0.39</c:v>
                      </c:pt>
                      <c:pt idx="1">
                        <c:v>0.4</c:v>
                      </c:pt>
                      <c:pt idx="2">
                        <c:v>0.4</c:v>
                      </c:pt>
                      <c:pt idx="3">
                        <c:v>0.44500000000000001</c:v>
                      </c:pt>
                    </c:numCache>
                  </c:numRef>
                </c:val>
                <c:smooth val="0"/>
                <c:extLst>
                  <c:ext xmlns:c16="http://schemas.microsoft.com/office/drawing/2014/chart" uri="{C3380CC4-5D6E-409C-BE32-E72D297353CC}">
                    <c16:uniqueId val="{00000002-6760-4095-A181-9528C940F5F5}"/>
                  </c:ext>
                </c:extLst>
              </c15:ser>
            </c15:filteredLineSeries>
          </c:ext>
        </c:extLst>
      </c:lineChart>
      <c:catAx>
        <c:axId val="83034702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830348336"/>
        <c:crosses val="autoZero"/>
        <c:auto val="1"/>
        <c:lblAlgn val="ctr"/>
        <c:lblOffset val="100"/>
        <c:noMultiLvlLbl val="0"/>
      </c:catAx>
      <c:valAx>
        <c:axId val="830348336"/>
        <c:scaling>
          <c:orientation val="minMax"/>
          <c:max val="0.27"/>
          <c:min val="0"/>
        </c:scaling>
        <c:delete val="1"/>
        <c:axPos val="l"/>
        <c:numFmt formatCode="0%" sourceLinked="1"/>
        <c:majorTickMark val="out"/>
        <c:minorTickMark val="none"/>
        <c:tickLblPos val="nextTo"/>
        <c:crossAx val="83034702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1" tx1="lt1" bg2="dk2" tx2="lt2" accent1="accent1" accent2="accent2" accent3="accent3" accent4="accent4" accent5="accent5" accent6="accent6" hlink="hlink" folHlink="folHlink"/>
  <c:chart>
    <c:title>
      <c:tx>
        <c:rich>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r>
              <a:rPr lang="en-US" sz="2400" baseline="0" dirty="0">
                <a:latin typeface="Arial" panose="020B0604020202020204" pitchFamily="34" charset="0"/>
                <a:cs typeface="Arial" panose="020B0604020202020204" pitchFamily="34" charset="0"/>
              </a:rPr>
              <a:t>And it’s easier to get help</a:t>
            </a:r>
            <a:endParaRPr lang="en-US" sz="2400" dirty="0">
              <a:latin typeface="Arial" panose="020B0604020202020204" pitchFamily="34" charset="0"/>
              <a:cs typeface="Arial" panose="020B0604020202020204" pitchFamily="34" charset="0"/>
            </a:endParaRPr>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6.2330843371558753E-2"/>
          <c:y val="0.23289721143988995"/>
          <c:w val="0.87533831325688249"/>
          <c:h val="0.67900304378719156"/>
        </c:manualLayout>
      </c:layout>
      <c:lineChart>
        <c:grouping val="standard"/>
        <c:varyColors val="0"/>
        <c:ser>
          <c:idx val="0"/>
          <c:order val="0"/>
          <c:tx>
            <c:strRef>
              <c:f>Sheet1!$A$2</c:f>
              <c:strCache>
                <c:ptCount val="1"/>
                <c:pt idx="0">
                  <c:v>Difficult</c:v>
                </c:pt>
              </c:strCache>
            </c:strRef>
          </c:tx>
          <c:spPr>
            <a:ln w="76200" cap="rnd">
              <a:solidFill>
                <a:srgbClr val="262626">
                  <a:alpha val="80000"/>
                </a:srgbClr>
              </a:solidFill>
              <a:round/>
            </a:ln>
            <a:effectLst/>
          </c:spPr>
          <c:marker>
            <c:symbol val="circle"/>
            <c:size val="14"/>
            <c:spPr>
              <a:solidFill>
                <a:schemeClr val="tx1"/>
              </a:solidFill>
              <a:ln w="9525">
                <a:solidFill>
                  <a:srgbClr val="262626"/>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0-9D69-47E5-80A9-9D02498F1083}"/>
                </c:ext>
              </c:extLst>
            </c:dLbl>
            <c:dLbl>
              <c:idx val="2"/>
              <c:dLblPos val="b"/>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9D69-47E5-80A9-9D02498F108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2:$D$2</c:f>
              <c:numCache>
                <c:formatCode>0%</c:formatCode>
                <c:ptCount val="3"/>
                <c:pt idx="0">
                  <c:v>0.4</c:v>
                </c:pt>
                <c:pt idx="1">
                  <c:v>0.42</c:v>
                </c:pt>
                <c:pt idx="2">
                  <c:v>0.41</c:v>
                </c:pt>
              </c:numCache>
            </c:numRef>
          </c:val>
          <c:smooth val="0"/>
          <c:extLst>
            <c:ext xmlns:c16="http://schemas.microsoft.com/office/drawing/2014/chart" uri="{C3380CC4-5D6E-409C-BE32-E72D297353CC}">
              <c16:uniqueId val="{00000001-9D69-47E5-80A9-9D02498F1083}"/>
            </c:ext>
          </c:extLst>
        </c:ser>
        <c:ser>
          <c:idx val="1"/>
          <c:order val="1"/>
          <c:tx>
            <c:strRef>
              <c:f>Sheet1!$A$3</c:f>
              <c:strCache>
                <c:ptCount val="1"/>
                <c:pt idx="0">
                  <c:v>Easy</c:v>
                </c:pt>
              </c:strCache>
            </c:strRef>
          </c:tx>
          <c:spPr>
            <a:ln w="76200" cap="rnd">
              <a:solidFill>
                <a:srgbClr val="2CB8AE"/>
              </a:solidFill>
              <a:round/>
            </a:ln>
            <a:effectLst/>
          </c:spPr>
          <c:marker>
            <c:symbol val="circle"/>
            <c:size val="14"/>
            <c:spPr>
              <a:solidFill>
                <a:schemeClr val="tx1"/>
              </a:solidFill>
              <a:ln w="9525">
                <a:solidFill>
                  <a:schemeClr val="accent2"/>
                </a:solidFill>
              </a:ln>
              <a:effectLst/>
            </c:spPr>
          </c:marker>
          <c:dLbls>
            <c:dLbl>
              <c:idx val="0"/>
              <c:dLblPos val="l"/>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9D69-47E5-80A9-9D02498F1083}"/>
                </c:ext>
              </c:extLst>
            </c:dLbl>
            <c:dLbl>
              <c:idx val="1"/>
              <c:delete val="1"/>
              <c:extLst>
                <c:ext xmlns:c15="http://schemas.microsoft.com/office/drawing/2012/chart" uri="{CE6537A1-D6FC-4f65-9D91-7224C49458BB}"/>
                <c:ext xmlns:c16="http://schemas.microsoft.com/office/drawing/2014/chart" uri="{C3380CC4-5D6E-409C-BE32-E72D297353CC}">
                  <c16:uniqueId val="{00000002-9D69-47E5-80A9-9D02498F1083}"/>
                </c:ext>
              </c:extLst>
            </c:dLbl>
            <c:dLbl>
              <c:idx val="2"/>
              <c:dLblPos val="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9D69-47E5-80A9-9D02498F108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3:$D$3</c:f>
              <c:numCache>
                <c:formatCode>0%</c:formatCode>
                <c:ptCount val="3"/>
                <c:pt idx="0">
                  <c:v>0.373</c:v>
                </c:pt>
                <c:pt idx="1">
                  <c:v>0.38800000000000001</c:v>
                </c:pt>
                <c:pt idx="2">
                  <c:v>0.44400000000000001</c:v>
                </c:pt>
              </c:numCache>
            </c:numRef>
          </c:val>
          <c:smooth val="0"/>
          <c:extLst>
            <c:ext xmlns:c16="http://schemas.microsoft.com/office/drawing/2014/chart" uri="{C3380CC4-5D6E-409C-BE32-E72D297353CC}">
              <c16:uniqueId val="{00000003-9D69-47E5-80A9-9D02498F1083}"/>
            </c:ext>
          </c:extLst>
        </c:ser>
        <c:ser>
          <c:idx val="2"/>
          <c:order val="2"/>
          <c:tx>
            <c:strRef>
              <c:f>Sheet1!$A$4</c:f>
              <c:strCache>
                <c:ptCount val="1"/>
                <c:pt idx="0">
                  <c:v>Didn't ask for help</c:v>
                </c:pt>
              </c:strCache>
            </c:strRef>
          </c:tx>
          <c:spPr>
            <a:ln w="76200" cap="rnd">
              <a:solidFill>
                <a:srgbClr val="28608C"/>
              </a:solidFill>
              <a:round/>
            </a:ln>
            <a:effectLst/>
          </c:spPr>
          <c:marker>
            <c:symbol val="circle"/>
            <c:size val="14"/>
            <c:spPr>
              <a:solidFill>
                <a:sysClr val="window" lastClr="FFFFFF"/>
              </a:solidFill>
              <a:ln w="9525">
                <a:solidFill>
                  <a:schemeClr val="accent3"/>
                </a:solidFill>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4-9D69-47E5-80A9-9D02498F1083}"/>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chemeClr val="tx1"/>
                    </a:solidFill>
                    <a:latin typeface="+mn-lt"/>
                    <a:ea typeface="+mn-ea"/>
                    <a:cs typeface="+mn-cs"/>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D$1</c:f>
              <c:strCache>
                <c:ptCount val="3"/>
                <c:pt idx="0">
                  <c:v>2017</c:v>
                </c:pt>
                <c:pt idx="1">
                  <c:v>2018</c:v>
                </c:pt>
                <c:pt idx="2">
                  <c:v>2019</c:v>
                </c:pt>
              </c:strCache>
            </c:strRef>
          </c:cat>
          <c:val>
            <c:numRef>
              <c:f>Sheet1!$B$4:$D$4</c:f>
              <c:numCache>
                <c:formatCode>0%</c:formatCode>
                <c:ptCount val="3"/>
                <c:pt idx="0">
                  <c:v>0.222</c:v>
                </c:pt>
                <c:pt idx="1">
                  <c:v>0.187</c:v>
                </c:pt>
                <c:pt idx="2">
                  <c:v>0.15</c:v>
                </c:pt>
              </c:numCache>
            </c:numRef>
          </c:val>
          <c:smooth val="0"/>
          <c:extLst>
            <c:ext xmlns:c16="http://schemas.microsoft.com/office/drawing/2014/chart" uri="{C3380CC4-5D6E-409C-BE32-E72D297353CC}">
              <c16:uniqueId val="{00000005-9D69-47E5-80A9-9D02498F1083}"/>
            </c:ext>
          </c:extLst>
        </c:ser>
        <c:dLbls>
          <c:dLblPos val="t"/>
          <c:showLegendKey val="0"/>
          <c:showVal val="1"/>
          <c:showCatName val="0"/>
          <c:showSerName val="0"/>
          <c:showPercent val="0"/>
          <c:showBubbleSize val="0"/>
        </c:dLbls>
        <c:marker val="1"/>
        <c:smooth val="0"/>
        <c:axId val="649088760"/>
        <c:axId val="649089080"/>
        <c:extLst/>
      </c:lineChart>
      <c:catAx>
        <c:axId val="649088760"/>
        <c:scaling>
          <c:orientation val="minMax"/>
        </c:scaling>
        <c:delete val="0"/>
        <c:axPos val="b"/>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6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649089080"/>
        <c:crosses val="autoZero"/>
        <c:auto val="1"/>
        <c:lblAlgn val="ctr"/>
        <c:lblOffset val="100"/>
        <c:noMultiLvlLbl val="0"/>
      </c:catAx>
      <c:valAx>
        <c:axId val="649089080"/>
        <c:scaling>
          <c:orientation val="minMax"/>
          <c:max val="1"/>
          <c:min val="0"/>
        </c:scaling>
        <c:delete val="1"/>
        <c:axPos val="l"/>
        <c:numFmt formatCode="0%" sourceLinked="1"/>
        <c:majorTickMark val="out"/>
        <c:minorTickMark val="none"/>
        <c:tickLblPos val="nextTo"/>
        <c:crossAx val="649088760"/>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rgbClr val="3282BE"/>
    </a:solidFill>
    <a:ln>
      <a:solidFill>
        <a:schemeClr val="bg1"/>
      </a:solidFill>
    </a:ln>
    <a:effectLst>
      <a:outerShdw blurRad="50800" dist="38100" algn="l" rotWithShape="0">
        <a:prstClr val="black">
          <a:alpha val="40000"/>
        </a:prstClr>
      </a:outerShdw>
    </a:effectLst>
  </c:spPr>
  <c:txPr>
    <a:bodyPr/>
    <a:lstStyle/>
    <a:p>
      <a:pPr>
        <a:defRPr sz="1600">
          <a:solidFill>
            <a:schemeClr val="tx1"/>
          </a:solidFill>
        </a:defRPr>
      </a:pPr>
      <a:endParaRPr lang="en-US"/>
    </a:p>
  </c:txPr>
  <c:externalData r:id="rId4">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F684-40A3-9260-ED9ACD88DCC0}"/>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F684-40A3-9260-ED9ACD88DCC0}"/>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F684-40A3-9260-ED9ACD88DCC0}"/>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F684-40A3-9260-ED9ACD88DCC0}"/>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F684-40A3-9260-ED9ACD88DCC0}"/>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F684-40A3-9260-ED9ACD88DCC0}"/>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F684-40A3-9260-ED9ACD88DCC0}"/>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F684-40A3-9260-ED9ACD88DCC0}"/>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F684-40A3-9260-ED9ACD88DCC0}"/>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F684-40A3-9260-ED9ACD88DCC0}"/>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F684-40A3-9260-ED9ACD88DCC0}"/>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F684-40A3-9260-ED9ACD88DCC0}"/>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F684-40A3-9260-ED9ACD88DCC0}"/>
              </c:ext>
            </c:extLst>
          </c:dPt>
          <c:val>
            <c:numRef>
              <c:f>Sheet1!$C$2:$C$3</c:f>
              <c:numCache>
                <c:formatCode>General</c:formatCode>
                <c:ptCount val="2"/>
                <c:pt idx="0">
                  <c:v>79.8</c:v>
                </c:pt>
                <c:pt idx="1">
                  <c:v>20.2</c:v>
                </c:pt>
              </c:numCache>
            </c:numRef>
          </c:val>
          <c:extLst>
            <c:ext xmlns:c16="http://schemas.microsoft.com/office/drawing/2014/chart" uri="{C3380CC4-5D6E-409C-BE32-E72D297353CC}">
              <c16:uniqueId val="{00000019-F684-40A3-9260-ED9ACD88DCC0}"/>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D929-4179-923E-998ED68C97A3}"/>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D929-4179-923E-998ED68C97A3}"/>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D929-4179-923E-998ED68C97A3}"/>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D929-4179-923E-998ED68C97A3}"/>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D929-4179-923E-998ED68C97A3}"/>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D929-4179-923E-998ED68C97A3}"/>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D929-4179-923E-998ED68C97A3}"/>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D929-4179-923E-998ED68C97A3}"/>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D929-4179-923E-998ED68C97A3}"/>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D929-4179-923E-998ED68C97A3}"/>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D929-4179-923E-998ED68C97A3}"/>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D929-4179-923E-998ED68C97A3}"/>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D929-4179-923E-998ED68C97A3}"/>
              </c:ext>
            </c:extLst>
          </c:dPt>
          <c:val>
            <c:numRef>
              <c:f>Sheet1!$C$2:$C$3</c:f>
              <c:numCache>
                <c:formatCode>General</c:formatCode>
                <c:ptCount val="2"/>
                <c:pt idx="0">
                  <c:v>49</c:v>
                </c:pt>
                <c:pt idx="1">
                  <c:v>51</c:v>
                </c:pt>
              </c:numCache>
            </c:numRef>
          </c:val>
          <c:extLst>
            <c:ext xmlns:c16="http://schemas.microsoft.com/office/drawing/2014/chart" uri="{C3380CC4-5D6E-409C-BE32-E72D297353CC}">
              <c16:uniqueId val="{00000019-D929-4179-923E-998ED68C97A3}"/>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B2B5-456F-9C12-67223AAEEF1F}"/>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B2B5-456F-9C12-67223AAEEF1F}"/>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B2B5-456F-9C12-67223AAEEF1F}"/>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B2B5-456F-9C12-67223AAEEF1F}"/>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B2B5-456F-9C12-67223AAEEF1F}"/>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B2B5-456F-9C12-67223AAEEF1F}"/>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B2B5-456F-9C12-67223AAEEF1F}"/>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B2B5-456F-9C12-67223AAEEF1F}"/>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B2B5-456F-9C12-67223AAEEF1F}"/>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B2B5-456F-9C12-67223AAEEF1F}"/>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B2B5-456F-9C12-67223AAEEF1F}"/>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B2B5-456F-9C12-67223AAEEF1F}"/>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B2B5-456F-9C12-67223AAEEF1F}"/>
              </c:ext>
            </c:extLst>
          </c:dPt>
          <c:val>
            <c:numRef>
              <c:f>Sheet1!$C$2:$C$3</c:f>
              <c:numCache>
                <c:formatCode>General</c:formatCode>
                <c:ptCount val="2"/>
                <c:pt idx="0">
                  <c:v>22</c:v>
                </c:pt>
                <c:pt idx="1">
                  <c:v>78</c:v>
                </c:pt>
              </c:numCache>
            </c:numRef>
          </c:val>
          <c:extLst>
            <c:ext xmlns:c16="http://schemas.microsoft.com/office/drawing/2014/chart" uri="{C3380CC4-5D6E-409C-BE32-E72D297353CC}">
              <c16:uniqueId val="{00000019-B2B5-456F-9C12-67223AAEEF1F}"/>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12F6-4054-AFDD-554AD78392F9}"/>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12F6-4054-AFDD-554AD78392F9}"/>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12F6-4054-AFDD-554AD78392F9}"/>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12F6-4054-AFDD-554AD78392F9}"/>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12F6-4054-AFDD-554AD78392F9}"/>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12F6-4054-AFDD-554AD78392F9}"/>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12F6-4054-AFDD-554AD78392F9}"/>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12F6-4054-AFDD-554AD78392F9}"/>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12F6-4054-AFDD-554AD78392F9}"/>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12F6-4054-AFDD-554AD78392F9}"/>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12F6-4054-AFDD-554AD78392F9}"/>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12F6-4054-AFDD-554AD78392F9}"/>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12F6-4054-AFDD-554AD78392F9}"/>
              </c:ext>
            </c:extLst>
          </c:dPt>
          <c:val>
            <c:numRef>
              <c:f>Sheet1!$C$2:$C$3</c:f>
              <c:numCache>
                <c:formatCode>General</c:formatCode>
                <c:ptCount val="2"/>
                <c:pt idx="0">
                  <c:v>17</c:v>
                </c:pt>
                <c:pt idx="1">
                  <c:v>83</c:v>
                </c:pt>
              </c:numCache>
            </c:numRef>
          </c:val>
          <c:extLst>
            <c:ext xmlns:c16="http://schemas.microsoft.com/office/drawing/2014/chart" uri="{C3380CC4-5D6E-409C-BE32-E72D297353CC}">
              <c16:uniqueId val="{00000019-12F6-4054-AFDD-554AD78392F9}"/>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doughnutChart>
        <c:varyColors val="1"/>
        <c:ser>
          <c:idx val="0"/>
          <c:order val="0"/>
          <c:tx>
            <c:strRef>
              <c:f>Sheet1!$B$1</c:f>
              <c:strCache>
                <c:ptCount val="1"/>
                <c:pt idx="0">
                  <c:v>Pie</c:v>
                </c:pt>
              </c:strCache>
            </c:strRef>
          </c:tx>
          <c:spPr>
            <a:solidFill>
              <a:srgbClr val="DAA520"/>
            </a:solidFill>
          </c:spPr>
          <c:dPt>
            <c:idx val="0"/>
            <c:bubble3D val="0"/>
            <c:spPr>
              <a:solidFill>
                <a:srgbClr val="DAA520"/>
              </a:solidFill>
              <a:ln w="19050">
                <a:solidFill>
                  <a:schemeClr val="lt1"/>
                </a:solidFill>
              </a:ln>
              <a:effectLst/>
            </c:spPr>
            <c:extLst>
              <c:ext xmlns:c16="http://schemas.microsoft.com/office/drawing/2014/chart" uri="{C3380CC4-5D6E-409C-BE32-E72D297353CC}">
                <c16:uniqueId val="{00000001-F8B6-4C0B-A8C8-BD76EC8F7EB0}"/>
              </c:ext>
            </c:extLst>
          </c:dPt>
          <c:dPt>
            <c:idx val="1"/>
            <c:bubble3D val="0"/>
            <c:spPr>
              <a:solidFill>
                <a:srgbClr val="DAA520"/>
              </a:solidFill>
              <a:ln w="19050">
                <a:solidFill>
                  <a:schemeClr val="lt1"/>
                </a:solidFill>
              </a:ln>
              <a:effectLst/>
            </c:spPr>
            <c:extLst>
              <c:ext xmlns:c16="http://schemas.microsoft.com/office/drawing/2014/chart" uri="{C3380CC4-5D6E-409C-BE32-E72D297353CC}">
                <c16:uniqueId val="{00000003-F8B6-4C0B-A8C8-BD76EC8F7EB0}"/>
              </c:ext>
            </c:extLst>
          </c:dPt>
          <c:dPt>
            <c:idx val="2"/>
            <c:bubble3D val="0"/>
            <c:spPr>
              <a:solidFill>
                <a:srgbClr val="DAA520"/>
              </a:solidFill>
              <a:ln w="19050">
                <a:solidFill>
                  <a:schemeClr val="lt1"/>
                </a:solidFill>
              </a:ln>
              <a:effectLst/>
            </c:spPr>
            <c:extLst>
              <c:ext xmlns:c16="http://schemas.microsoft.com/office/drawing/2014/chart" uri="{C3380CC4-5D6E-409C-BE32-E72D297353CC}">
                <c16:uniqueId val="{00000005-F8B6-4C0B-A8C8-BD76EC8F7EB0}"/>
              </c:ext>
            </c:extLst>
          </c:dPt>
          <c:dPt>
            <c:idx val="3"/>
            <c:bubble3D val="0"/>
            <c:spPr>
              <a:solidFill>
                <a:srgbClr val="DAA520"/>
              </a:solidFill>
              <a:ln w="19050">
                <a:solidFill>
                  <a:schemeClr val="lt1"/>
                </a:solidFill>
              </a:ln>
              <a:effectLst/>
            </c:spPr>
            <c:extLst>
              <c:ext xmlns:c16="http://schemas.microsoft.com/office/drawing/2014/chart" uri="{C3380CC4-5D6E-409C-BE32-E72D297353CC}">
                <c16:uniqueId val="{00000007-F8B6-4C0B-A8C8-BD76EC8F7EB0}"/>
              </c:ext>
            </c:extLst>
          </c:dPt>
          <c:dPt>
            <c:idx val="4"/>
            <c:bubble3D val="0"/>
            <c:spPr>
              <a:solidFill>
                <a:srgbClr val="DAA520"/>
              </a:solidFill>
              <a:ln w="19050">
                <a:solidFill>
                  <a:schemeClr val="lt1"/>
                </a:solidFill>
              </a:ln>
              <a:effectLst/>
            </c:spPr>
            <c:extLst>
              <c:ext xmlns:c16="http://schemas.microsoft.com/office/drawing/2014/chart" uri="{C3380CC4-5D6E-409C-BE32-E72D297353CC}">
                <c16:uniqueId val="{00000009-F8B6-4C0B-A8C8-BD76EC8F7EB0}"/>
              </c:ext>
            </c:extLst>
          </c:dPt>
          <c:dPt>
            <c:idx val="5"/>
            <c:bubble3D val="0"/>
            <c:spPr>
              <a:solidFill>
                <a:srgbClr val="DAA520"/>
              </a:solidFill>
              <a:ln w="19050">
                <a:solidFill>
                  <a:schemeClr val="lt1"/>
                </a:solidFill>
              </a:ln>
              <a:effectLst/>
            </c:spPr>
            <c:extLst>
              <c:ext xmlns:c16="http://schemas.microsoft.com/office/drawing/2014/chart" uri="{C3380CC4-5D6E-409C-BE32-E72D297353CC}">
                <c16:uniqueId val="{0000000B-F8B6-4C0B-A8C8-BD76EC8F7EB0}"/>
              </c:ext>
            </c:extLst>
          </c:dPt>
          <c:dPt>
            <c:idx val="6"/>
            <c:bubble3D val="0"/>
            <c:spPr>
              <a:solidFill>
                <a:srgbClr val="DAA520"/>
              </a:solidFill>
              <a:ln w="19050">
                <a:solidFill>
                  <a:schemeClr val="lt1"/>
                </a:solidFill>
              </a:ln>
              <a:effectLst/>
            </c:spPr>
            <c:extLst>
              <c:ext xmlns:c16="http://schemas.microsoft.com/office/drawing/2014/chart" uri="{C3380CC4-5D6E-409C-BE32-E72D297353CC}">
                <c16:uniqueId val="{0000000D-F8B6-4C0B-A8C8-BD76EC8F7EB0}"/>
              </c:ext>
            </c:extLst>
          </c:dPt>
          <c:dPt>
            <c:idx val="7"/>
            <c:bubble3D val="0"/>
            <c:spPr>
              <a:solidFill>
                <a:srgbClr val="DAA520"/>
              </a:solidFill>
              <a:ln w="19050">
                <a:solidFill>
                  <a:schemeClr val="lt1"/>
                </a:solidFill>
              </a:ln>
              <a:effectLst/>
            </c:spPr>
            <c:extLst>
              <c:ext xmlns:c16="http://schemas.microsoft.com/office/drawing/2014/chart" uri="{C3380CC4-5D6E-409C-BE32-E72D297353CC}">
                <c16:uniqueId val="{0000000F-F8B6-4C0B-A8C8-BD76EC8F7EB0}"/>
              </c:ext>
            </c:extLst>
          </c:dPt>
          <c:dPt>
            <c:idx val="8"/>
            <c:bubble3D val="0"/>
            <c:spPr>
              <a:solidFill>
                <a:srgbClr val="DAA520"/>
              </a:solidFill>
              <a:ln w="19050">
                <a:solidFill>
                  <a:schemeClr val="lt1"/>
                </a:solidFill>
              </a:ln>
              <a:effectLst/>
            </c:spPr>
            <c:extLst>
              <c:ext xmlns:c16="http://schemas.microsoft.com/office/drawing/2014/chart" uri="{C3380CC4-5D6E-409C-BE32-E72D297353CC}">
                <c16:uniqueId val="{00000011-F8B6-4C0B-A8C8-BD76EC8F7EB0}"/>
              </c:ext>
            </c:extLst>
          </c:dPt>
          <c:dPt>
            <c:idx val="9"/>
            <c:bubble3D val="0"/>
            <c:spPr>
              <a:solidFill>
                <a:srgbClr val="DAA520"/>
              </a:solidFill>
              <a:ln w="19050">
                <a:solidFill>
                  <a:schemeClr val="lt1"/>
                </a:solidFill>
              </a:ln>
              <a:effectLst/>
            </c:spPr>
            <c:extLst>
              <c:ext xmlns:c16="http://schemas.microsoft.com/office/drawing/2014/chart" uri="{C3380CC4-5D6E-409C-BE32-E72D297353CC}">
                <c16:uniqueId val="{00000013-F8B6-4C0B-A8C8-BD76EC8F7EB0}"/>
              </c:ext>
            </c:extLst>
          </c:dPt>
          <c:cat>
            <c:numRef>
              <c:f>Sheet1!$A$2:$A$11</c:f>
              <c:numCache>
                <c:formatCode>General</c:formatCode>
                <c:ptCount val="10"/>
              </c:numCache>
            </c:numRef>
          </c:cat>
          <c:val>
            <c:numRef>
              <c:f>Sheet1!$B$2:$B$11</c:f>
              <c:numCache>
                <c:formatCode>General</c:formatCode>
                <c:ptCount val="10"/>
                <c:pt idx="0">
                  <c:v>1</c:v>
                </c:pt>
                <c:pt idx="1">
                  <c:v>1</c:v>
                </c:pt>
                <c:pt idx="2">
                  <c:v>1</c:v>
                </c:pt>
                <c:pt idx="3">
                  <c:v>1</c:v>
                </c:pt>
                <c:pt idx="4">
                  <c:v>1</c:v>
                </c:pt>
                <c:pt idx="5">
                  <c:v>1</c:v>
                </c:pt>
                <c:pt idx="6">
                  <c:v>1</c:v>
                </c:pt>
                <c:pt idx="7">
                  <c:v>1</c:v>
                </c:pt>
                <c:pt idx="8">
                  <c:v>1</c:v>
                </c:pt>
                <c:pt idx="9">
                  <c:v>1</c:v>
                </c:pt>
              </c:numCache>
            </c:numRef>
          </c:val>
          <c:extLst>
            <c:ext xmlns:c16="http://schemas.microsoft.com/office/drawing/2014/chart" uri="{C3380CC4-5D6E-409C-BE32-E72D297353CC}">
              <c16:uniqueId val="{00000014-F8B6-4C0B-A8C8-BD76EC8F7EB0}"/>
            </c:ext>
          </c:extLst>
        </c:ser>
        <c:dLbls>
          <c:showLegendKey val="0"/>
          <c:showVal val="0"/>
          <c:showCatName val="0"/>
          <c:showSerName val="0"/>
          <c:showPercent val="0"/>
          <c:showBubbleSize val="0"/>
          <c:showLeaderLines val="1"/>
        </c:dLbls>
        <c:firstSliceAng val="0"/>
        <c:holeSize val="50"/>
      </c:doughnutChart>
      <c:doughnutChart>
        <c:varyColors val="1"/>
        <c:ser>
          <c:idx val="1"/>
          <c:order val="1"/>
          <c:tx>
            <c:v>Pain</c:v>
          </c:tx>
          <c:dPt>
            <c:idx val="0"/>
            <c:bubble3D val="0"/>
            <c:spPr>
              <a:solidFill>
                <a:schemeClr val="accent1"/>
              </a:solidFill>
              <a:ln w="19050">
                <a:solidFill>
                  <a:schemeClr val="lt1"/>
                </a:solidFill>
              </a:ln>
              <a:effectLst/>
            </c:spPr>
            <c:extLst>
              <c:ext xmlns:c16="http://schemas.microsoft.com/office/drawing/2014/chart" uri="{C3380CC4-5D6E-409C-BE32-E72D297353CC}">
                <c16:uniqueId val="{00000016-F8B6-4C0B-A8C8-BD76EC8F7EB0}"/>
              </c:ext>
            </c:extLst>
          </c:dPt>
          <c:dPt>
            <c:idx val="1"/>
            <c:bubble3D val="0"/>
            <c:spPr>
              <a:solidFill>
                <a:srgbClr val="FFFFFF">
                  <a:alpha val="80000"/>
                </a:srgbClr>
              </a:solidFill>
              <a:ln w="19050">
                <a:solidFill>
                  <a:schemeClr val="lt1"/>
                </a:solidFill>
              </a:ln>
              <a:effectLst/>
            </c:spPr>
            <c:extLst>
              <c:ext xmlns:c16="http://schemas.microsoft.com/office/drawing/2014/chart" uri="{C3380CC4-5D6E-409C-BE32-E72D297353CC}">
                <c16:uniqueId val="{00000018-F8B6-4C0B-A8C8-BD76EC8F7EB0}"/>
              </c:ext>
            </c:extLst>
          </c:dPt>
          <c:val>
            <c:numRef>
              <c:f>Sheet1!$C$2:$C$3</c:f>
              <c:numCache>
                <c:formatCode>General</c:formatCode>
                <c:ptCount val="2"/>
                <c:pt idx="0">
                  <c:v>15</c:v>
                </c:pt>
                <c:pt idx="1">
                  <c:v>85</c:v>
                </c:pt>
              </c:numCache>
            </c:numRef>
          </c:val>
          <c:extLst>
            <c:ext xmlns:c16="http://schemas.microsoft.com/office/drawing/2014/chart" uri="{C3380CC4-5D6E-409C-BE32-E72D297353CC}">
              <c16:uniqueId val="{00000019-F8B6-4C0B-A8C8-BD76EC8F7EB0}"/>
            </c:ext>
          </c:extLst>
        </c:ser>
        <c:dLbls>
          <c:showLegendKey val="0"/>
          <c:showVal val="0"/>
          <c:showCatName val="0"/>
          <c:showSerName val="0"/>
          <c:showPercent val="0"/>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4">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76A4-4D63-B099-17211149C5EF}"/>
              </c:ext>
            </c:extLst>
          </c:dPt>
          <c:dPt>
            <c:idx val="1"/>
            <c:bubble3D val="0"/>
            <c:spPr>
              <a:solidFill>
                <a:schemeClr val="bg1"/>
              </a:solidFill>
            </c:spPr>
            <c:extLst>
              <c:ext xmlns:c16="http://schemas.microsoft.com/office/drawing/2014/chart" uri="{C3380CC4-5D6E-409C-BE32-E72D297353CC}">
                <c16:uniqueId val="{00000003-76A4-4D63-B099-17211149C5EF}"/>
              </c:ext>
            </c:extLst>
          </c:dPt>
          <c:cat>
            <c:strRef>
              <c:f>Sheet1!$A$2:$A$3</c:f>
              <c:strCache>
                <c:ptCount val="2"/>
                <c:pt idx="0">
                  <c:v>1st Qtr</c:v>
                </c:pt>
                <c:pt idx="1">
                  <c:v>2nd Qtr</c:v>
                </c:pt>
              </c:strCache>
            </c:strRef>
          </c:cat>
          <c:val>
            <c:numRef>
              <c:f>Sheet1!$B$2:$B$3</c:f>
              <c:numCache>
                <c:formatCode>General</c:formatCode>
                <c:ptCount val="2"/>
                <c:pt idx="0">
                  <c:v>42</c:v>
                </c:pt>
                <c:pt idx="1">
                  <c:v>58</c:v>
                </c:pt>
              </c:numCache>
            </c:numRef>
          </c:val>
          <c:extLst>
            <c:ext xmlns:c16="http://schemas.microsoft.com/office/drawing/2014/chart" uri="{C3380CC4-5D6E-409C-BE32-E72D297353CC}">
              <c16:uniqueId val="{00000004-76A4-4D63-B099-17211149C5E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1"/>
          <c:order val="0"/>
          <c:tx>
            <c:strRef>
              <c:f>Sheet1!$A$2</c:f>
              <c:strCache>
                <c:ptCount val="1"/>
                <c:pt idx="0">
                  <c:v>A big problem</c:v>
                </c:pt>
              </c:strCache>
            </c:strRef>
          </c:tx>
          <c:spPr>
            <a:solidFill>
              <a:schemeClr val="accent2"/>
            </a:solidFill>
            <a:ln>
              <a:noFill/>
            </a:ln>
            <a:effectLst/>
          </c:spPr>
          <c:invertIfNegative val="0"/>
          <c:dPt>
            <c:idx val="0"/>
            <c:invertIfNegative val="0"/>
            <c:bubble3D val="0"/>
            <c:spPr>
              <a:solidFill>
                <a:schemeClr val="accent2"/>
              </a:solidFill>
              <a:ln>
                <a:solidFill>
                  <a:schemeClr val="bg1"/>
                </a:solidFill>
              </a:ln>
              <a:effectLst/>
            </c:spPr>
            <c:extLst>
              <c:ext xmlns:c16="http://schemas.microsoft.com/office/drawing/2014/chart" uri="{C3380CC4-5D6E-409C-BE32-E72D297353CC}">
                <c16:uniqueId val="{00000007-2663-4A4E-BA54-1DAA8968DAF2}"/>
              </c:ext>
            </c:extLst>
          </c:dPt>
          <c:dLbls>
            <c:spPr>
              <a:noFill/>
              <a:ln>
                <a:noFill/>
              </a:ln>
              <a:effectLst/>
            </c:spPr>
            <c:txPr>
              <a:bodyPr rot="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General</c:formatCode>
                <c:ptCount val="1"/>
                <c:pt idx="0">
                  <c:v>2019</c:v>
                </c:pt>
              </c:numCache>
            </c:numRef>
          </c:cat>
          <c:val>
            <c:numRef>
              <c:f>Sheet1!$B$2</c:f>
              <c:numCache>
                <c:formatCode>0%</c:formatCode>
                <c:ptCount val="1"/>
                <c:pt idx="0">
                  <c:v>0.11</c:v>
                </c:pt>
              </c:numCache>
            </c:numRef>
          </c:val>
          <c:extLst>
            <c:ext xmlns:c16="http://schemas.microsoft.com/office/drawing/2014/chart" uri="{C3380CC4-5D6E-409C-BE32-E72D297353CC}">
              <c16:uniqueId val="{00000000-2663-4A4E-BA54-1DAA8968DAF2}"/>
            </c:ext>
          </c:extLst>
        </c:ser>
        <c:ser>
          <c:idx val="0"/>
          <c:order val="1"/>
          <c:tx>
            <c:strRef>
              <c:f>Sheet1!$A$3</c:f>
              <c:strCache>
                <c:ptCount val="1"/>
                <c:pt idx="0">
                  <c:v>A medium problem</c:v>
                </c:pt>
              </c:strCache>
            </c:strRef>
          </c:tx>
          <c:spPr>
            <a:solidFill>
              <a:schemeClr val="accent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General</c:formatCode>
                <c:ptCount val="1"/>
                <c:pt idx="0">
                  <c:v>2019</c:v>
                </c:pt>
              </c:numCache>
            </c:numRef>
          </c:cat>
          <c:val>
            <c:numRef>
              <c:f>Sheet1!$B$3</c:f>
              <c:numCache>
                <c:formatCode>0%</c:formatCode>
                <c:ptCount val="1"/>
                <c:pt idx="0">
                  <c:v>0.14000000000000001</c:v>
                </c:pt>
              </c:numCache>
            </c:numRef>
          </c:val>
          <c:extLst>
            <c:ext xmlns:c16="http://schemas.microsoft.com/office/drawing/2014/chart" uri="{C3380CC4-5D6E-409C-BE32-E72D297353CC}">
              <c16:uniqueId val="{00000001-2663-4A4E-BA54-1DAA8968DAF2}"/>
            </c:ext>
          </c:extLst>
        </c:ser>
        <c:ser>
          <c:idx val="2"/>
          <c:order val="2"/>
          <c:tx>
            <c:strRef>
              <c:f>Sheet1!$A$4</c:f>
              <c:strCache>
                <c:ptCount val="1"/>
                <c:pt idx="0">
                  <c:v>A small problem</c:v>
                </c:pt>
              </c:strCache>
            </c:strRef>
          </c:tx>
          <c:spPr>
            <a:solidFill>
              <a:schemeClr val="accent3"/>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General</c:formatCode>
                <c:ptCount val="1"/>
                <c:pt idx="0">
                  <c:v>2019</c:v>
                </c:pt>
              </c:numCache>
            </c:numRef>
          </c:cat>
          <c:val>
            <c:numRef>
              <c:f>Sheet1!$B$4</c:f>
              <c:numCache>
                <c:formatCode>0%</c:formatCode>
                <c:ptCount val="1"/>
                <c:pt idx="0">
                  <c:v>0.17</c:v>
                </c:pt>
              </c:numCache>
            </c:numRef>
          </c:val>
          <c:extLst>
            <c:ext xmlns:c16="http://schemas.microsoft.com/office/drawing/2014/chart" uri="{C3380CC4-5D6E-409C-BE32-E72D297353CC}">
              <c16:uniqueId val="{00000002-2663-4A4E-BA54-1DAA8968DAF2}"/>
            </c:ext>
          </c:extLst>
        </c:ser>
        <c:ser>
          <c:idx val="3"/>
          <c:order val="3"/>
          <c:tx>
            <c:strRef>
              <c:f>Sheet1!$A$5</c:f>
              <c:strCache>
                <c:ptCount val="1"/>
                <c:pt idx="0">
                  <c:v>Not at all a problem</c:v>
                </c:pt>
              </c:strCache>
            </c:strRef>
          </c:tx>
          <c:spPr>
            <a:solidFill>
              <a:srgbClr val="28608C"/>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General</c:formatCode>
                <c:ptCount val="1"/>
                <c:pt idx="0">
                  <c:v>2019</c:v>
                </c:pt>
              </c:numCache>
            </c:numRef>
          </c:cat>
          <c:val>
            <c:numRef>
              <c:f>Sheet1!$B$5</c:f>
              <c:numCache>
                <c:formatCode>0%</c:formatCode>
                <c:ptCount val="1"/>
                <c:pt idx="0">
                  <c:v>0.3</c:v>
                </c:pt>
              </c:numCache>
            </c:numRef>
          </c:val>
          <c:extLst>
            <c:ext xmlns:c16="http://schemas.microsoft.com/office/drawing/2014/chart" uri="{C3380CC4-5D6E-409C-BE32-E72D297353CC}">
              <c16:uniqueId val="{00000003-2663-4A4E-BA54-1DAA8968DAF2}"/>
            </c:ext>
          </c:extLst>
        </c:ser>
        <c:ser>
          <c:idx val="4"/>
          <c:order val="4"/>
          <c:tx>
            <c:strRef>
              <c:f>Sheet1!$A$6</c:f>
              <c:strCache>
                <c:ptCount val="1"/>
                <c:pt idx="0">
                  <c:v>Parents have never posted about me</c:v>
                </c:pt>
              </c:strCache>
            </c:strRef>
          </c:tx>
          <c:spPr>
            <a:solidFill>
              <a:schemeClr val="accent5"/>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B$1</c:f>
              <c:numCache>
                <c:formatCode>General</c:formatCode>
                <c:ptCount val="1"/>
                <c:pt idx="0">
                  <c:v>2019</c:v>
                </c:pt>
              </c:numCache>
            </c:numRef>
          </c:cat>
          <c:val>
            <c:numRef>
              <c:f>Sheet1!$B$6</c:f>
              <c:numCache>
                <c:formatCode>0%</c:formatCode>
                <c:ptCount val="1"/>
                <c:pt idx="0">
                  <c:v>0.28000000000000003</c:v>
                </c:pt>
              </c:numCache>
            </c:numRef>
          </c:val>
          <c:extLst>
            <c:ext xmlns:c16="http://schemas.microsoft.com/office/drawing/2014/chart" uri="{C3380CC4-5D6E-409C-BE32-E72D297353CC}">
              <c16:uniqueId val="{00000004-2663-4A4E-BA54-1DAA8968DAF2}"/>
            </c:ext>
          </c:extLst>
        </c:ser>
        <c:dLbls>
          <c:showLegendKey val="0"/>
          <c:showVal val="1"/>
          <c:showCatName val="0"/>
          <c:showSerName val="0"/>
          <c:showPercent val="0"/>
          <c:showBubbleSize val="0"/>
        </c:dLbls>
        <c:gapWidth val="6"/>
        <c:overlap val="100"/>
        <c:axId val="641450504"/>
        <c:axId val="641451144"/>
      </c:barChart>
      <c:catAx>
        <c:axId val="641450504"/>
        <c:scaling>
          <c:orientation val="minMax"/>
        </c:scaling>
        <c:delete val="0"/>
        <c:axPos val="t"/>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800" b="0" i="0" u="none" strike="noStrike" baseline="0">
                <a:solidFill>
                  <a:schemeClr val="bg1"/>
                </a:solidFill>
                <a:latin typeface="+mn-lt"/>
                <a:ea typeface="+mn-ea"/>
                <a:cs typeface="+mn-cs"/>
              </a:defRPr>
            </a:pPr>
            <a:endParaRPr lang="en-US"/>
          </a:p>
        </c:txPr>
        <c:crossAx val="641451144"/>
        <c:crosses val="autoZero"/>
        <c:auto val="1"/>
        <c:lblAlgn val="ctr"/>
        <c:lblOffset val="100"/>
        <c:noMultiLvlLbl val="0"/>
      </c:catAx>
      <c:valAx>
        <c:axId val="641451144"/>
        <c:scaling>
          <c:orientation val="maxMin"/>
        </c:scaling>
        <c:delete val="1"/>
        <c:axPos val="l"/>
        <c:numFmt formatCode="0%" sourceLinked="1"/>
        <c:majorTickMark val="out"/>
        <c:minorTickMark val="none"/>
        <c:tickLblPos val="nextTo"/>
        <c:crossAx val="64145050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800">
          <a:solidFill>
            <a:schemeClr val="bg1"/>
          </a:solidFill>
        </a:defRPr>
      </a:pPr>
      <a:endParaRPr lang="en-US"/>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72165951865946E-2"/>
          <c:y val="1.3770894561540776E-2"/>
          <c:w val="0.96484710377376537"/>
          <c:h val="0.97772882867747968"/>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24"/>
            <c:spPr>
              <a:solidFill>
                <a:srgbClr val="FFFF00"/>
              </a:solidFill>
              <a:ln w="25400">
                <a:solidFill>
                  <a:schemeClr val="bg1"/>
                </a:solidFill>
              </a:ln>
              <a:effectLst/>
            </c:spPr>
          </c:marker>
          <c:dPt>
            <c:idx val="0"/>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00-981B-4B1E-B375-88E6F2E886CF}"/>
              </c:ext>
            </c:extLst>
          </c:dPt>
          <c:dPt>
            <c:idx val="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1-981B-4B1E-B375-88E6F2E886CF}"/>
              </c:ext>
            </c:extLst>
          </c:dPt>
          <c:dPt>
            <c:idx val="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2-981B-4B1E-B375-88E6F2E886CF}"/>
              </c:ext>
            </c:extLst>
          </c:dPt>
          <c:dPt>
            <c:idx val="3"/>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03-981B-4B1E-B375-88E6F2E886CF}"/>
              </c:ext>
            </c:extLst>
          </c:dPt>
          <c:dPt>
            <c:idx val="4"/>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04-981B-4B1E-B375-88E6F2E886CF}"/>
              </c:ext>
            </c:extLst>
          </c:dPt>
          <c:dPt>
            <c:idx val="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5-981B-4B1E-B375-88E6F2E886CF}"/>
              </c:ext>
            </c:extLst>
          </c:dPt>
          <c:dPt>
            <c:idx val="6"/>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6-981B-4B1E-B375-88E6F2E886CF}"/>
              </c:ext>
            </c:extLst>
          </c:dPt>
          <c:dPt>
            <c:idx val="7"/>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07-981B-4B1E-B375-88E6F2E886CF}"/>
              </c:ext>
            </c:extLst>
          </c:dPt>
          <c:dPt>
            <c:idx val="8"/>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08-981B-4B1E-B375-88E6F2E886CF}"/>
              </c:ext>
            </c:extLst>
          </c:dPt>
          <c:dPt>
            <c:idx val="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9-981B-4B1E-B375-88E6F2E886CF}"/>
              </c:ext>
            </c:extLst>
          </c:dPt>
          <c:dPt>
            <c:idx val="10"/>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A-981B-4B1E-B375-88E6F2E886CF}"/>
              </c:ext>
            </c:extLst>
          </c:dPt>
          <c:dPt>
            <c:idx val="11"/>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0B-981B-4B1E-B375-88E6F2E886CF}"/>
              </c:ext>
            </c:extLst>
          </c:dPt>
          <c:dPt>
            <c:idx val="12"/>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0C-981B-4B1E-B375-88E6F2E886CF}"/>
              </c:ext>
            </c:extLst>
          </c:dPt>
          <c:dPt>
            <c:idx val="14"/>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D-981B-4B1E-B375-88E6F2E886CF}"/>
              </c:ext>
            </c:extLst>
          </c:dPt>
          <c:dPt>
            <c:idx val="15"/>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0E-981B-4B1E-B375-88E6F2E886CF}"/>
              </c:ext>
            </c:extLst>
          </c:dPt>
          <c:dPt>
            <c:idx val="16"/>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0F-981B-4B1E-B375-88E6F2E886CF}"/>
              </c:ext>
            </c:extLst>
          </c:dPt>
          <c:dPt>
            <c:idx val="1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0-981B-4B1E-B375-88E6F2E886CF}"/>
              </c:ext>
            </c:extLst>
          </c:dPt>
          <c:dPt>
            <c:idx val="18"/>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11-981B-4B1E-B375-88E6F2E886CF}"/>
              </c:ext>
            </c:extLst>
          </c:dPt>
          <c:dPt>
            <c:idx val="19"/>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12-981B-4B1E-B375-88E6F2E886CF}"/>
              </c:ext>
            </c:extLst>
          </c:dPt>
          <c:dPt>
            <c:idx val="20"/>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13-981B-4B1E-B375-88E6F2E886CF}"/>
              </c:ext>
            </c:extLst>
          </c:dPt>
          <c:dPt>
            <c:idx val="2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4-981B-4B1E-B375-88E6F2E886CF}"/>
              </c:ext>
            </c:extLst>
          </c:dPt>
          <c:dPt>
            <c:idx val="2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15-981B-4B1E-B375-88E6F2E886CF}"/>
              </c:ext>
            </c:extLst>
          </c:dPt>
          <c:dPt>
            <c:idx val="23"/>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16-981B-4B1E-B375-88E6F2E886CF}"/>
              </c:ext>
            </c:extLst>
          </c:dPt>
          <c:dPt>
            <c:idx val="24"/>
            <c:marker>
              <c:symbol val="circle"/>
              <c:size val="24"/>
              <c:spPr>
                <a:solidFill>
                  <a:srgbClr val="002050"/>
                </a:solidFill>
                <a:ln w="25400">
                  <a:solidFill>
                    <a:schemeClr val="bg1"/>
                  </a:solidFill>
                </a:ln>
                <a:effectLst/>
              </c:spPr>
            </c:marker>
            <c:bubble3D val="0"/>
            <c:extLst>
              <c:ext xmlns:c16="http://schemas.microsoft.com/office/drawing/2014/chart" uri="{C3380CC4-5D6E-409C-BE32-E72D297353CC}">
                <c16:uniqueId val="{00000017-981B-4B1E-B375-88E6F2E886CF}"/>
              </c:ext>
            </c:extLst>
          </c:dPt>
          <c:dPt>
            <c:idx val="2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8-981B-4B1E-B375-88E6F2E886CF}"/>
              </c:ext>
            </c:extLst>
          </c:dPt>
          <c:dPt>
            <c:idx val="26"/>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19-981B-4B1E-B375-88E6F2E886CF}"/>
              </c:ext>
            </c:extLst>
          </c:dPt>
          <c:dPt>
            <c:idx val="27"/>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1A-981B-4B1E-B375-88E6F2E886CF}"/>
              </c:ext>
            </c:extLst>
          </c:dPt>
          <c:dPt>
            <c:idx val="28"/>
            <c:marker>
              <c:symbol val="circle"/>
              <c:size val="24"/>
              <c:spPr>
                <a:solidFill>
                  <a:srgbClr val="002060"/>
                </a:solidFill>
                <a:ln w="25400">
                  <a:solidFill>
                    <a:schemeClr val="bg1"/>
                  </a:solidFill>
                </a:ln>
                <a:effectLst/>
              </c:spPr>
            </c:marker>
            <c:bubble3D val="0"/>
            <c:extLst>
              <c:ext xmlns:c16="http://schemas.microsoft.com/office/drawing/2014/chart" uri="{C3380CC4-5D6E-409C-BE32-E72D297353CC}">
                <c16:uniqueId val="{0000001B-981B-4B1E-B375-88E6F2E886CF}"/>
              </c:ext>
            </c:extLst>
          </c:dPt>
          <c:dPt>
            <c:idx val="2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C-981B-4B1E-B375-88E6F2E886CF}"/>
              </c:ext>
            </c:extLst>
          </c:dPt>
          <c:dPt>
            <c:idx val="30"/>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1D-981B-4B1E-B375-88E6F2E886CF}"/>
              </c:ext>
            </c:extLst>
          </c:dPt>
          <c:dPt>
            <c:idx val="31"/>
            <c:marker>
              <c:symbol val="circle"/>
              <c:size val="24"/>
              <c:spPr>
                <a:solidFill>
                  <a:srgbClr val="FF8C00"/>
                </a:solidFill>
                <a:ln w="25400">
                  <a:solidFill>
                    <a:schemeClr val="bg1"/>
                  </a:solidFill>
                </a:ln>
                <a:effectLst/>
              </c:spPr>
            </c:marker>
            <c:bubble3D val="0"/>
            <c:extLst>
              <c:ext xmlns:c16="http://schemas.microsoft.com/office/drawing/2014/chart" uri="{C3380CC4-5D6E-409C-BE32-E72D297353CC}">
                <c16:uniqueId val="{0000001E-981B-4B1E-B375-88E6F2E886CF}"/>
              </c:ext>
            </c:extLst>
          </c:dPt>
          <c:xVal>
            <c:numRef>
              <c:f>Sheet1!$A$2:$A$33</c:f>
              <c:numCache>
                <c:formatCode>General</c:formatCode>
                <c:ptCount val="32"/>
                <c:pt idx="0">
                  <c:v>66</c:v>
                </c:pt>
                <c:pt idx="1">
                  <c:v>77</c:v>
                </c:pt>
                <c:pt idx="2">
                  <c:v>70</c:v>
                </c:pt>
                <c:pt idx="3">
                  <c:v>67</c:v>
                </c:pt>
                <c:pt idx="4">
                  <c:v>53</c:v>
                </c:pt>
                <c:pt idx="5">
                  <c:v>56</c:v>
                </c:pt>
                <c:pt idx="6">
                  <c:v>50</c:v>
                </c:pt>
                <c:pt idx="7">
                  <c:v>44</c:v>
                </c:pt>
                <c:pt idx="8">
                  <c:v>74</c:v>
                </c:pt>
                <c:pt idx="9">
                  <c:v>76</c:v>
                </c:pt>
                <c:pt idx="10">
                  <c:v>73</c:v>
                </c:pt>
                <c:pt idx="11">
                  <c:v>66</c:v>
                </c:pt>
                <c:pt idx="12">
                  <c:v>70</c:v>
                </c:pt>
                <c:pt idx="13">
                  <c:v>74</c:v>
                </c:pt>
                <c:pt idx="14">
                  <c:v>65</c:v>
                </c:pt>
                <c:pt idx="15">
                  <c:v>51</c:v>
                </c:pt>
                <c:pt idx="16">
                  <c:v>66</c:v>
                </c:pt>
                <c:pt idx="17">
                  <c:v>68</c:v>
                </c:pt>
                <c:pt idx="18">
                  <c:v>61</c:v>
                </c:pt>
                <c:pt idx="19">
                  <c:v>49</c:v>
                </c:pt>
                <c:pt idx="20">
                  <c:v>75</c:v>
                </c:pt>
                <c:pt idx="21">
                  <c:v>80</c:v>
                </c:pt>
                <c:pt idx="22">
                  <c:v>77</c:v>
                </c:pt>
                <c:pt idx="23">
                  <c:v>73</c:v>
                </c:pt>
                <c:pt idx="24">
                  <c:v>48</c:v>
                </c:pt>
                <c:pt idx="25">
                  <c:v>54</c:v>
                </c:pt>
                <c:pt idx="26">
                  <c:v>50</c:v>
                </c:pt>
                <c:pt idx="27">
                  <c:v>51</c:v>
                </c:pt>
                <c:pt idx="28">
                  <c:v>41</c:v>
                </c:pt>
                <c:pt idx="29">
                  <c:v>53</c:v>
                </c:pt>
                <c:pt idx="30">
                  <c:v>44</c:v>
                </c:pt>
                <c:pt idx="31">
                  <c:v>30</c:v>
                </c:pt>
              </c:numCache>
            </c:numRef>
          </c:xVal>
          <c:yVal>
            <c:numRef>
              <c:f>Sheet1!$B$2:$B$33</c:f>
              <c:numCache>
                <c:formatCode>General</c:formatCode>
                <c:ptCount val="32"/>
                <c:pt idx="0">
                  <c:v>85</c:v>
                </c:pt>
                <c:pt idx="1">
                  <c:v>85</c:v>
                </c:pt>
                <c:pt idx="2">
                  <c:v>85</c:v>
                </c:pt>
                <c:pt idx="3">
                  <c:v>85</c:v>
                </c:pt>
                <c:pt idx="4">
                  <c:v>75</c:v>
                </c:pt>
                <c:pt idx="5">
                  <c:v>75</c:v>
                </c:pt>
                <c:pt idx="6">
                  <c:v>75</c:v>
                </c:pt>
                <c:pt idx="7">
                  <c:v>75</c:v>
                </c:pt>
                <c:pt idx="8">
                  <c:v>65</c:v>
                </c:pt>
                <c:pt idx="9">
                  <c:v>65</c:v>
                </c:pt>
                <c:pt idx="10">
                  <c:v>65</c:v>
                </c:pt>
                <c:pt idx="11">
                  <c:v>65</c:v>
                </c:pt>
                <c:pt idx="12">
                  <c:v>55</c:v>
                </c:pt>
                <c:pt idx="13">
                  <c:v>55</c:v>
                </c:pt>
                <c:pt idx="14">
                  <c:v>55</c:v>
                </c:pt>
                <c:pt idx="15">
                  <c:v>55</c:v>
                </c:pt>
                <c:pt idx="16">
                  <c:v>45</c:v>
                </c:pt>
                <c:pt idx="17">
                  <c:v>45</c:v>
                </c:pt>
                <c:pt idx="18">
                  <c:v>45</c:v>
                </c:pt>
                <c:pt idx="19">
                  <c:v>45</c:v>
                </c:pt>
                <c:pt idx="20">
                  <c:v>35</c:v>
                </c:pt>
                <c:pt idx="21">
                  <c:v>35</c:v>
                </c:pt>
                <c:pt idx="22">
                  <c:v>35</c:v>
                </c:pt>
                <c:pt idx="23">
                  <c:v>35</c:v>
                </c:pt>
                <c:pt idx="24">
                  <c:v>25</c:v>
                </c:pt>
                <c:pt idx="25">
                  <c:v>25</c:v>
                </c:pt>
                <c:pt idx="26">
                  <c:v>25</c:v>
                </c:pt>
                <c:pt idx="27">
                  <c:v>25</c:v>
                </c:pt>
                <c:pt idx="28">
                  <c:v>15</c:v>
                </c:pt>
                <c:pt idx="29">
                  <c:v>15</c:v>
                </c:pt>
                <c:pt idx="30">
                  <c:v>15</c:v>
                </c:pt>
                <c:pt idx="31">
                  <c:v>15</c:v>
                </c:pt>
              </c:numCache>
            </c:numRef>
          </c:yVal>
          <c:smooth val="0"/>
          <c:extLst>
            <c:ext xmlns:c16="http://schemas.microsoft.com/office/drawing/2014/chart" uri="{C3380CC4-5D6E-409C-BE32-E72D297353CC}">
              <c16:uniqueId val="{0000001F-981B-4B1E-B375-88E6F2E886CF}"/>
            </c:ext>
          </c:extLst>
        </c:ser>
        <c:dLbls>
          <c:showLegendKey val="0"/>
          <c:showVal val="0"/>
          <c:showCatName val="0"/>
          <c:showSerName val="0"/>
          <c:showPercent val="0"/>
          <c:showBubbleSize val="0"/>
        </c:dLbls>
        <c:axId val="1376733560"/>
        <c:axId val="1376733888"/>
      </c:scatterChart>
      <c:valAx>
        <c:axId val="1376733560"/>
        <c:scaling>
          <c:orientation val="minMax"/>
        </c:scaling>
        <c:delete val="1"/>
        <c:axPos val="b"/>
        <c:majorGridlines>
          <c:spPr>
            <a:ln w="9525" cap="flat" cmpd="sng" algn="ctr">
              <a:noFill/>
              <a:round/>
            </a:ln>
            <a:effectLst/>
          </c:spPr>
        </c:majorGridlines>
        <c:numFmt formatCode="General" sourceLinked="1"/>
        <c:majorTickMark val="out"/>
        <c:minorTickMark val="none"/>
        <c:tickLblPos val="nextTo"/>
        <c:crossAx val="1376733888"/>
        <c:crosses val="autoZero"/>
        <c:crossBetween val="midCat"/>
      </c:valAx>
      <c:valAx>
        <c:axId val="1376733888"/>
        <c:scaling>
          <c:orientation val="minMax"/>
        </c:scaling>
        <c:delete val="1"/>
        <c:axPos val="r"/>
        <c:majorGridlines>
          <c:spPr>
            <a:ln w="9525" cap="flat" cmpd="sng" algn="ctr">
              <a:solidFill>
                <a:schemeClr val="bg1">
                  <a:lumMod val="50000"/>
                  <a:lumOff val="50000"/>
                </a:schemeClr>
              </a:solidFill>
              <a:prstDash val="sysDash"/>
              <a:round/>
            </a:ln>
            <a:effectLst/>
          </c:spPr>
        </c:majorGridlines>
        <c:numFmt formatCode="General" sourceLinked="1"/>
        <c:majorTickMark val="out"/>
        <c:minorTickMark val="none"/>
        <c:tickLblPos val="nextTo"/>
        <c:crossAx val="1376733560"/>
        <c:crosses val="max"/>
        <c:crossBetween val="midCat"/>
      </c:valAx>
      <c:spPr>
        <a:solidFill>
          <a:srgbClr val="262626"/>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2.0772165951865946E-2"/>
          <c:y val="1.3770894561540776E-2"/>
          <c:w val="0.96484710377376537"/>
          <c:h val="0.98622903269820728"/>
        </c:manualLayout>
      </c:layout>
      <c:scatterChart>
        <c:scatterStyle val="lineMarker"/>
        <c:varyColors val="0"/>
        <c:ser>
          <c:idx val="0"/>
          <c:order val="0"/>
          <c:tx>
            <c:strRef>
              <c:f>Sheet1!$B$1</c:f>
              <c:strCache>
                <c:ptCount val="1"/>
                <c:pt idx="0">
                  <c:v>Y-Values</c:v>
                </c:pt>
              </c:strCache>
            </c:strRef>
          </c:tx>
          <c:spPr>
            <a:ln w="19050" cap="rnd">
              <a:noFill/>
              <a:round/>
            </a:ln>
            <a:effectLst/>
          </c:spPr>
          <c:marker>
            <c:symbol val="circle"/>
            <c:size val="24"/>
            <c:spPr>
              <a:solidFill>
                <a:srgbClr val="FFFF00"/>
              </a:solidFill>
              <a:ln w="25400">
                <a:solidFill>
                  <a:schemeClr val="bg1"/>
                </a:solidFill>
              </a:ln>
              <a:effectLst/>
            </c:spPr>
          </c:marker>
          <c:dPt>
            <c:idx val="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0-630F-48E7-9396-2B85EF3DC44A}"/>
              </c:ext>
            </c:extLst>
          </c:dPt>
          <c:dPt>
            <c:idx val="1"/>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1-630F-48E7-9396-2B85EF3DC44A}"/>
              </c:ext>
            </c:extLst>
          </c:dPt>
          <c:dPt>
            <c:idx val="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2-630F-48E7-9396-2B85EF3DC44A}"/>
              </c:ext>
            </c:extLst>
          </c:dPt>
          <c:dPt>
            <c:idx val="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3-630F-48E7-9396-2B85EF3DC44A}"/>
              </c:ext>
            </c:extLst>
          </c:dPt>
          <c:dPt>
            <c:idx val="4"/>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4-630F-48E7-9396-2B85EF3DC44A}"/>
              </c:ext>
            </c:extLst>
          </c:dPt>
          <c:dPt>
            <c:idx val="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5-630F-48E7-9396-2B85EF3DC44A}"/>
              </c:ext>
            </c:extLst>
          </c:dPt>
          <c:dPt>
            <c:idx val="6"/>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6-630F-48E7-9396-2B85EF3DC44A}"/>
              </c:ext>
            </c:extLst>
          </c:dPt>
          <c:dPt>
            <c:idx val="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7-630F-48E7-9396-2B85EF3DC44A}"/>
              </c:ext>
            </c:extLst>
          </c:dPt>
          <c:dPt>
            <c:idx val="8"/>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8-630F-48E7-9396-2B85EF3DC44A}"/>
              </c:ext>
            </c:extLst>
          </c:dPt>
          <c:dPt>
            <c:idx val="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9-630F-48E7-9396-2B85EF3DC44A}"/>
              </c:ext>
            </c:extLst>
          </c:dPt>
          <c:dPt>
            <c:idx val="10"/>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A-630F-48E7-9396-2B85EF3DC44A}"/>
              </c:ext>
            </c:extLst>
          </c:dPt>
          <c:dPt>
            <c:idx val="1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B-630F-48E7-9396-2B85EF3DC44A}"/>
              </c:ext>
            </c:extLst>
          </c:dPt>
          <c:dPt>
            <c:idx val="12"/>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C-630F-48E7-9396-2B85EF3DC44A}"/>
              </c:ext>
            </c:extLst>
          </c:dPt>
          <c:dPt>
            <c:idx val="14"/>
            <c:marker>
              <c:symbol val="circle"/>
              <c:size val="24"/>
              <c:spPr>
                <a:solidFill>
                  <a:srgbClr val="3282BE"/>
                </a:solidFill>
                <a:ln w="25400">
                  <a:solidFill>
                    <a:schemeClr val="bg1"/>
                  </a:solidFill>
                </a:ln>
                <a:effectLst/>
              </c:spPr>
            </c:marker>
            <c:bubble3D val="0"/>
            <c:extLst>
              <c:ext xmlns:c16="http://schemas.microsoft.com/office/drawing/2014/chart" uri="{C3380CC4-5D6E-409C-BE32-E72D297353CC}">
                <c16:uniqueId val="{0000000D-630F-48E7-9396-2B85EF3DC44A}"/>
              </c:ext>
            </c:extLst>
          </c:dPt>
          <c:dPt>
            <c:idx val="1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E-630F-48E7-9396-2B85EF3DC44A}"/>
              </c:ext>
            </c:extLst>
          </c:dPt>
          <c:dPt>
            <c:idx val="16"/>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0F-630F-48E7-9396-2B85EF3DC44A}"/>
              </c:ext>
            </c:extLst>
          </c:dPt>
          <c:dPt>
            <c:idx val="1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0-630F-48E7-9396-2B85EF3DC44A}"/>
              </c:ext>
            </c:extLst>
          </c:dPt>
          <c:dPt>
            <c:idx val="18"/>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1-630F-48E7-9396-2B85EF3DC44A}"/>
              </c:ext>
            </c:extLst>
          </c:dPt>
          <c:dPt>
            <c:idx val="1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2-630F-48E7-9396-2B85EF3DC44A}"/>
              </c:ext>
            </c:extLst>
          </c:dPt>
          <c:dPt>
            <c:idx val="2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3-630F-48E7-9396-2B85EF3DC44A}"/>
              </c:ext>
            </c:extLst>
          </c:dPt>
          <c:dPt>
            <c:idx val="2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4-630F-48E7-9396-2B85EF3DC44A}"/>
              </c:ext>
            </c:extLst>
          </c:dPt>
          <c:dPt>
            <c:idx val="22"/>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5-630F-48E7-9396-2B85EF3DC44A}"/>
              </c:ext>
            </c:extLst>
          </c:dPt>
          <c:dPt>
            <c:idx val="23"/>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6-630F-48E7-9396-2B85EF3DC44A}"/>
              </c:ext>
            </c:extLst>
          </c:dPt>
          <c:dPt>
            <c:idx val="24"/>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7-630F-48E7-9396-2B85EF3DC44A}"/>
              </c:ext>
            </c:extLst>
          </c:dPt>
          <c:dPt>
            <c:idx val="25"/>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8-630F-48E7-9396-2B85EF3DC44A}"/>
              </c:ext>
            </c:extLst>
          </c:dPt>
          <c:dPt>
            <c:idx val="26"/>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9-630F-48E7-9396-2B85EF3DC44A}"/>
              </c:ext>
            </c:extLst>
          </c:dPt>
          <c:dPt>
            <c:idx val="27"/>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A-630F-48E7-9396-2B85EF3DC44A}"/>
              </c:ext>
            </c:extLst>
          </c:dPt>
          <c:dPt>
            <c:idx val="28"/>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B-630F-48E7-9396-2B85EF3DC44A}"/>
              </c:ext>
            </c:extLst>
          </c:dPt>
          <c:dPt>
            <c:idx val="29"/>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C-630F-48E7-9396-2B85EF3DC44A}"/>
              </c:ext>
            </c:extLst>
          </c:dPt>
          <c:dPt>
            <c:idx val="30"/>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D-630F-48E7-9396-2B85EF3DC44A}"/>
              </c:ext>
            </c:extLst>
          </c:dPt>
          <c:dPt>
            <c:idx val="31"/>
            <c:marker>
              <c:symbol val="circle"/>
              <c:size val="24"/>
              <c:spPr>
                <a:solidFill>
                  <a:srgbClr val="FFFF00"/>
                </a:solidFill>
                <a:ln w="25400">
                  <a:solidFill>
                    <a:schemeClr val="bg1"/>
                  </a:solidFill>
                </a:ln>
                <a:effectLst/>
              </c:spPr>
            </c:marker>
            <c:bubble3D val="0"/>
            <c:extLst>
              <c:ext xmlns:c16="http://schemas.microsoft.com/office/drawing/2014/chart" uri="{C3380CC4-5D6E-409C-BE32-E72D297353CC}">
                <c16:uniqueId val="{0000001E-630F-48E7-9396-2B85EF3DC44A}"/>
              </c:ext>
            </c:extLst>
          </c:dPt>
          <c:xVal>
            <c:numRef>
              <c:f>Sheet1!$A$2:$A$17</c:f>
              <c:numCache>
                <c:formatCode>General</c:formatCode>
                <c:ptCount val="16"/>
                <c:pt idx="0">
                  <c:v>70</c:v>
                </c:pt>
                <c:pt idx="1">
                  <c:v>70.400000000000006</c:v>
                </c:pt>
                <c:pt idx="2">
                  <c:v>49</c:v>
                </c:pt>
                <c:pt idx="3">
                  <c:v>55</c:v>
                </c:pt>
                <c:pt idx="4">
                  <c:v>69</c:v>
                </c:pt>
                <c:pt idx="5">
                  <c:v>77</c:v>
                </c:pt>
                <c:pt idx="6">
                  <c:v>65</c:v>
                </c:pt>
                <c:pt idx="7">
                  <c:v>71</c:v>
                </c:pt>
                <c:pt idx="8">
                  <c:v>61</c:v>
                </c:pt>
                <c:pt idx="9">
                  <c:v>67</c:v>
                </c:pt>
                <c:pt idx="10">
                  <c:v>75</c:v>
                </c:pt>
                <c:pt idx="11">
                  <c:v>77</c:v>
                </c:pt>
                <c:pt idx="12">
                  <c:v>54</c:v>
                </c:pt>
                <c:pt idx="13">
                  <c:v>45</c:v>
                </c:pt>
                <c:pt idx="14">
                  <c:v>42</c:v>
                </c:pt>
                <c:pt idx="15">
                  <c:v>44</c:v>
                </c:pt>
              </c:numCache>
            </c:numRef>
          </c:xVal>
          <c:yVal>
            <c:numRef>
              <c:f>Sheet1!$B$2:$B$17</c:f>
              <c:numCache>
                <c:formatCode>General</c:formatCode>
                <c:ptCount val="16"/>
                <c:pt idx="0">
                  <c:v>85</c:v>
                </c:pt>
                <c:pt idx="1">
                  <c:v>85</c:v>
                </c:pt>
                <c:pt idx="2">
                  <c:v>75</c:v>
                </c:pt>
                <c:pt idx="3">
                  <c:v>75</c:v>
                </c:pt>
                <c:pt idx="4">
                  <c:v>65</c:v>
                </c:pt>
                <c:pt idx="5">
                  <c:v>65</c:v>
                </c:pt>
                <c:pt idx="6">
                  <c:v>55</c:v>
                </c:pt>
                <c:pt idx="7">
                  <c:v>55</c:v>
                </c:pt>
                <c:pt idx="8">
                  <c:v>45</c:v>
                </c:pt>
                <c:pt idx="9">
                  <c:v>45</c:v>
                </c:pt>
                <c:pt idx="10">
                  <c:v>35</c:v>
                </c:pt>
                <c:pt idx="11">
                  <c:v>35</c:v>
                </c:pt>
                <c:pt idx="12">
                  <c:v>25</c:v>
                </c:pt>
                <c:pt idx="13">
                  <c:v>25</c:v>
                </c:pt>
                <c:pt idx="14">
                  <c:v>15</c:v>
                </c:pt>
                <c:pt idx="15">
                  <c:v>15</c:v>
                </c:pt>
              </c:numCache>
            </c:numRef>
          </c:yVal>
          <c:smooth val="0"/>
          <c:extLst>
            <c:ext xmlns:c16="http://schemas.microsoft.com/office/drawing/2014/chart" uri="{C3380CC4-5D6E-409C-BE32-E72D297353CC}">
              <c16:uniqueId val="{0000001F-630F-48E7-9396-2B85EF3DC44A}"/>
            </c:ext>
          </c:extLst>
        </c:ser>
        <c:dLbls>
          <c:showLegendKey val="0"/>
          <c:showVal val="0"/>
          <c:showCatName val="0"/>
          <c:showSerName val="0"/>
          <c:showPercent val="0"/>
          <c:showBubbleSize val="0"/>
        </c:dLbls>
        <c:axId val="1376733560"/>
        <c:axId val="1376733888"/>
      </c:scatterChart>
      <c:valAx>
        <c:axId val="1376733560"/>
        <c:scaling>
          <c:orientation val="minMax"/>
        </c:scaling>
        <c:delete val="1"/>
        <c:axPos val="b"/>
        <c:majorGridlines>
          <c:spPr>
            <a:ln w="9525" cap="flat" cmpd="sng" algn="ctr">
              <a:noFill/>
              <a:round/>
            </a:ln>
            <a:effectLst/>
          </c:spPr>
        </c:majorGridlines>
        <c:numFmt formatCode="General" sourceLinked="1"/>
        <c:majorTickMark val="out"/>
        <c:minorTickMark val="none"/>
        <c:tickLblPos val="nextTo"/>
        <c:crossAx val="1376733888"/>
        <c:crosses val="autoZero"/>
        <c:crossBetween val="midCat"/>
      </c:valAx>
      <c:valAx>
        <c:axId val="1376733888"/>
        <c:scaling>
          <c:orientation val="minMax"/>
        </c:scaling>
        <c:delete val="1"/>
        <c:axPos val="r"/>
        <c:majorGridlines>
          <c:spPr>
            <a:ln w="9525" cap="flat" cmpd="sng" algn="ctr">
              <a:solidFill>
                <a:schemeClr val="bg1">
                  <a:lumMod val="50000"/>
                  <a:lumOff val="50000"/>
                </a:schemeClr>
              </a:solidFill>
              <a:prstDash val="sysDash"/>
              <a:round/>
            </a:ln>
            <a:effectLst/>
          </c:spPr>
        </c:majorGridlines>
        <c:numFmt formatCode="General" sourceLinked="1"/>
        <c:majorTickMark val="out"/>
        <c:minorTickMark val="none"/>
        <c:tickLblPos val="nextTo"/>
        <c:crossAx val="1376733560"/>
        <c:crosses val="max"/>
        <c:crossBetween val="midCat"/>
      </c:valAx>
      <c:spPr>
        <a:solidFill>
          <a:srgbClr val="262626"/>
        </a:solid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defRPr>
      </a:pPr>
      <a:endParaRPr lang="en-US"/>
    </a:p>
  </c:txPr>
  <c:externalData r:id="rId3">
    <c:autoUpdate val="0"/>
  </c:externalData>
  <c:userShapes r:id="rId4"/>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194444444444448E-2"/>
          <c:y val="3.6112025759532582E-3"/>
          <c:w val="0.92361111111111116"/>
          <c:h val="0.86593046432508691"/>
        </c:manualLayout>
      </c:layout>
      <c:lineChart>
        <c:grouping val="standard"/>
        <c:varyColors val="0"/>
        <c:ser>
          <c:idx val="1"/>
          <c:order val="1"/>
          <c:tx>
            <c:strRef>
              <c:f>Sheet1!$A$3</c:f>
              <c:strCache>
                <c:ptCount val="1"/>
                <c:pt idx="0">
                  <c:v>Sexting (any)</c:v>
                </c:pt>
              </c:strCache>
            </c:strRef>
          </c:tx>
          <c:spPr>
            <a:ln w="76200" cap="rnd">
              <a:solidFill>
                <a:srgbClr val="3282BE">
                  <a:alpha val="60000"/>
                </a:srgbClr>
              </a:solidFill>
              <a:round/>
            </a:ln>
            <a:effectLst/>
          </c:spPr>
          <c:marker>
            <c:symbol val="circle"/>
            <c:size val="11"/>
            <c:spPr>
              <a:solidFill>
                <a:schemeClr val="tx1"/>
              </a:solidFill>
              <a:ln w="12700">
                <a:solidFill>
                  <a:srgbClr val="FFB9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2-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11-C8E0-45C0-98A5-D3EF3747DAB8}"/>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24</c:v>
                </c:pt>
                <c:pt idx="1">
                  <c:v>0.26</c:v>
                </c:pt>
                <c:pt idx="2">
                  <c:v>0.25</c:v>
                </c:pt>
                <c:pt idx="3">
                  <c:v>0.26300000000000001</c:v>
                </c:pt>
              </c:numCache>
            </c:numRef>
          </c:val>
          <c:smooth val="0"/>
          <c:extLst>
            <c:ext xmlns:c16="http://schemas.microsoft.com/office/drawing/2014/chart" uri="{C3380CC4-5D6E-409C-BE32-E72D297353CC}">
              <c16:uniqueId val="{00000003-C8E0-45C0-98A5-D3EF3747DAB8}"/>
            </c:ext>
          </c:extLst>
        </c:ser>
        <c:ser>
          <c:idx val="2"/>
          <c:order val="2"/>
          <c:tx>
            <c:strRef>
              <c:f>Sheet1!$A$4</c:f>
              <c:strCache>
                <c:ptCount val="1"/>
                <c:pt idx="0">
                  <c:v>Unwanted sexual attention</c:v>
                </c:pt>
              </c:strCache>
            </c:strRef>
          </c:tx>
          <c:spPr>
            <a:ln w="76200" cap="rnd">
              <a:solidFill>
                <a:srgbClr val="28608C">
                  <a:alpha val="60000"/>
                </a:srgbClr>
              </a:solidFill>
              <a:round/>
            </a:ln>
            <a:effectLst/>
          </c:spPr>
          <c:marker>
            <c:symbol val="circle"/>
            <c:size val="11"/>
            <c:spPr>
              <a:solidFill>
                <a:schemeClr val="tx1"/>
              </a:solidFill>
              <a:ln w="12700">
                <a:solidFill>
                  <a:schemeClr val="accent3"/>
                </a:solidFill>
                <a:round/>
              </a:ln>
              <a:effectLst/>
            </c:spPr>
          </c:marker>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4:$E$4</c:f>
              <c:numCache>
                <c:formatCode>General</c:formatCode>
                <c:ptCount val="4"/>
                <c:pt idx="2" formatCode="0%">
                  <c:v>0.16</c:v>
                </c:pt>
                <c:pt idx="3" formatCode="0%">
                  <c:v>0.17699999999999999</c:v>
                </c:pt>
              </c:numCache>
            </c:numRef>
          </c:val>
          <c:smooth val="0"/>
          <c:extLst>
            <c:ext xmlns:c16="http://schemas.microsoft.com/office/drawing/2014/chart" uri="{C3380CC4-5D6E-409C-BE32-E72D297353CC}">
              <c16:uniqueId val="{00000004-C8E0-45C0-98A5-D3EF3747DAB8}"/>
            </c:ext>
          </c:extLst>
        </c:ser>
        <c:ser>
          <c:idx val="3"/>
          <c:order val="3"/>
          <c:tx>
            <c:strRef>
              <c:f>Sheet1!$A$5</c:f>
              <c:strCache>
                <c:ptCount val="1"/>
                <c:pt idx="0">
                  <c:v>Sexual solicitation</c:v>
                </c:pt>
              </c:strCache>
            </c:strRef>
          </c:tx>
          <c:spPr>
            <a:ln w="76200" cap="rnd">
              <a:solidFill>
                <a:srgbClr val="2CB8AE">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Pt>
            <c:idx val="2"/>
            <c:marker>
              <c:symbol val="circle"/>
              <c:size val="11"/>
              <c:spPr>
                <a:solidFill>
                  <a:schemeClr val="tx1"/>
                </a:solidFill>
                <a:ln w="12700">
                  <a:solidFill>
                    <a:schemeClr val="bg1">
                      <a:lumMod val="50000"/>
                      <a:lumOff val="50000"/>
                    </a:schemeClr>
                  </a:solidFill>
                  <a:round/>
                </a:ln>
                <a:effectLst/>
              </c:spPr>
            </c:marker>
            <c:bubble3D val="0"/>
            <c:spPr>
              <a:ln w="76200" cap="rnd">
                <a:solidFill>
                  <a:srgbClr val="2CB8AE">
                    <a:alpha val="60000"/>
                  </a:srgbClr>
                </a:solidFill>
                <a:round/>
              </a:ln>
              <a:effectLst/>
            </c:spPr>
            <c:extLst>
              <c:ext xmlns:c16="http://schemas.microsoft.com/office/drawing/2014/chart" uri="{C3380CC4-5D6E-409C-BE32-E72D297353CC}">
                <c16:uniqueId val="{00000006-C8E0-45C0-98A5-D3EF3747DAB8}"/>
              </c:ext>
            </c:extLst>
          </c:dPt>
          <c:dLbls>
            <c:dLbl>
              <c:idx val="1"/>
              <c:delete val="1"/>
              <c:extLst>
                <c:ext xmlns:c15="http://schemas.microsoft.com/office/drawing/2012/chart" uri="{CE6537A1-D6FC-4f65-9D91-7224C49458BB}"/>
                <c:ext xmlns:c16="http://schemas.microsoft.com/office/drawing/2014/chart" uri="{C3380CC4-5D6E-409C-BE32-E72D297353CC}">
                  <c16:uniqueId val="{00000007-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06-C8E0-45C0-98A5-D3EF3747DAB8}"/>
                </c:ext>
              </c:extLst>
            </c:dLbl>
            <c:dLbl>
              <c:idx val="3"/>
              <c:layout>
                <c:manualLayout>
                  <c:x val="-9.0684275228364461E-2"/>
                  <c:y val="-3.4993455948198596E-2"/>
                </c:manualLayout>
              </c:layout>
              <c:dLblPos val="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55C-4968-94EF-DDE8DE38B99F}"/>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5:$E$5</c:f>
              <c:numCache>
                <c:formatCode>0%</c:formatCode>
                <c:ptCount val="4"/>
                <c:pt idx="0">
                  <c:v>0.14000000000000001</c:v>
                </c:pt>
                <c:pt idx="1">
                  <c:v>0.16</c:v>
                </c:pt>
                <c:pt idx="2">
                  <c:v>0.15</c:v>
                </c:pt>
                <c:pt idx="3">
                  <c:v>0.1447</c:v>
                </c:pt>
              </c:numCache>
            </c:numRef>
          </c:val>
          <c:smooth val="0"/>
          <c:extLst>
            <c:ext xmlns:c16="http://schemas.microsoft.com/office/drawing/2014/chart" uri="{C3380CC4-5D6E-409C-BE32-E72D297353CC}">
              <c16:uniqueId val="{00000008-C8E0-45C0-98A5-D3EF3747DAB8}"/>
            </c:ext>
          </c:extLst>
        </c:ser>
        <c:ser>
          <c:idx val="4"/>
          <c:order val="4"/>
          <c:tx>
            <c:strRef>
              <c:f>Sheet1!$A$6</c:f>
              <c:strCache>
                <c:ptCount val="1"/>
                <c:pt idx="0">
                  <c:v>Sextortion</c:v>
                </c:pt>
              </c:strCache>
            </c:strRef>
          </c:tx>
          <c:spPr>
            <a:ln w="76200" cap="rnd">
              <a:solidFill>
                <a:srgbClr val="2CB8AE"/>
              </a:solidFill>
              <a:round/>
            </a:ln>
            <a:effectLst/>
          </c:spPr>
          <c:marker>
            <c:symbol val="circle"/>
            <c:size val="11"/>
            <c:spPr>
              <a:solidFill>
                <a:schemeClr val="tx1"/>
              </a:solidFill>
              <a:ln w="12700">
                <a:solidFill>
                  <a:schemeClr val="bg1">
                    <a:lumMod val="50000"/>
                    <a:lumOff val="50000"/>
                  </a:schemeClr>
                </a:solidFill>
                <a:round/>
              </a:ln>
              <a:effectLst/>
            </c:spPr>
          </c:marker>
          <c:dLbls>
            <c:dLbl>
              <c:idx val="0"/>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2-7323-4BD3-86FA-2DE411657923}"/>
                </c:ext>
              </c:extLst>
            </c:dLbl>
            <c:dLbl>
              <c:idx val="1"/>
              <c:delete val="1"/>
              <c:extLst>
                <c:ext xmlns:c15="http://schemas.microsoft.com/office/drawing/2012/chart" uri="{CE6537A1-D6FC-4f65-9D91-7224C49458BB}"/>
                <c:ext xmlns:c16="http://schemas.microsoft.com/office/drawing/2014/chart" uri="{C3380CC4-5D6E-409C-BE32-E72D297353CC}">
                  <c16:uniqueId val="{0000000A-C8E0-45C0-98A5-D3EF3747DAB8}"/>
                </c:ext>
              </c:extLst>
            </c:dLbl>
            <c:dLbl>
              <c:idx val="2"/>
              <c:delete val="1"/>
              <c:extLst>
                <c:ext xmlns:c15="http://schemas.microsoft.com/office/drawing/2012/chart" uri="{CE6537A1-D6FC-4f65-9D91-7224C49458BB}"/>
                <c:ext xmlns:c16="http://schemas.microsoft.com/office/drawing/2014/chart" uri="{C3380CC4-5D6E-409C-BE32-E72D297353CC}">
                  <c16:uniqueId val="{0000000B-C8E0-45C0-98A5-D3EF3747DAB8}"/>
                </c:ext>
              </c:extLst>
            </c:dLbl>
            <c:dLbl>
              <c:idx val="3"/>
              <c:numFmt formatCode="0%" sourceLinked="0"/>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3-7323-4BD3-86FA-2DE411657923}"/>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B$1:$E$1</c:f>
              <c:strCache>
                <c:ptCount val="4"/>
                <c:pt idx="0">
                  <c:v>2016</c:v>
                </c:pt>
                <c:pt idx="1">
                  <c:v>2017*</c:v>
                </c:pt>
                <c:pt idx="2">
                  <c:v>2018*</c:v>
                </c:pt>
                <c:pt idx="3">
                  <c:v>2019*</c:v>
                </c:pt>
              </c:strCache>
            </c:strRef>
          </c:cat>
          <c:val>
            <c:numRef>
              <c:f>Sheet1!$B$6:$E$6</c:f>
              <c:numCache>
                <c:formatCode>0.0%</c:formatCode>
                <c:ptCount val="4"/>
                <c:pt idx="0">
                  <c:v>3.3000000000000002E-2</c:v>
                </c:pt>
                <c:pt idx="1">
                  <c:v>2.63E-2</c:v>
                </c:pt>
                <c:pt idx="2">
                  <c:v>2.4799999999999999E-2</c:v>
                </c:pt>
                <c:pt idx="3">
                  <c:v>0.04</c:v>
                </c:pt>
              </c:numCache>
            </c:numRef>
          </c:val>
          <c:smooth val="0"/>
          <c:extLst>
            <c:ext xmlns:c16="http://schemas.microsoft.com/office/drawing/2014/chart" uri="{C3380CC4-5D6E-409C-BE32-E72D297353CC}">
              <c16:uniqueId val="{0000000C-C8E0-45C0-98A5-D3EF3747DAB8}"/>
            </c:ext>
          </c:extLst>
        </c:ser>
        <c:ser>
          <c:idx val="5"/>
          <c:order val="5"/>
          <c:tx>
            <c:strRef>
              <c:f>Sheet1!$A$7</c:f>
              <c:strCache>
                <c:ptCount val="1"/>
                <c:pt idx="0">
                  <c:v>Revenge porn</c:v>
                </c:pt>
              </c:strCache>
            </c:strRef>
          </c:tx>
          <c:spPr>
            <a:ln w="76200" cap="rnd">
              <a:solidFill>
                <a:srgbClr val="5CBE7A"/>
              </a:solidFill>
              <a:round/>
            </a:ln>
            <a:effectLst/>
          </c:spPr>
          <c:marker>
            <c:symbol val="circle"/>
            <c:size val="11"/>
            <c:spPr>
              <a:solidFill>
                <a:schemeClr val="tx1"/>
              </a:solidFill>
              <a:ln w="12700">
                <a:solidFill>
                  <a:srgbClr val="FF8C00"/>
                </a:solidFill>
                <a:round/>
              </a:ln>
              <a:effectLst/>
            </c:spPr>
          </c:marker>
          <c:dLbls>
            <c:delete val="1"/>
          </c:dLbls>
          <c:val>
            <c:numRef>
              <c:f>Sheet1!$B$7:$E$7</c:f>
              <c:numCache>
                <c:formatCode>0.0%</c:formatCode>
                <c:ptCount val="4"/>
                <c:pt idx="0">
                  <c:v>2.8000000000000001E-2</c:v>
                </c:pt>
                <c:pt idx="1">
                  <c:v>2.0299999999999999E-2</c:v>
                </c:pt>
                <c:pt idx="2">
                  <c:v>2.4E-2</c:v>
                </c:pt>
                <c:pt idx="3">
                  <c:v>3.7999999999999999E-2</c:v>
                </c:pt>
              </c:numCache>
            </c:numRef>
          </c:val>
          <c:smooth val="0"/>
          <c:extLst>
            <c:ext xmlns:c16="http://schemas.microsoft.com/office/drawing/2014/chart" uri="{C3380CC4-5D6E-409C-BE32-E72D297353CC}">
              <c16:uniqueId val="{00000005-255C-4968-94EF-DDE8DE38B99F}"/>
            </c:ext>
          </c:extLst>
        </c:ser>
        <c:dLbls>
          <c:showLegendKey val="0"/>
          <c:showVal val="1"/>
          <c:showCatName val="0"/>
          <c:showSerName val="0"/>
          <c:showPercent val="0"/>
          <c:showBubbleSize val="0"/>
        </c:dLbls>
        <c:marker val="1"/>
        <c:smooth val="0"/>
        <c:axId val="830347024"/>
        <c:axId val="830348336"/>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Sexual risks</c:v>
                      </c:pt>
                    </c:strCache>
                  </c:strRef>
                </c:tx>
                <c:spPr>
                  <a:ln w="127000" cap="rnd">
                    <a:solidFill>
                      <a:srgbClr val="002050">
                        <a:alpha val="80000"/>
                      </a:srgbClr>
                    </a:solidFill>
                    <a:round/>
                  </a:ln>
                  <a:effectLst/>
                </c:spPr>
                <c:marker>
                  <c:symbol val="circle"/>
                  <c:size val="14"/>
                  <c:spPr>
                    <a:solidFill>
                      <a:schemeClr val="tx1"/>
                    </a:solidFill>
                    <a:ln w="12700">
                      <a:solidFill>
                        <a:srgbClr val="002050"/>
                      </a:solidFill>
                      <a:round/>
                    </a:ln>
                    <a:effectLst/>
                  </c:spPr>
                </c:marker>
                <c:dLbls>
                  <c:dLbl>
                    <c:idx val="0"/>
                    <c:dLblPos val="l"/>
                    <c:showLegendKey val="0"/>
                    <c:showVal val="1"/>
                    <c:showCatName val="0"/>
                    <c:showSerName val="0"/>
                    <c:showPercent val="0"/>
                    <c:showBubbleSize val="0"/>
                    <c:extLst>
                      <c:ext uri="{CE6537A1-D6FC-4f65-9D91-7224C49458BB}"/>
                      <c:ext xmlns:c16="http://schemas.microsoft.com/office/drawing/2014/chart" uri="{C3380CC4-5D6E-409C-BE32-E72D297353CC}">
                        <c16:uniqueId val="{00000004-1681-43A8-8422-27C96025C29E}"/>
                      </c:ext>
                    </c:extLst>
                  </c:dLbl>
                  <c:dLbl>
                    <c:idx val="1"/>
                    <c:delete val="1"/>
                    <c:extLst>
                      <c:ext uri="{CE6537A1-D6FC-4f65-9D91-7224C49458BB}"/>
                      <c:ext xmlns:c16="http://schemas.microsoft.com/office/drawing/2014/chart" uri="{C3380CC4-5D6E-409C-BE32-E72D297353CC}">
                        <c16:uniqueId val="{00000000-C8E0-45C0-98A5-D3EF3747DAB8}"/>
                      </c:ext>
                    </c:extLst>
                  </c:dLbl>
                  <c:dLbl>
                    <c:idx val="2"/>
                    <c:delete val="1"/>
                    <c:extLst>
                      <c:ext uri="{CE6537A1-D6FC-4f65-9D91-7224C49458BB}"/>
                      <c:ext xmlns:c16="http://schemas.microsoft.com/office/drawing/2014/chart" uri="{C3380CC4-5D6E-409C-BE32-E72D297353CC}">
                        <c16:uniqueId val="{00000010-C8E0-45C0-98A5-D3EF3747DAB8}"/>
                      </c:ext>
                    </c:extLst>
                  </c:dLbl>
                  <c:dLbl>
                    <c:idx val="3"/>
                    <c:dLblPos val="r"/>
                    <c:showLegendKey val="0"/>
                    <c:showVal val="1"/>
                    <c:showCatName val="0"/>
                    <c:showSerName val="0"/>
                    <c:showPercent val="0"/>
                    <c:showBubbleSize val="0"/>
                    <c:extLst>
                      <c:ext uri="{CE6537A1-D6FC-4f65-9D91-7224C49458BB}"/>
                      <c:ext xmlns:c16="http://schemas.microsoft.com/office/drawing/2014/chart" uri="{C3380CC4-5D6E-409C-BE32-E72D297353CC}">
                        <c16:uniqueId val="{00000002-64C8-46D7-AD5F-821C10A024AB}"/>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B$1:$E$1</c15:sqref>
                        </c15:formulaRef>
                      </c:ext>
                    </c:extLst>
                    <c:strCache>
                      <c:ptCount val="4"/>
                      <c:pt idx="0">
                        <c:v>2016</c:v>
                      </c:pt>
                      <c:pt idx="1">
                        <c:v>2017*</c:v>
                      </c:pt>
                      <c:pt idx="2">
                        <c:v>2018*</c:v>
                      </c:pt>
                      <c:pt idx="3">
                        <c:v>2019*</c:v>
                      </c:pt>
                    </c:strCache>
                  </c:strRef>
                </c:cat>
                <c:val>
                  <c:numRef>
                    <c:extLst>
                      <c:ext uri="{02D57815-91ED-43cb-92C2-25804820EDAC}">
                        <c15:formulaRef>
                          <c15:sqref>Sheet1!$B$2:$E$2</c15:sqref>
                        </c15:formulaRef>
                      </c:ext>
                    </c:extLst>
                    <c:numCache>
                      <c:formatCode>0%</c:formatCode>
                      <c:ptCount val="4"/>
                      <c:pt idx="0">
                        <c:v>0.3</c:v>
                      </c:pt>
                      <c:pt idx="1">
                        <c:v>0.32</c:v>
                      </c:pt>
                      <c:pt idx="2">
                        <c:v>0.34</c:v>
                      </c:pt>
                      <c:pt idx="3">
                        <c:v>0.37</c:v>
                      </c:pt>
                    </c:numCache>
                  </c:numRef>
                </c:val>
                <c:smooth val="0"/>
                <c:extLst>
                  <c:ext xmlns:c16="http://schemas.microsoft.com/office/drawing/2014/chart" uri="{C3380CC4-5D6E-409C-BE32-E72D297353CC}">
                    <c16:uniqueId val="{00000001-C8E0-45C0-98A5-D3EF3747DAB8}"/>
                  </c:ext>
                </c:extLst>
              </c15:ser>
            </c15:filteredLineSeries>
          </c:ext>
        </c:extLst>
      </c:lineChart>
      <c:catAx>
        <c:axId val="83034702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830348336"/>
        <c:crosses val="autoZero"/>
        <c:auto val="1"/>
        <c:lblAlgn val="ctr"/>
        <c:lblOffset val="100"/>
        <c:noMultiLvlLbl val="0"/>
      </c:catAx>
      <c:valAx>
        <c:axId val="830348336"/>
        <c:scaling>
          <c:orientation val="minMax"/>
          <c:max val="0.30000000000000004"/>
          <c:min val="0"/>
        </c:scaling>
        <c:delete val="1"/>
        <c:axPos val="l"/>
        <c:numFmt formatCode="0%" sourceLinked="1"/>
        <c:majorTickMark val="out"/>
        <c:minorTickMark val="none"/>
        <c:tickLblPos val="nextTo"/>
        <c:crossAx val="83034702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E$1</c:f>
              <c:strCache>
                <c:ptCount val="1"/>
                <c:pt idx="0">
                  <c:v>2019</c:v>
                </c:pt>
              </c:strCache>
            </c:strRef>
          </c:tx>
          <c:spPr>
            <a:solidFill>
              <a:srgbClr val="262626"/>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6</c:f>
              <c:strCache>
                <c:ptCount val="25"/>
                <c:pt idx="0">
                  <c:v>UK</c:v>
                </c:pt>
                <c:pt idx="1">
                  <c:v>NE</c:v>
                </c:pt>
                <c:pt idx="2">
                  <c:v>DE</c:v>
                </c:pt>
                <c:pt idx="3">
                  <c:v>MY</c:v>
                </c:pt>
                <c:pt idx="4">
                  <c:v>US</c:v>
                </c:pt>
                <c:pt idx="5">
                  <c:v>CA</c:v>
                </c:pt>
                <c:pt idx="6">
                  <c:v>FR</c:v>
                </c:pt>
                <c:pt idx="7">
                  <c:v>SG</c:v>
                </c:pt>
                <c:pt idx="8">
                  <c:v>BE</c:v>
                </c:pt>
                <c:pt idx="9">
                  <c:v>IT</c:v>
                </c:pt>
                <c:pt idx="10">
                  <c:v>ID</c:v>
                </c:pt>
                <c:pt idx="11">
                  <c:v>IE</c:v>
                </c:pt>
                <c:pt idx="12">
                  <c:v>IN</c:v>
                </c:pt>
                <c:pt idx="13">
                  <c:v>PL</c:v>
                </c:pt>
                <c:pt idx="14">
                  <c:v>BR</c:v>
                </c:pt>
                <c:pt idx="15">
                  <c:v>TU</c:v>
                </c:pt>
                <c:pt idx="16">
                  <c:v>MX</c:v>
                </c:pt>
                <c:pt idx="17">
                  <c:v>CL</c:v>
                </c:pt>
                <c:pt idx="18">
                  <c:v>AR </c:v>
                </c:pt>
                <c:pt idx="19">
                  <c:v>HU</c:v>
                </c:pt>
                <c:pt idx="20">
                  <c:v>VN</c:v>
                </c:pt>
                <c:pt idx="21">
                  <c:v>RU</c:v>
                </c:pt>
                <c:pt idx="22">
                  <c:v>CO</c:v>
                </c:pt>
                <c:pt idx="23">
                  <c:v>PE</c:v>
                </c:pt>
                <c:pt idx="24">
                  <c:v>SA</c:v>
                </c:pt>
              </c:strCache>
            </c:strRef>
          </c:cat>
          <c:val>
            <c:numRef>
              <c:f>Sheet1!$E$2:$E$26</c:f>
              <c:numCache>
                <c:formatCode>General</c:formatCode>
                <c:ptCount val="25"/>
                <c:pt idx="0">
                  <c:v>52</c:v>
                </c:pt>
                <c:pt idx="1">
                  <c:v>56</c:v>
                </c:pt>
                <c:pt idx="2">
                  <c:v>58</c:v>
                </c:pt>
                <c:pt idx="3">
                  <c:v>59</c:v>
                </c:pt>
                <c:pt idx="4">
                  <c:v>60</c:v>
                </c:pt>
                <c:pt idx="5">
                  <c:v>60</c:v>
                </c:pt>
                <c:pt idx="6">
                  <c:v>62</c:v>
                </c:pt>
                <c:pt idx="7">
                  <c:v>63</c:v>
                </c:pt>
                <c:pt idx="8">
                  <c:v>66</c:v>
                </c:pt>
                <c:pt idx="9">
                  <c:v>66</c:v>
                </c:pt>
                <c:pt idx="10">
                  <c:v>67</c:v>
                </c:pt>
                <c:pt idx="11">
                  <c:v>70</c:v>
                </c:pt>
                <c:pt idx="12">
                  <c:v>71</c:v>
                </c:pt>
                <c:pt idx="13">
                  <c:v>72</c:v>
                </c:pt>
                <c:pt idx="14">
                  <c:v>72</c:v>
                </c:pt>
                <c:pt idx="15">
                  <c:v>73</c:v>
                </c:pt>
                <c:pt idx="16">
                  <c:v>75</c:v>
                </c:pt>
                <c:pt idx="17">
                  <c:v>75</c:v>
                </c:pt>
                <c:pt idx="18">
                  <c:v>76</c:v>
                </c:pt>
                <c:pt idx="19">
                  <c:v>77</c:v>
                </c:pt>
                <c:pt idx="20">
                  <c:v>78</c:v>
                </c:pt>
                <c:pt idx="21">
                  <c:v>79</c:v>
                </c:pt>
                <c:pt idx="22">
                  <c:v>80</c:v>
                </c:pt>
                <c:pt idx="23">
                  <c:v>81</c:v>
                </c:pt>
                <c:pt idx="24">
                  <c:v>83</c:v>
                </c:pt>
              </c:numCache>
            </c:numRef>
          </c:val>
          <c:extLst>
            <c:ext xmlns:c16="http://schemas.microsoft.com/office/drawing/2014/chart" uri="{C3380CC4-5D6E-409C-BE32-E72D297353CC}">
              <c16:uniqueId val="{00000000-C6BC-43FE-B2BE-458251A1C9F2}"/>
            </c:ext>
          </c:extLst>
        </c:ser>
        <c:ser>
          <c:idx val="1"/>
          <c:order val="1"/>
          <c:tx>
            <c:strRef>
              <c:f>Sheet1!$D$1</c:f>
              <c:strCache>
                <c:ptCount val="1"/>
                <c:pt idx="0">
                  <c:v>2018</c:v>
                </c:pt>
              </c:strCache>
            </c:strRef>
          </c:tx>
          <c:spPr>
            <a:solidFill>
              <a:srgbClr val="5CBE7A"/>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lumMod val="75000"/>
                        <a:lumOff val="25000"/>
                      </a:schemeClr>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Sheet1!$D$2:$D$26</c:f>
              <c:numCache>
                <c:formatCode>General</c:formatCode>
                <c:ptCount val="25"/>
                <c:pt idx="0">
                  <c:v>50</c:v>
                </c:pt>
                <c:pt idx="2">
                  <c:v>57</c:v>
                </c:pt>
                <c:pt idx="3">
                  <c:v>58</c:v>
                </c:pt>
                <c:pt idx="4">
                  <c:v>51</c:v>
                </c:pt>
                <c:pt idx="5">
                  <c:v>60</c:v>
                </c:pt>
                <c:pt idx="6">
                  <c:v>52</c:v>
                </c:pt>
                <c:pt idx="7">
                  <c:v>63</c:v>
                </c:pt>
                <c:pt idx="8">
                  <c:v>56</c:v>
                </c:pt>
                <c:pt idx="9">
                  <c:v>62</c:v>
                </c:pt>
                <c:pt idx="11">
                  <c:v>68</c:v>
                </c:pt>
                <c:pt idx="12">
                  <c:v>59</c:v>
                </c:pt>
                <c:pt idx="14">
                  <c:v>70</c:v>
                </c:pt>
                <c:pt idx="15">
                  <c:v>71</c:v>
                </c:pt>
                <c:pt idx="16">
                  <c:v>69</c:v>
                </c:pt>
                <c:pt idx="17">
                  <c:v>75</c:v>
                </c:pt>
                <c:pt idx="18">
                  <c:v>74</c:v>
                </c:pt>
                <c:pt idx="19">
                  <c:v>72</c:v>
                </c:pt>
                <c:pt idx="20">
                  <c:v>71</c:v>
                </c:pt>
                <c:pt idx="21">
                  <c:v>72</c:v>
                </c:pt>
                <c:pt idx="22">
                  <c:v>72</c:v>
                </c:pt>
                <c:pt idx="23">
                  <c:v>76</c:v>
                </c:pt>
                <c:pt idx="24">
                  <c:v>78</c:v>
                </c:pt>
              </c:numCache>
            </c:numRef>
          </c:val>
          <c:extLst>
            <c:ext xmlns:c16="http://schemas.microsoft.com/office/drawing/2014/chart" uri="{C3380CC4-5D6E-409C-BE32-E72D297353CC}">
              <c16:uniqueId val="{00000001-8C73-43E9-AB8F-18341715D9ED}"/>
            </c:ext>
          </c:extLst>
        </c:ser>
        <c:dLbls>
          <c:dLblPos val="outEnd"/>
          <c:showLegendKey val="0"/>
          <c:showVal val="1"/>
          <c:showCatName val="0"/>
          <c:showSerName val="0"/>
          <c:showPercent val="0"/>
          <c:showBubbleSize val="0"/>
        </c:dLbls>
        <c:gapWidth val="50"/>
        <c:axId val="360398320"/>
        <c:axId val="360401200"/>
      </c:barChart>
      <c:catAx>
        <c:axId val="360398320"/>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360401200"/>
        <c:crosses val="autoZero"/>
        <c:auto val="1"/>
        <c:lblAlgn val="ctr"/>
        <c:lblOffset val="100"/>
        <c:noMultiLvlLbl val="0"/>
      </c:catAx>
      <c:valAx>
        <c:axId val="360401200"/>
        <c:scaling>
          <c:orientation val="minMax"/>
        </c:scaling>
        <c:delete val="1"/>
        <c:axPos val="l"/>
        <c:numFmt formatCode="General" sourceLinked="1"/>
        <c:majorTickMark val="none"/>
        <c:minorTickMark val="none"/>
        <c:tickLblPos val="nextTo"/>
        <c:crossAx val="360398320"/>
        <c:crosses val="autoZero"/>
        <c:crossBetween val="between"/>
      </c:valAx>
      <c:spPr>
        <a:noFill/>
        <a:ln>
          <a:noFill/>
        </a:ln>
        <a:effectLst/>
      </c:spPr>
    </c:plotArea>
    <c:legend>
      <c:legendPos val="b"/>
      <c:layout>
        <c:manualLayout>
          <c:xMode val="edge"/>
          <c:yMode val="edge"/>
          <c:x val="4.965983467315338E-2"/>
          <c:y val="9.3059604183784228E-2"/>
          <c:w val="0.1753232210013552"/>
          <c:h val="8.0218651649651807E-2"/>
        </c:manualLayout>
      </c:layout>
      <c:overlay val="0"/>
      <c:spPr>
        <a:noFill/>
        <a:ln>
          <a:solidFill>
            <a:schemeClr val="tx1"/>
          </a:solid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dirty="0"/>
              <a:t>Sources of risks: Family &amp; Friends vs. Stranger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Strangers</c:v>
                </c:pt>
              </c:strCache>
            </c:strRef>
          </c:tx>
          <c:spPr>
            <a:ln w="28575" cap="rnd">
              <a:noFill/>
              <a:round/>
            </a:ln>
            <a:effectLst/>
          </c:spPr>
          <c:marker>
            <c:symbol val="circle"/>
            <c:size val="14"/>
            <c:spPr>
              <a:solidFill>
                <a:srgbClr val="3282BE"/>
              </a:solidFill>
              <a:ln w="9525">
                <a:noFill/>
              </a:ln>
              <a:effectLst/>
              <a:scene3d>
                <a:camera prst="orthographicFront"/>
                <a:lightRig rig="threePt" dir="t"/>
              </a:scene3d>
              <a:sp3d>
                <a:bevelT w="88900" h="88900"/>
                <a:bevelB w="88900" h="88900"/>
              </a:sp3d>
            </c:spPr>
          </c:marker>
          <c:dLbls>
            <c:dLbl>
              <c:idx val="0"/>
              <c:layout>
                <c:manualLayout>
                  <c:x val="-6.0202454599868727E-2"/>
                  <c:y val="-5.6426450676284341E-3"/>
                </c:manualLayout>
              </c:layout>
              <c:tx>
                <c:rich>
                  <a:bodyPr/>
                  <a:lstStyle/>
                  <a:p>
                    <a:fld id="{8610B31F-11AB-496D-9949-7DE0AEAA7E2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7D8-4A57-8951-769E830B297F}"/>
                </c:ext>
              </c:extLst>
            </c:dLbl>
            <c:dLbl>
              <c:idx val="1"/>
              <c:tx>
                <c:rich>
                  <a:bodyPr/>
                  <a:lstStyle/>
                  <a:p>
                    <a:fld id="{735CFF31-F674-4F78-BF78-ED2C3669711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3-A7D8-4A57-8951-769E830B297F}"/>
                </c:ext>
              </c:extLst>
            </c:dLbl>
            <c:dLbl>
              <c:idx val="2"/>
              <c:tx>
                <c:rich>
                  <a:bodyPr/>
                  <a:lstStyle/>
                  <a:p>
                    <a:fld id="{4E1F8EC5-BB54-45AC-A747-2C289D903B24}"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4-A7D8-4A57-8951-769E830B297F}"/>
                </c:ext>
              </c:extLst>
            </c:dLbl>
            <c:dLbl>
              <c:idx val="3"/>
              <c:layout>
                <c:manualLayout>
                  <c:x val="5.8734102048652419E-3"/>
                  <c:y val="1.9749257736699468E-2"/>
                </c:manualLayout>
              </c:layout>
              <c:tx>
                <c:rich>
                  <a:bodyPr/>
                  <a:lstStyle/>
                  <a:p>
                    <a:fld id="{A4A07846-9540-4316-A8E5-742F7525B21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A7D8-4A57-8951-769E830B297F}"/>
                </c:ext>
              </c:extLst>
            </c:dLbl>
            <c:dLbl>
              <c:idx val="4"/>
              <c:tx>
                <c:rich>
                  <a:bodyPr/>
                  <a:lstStyle/>
                  <a:p>
                    <a:fld id="{91EA51B8-FC8F-40A1-8E1C-6580514108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A7D8-4A57-8951-769E830B297F}"/>
                </c:ext>
              </c:extLst>
            </c:dLbl>
            <c:dLbl>
              <c:idx val="5"/>
              <c:layout>
                <c:manualLayout>
                  <c:x val="-8.8101153072979704E-3"/>
                  <c:y val="3.1034547871956284E-2"/>
                </c:manualLayout>
              </c:layout>
              <c:tx>
                <c:rich>
                  <a:bodyPr/>
                  <a:lstStyle/>
                  <a:p>
                    <a:fld id="{97F56CE6-AD44-4DB7-8618-A96D3C8DF960}"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A7D8-4A57-8951-769E830B297F}"/>
                </c:ext>
              </c:extLst>
            </c:dLbl>
            <c:dLbl>
              <c:idx val="6"/>
              <c:layout>
                <c:manualLayout>
                  <c:x val="-3.8177166331624178E-2"/>
                  <c:y val="4.459000296572093E-2"/>
                </c:manualLayout>
              </c:layout>
              <c:tx>
                <c:rich>
                  <a:bodyPr/>
                  <a:lstStyle/>
                  <a:p>
                    <a:fld id="{2E643774-1FE4-40D8-9AE4-6C949E44731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A7D8-4A57-8951-769E830B297F}"/>
                </c:ext>
              </c:extLst>
            </c:dLbl>
            <c:dLbl>
              <c:idx val="7"/>
              <c:tx>
                <c:rich>
                  <a:bodyPr/>
                  <a:lstStyle/>
                  <a:p>
                    <a:fld id="{907F0E43-CDB6-4918-92B6-841870347A9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A7D8-4A57-8951-769E830B297F}"/>
                </c:ext>
              </c:extLst>
            </c:dLbl>
            <c:dLbl>
              <c:idx val="8"/>
              <c:tx>
                <c:rich>
                  <a:bodyPr/>
                  <a:lstStyle/>
                  <a:p>
                    <a:fld id="{A5449078-E0F3-440E-8197-89F4E89B27E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A-A7D8-4A57-8951-769E830B297F}"/>
                </c:ext>
              </c:extLst>
            </c:dLbl>
            <c:dLbl>
              <c:idx val="9"/>
              <c:tx>
                <c:rich>
                  <a:bodyPr/>
                  <a:lstStyle/>
                  <a:p>
                    <a:fld id="{5AEF301C-329E-485D-AE55-7C065707985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B-A7D8-4A57-8951-769E830B297F}"/>
                </c:ext>
              </c:extLst>
            </c:dLbl>
            <c:dLbl>
              <c:idx val="10"/>
              <c:tx>
                <c:rich>
                  <a:bodyPr/>
                  <a:lstStyle/>
                  <a:p>
                    <a:fld id="{755A0BBB-B396-47B1-9B0D-C1A1AC1BBDC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A7D8-4A57-8951-769E830B297F}"/>
                </c:ext>
              </c:extLst>
            </c:dLbl>
            <c:dLbl>
              <c:idx val="11"/>
              <c:layout>
                <c:manualLayout>
                  <c:x val="-4.111387143405669E-2"/>
                  <c:y val="-2.3526404220674074E-2"/>
                </c:manualLayout>
              </c:layout>
              <c:tx>
                <c:rich>
                  <a:bodyPr/>
                  <a:lstStyle/>
                  <a:p>
                    <a:fld id="{4AA5D462-0996-422C-9CA7-FB520A760A16}"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A7D8-4A57-8951-769E830B297F}"/>
                </c:ext>
              </c:extLst>
            </c:dLbl>
            <c:dLbl>
              <c:idx val="12"/>
              <c:layout>
                <c:manualLayout>
                  <c:x val="-1.027846785851428E-2"/>
                  <c:y val="3.8230406858595196E-2"/>
                </c:manualLayout>
              </c:layout>
              <c:tx>
                <c:rich>
                  <a:bodyPr/>
                  <a:lstStyle/>
                  <a:p>
                    <a:fld id="{46B88553-CD6A-4D5B-A0A0-A1968B68485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A7D8-4A57-8951-769E830B297F}"/>
                </c:ext>
              </c:extLst>
            </c:dLbl>
            <c:dLbl>
              <c:idx val="13"/>
              <c:layout>
                <c:manualLayout>
                  <c:x val="-7.3417627560816599E-3"/>
                  <c:y val="-2.3526404220673966E-2"/>
                </c:manualLayout>
              </c:layout>
              <c:tx>
                <c:rich>
                  <a:bodyPr/>
                  <a:lstStyle/>
                  <a:p>
                    <a:fld id="{E2C2EF13-28C2-4EE7-9455-92C0298DCD59}"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A7D8-4A57-8951-769E830B297F}"/>
                </c:ext>
              </c:extLst>
            </c:dLbl>
            <c:dLbl>
              <c:idx val="14"/>
              <c:layout>
                <c:manualLayout>
                  <c:x val="-5.5797396946219741E-2"/>
                  <c:y val="-5.8816010551684915E-3"/>
                </c:manualLayout>
              </c:layout>
              <c:tx>
                <c:rich>
                  <a:bodyPr/>
                  <a:lstStyle/>
                  <a:p>
                    <a:fld id="{EF8816A3-E1DB-4F5B-AFF8-FD2F2270F2CD}"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A7D8-4A57-8951-769E830B297F}"/>
                </c:ext>
              </c:extLst>
            </c:dLbl>
            <c:dLbl>
              <c:idx val="15"/>
              <c:tx>
                <c:rich>
                  <a:bodyPr/>
                  <a:lstStyle/>
                  <a:p>
                    <a:fld id="{BB578315-B15F-4CA9-8904-A2D3CD84C9BF}"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A7D8-4A57-8951-769E830B297F}"/>
                </c:ext>
              </c:extLst>
            </c:dLbl>
            <c:dLbl>
              <c:idx val="16"/>
              <c:layout>
                <c:manualLayout>
                  <c:x val="-4.9923986741354662E-2"/>
                  <c:y val="1.1763202110336929E-2"/>
                </c:manualLayout>
              </c:layout>
              <c:tx>
                <c:rich>
                  <a:bodyPr/>
                  <a:lstStyle/>
                  <a:p>
                    <a:fld id="{A8CB1DFF-D32C-4F88-8559-220E364EFE36}"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A7D8-4A57-8951-769E830B297F}"/>
                </c:ext>
              </c:extLst>
            </c:dLbl>
            <c:dLbl>
              <c:idx val="17"/>
              <c:tx>
                <c:rich>
                  <a:bodyPr/>
                  <a:lstStyle/>
                  <a:p>
                    <a:fld id="{B8E2CE88-44DD-4230-9E3B-06F0067EAFD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3-A7D8-4A57-8951-769E830B297F}"/>
                </c:ext>
              </c:extLst>
            </c:dLbl>
            <c:dLbl>
              <c:idx val="18"/>
              <c:tx>
                <c:rich>
                  <a:bodyPr/>
                  <a:lstStyle/>
                  <a:p>
                    <a:fld id="{F3ECA471-29D5-4A3A-8884-28F4E65D9B2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4-A7D8-4A57-8951-769E830B297F}"/>
                </c:ext>
              </c:extLst>
            </c:dLbl>
            <c:dLbl>
              <c:idx val="19"/>
              <c:tx>
                <c:rich>
                  <a:bodyPr/>
                  <a:lstStyle/>
                  <a:p>
                    <a:fld id="{E41413E8-BE8F-4AC0-A1DC-908F60695A4E}"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A7D8-4A57-8951-769E830B297F}"/>
                </c:ext>
              </c:extLst>
            </c:dLbl>
            <c:dLbl>
              <c:idx val="20"/>
              <c:tx>
                <c:rich>
                  <a:bodyPr/>
                  <a:lstStyle/>
                  <a:p>
                    <a:fld id="{A9F5D639-1BFE-4F2B-B146-16919BE4248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6-A7D8-4A57-8951-769E830B297F}"/>
                </c:ext>
              </c:extLst>
            </c:dLbl>
            <c:dLbl>
              <c:idx val="21"/>
              <c:tx>
                <c:rich>
                  <a:bodyPr/>
                  <a:lstStyle/>
                  <a:p>
                    <a:fld id="{44F3081A-9755-424D-B306-47F47746A13B}"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7-A7D8-4A57-8951-769E830B297F}"/>
                </c:ext>
              </c:extLst>
            </c:dLbl>
            <c:dLbl>
              <c:idx val="22"/>
              <c:tx>
                <c:rich>
                  <a:bodyPr/>
                  <a:lstStyle/>
                  <a:p>
                    <a:fld id="{3481E6FC-76EF-4DDC-AC3E-376AC7411D3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8-A7D8-4A57-8951-769E830B297F}"/>
                </c:ext>
              </c:extLst>
            </c:dLbl>
            <c:dLbl>
              <c:idx val="23"/>
              <c:tx>
                <c:rich>
                  <a:bodyPr/>
                  <a:lstStyle/>
                  <a:p>
                    <a:fld id="{BE631A6F-63FD-4E73-88CE-CA493A7A6851}"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9-A7D8-4A57-8951-769E830B297F}"/>
                </c:ext>
              </c:extLst>
            </c:dLbl>
            <c:dLbl>
              <c:idx val="24"/>
              <c:tx>
                <c:rich>
                  <a:bodyPr/>
                  <a:lstStyle/>
                  <a:p>
                    <a:fld id="{3D660F3A-7C7E-44F8-8837-C2C44579D64D}"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A-A7D8-4A57-8951-769E830B29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26</c:f>
              <c:numCache>
                <c:formatCode>0</c:formatCode>
                <c:ptCount val="25"/>
                <c:pt idx="0">
                  <c:v>159.19516762414679</c:v>
                </c:pt>
                <c:pt idx="1">
                  <c:v>145.56700390710887</c:v>
                </c:pt>
                <c:pt idx="2">
                  <c:v>135.18090696788016</c:v>
                </c:pt>
                <c:pt idx="3">
                  <c:v>131.98470075807683</c:v>
                </c:pt>
                <c:pt idx="4">
                  <c:v>131.29945034851767</c:v>
                </c:pt>
                <c:pt idx="5">
                  <c:v>128.91824627985534</c:v>
                </c:pt>
                <c:pt idx="6">
                  <c:v>120.65010230589708</c:v>
                </c:pt>
                <c:pt idx="7">
                  <c:v>116.04310781798313</c:v>
                </c:pt>
                <c:pt idx="8">
                  <c:v>115.08943982231253</c:v>
                </c:pt>
                <c:pt idx="9">
                  <c:v>104.93832575606984</c:v>
                </c:pt>
                <c:pt idx="10">
                  <c:v>103.03141038761603</c:v>
                </c:pt>
                <c:pt idx="11">
                  <c:v>96.301553134175236</c:v>
                </c:pt>
                <c:pt idx="12">
                  <c:v>92.910743000315577</c:v>
                </c:pt>
                <c:pt idx="13">
                  <c:v>88.982908425254195</c:v>
                </c:pt>
                <c:pt idx="14">
                  <c:v>88.777920611611393</c:v>
                </c:pt>
                <c:pt idx="15">
                  <c:v>87.028023592510891</c:v>
                </c:pt>
                <c:pt idx="16">
                  <c:v>86.192506889677318</c:v>
                </c:pt>
                <c:pt idx="17">
                  <c:v>85.280861021658438</c:v>
                </c:pt>
                <c:pt idx="18">
                  <c:v>85.004130683760138</c:v>
                </c:pt>
                <c:pt idx="19">
                  <c:v>81.837864381419934</c:v>
                </c:pt>
                <c:pt idx="20">
                  <c:v>74.36403676360365</c:v>
                </c:pt>
                <c:pt idx="21">
                  <c:v>74.095760816282024</c:v>
                </c:pt>
                <c:pt idx="22">
                  <c:v>66.368105546056455</c:v>
                </c:pt>
                <c:pt idx="23">
                  <c:v>38.023332923358645</c:v>
                </c:pt>
                <c:pt idx="24">
                  <c:v>26.226414463481341</c:v>
                </c:pt>
              </c:numCache>
            </c:numRef>
          </c:xVal>
          <c:yVal>
            <c:numRef>
              <c:f>Sheet1!$B$2:$B$26</c:f>
              <c:numCache>
                <c:formatCode>0</c:formatCode>
                <c:ptCount val="25"/>
                <c:pt idx="0">
                  <c:v>106.81959568750408</c:v>
                </c:pt>
                <c:pt idx="1">
                  <c:v>93.621405738072667</c:v>
                </c:pt>
                <c:pt idx="2">
                  <c:v>108.66551692252884</c:v>
                </c:pt>
                <c:pt idx="3">
                  <c:v>98.596736511676013</c:v>
                </c:pt>
                <c:pt idx="4">
                  <c:v>125.7156842220277</c:v>
                </c:pt>
                <c:pt idx="5">
                  <c:v>82.044081558825212</c:v>
                </c:pt>
                <c:pt idx="6">
                  <c:v>89.1409753794848</c:v>
                </c:pt>
                <c:pt idx="7">
                  <c:v>137.29498223831592</c:v>
                </c:pt>
                <c:pt idx="8">
                  <c:v>146.62800371862042</c:v>
                </c:pt>
                <c:pt idx="9">
                  <c:v>87.892560581809235</c:v>
                </c:pt>
                <c:pt idx="10">
                  <c:v>78.366849716043177</c:v>
                </c:pt>
                <c:pt idx="11">
                  <c:v>85.824729473514054</c:v>
                </c:pt>
                <c:pt idx="12">
                  <c:v>60.265780099120889</c:v>
                </c:pt>
                <c:pt idx="13">
                  <c:v>64.514249851782353</c:v>
                </c:pt>
                <c:pt idx="14">
                  <c:v>55.170116135186731</c:v>
                </c:pt>
                <c:pt idx="15">
                  <c:v>80.666440062581941</c:v>
                </c:pt>
                <c:pt idx="16">
                  <c:v>99.327734253424083</c:v>
                </c:pt>
                <c:pt idx="17">
                  <c:v>105.61910117962117</c:v>
                </c:pt>
                <c:pt idx="18">
                  <c:v>116.27508150096304</c:v>
                </c:pt>
                <c:pt idx="19">
                  <c:v>125.03892112463055</c:v>
                </c:pt>
                <c:pt idx="20">
                  <c:v>111.42843756558571</c:v>
                </c:pt>
                <c:pt idx="21">
                  <c:v>82.846074246544092</c:v>
                </c:pt>
                <c:pt idx="22">
                  <c:v>63.039893164552019</c:v>
                </c:pt>
                <c:pt idx="23">
                  <c:v>119.0695642209332</c:v>
                </c:pt>
                <c:pt idx="24">
                  <c:v>170.56867779828636</c:v>
                </c:pt>
              </c:numCache>
            </c:numRef>
          </c:yVal>
          <c:smooth val="0"/>
          <c:extLst>
            <c:ext xmlns:c15="http://schemas.microsoft.com/office/drawing/2012/chart" uri="{02D57815-91ED-43cb-92C2-25804820EDAC}">
              <c15:datalabelsRange>
                <c15:f>Sheet1!$C$2:$C$26</c15:f>
                <c15:dlblRangeCache>
                  <c:ptCount val="25"/>
                  <c:pt idx="0">
                    <c:v>CO</c:v>
                  </c:pt>
                  <c:pt idx="1">
                    <c:v>MX</c:v>
                  </c:pt>
                  <c:pt idx="2">
                    <c:v>AR</c:v>
                  </c:pt>
                  <c:pt idx="3">
                    <c:v>PE</c:v>
                  </c:pt>
                  <c:pt idx="4">
                    <c:v>IN</c:v>
                  </c:pt>
                  <c:pt idx="5">
                    <c:v>US</c:v>
                  </c:pt>
                  <c:pt idx="6">
                    <c:v>CL</c:v>
                  </c:pt>
                  <c:pt idx="7">
                    <c:v>SA</c:v>
                  </c:pt>
                  <c:pt idx="8">
                    <c:v>VT</c:v>
                  </c:pt>
                  <c:pt idx="9">
                    <c:v>SG</c:v>
                  </c:pt>
                  <c:pt idx="10">
                    <c:v>IE</c:v>
                  </c:pt>
                  <c:pt idx="11">
                    <c:v>IT</c:v>
                  </c:pt>
                  <c:pt idx="12">
                    <c:v>NE</c:v>
                  </c:pt>
                  <c:pt idx="13">
                    <c:v>UK</c:v>
                  </c:pt>
                  <c:pt idx="14">
                    <c:v>DE</c:v>
                  </c:pt>
                  <c:pt idx="15">
                    <c:v>CA</c:v>
                  </c:pt>
                  <c:pt idx="16">
                    <c:v>TU</c:v>
                  </c:pt>
                  <c:pt idx="17">
                    <c:v>BR</c:v>
                  </c:pt>
                  <c:pt idx="18">
                    <c:v>MY</c:v>
                  </c:pt>
                  <c:pt idx="19">
                    <c:v>ID</c:v>
                  </c:pt>
                  <c:pt idx="20">
                    <c:v>PL</c:v>
                  </c:pt>
                  <c:pt idx="21">
                    <c:v>BE</c:v>
                  </c:pt>
                  <c:pt idx="22">
                    <c:v>FR</c:v>
                  </c:pt>
                  <c:pt idx="23">
                    <c:v>HU</c:v>
                  </c:pt>
                  <c:pt idx="24">
                    <c:v>RU</c:v>
                  </c:pt>
                </c15:dlblRangeCache>
              </c15:datalabelsRange>
            </c:ext>
            <c:ext xmlns:c16="http://schemas.microsoft.com/office/drawing/2014/chart" uri="{C3380CC4-5D6E-409C-BE32-E72D297353CC}">
              <c16:uniqueId val="{00000000-A7D8-4A57-8951-769E830B297F}"/>
            </c:ext>
          </c:extLst>
        </c:ser>
        <c:dLbls>
          <c:showLegendKey val="0"/>
          <c:showVal val="0"/>
          <c:showCatName val="0"/>
          <c:showSerName val="0"/>
          <c:showPercent val="0"/>
          <c:showBubbleSize val="0"/>
        </c:dLbls>
        <c:axId val="602050168"/>
        <c:axId val="602054008"/>
      </c:scatterChart>
      <c:valAx>
        <c:axId val="602050168"/>
        <c:scaling>
          <c:orientation val="minMax"/>
        </c:scaling>
        <c:delete val="0"/>
        <c:axPos val="b"/>
        <c:title>
          <c:tx>
            <c:rich>
              <a:bodyPr rot="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b="1" baseline="0" dirty="0"/>
                  <a:t>Family &amp; Friends</a:t>
                </a:r>
                <a:r>
                  <a:rPr lang="en-US" baseline="0" dirty="0"/>
                  <a:t> (100 = Family &amp; Friends average)</a:t>
                </a:r>
                <a:endParaRPr lang="en-US"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02054008"/>
        <c:crosses val="autoZero"/>
        <c:crossBetween val="midCat"/>
      </c:valAx>
      <c:valAx>
        <c:axId val="602054008"/>
        <c:scaling>
          <c:orientation val="minMax"/>
        </c:scaling>
        <c:delete val="0"/>
        <c:axPos val="l"/>
        <c:title>
          <c:tx>
            <c:rich>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b="1" dirty="0"/>
                  <a:t>Strangers</a:t>
                </a:r>
                <a:r>
                  <a:rPr lang="en-US" dirty="0"/>
                  <a:t> (100 = Strangers average)</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02050168"/>
        <c:crosses val="autoZero"/>
        <c:crossBetween val="midCat"/>
      </c:valAx>
      <c:spPr>
        <a:solidFill>
          <a:srgbClr val="262626"/>
        </a:solid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r>
              <a:rPr lang="en-US" dirty="0"/>
              <a:t>Uncivil interactions related to DCI vs. Politics</a:t>
            </a: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bg1"/>
              </a:solidFill>
              <a:latin typeface="+mn-lt"/>
              <a:ea typeface="+mn-ea"/>
              <a:cs typeface="+mn-cs"/>
            </a:defRPr>
          </a:pPr>
          <a:endParaRPr lang="en-US"/>
        </a:p>
      </c:txPr>
    </c:title>
    <c:autoTitleDeleted val="0"/>
    <c:plotArea>
      <c:layout/>
      <c:scatterChart>
        <c:scatterStyle val="lineMarker"/>
        <c:varyColors val="0"/>
        <c:ser>
          <c:idx val="0"/>
          <c:order val="0"/>
          <c:tx>
            <c:strRef>
              <c:f>Sheet1!$B$1</c:f>
              <c:strCache>
                <c:ptCount val="1"/>
                <c:pt idx="0">
                  <c:v>Politics</c:v>
                </c:pt>
              </c:strCache>
            </c:strRef>
          </c:tx>
          <c:spPr>
            <a:ln w="28575" cap="rnd">
              <a:noFill/>
              <a:round/>
            </a:ln>
            <a:effectLst/>
          </c:spPr>
          <c:marker>
            <c:symbol val="circle"/>
            <c:size val="14"/>
            <c:spPr>
              <a:solidFill>
                <a:srgbClr val="3282BE"/>
              </a:solidFill>
              <a:ln w="9525">
                <a:noFill/>
              </a:ln>
              <a:effectLst/>
              <a:scene3d>
                <a:camera prst="orthographicFront"/>
                <a:lightRig rig="threePt" dir="t"/>
              </a:scene3d>
              <a:sp3d>
                <a:bevelT w="88900" h="88900"/>
                <a:bevelB w="88900" h="88900"/>
              </a:sp3d>
            </c:spPr>
          </c:marker>
          <c:dLbls>
            <c:dLbl>
              <c:idx val="0"/>
              <c:layout>
                <c:manualLayout>
                  <c:x val="-6.0202454599868727E-2"/>
                  <c:y val="-5.6426450676284341E-3"/>
                </c:manualLayout>
              </c:layout>
              <c:tx>
                <c:rich>
                  <a:bodyPr/>
                  <a:lstStyle/>
                  <a:p>
                    <a:fld id="{DB36BE4D-5958-4D37-99C7-7563386BD3DB}"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2-A7D8-4A57-8951-769E830B297F}"/>
                </c:ext>
              </c:extLst>
            </c:dLbl>
            <c:dLbl>
              <c:idx val="1"/>
              <c:layout>
                <c:manualLayout>
                  <c:x val="-1.7620230614595833E-2"/>
                  <c:y val="5.0783805608655856E-2"/>
                </c:manualLayout>
              </c:layout>
              <c:tx>
                <c:rich>
                  <a:bodyPr/>
                  <a:lstStyle/>
                  <a:p>
                    <a:fld id="{EDE50D94-516B-4D53-ACA0-DA21236E1792}"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3-A7D8-4A57-8951-769E830B297F}"/>
                </c:ext>
              </c:extLst>
            </c:dLbl>
            <c:dLbl>
              <c:idx val="2"/>
              <c:layout>
                <c:manualLayout>
                  <c:x val="-5.7265749497436215E-2"/>
                  <c:y val="5.6426450676284341E-3"/>
                </c:manualLayout>
              </c:layout>
              <c:tx>
                <c:rich>
                  <a:bodyPr/>
                  <a:lstStyle/>
                  <a:p>
                    <a:fld id="{23F65C92-8D31-4757-AE2C-EDDF1656BE49}"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4-A7D8-4A57-8951-769E830B297F}"/>
                </c:ext>
              </c:extLst>
            </c:dLbl>
            <c:dLbl>
              <c:idx val="3"/>
              <c:layout>
                <c:manualLayout>
                  <c:x val="-6.3139159702301398E-2"/>
                  <c:y val="0"/>
                </c:manualLayout>
              </c:layout>
              <c:tx>
                <c:rich>
                  <a:bodyPr/>
                  <a:lstStyle/>
                  <a:p>
                    <a:fld id="{04EC0ED1-0D48-4E8B-894E-449E6C0A0B83}"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5-A7D8-4A57-8951-769E830B297F}"/>
                </c:ext>
              </c:extLst>
            </c:dLbl>
            <c:dLbl>
              <c:idx val="4"/>
              <c:tx>
                <c:rich>
                  <a:bodyPr/>
                  <a:lstStyle/>
                  <a:p>
                    <a:fld id="{37160CA2-FD02-4303-BD83-2007906093D7}"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6-A7D8-4A57-8951-769E830B297F}"/>
                </c:ext>
              </c:extLst>
            </c:dLbl>
            <c:dLbl>
              <c:idx val="5"/>
              <c:layout>
                <c:manualLayout>
                  <c:x val="-5.5797396946219796E-2"/>
                  <c:y val="-2.2570580270513736E-2"/>
                </c:manualLayout>
              </c:layout>
              <c:tx>
                <c:rich>
                  <a:bodyPr/>
                  <a:lstStyle/>
                  <a:p>
                    <a:fld id="{200648C7-D225-43F9-8D9E-707753AFB12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7-A7D8-4A57-8951-769E830B297F}"/>
                </c:ext>
              </c:extLst>
            </c:dLbl>
            <c:dLbl>
              <c:idx val="6"/>
              <c:layout>
                <c:manualLayout>
                  <c:x val="-3.8177166331624178E-2"/>
                  <c:y val="4.459000296572093E-2"/>
                </c:manualLayout>
              </c:layout>
              <c:tx>
                <c:rich>
                  <a:bodyPr/>
                  <a:lstStyle/>
                  <a:p>
                    <a:fld id="{D7BC7FF7-AD21-47C8-945C-5B22F5634856}"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8-A7D8-4A57-8951-769E830B297F}"/>
                </c:ext>
              </c:extLst>
            </c:dLbl>
            <c:dLbl>
              <c:idx val="7"/>
              <c:tx>
                <c:rich>
                  <a:bodyPr/>
                  <a:lstStyle/>
                  <a:p>
                    <a:fld id="{8DD54224-71BF-4434-AE2E-05574C011ED0}"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9-A7D8-4A57-8951-769E830B297F}"/>
                </c:ext>
              </c:extLst>
            </c:dLbl>
            <c:dLbl>
              <c:idx val="8"/>
              <c:layout>
                <c:manualLayout>
                  <c:x val="-6.3139159702301342E-2"/>
                  <c:y val="-1.1285290135256868E-2"/>
                </c:manualLayout>
              </c:layout>
              <c:tx>
                <c:rich>
                  <a:bodyPr/>
                  <a:lstStyle/>
                  <a:p>
                    <a:fld id="{03D6B8BE-5E33-43A7-B219-A7638C05B8B9}"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A-A7D8-4A57-8951-769E830B297F}"/>
                </c:ext>
              </c:extLst>
            </c:dLbl>
            <c:dLbl>
              <c:idx val="9"/>
              <c:layout>
                <c:manualLayout>
                  <c:x val="-3.5240461229191451E-2"/>
                  <c:y val="-4.7962483074841744E-2"/>
                </c:manualLayout>
              </c:layout>
              <c:tx>
                <c:rich>
                  <a:bodyPr/>
                  <a:lstStyle/>
                  <a:p>
                    <a:fld id="{51DB1A10-D360-4FC8-82CD-2062D28A5F9D}"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B-A7D8-4A57-8951-769E830B297F}"/>
                </c:ext>
              </c:extLst>
            </c:dLbl>
            <c:dLbl>
              <c:idx val="10"/>
              <c:tx>
                <c:rich>
                  <a:bodyPr/>
                  <a:lstStyle/>
                  <a:p>
                    <a:fld id="{9EE8FBA6-7767-43BD-8FC7-A06EF51CE27A}"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3C-A7D8-4A57-8951-769E830B297F}"/>
                </c:ext>
              </c:extLst>
            </c:dLbl>
            <c:dLbl>
              <c:idx val="11"/>
              <c:layout>
                <c:manualLayout>
                  <c:x val="-4.6987281638921935E-2"/>
                  <c:y val="-2.352649766130134E-2"/>
                </c:manualLayout>
              </c:layout>
              <c:tx>
                <c:rich>
                  <a:bodyPr/>
                  <a:lstStyle/>
                  <a:p>
                    <a:fld id="{4C1FB6AC-359A-40E7-8F80-CB2B747F561D}"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D-A7D8-4A57-8951-769E830B297F}"/>
                </c:ext>
              </c:extLst>
            </c:dLbl>
            <c:dLbl>
              <c:idx val="12"/>
              <c:layout>
                <c:manualLayout>
                  <c:x val="-1.027846785851428E-2"/>
                  <c:y val="3.8230406858595196E-2"/>
                </c:manualLayout>
              </c:layout>
              <c:tx>
                <c:rich>
                  <a:bodyPr/>
                  <a:lstStyle/>
                  <a:p>
                    <a:fld id="{D6F8138D-0A22-4E95-BDE8-FFC691BB0BAA}"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E-A7D8-4A57-8951-769E830B297F}"/>
                </c:ext>
              </c:extLst>
            </c:dLbl>
            <c:dLbl>
              <c:idx val="13"/>
              <c:layout>
                <c:manualLayout>
                  <c:x val="-5.7265749497436104E-2"/>
                  <c:y val="-2.9169142728929776E-2"/>
                </c:manualLayout>
              </c:layout>
              <c:tx>
                <c:rich>
                  <a:bodyPr/>
                  <a:lstStyle/>
                  <a:p>
                    <a:fld id="{9E1231F4-C90C-45E8-8D3F-E068FFF1CEC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3F-A7D8-4A57-8951-769E830B297F}"/>
                </c:ext>
              </c:extLst>
            </c:dLbl>
            <c:dLbl>
              <c:idx val="14"/>
              <c:layout>
                <c:manualLayout>
                  <c:x val="-5.8734102048652419E-2"/>
                  <c:y val="-3.9737550358941096E-2"/>
                </c:manualLayout>
              </c:layout>
              <c:tx>
                <c:rich>
                  <a:bodyPr/>
                  <a:lstStyle/>
                  <a:p>
                    <a:fld id="{8CDD84F1-137B-4FA8-8B9B-8A3423DD5A34}"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0-A7D8-4A57-8951-769E830B297F}"/>
                </c:ext>
              </c:extLst>
            </c:dLbl>
            <c:dLbl>
              <c:idx val="15"/>
              <c:tx>
                <c:rich>
                  <a:bodyPr/>
                  <a:lstStyle/>
                  <a:p>
                    <a:fld id="{488B3205-F807-48AE-BC7E-D0A74AE57873}"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1-A7D8-4A57-8951-769E830B297F}"/>
                </c:ext>
              </c:extLst>
            </c:dLbl>
            <c:dLbl>
              <c:idx val="16"/>
              <c:layout>
                <c:manualLayout>
                  <c:x val="-9.5442915829060171E-2"/>
                  <c:y val="-2.4914055184624459E-2"/>
                </c:manualLayout>
              </c:layout>
              <c:tx>
                <c:rich>
                  <a:bodyPr/>
                  <a:lstStyle/>
                  <a:p>
                    <a:fld id="{69F73E54-235A-41A7-A056-A902681C7DD2}"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2-A7D8-4A57-8951-769E830B297F}"/>
                </c:ext>
              </c:extLst>
            </c:dLbl>
            <c:dLbl>
              <c:idx val="17"/>
              <c:layout>
                <c:manualLayout>
                  <c:x val="-2.0556935717028345E-2"/>
                  <c:y val="4.7962483074841689E-2"/>
                </c:manualLayout>
              </c:layout>
              <c:tx>
                <c:rich>
                  <a:bodyPr/>
                  <a:lstStyle/>
                  <a:p>
                    <a:fld id="{731D1193-CF70-4D1C-AD01-8B51520FEB7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3-A7D8-4A57-8951-769E830B297F}"/>
                </c:ext>
              </c:extLst>
            </c:dLbl>
            <c:dLbl>
              <c:idx val="18"/>
              <c:layout>
                <c:manualLayout>
                  <c:x val="3.9645518882840271E-2"/>
                  <c:y val="-5.078380560865596E-2"/>
                </c:manualLayout>
              </c:layout>
              <c:tx>
                <c:rich>
                  <a:bodyPr/>
                  <a:lstStyle/>
                  <a:p>
                    <a:fld id="{F21E008E-C7F0-4998-89DB-8D7C5D8F972C}"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4-A7D8-4A57-8951-769E830B297F}"/>
                </c:ext>
              </c:extLst>
            </c:dLbl>
            <c:dLbl>
              <c:idx val="19"/>
              <c:tx>
                <c:rich>
                  <a:bodyPr/>
                  <a:lstStyle/>
                  <a:p>
                    <a:fld id="{33589BEC-123E-4A72-8DB9-D7453D9CC299}"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45-A7D8-4A57-8951-769E830B297F}"/>
                </c:ext>
              </c:extLst>
            </c:dLbl>
            <c:dLbl>
              <c:idx val="20"/>
              <c:layout>
                <c:manualLayout>
                  <c:x val="-4.9923986741354551E-2"/>
                  <c:y val="-3.3855870405770656E-2"/>
                </c:manualLayout>
              </c:layout>
              <c:tx>
                <c:rich>
                  <a:bodyPr/>
                  <a:lstStyle/>
                  <a:p>
                    <a:fld id="{6D888E32-EEA2-4437-BB3A-483DB5313185}"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6-A7D8-4A57-8951-769E830B297F}"/>
                </c:ext>
              </c:extLst>
            </c:dLbl>
            <c:dLbl>
              <c:idx val="21"/>
              <c:layout>
                <c:manualLayout>
                  <c:x val="-8.8101153072978628E-3"/>
                  <c:y val="-1.974925773669952E-2"/>
                </c:manualLayout>
              </c:layout>
              <c:tx>
                <c:rich>
                  <a:bodyPr/>
                  <a:lstStyle/>
                  <a:p>
                    <a:fld id="{3305F9E7-8134-4415-844C-1FB759AEF447}"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7-A7D8-4A57-8951-769E830B297F}"/>
                </c:ext>
              </c:extLst>
            </c:dLbl>
            <c:dLbl>
              <c:idx val="22"/>
              <c:layout>
                <c:manualLayout>
                  <c:x val="-1.7620230614595726E-2"/>
                  <c:y val="4.2319838007213256E-2"/>
                </c:manualLayout>
              </c:layout>
              <c:tx>
                <c:rich>
                  <a:bodyPr/>
                  <a:lstStyle/>
                  <a:p>
                    <a:fld id="{98D25AB5-D0A9-428C-A70D-CCA1A85D170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8-A7D8-4A57-8951-769E830B297F}"/>
                </c:ext>
              </c:extLst>
            </c:dLbl>
            <c:dLbl>
              <c:idx val="23"/>
              <c:layout>
                <c:manualLayout>
                  <c:x val="-4.4050576536488776E-3"/>
                  <c:y val="-2.2570580270513736E-2"/>
                </c:manualLayout>
              </c:layout>
              <c:tx>
                <c:rich>
                  <a:bodyPr/>
                  <a:lstStyle/>
                  <a:p>
                    <a:fld id="{359F5C6F-0C1E-46EA-BAF3-127C873E23F8}" type="CELLRANGE">
                      <a:rPr lang="en-US" dirty="0"/>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9-A7D8-4A57-8951-769E830B297F}"/>
                </c:ext>
              </c:extLst>
            </c:dLbl>
            <c:dLbl>
              <c:idx val="24"/>
              <c:layout>
                <c:manualLayout>
                  <c:x val="-5.1392339292570866E-2"/>
                  <c:y val="-3.6677192939584824E-2"/>
                </c:manualLayout>
              </c:layout>
              <c:tx>
                <c:rich>
                  <a:bodyPr/>
                  <a:lstStyle/>
                  <a:p>
                    <a:fld id="{29392E2E-15BF-4DEB-82CF-BE12DA993D78}" type="CELLRANGE">
                      <a:rPr lang="en-US"/>
                      <a:pPr/>
                      <a:t>[CELLRANGE]</a:t>
                    </a:fld>
                    <a:endParaRPr lang="en-US"/>
                  </a:p>
                </c:rich>
              </c:tx>
              <c:showLegendKey val="0"/>
              <c:showVal val="0"/>
              <c:showCatName val="0"/>
              <c:showSerName val="0"/>
              <c:showPercent val="0"/>
              <c:showBubbleSize val="0"/>
              <c:extLst>
                <c:ext xmlns:c15="http://schemas.microsoft.com/office/drawing/2012/chart" uri="{CE6537A1-D6FC-4f65-9D91-7224C49458BB}">
                  <c15:dlblFieldTable/>
                  <c15:showDataLabelsRange val="1"/>
                </c:ext>
                <c:ext xmlns:c16="http://schemas.microsoft.com/office/drawing/2014/chart" uri="{C3380CC4-5D6E-409C-BE32-E72D297353CC}">
                  <c16:uniqueId val="{0000004A-A7D8-4A57-8951-769E830B297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mn-lt"/>
                    <a:ea typeface="+mn-ea"/>
                    <a:cs typeface="+mn-cs"/>
                  </a:defRPr>
                </a:pPr>
                <a:endParaRPr lang="en-US"/>
              </a:p>
            </c:txPr>
            <c:showLegendKey val="0"/>
            <c:showVal val="0"/>
            <c:showCatName val="0"/>
            <c:showSerName val="0"/>
            <c:showPercent val="0"/>
            <c:showBubbleSize val="0"/>
            <c:showLeaderLines val="0"/>
            <c:extLst>
              <c:ext xmlns:c15="http://schemas.microsoft.com/office/drawing/2012/chart" uri="{CE6537A1-D6FC-4f65-9D91-7224C49458BB}">
                <c15:showDataLabelsRange val="1"/>
                <c15:showLeaderLines val="0"/>
              </c:ext>
            </c:extLst>
          </c:dLbls>
          <c:xVal>
            <c:numRef>
              <c:f>Sheet1!$A$2:$A$26</c:f>
              <c:numCache>
                <c:formatCode>0</c:formatCode>
                <c:ptCount val="25"/>
                <c:pt idx="0">
                  <c:v>108.55575842225336</c:v>
                </c:pt>
                <c:pt idx="1">
                  <c:v>94.41460020445156</c:v>
                </c:pt>
                <c:pt idx="2">
                  <c:v>103.46218903170063</c:v>
                </c:pt>
                <c:pt idx="3">
                  <c:v>86.037474763451058</c:v>
                </c:pt>
                <c:pt idx="4">
                  <c:v>107.58466745042243</c:v>
                </c:pt>
                <c:pt idx="5">
                  <c:v>114.04087656764386</c:v>
                </c:pt>
                <c:pt idx="6">
                  <c:v>88.993875422925356</c:v>
                </c:pt>
                <c:pt idx="7">
                  <c:v>82.835008717812926</c:v>
                </c:pt>
                <c:pt idx="8">
                  <c:v>110.79951150631369</c:v>
                </c:pt>
                <c:pt idx="9">
                  <c:v>102.19667838095603</c:v>
                </c:pt>
                <c:pt idx="10">
                  <c:v>96.390824391000805</c:v>
                </c:pt>
                <c:pt idx="11">
                  <c:v>99.782171652204681</c:v>
                </c:pt>
                <c:pt idx="12">
                  <c:v>95.107116246341576</c:v>
                </c:pt>
                <c:pt idx="13">
                  <c:v>83.839630258818602</c:v>
                </c:pt>
                <c:pt idx="14">
                  <c:v>107.19136675458564</c:v>
                </c:pt>
                <c:pt idx="15">
                  <c:v>80.857149830136805</c:v>
                </c:pt>
                <c:pt idx="16">
                  <c:v>116.34124488915923</c:v>
                </c:pt>
                <c:pt idx="17">
                  <c:v>102.58855220971779</c:v>
                </c:pt>
                <c:pt idx="18">
                  <c:v>112.87256878593081</c:v>
                </c:pt>
                <c:pt idx="19">
                  <c:v>89.719238056031813</c:v>
                </c:pt>
                <c:pt idx="20">
                  <c:v>118.56362362432802</c:v>
                </c:pt>
                <c:pt idx="21">
                  <c:v>104.27324946352847</c:v>
                </c:pt>
                <c:pt idx="22">
                  <c:v>74.745551662415778</c:v>
                </c:pt>
                <c:pt idx="23">
                  <c:v>85.790470248218256</c:v>
                </c:pt>
                <c:pt idx="24">
                  <c:v>111.62777825039305</c:v>
                </c:pt>
              </c:numCache>
            </c:numRef>
          </c:xVal>
          <c:yVal>
            <c:numRef>
              <c:f>Sheet1!$B$2:$B$26</c:f>
              <c:numCache>
                <c:formatCode>0</c:formatCode>
                <c:ptCount val="25"/>
                <c:pt idx="0">
                  <c:v>155.93394358621242</c:v>
                </c:pt>
                <c:pt idx="1">
                  <c:v>40.428305163622568</c:v>
                </c:pt>
                <c:pt idx="2">
                  <c:v>170.91342949512588</c:v>
                </c:pt>
                <c:pt idx="3">
                  <c:v>67.823179154430107</c:v>
                </c:pt>
                <c:pt idx="4">
                  <c:v>116.00219056418948</c:v>
                </c:pt>
                <c:pt idx="5">
                  <c:v>145.75554821928498</c:v>
                </c:pt>
                <c:pt idx="6">
                  <c:v>35.300341048077563</c:v>
                </c:pt>
                <c:pt idx="7">
                  <c:v>48.855210562147214</c:v>
                </c:pt>
                <c:pt idx="8">
                  <c:v>168.17217636267819</c:v>
                </c:pt>
                <c:pt idx="9">
                  <c:v>117.6265057002736</c:v>
                </c:pt>
                <c:pt idx="10">
                  <c:v>115.64571130326844</c:v>
                </c:pt>
                <c:pt idx="11">
                  <c:v>68.518048565775544</c:v>
                </c:pt>
                <c:pt idx="12">
                  <c:v>69.086344882302441</c:v>
                </c:pt>
                <c:pt idx="13">
                  <c:v>124.21899911441957</c:v>
                </c:pt>
                <c:pt idx="14">
                  <c:v>100.17233199704103</c:v>
                </c:pt>
                <c:pt idx="15">
                  <c:v>30.516766836488639</c:v>
                </c:pt>
                <c:pt idx="16">
                  <c:v>104.68395268233415</c:v>
                </c:pt>
                <c:pt idx="17">
                  <c:v>109.14856057049785</c:v>
                </c:pt>
                <c:pt idx="18">
                  <c:v>98.863625868076483</c:v>
                </c:pt>
                <c:pt idx="19">
                  <c:v>84.22413070585992</c:v>
                </c:pt>
                <c:pt idx="20">
                  <c:v>131.3862240804385</c:v>
                </c:pt>
                <c:pt idx="21">
                  <c:v>123.88385164848708</c:v>
                </c:pt>
                <c:pt idx="22">
                  <c:v>57.677026809248432</c:v>
                </c:pt>
                <c:pt idx="23">
                  <c:v>117.02925018417749</c:v>
                </c:pt>
                <c:pt idx="24">
                  <c:v>73.404076343653756</c:v>
                </c:pt>
              </c:numCache>
            </c:numRef>
          </c:yVal>
          <c:smooth val="0"/>
          <c:extLst>
            <c:ext xmlns:c15="http://schemas.microsoft.com/office/drawing/2012/chart" uri="{02D57815-91ED-43cb-92C2-25804820EDAC}">
              <c15:datalabelsRange>
                <c15:f>Sheet1!$C$2:$C$26</c15:f>
                <c15:dlblRangeCache>
                  <c:ptCount val="25"/>
                  <c:pt idx="0">
                    <c:v>AR</c:v>
                  </c:pt>
                  <c:pt idx="1">
                    <c:v>BE</c:v>
                  </c:pt>
                  <c:pt idx="2">
                    <c:v>BR</c:v>
                  </c:pt>
                  <c:pt idx="3">
                    <c:v>CA</c:v>
                  </c:pt>
                  <c:pt idx="4">
                    <c:v>CL</c:v>
                  </c:pt>
                  <c:pt idx="5">
                    <c:v>CO</c:v>
                  </c:pt>
                  <c:pt idx="6">
                    <c:v>FR</c:v>
                  </c:pt>
                  <c:pt idx="7">
                    <c:v>DE</c:v>
                  </c:pt>
                  <c:pt idx="8">
                    <c:v>HU</c:v>
                  </c:pt>
                  <c:pt idx="9">
                    <c:v>IN</c:v>
                  </c:pt>
                  <c:pt idx="10">
                    <c:v>ID</c:v>
                  </c:pt>
                  <c:pt idx="11">
                    <c:v>IE</c:v>
                  </c:pt>
                  <c:pt idx="12">
                    <c:v>IT</c:v>
                  </c:pt>
                  <c:pt idx="13">
                    <c:v>MY</c:v>
                  </c:pt>
                  <c:pt idx="14">
                    <c:v>MX</c:v>
                  </c:pt>
                  <c:pt idx="15">
                    <c:v>NE</c:v>
                  </c:pt>
                  <c:pt idx="16">
                    <c:v>PE</c:v>
                  </c:pt>
                  <c:pt idx="17">
                    <c:v>PL</c:v>
                  </c:pt>
                  <c:pt idx="18">
                    <c:v>RU</c:v>
                  </c:pt>
                  <c:pt idx="19">
                    <c:v>SG</c:v>
                  </c:pt>
                  <c:pt idx="20">
                    <c:v>SA</c:v>
                  </c:pt>
                  <c:pt idx="21">
                    <c:v>TU</c:v>
                  </c:pt>
                  <c:pt idx="22">
                    <c:v>UK</c:v>
                  </c:pt>
                  <c:pt idx="23">
                    <c:v>US</c:v>
                  </c:pt>
                  <c:pt idx="24">
                    <c:v>VT</c:v>
                  </c:pt>
                </c15:dlblRangeCache>
              </c15:datalabelsRange>
            </c:ext>
            <c:ext xmlns:c16="http://schemas.microsoft.com/office/drawing/2014/chart" uri="{C3380CC4-5D6E-409C-BE32-E72D297353CC}">
              <c16:uniqueId val="{00000000-A7D8-4A57-8951-769E830B297F}"/>
            </c:ext>
          </c:extLst>
        </c:ser>
        <c:dLbls>
          <c:showLegendKey val="0"/>
          <c:showVal val="0"/>
          <c:showCatName val="0"/>
          <c:showSerName val="0"/>
          <c:showPercent val="0"/>
          <c:showBubbleSize val="0"/>
        </c:dLbls>
        <c:axId val="602050168"/>
        <c:axId val="602054008"/>
      </c:scatterChart>
      <c:valAx>
        <c:axId val="602050168"/>
        <c:scaling>
          <c:orientation val="minMax"/>
          <c:min val="70"/>
        </c:scaling>
        <c:delete val="0"/>
        <c:axPos val="b"/>
        <c:title>
          <c:tx>
            <c:rich>
              <a:bodyPr rot="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b="1" baseline="0" dirty="0"/>
                  <a:t>DCI </a:t>
                </a:r>
                <a:r>
                  <a:rPr lang="en-US" baseline="0" dirty="0"/>
                  <a:t>(</a:t>
                </a:r>
                <a:r>
                  <a:rPr lang="en-US" sz="1330" b="0" i="0" u="none" strike="noStrike" baseline="0" dirty="0">
                    <a:effectLst/>
                  </a:rPr>
                  <a:t>100 = DCI average</a:t>
                </a:r>
                <a:r>
                  <a:rPr lang="en-US" baseline="0" dirty="0"/>
                  <a:t>)</a:t>
                </a:r>
                <a:endParaRPr lang="en-US" dirty="0"/>
              </a:p>
            </c:rich>
          </c:tx>
          <c:overlay val="0"/>
          <c:spPr>
            <a:noFill/>
            <a:ln>
              <a:noFill/>
            </a:ln>
            <a:effectLst/>
          </c:spPr>
          <c:txPr>
            <a:bodyPr rot="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02054008"/>
        <c:crosses val="autoZero"/>
        <c:crossBetween val="midCat"/>
      </c:valAx>
      <c:valAx>
        <c:axId val="602054008"/>
        <c:scaling>
          <c:orientation val="minMax"/>
          <c:max val="190"/>
          <c:min val="0"/>
        </c:scaling>
        <c:delete val="0"/>
        <c:axPos val="l"/>
        <c:title>
          <c:tx>
            <c:rich>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r>
                  <a:rPr lang="en-US" b="1" dirty="0"/>
                  <a:t>Politics</a:t>
                </a:r>
                <a:r>
                  <a:rPr lang="en-US" dirty="0"/>
                  <a:t> (</a:t>
                </a:r>
                <a:r>
                  <a:rPr lang="en-US" sz="1330" b="0" i="0" u="none" strike="noStrike" baseline="0" dirty="0">
                    <a:effectLst/>
                  </a:rPr>
                  <a:t>100 = Politics average</a:t>
                </a:r>
                <a:r>
                  <a:rPr lang="en-US" dirty="0"/>
                  <a:t>)</a:t>
                </a:r>
              </a:p>
            </c:rich>
          </c:tx>
          <c:overlay val="0"/>
          <c:spPr>
            <a:noFill/>
            <a:ln>
              <a:noFill/>
            </a:ln>
            <a:effectLst/>
          </c:spPr>
          <c:txPr>
            <a:bodyPr rot="-5400000" spcFirstLastPara="1" vertOverflow="ellipsis" vert="horz" wrap="square" anchor="ctr" anchorCtr="1"/>
            <a:lstStyle/>
            <a:p>
              <a:pPr>
                <a:defRPr sz="1330" b="0" i="0" u="none" strike="noStrike" kern="1200" baseline="0">
                  <a:solidFill>
                    <a:schemeClr val="bg1"/>
                  </a:solidFill>
                  <a:latin typeface="+mn-lt"/>
                  <a:ea typeface="+mn-ea"/>
                  <a:cs typeface="+mn-cs"/>
                </a:defRPr>
              </a:pPr>
              <a:endParaRPr lang="en-US"/>
            </a:p>
          </c:txPr>
        </c:title>
        <c:numFmt formatCode="0" sourceLinked="1"/>
        <c:majorTickMark val="none"/>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1197" b="0" i="0" u="none" strike="noStrike" kern="1200" baseline="0">
                <a:solidFill>
                  <a:schemeClr val="bg1"/>
                </a:solidFill>
                <a:latin typeface="+mn-lt"/>
                <a:ea typeface="+mn-ea"/>
                <a:cs typeface="+mn-cs"/>
              </a:defRPr>
            </a:pPr>
            <a:endParaRPr lang="en-US"/>
          </a:p>
        </c:txPr>
        <c:crossAx val="602050168"/>
        <c:crosses val="autoZero"/>
        <c:crossBetween val="midCat"/>
      </c:valAx>
      <c:spPr>
        <a:solidFill>
          <a:srgbClr val="262626"/>
        </a:solidFill>
        <a:ln>
          <a:solidFill>
            <a:schemeClr val="bg1"/>
          </a:solid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solidFill>
        <a:schemeClr val="bg1"/>
      </a:solidFill>
    </a:ln>
    <a:effectLst/>
  </c:spPr>
  <c:txPr>
    <a:bodyPr/>
    <a:lstStyle/>
    <a:p>
      <a:pPr>
        <a:defRPr>
          <a:solidFill>
            <a:schemeClr val="bg1"/>
          </a:solidFill>
        </a:defRPr>
      </a:pPr>
      <a:endParaRPr lang="en-US"/>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04678362573097E-2"/>
          <c:y val="8.8611111111111127E-2"/>
          <c:w val="0.83451194994860001"/>
          <c:h val="0.87898148148148147"/>
        </c:manualLayout>
      </c:layout>
      <c:barChart>
        <c:barDir val="bar"/>
        <c:grouping val="clustered"/>
        <c:varyColors val="0"/>
        <c:ser>
          <c:idx val="0"/>
          <c:order val="0"/>
          <c:tx>
            <c:strRef>
              <c:f>Sheet1!$B$1</c:f>
              <c:strCache>
                <c:ptCount val="1"/>
                <c:pt idx="0">
                  <c:v>Teens</c:v>
                </c:pt>
              </c:strCache>
            </c:strRef>
          </c:tx>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0"/>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B748-4DC1-8E09-2E531B8FFD79}"/>
              </c:ext>
            </c:extLst>
          </c:dPt>
          <c:dPt>
            <c:idx val="1"/>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B748-4DC1-8E09-2E531B8FFD79}"/>
              </c:ext>
            </c:extLst>
          </c:dPt>
          <c:dPt>
            <c:idx val="2"/>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B748-4DC1-8E09-2E531B8FFD79}"/>
              </c:ext>
            </c:extLst>
          </c:dPt>
          <c:dPt>
            <c:idx val="3"/>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B748-4DC1-8E09-2E531B8FFD79}"/>
              </c:ext>
            </c:extLst>
          </c:dPt>
          <c:dPt>
            <c:idx val="4"/>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9-B748-4DC1-8E09-2E531B8FFD79}"/>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olitics</c:v>
                </c:pt>
                <c:pt idx="1">
                  <c:v>Sexual Orientation</c:v>
                </c:pt>
                <c:pt idx="2">
                  <c:v>Religion</c:v>
                </c:pt>
                <c:pt idx="3">
                  <c:v>Race</c:v>
                </c:pt>
                <c:pt idx="4">
                  <c:v>Physical Appearance</c:v>
                </c:pt>
              </c:strCache>
            </c:strRef>
          </c:cat>
          <c:val>
            <c:numRef>
              <c:f>Sheet1!$B$2:$B$6</c:f>
              <c:numCache>
                <c:formatCode>0%</c:formatCode>
                <c:ptCount val="5"/>
                <c:pt idx="0">
                  <c:v>0.23</c:v>
                </c:pt>
                <c:pt idx="1">
                  <c:v>0.3</c:v>
                </c:pt>
                <c:pt idx="2">
                  <c:v>0.22</c:v>
                </c:pt>
                <c:pt idx="3">
                  <c:v>0.24</c:v>
                </c:pt>
                <c:pt idx="4">
                  <c:v>0.38</c:v>
                </c:pt>
              </c:numCache>
            </c:numRef>
          </c:val>
          <c:extLst>
            <c:ext xmlns:c16="http://schemas.microsoft.com/office/drawing/2014/chart" uri="{C3380CC4-5D6E-409C-BE32-E72D297353CC}">
              <c16:uniqueId val="{0000000A-B748-4DC1-8E09-2E531B8FFD79}"/>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l"/>
        <c:numFmt formatCode="General" sourceLinked="1"/>
        <c:majorTickMark val="out"/>
        <c:minorTickMark val="none"/>
        <c:tickLblPos val="nextTo"/>
        <c:crossAx val="471501176"/>
        <c:crosses val="autoZero"/>
        <c:auto val="1"/>
        <c:lblAlgn val="ctr"/>
        <c:lblOffset val="100"/>
        <c:noMultiLvlLbl val="0"/>
      </c:catAx>
      <c:valAx>
        <c:axId val="471501176"/>
        <c:scaling>
          <c:orientation val="minMax"/>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lumMod val="65000"/>
              <a:lumOff val="35000"/>
            </a:schemeClr>
          </a:solidFill>
        </a:defRPr>
      </a:pPr>
      <a:endParaRPr lang="en-US"/>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r>
              <a:rPr lang="en-US" dirty="0"/>
              <a:t> </a:t>
            </a:r>
          </a:p>
        </c:rich>
      </c:tx>
      <c:layout>
        <c:manualLayout>
          <c:xMode val="edge"/>
          <c:yMode val="edge"/>
          <c:x val="0.45185208702024515"/>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10343521172763764"/>
          <c:y val="9.5856481481481487E-2"/>
          <c:w val="0.85733074244463769"/>
          <c:h val="0.87868055555555558"/>
        </c:manualLayout>
      </c:layout>
      <c:barChart>
        <c:barDir val="bar"/>
        <c:grouping val="clustered"/>
        <c:varyColors val="0"/>
        <c:ser>
          <c:idx val="0"/>
          <c:order val="0"/>
          <c:tx>
            <c:strRef>
              <c:f>Sheet1!$B$1</c:f>
              <c:strCache>
                <c:ptCount val="1"/>
                <c:pt idx="0">
                  <c:v>Adult</c:v>
                </c:pt>
              </c:strCache>
            </c:strRef>
          </c:tx>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1"/>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FA36-48F6-AA31-9ED73E1DCD0F}"/>
              </c:ext>
            </c:extLst>
          </c:dPt>
          <c:dPt>
            <c:idx val="2"/>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FA36-48F6-AA31-9ED73E1DCD0F}"/>
              </c:ext>
            </c:extLst>
          </c:dPt>
          <c:dPt>
            <c:idx val="3"/>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FA36-48F6-AA31-9ED73E1DCD0F}"/>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Politics</c:v>
                </c:pt>
                <c:pt idx="1">
                  <c:v>Sexual Orientation</c:v>
                </c:pt>
                <c:pt idx="2">
                  <c:v>Religion</c:v>
                </c:pt>
                <c:pt idx="3">
                  <c:v>Race</c:v>
                </c:pt>
                <c:pt idx="4">
                  <c:v>Physical Appearance</c:v>
                </c:pt>
              </c:strCache>
            </c:strRef>
          </c:cat>
          <c:val>
            <c:numRef>
              <c:f>Sheet1!$B$2:$B$6</c:f>
              <c:numCache>
                <c:formatCode>0%</c:formatCode>
                <c:ptCount val="5"/>
                <c:pt idx="0">
                  <c:v>0.38</c:v>
                </c:pt>
                <c:pt idx="1">
                  <c:v>0.3</c:v>
                </c:pt>
                <c:pt idx="2">
                  <c:v>0.28999999999999998</c:v>
                </c:pt>
                <c:pt idx="3">
                  <c:v>0.25</c:v>
                </c:pt>
                <c:pt idx="4">
                  <c:v>0.24</c:v>
                </c:pt>
              </c:numCache>
            </c:numRef>
          </c:val>
          <c:extLst>
            <c:ext xmlns:c16="http://schemas.microsoft.com/office/drawing/2014/chart" uri="{C3380CC4-5D6E-409C-BE32-E72D297353CC}">
              <c16:uniqueId val="{0000000A-FA36-48F6-AA31-9ED73E1DCD0F}"/>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r"/>
        <c:numFmt formatCode="General" sourceLinked="1"/>
        <c:majorTickMark val="out"/>
        <c:minorTickMark val="none"/>
        <c:tickLblPos val="nextTo"/>
        <c:crossAx val="471501176"/>
        <c:crosses val="autoZero"/>
        <c:auto val="1"/>
        <c:lblAlgn val="ctr"/>
        <c:lblOffset val="100"/>
        <c:noMultiLvlLbl val="0"/>
      </c:catAx>
      <c:valAx>
        <c:axId val="471501176"/>
        <c:scaling>
          <c:orientation val="maxMin"/>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solidFill>
      <a:schemeClr val="tx1"/>
    </a:solidFill>
    <a:ln>
      <a:noFill/>
    </a:ln>
    <a:effectLst/>
  </c:spPr>
  <c:txPr>
    <a:bodyPr/>
    <a:lstStyle/>
    <a:p>
      <a:pPr>
        <a:defRPr>
          <a:solidFill>
            <a:schemeClr val="bg1">
              <a:lumMod val="65000"/>
              <a:lumOff val="35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r>
              <a:rPr lang="en-US" dirty="0"/>
              <a:t> </a:t>
            </a:r>
          </a:p>
        </c:rich>
      </c:tx>
      <c:layout>
        <c:manualLayout>
          <c:xMode val="edge"/>
          <c:yMode val="edge"/>
          <c:x val="0.45185208702024515"/>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1</c:f>
              <c:strCache>
                <c:ptCount val="1"/>
                <c:pt idx="0">
                  <c:v>Male</c:v>
                </c:pt>
              </c:strCache>
            </c:strRef>
          </c:tx>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1"/>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FA36-48F6-AA31-9ED73E1DCD0F}"/>
              </c:ext>
            </c:extLst>
          </c:dPt>
          <c:dPt>
            <c:idx val="2"/>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FA36-48F6-AA31-9ED73E1DCD0F}"/>
              </c:ext>
            </c:extLst>
          </c:dPt>
          <c:dPt>
            <c:idx val="3"/>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FA36-48F6-AA31-9ED73E1DCD0F}"/>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espect</c:v>
                </c:pt>
                <c:pt idx="1">
                  <c:v>Safety</c:v>
                </c:pt>
                <c:pt idx="2">
                  <c:v>Civility</c:v>
                </c:pt>
                <c:pt idx="3">
                  <c:v>Freedom</c:v>
                </c:pt>
                <c:pt idx="4">
                  <c:v>Kindness</c:v>
                </c:pt>
                <c:pt idx="5">
                  <c:v>Empathy</c:v>
                </c:pt>
                <c:pt idx="6">
                  <c:v>Well-being</c:v>
                </c:pt>
                <c:pt idx="7">
                  <c:v>Health</c:v>
                </c:pt>
                <c:pt idx="8">
                  <c:v>Curiosity</c:v>
                </c:pt>
              </c:strCache>
            </c:strRef>
          </c:cat>
          <c:val>
            <c:numRef>
              <c:f>Sheet1!$B$2:$B$10</c:f>
              <c:numCache>
                <c:formatCode>0%</c:formatCode>
                <c:ptCount val="9"/>
                <c:pt idx="0">
                  <c:v>0.63900000000000001</c:v>
                </c:pt>
                <c:pt idx="1">
                  <c:v>0.55300000000000005</c:v>
                </c:pt>
                <c:pt idx="2">
                  <c:v>0.32</c:v>
                </c:pt>
                <c:pt idx="3">
                  <c:v>0.36</c:v>
                </c:pt>
                <c:pt idx="4">
                  <c:v>0.246</c:v>
                </c:pt>
                <c:pt idx="5">
                  <c:v>0.20300000000000001</c:v>
                </c:pt>
                <c:pt idx="6">
                  <c:v>0.159</c:v>
                </c:pt>
                <c:pt idx="7">
                  <c:v>0.128</c:v>
                </c:pt>
                <c:pt idx="8">
                  <c:v>0.127</c:v>
                </c:pt>
              </c:numCache>
            </c:numRef>
          </c:val>
          <c:extLst>
            <c:ext xmlns:c16="http://schemas.microsoft.com/office/drawing/2014/chart" uri="{C3380CC4-5D6E-409C-BE32-E72D297353CC}">
              <c16:uniqueId val="{0000000A-FA36-48F6-AA31-9ED73E1DCD0F}"/>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r"/>
        <c:numFmt formatCode="General" sourceLinked="1"/>
        <c:majorTickMark val="out"/>
        <c:minorTickMark val="none"/>
        <c:tickLblPos val="nextTo"/>
        <c:crossAx val="471501176"/>
        <c:crosses val="autoZero"/>
        <c:auto val="1"/>
        <c:lblAlgn val="ctr"/>
        <c:lblOffset val="100"/>
        <c:noMultiLvlLbl val="0"/>
      </c:catAx>
      <c:valAx>
        <c:axId val="471501176"/>
        <c:scaling>
          <c:orientation val="maxMin"/>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solidFill>
      <a:schemeClr val="tx1"/>
    </a:solidFill>
    <a:ln>
      <a:noFill/>
    </a:ln>
    <a:effectLst/>
  </c:spPr>
  <c:txPr>
    <a:bodyPr/>
    <a:lstStyle/>
    <a:p>
      <a:pPr>
        <a:defRPr>
          <a:solidFill>
            <a:schemeClr val="bg1">
              <a:lumMod val="65000"/>
              <a:lumOff val="35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04678362573097E-2"/>
          <c:y val="8.8611111111111127E-2"/>
          <c:w val="0.91959064327485385"/>
          <c:h val="0.87898148148148147"/>
        </c:manualLayout>
      </c:layout>
      <c:barChart>
        <c:barDir val="bar"/>
        <c:grouping val="clustered"/>
        <c:varyColors val="0"/>
        <c:ser>
          <c:idx val="0"/>
          <c:order val="0"/>
          <c:tx>
            <c:strRef>
              <c:f>Sheet1!$B$1</c:f>
              <c:strCache>
                <c:ptCount val="1"/>
                <c:pt idx="0">
                  <c:v>Female</c:v>
                </c:pt>
              </c:strCache>
            </c:strRef>
          </c:tx>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0"/>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B748-4DC1-8E09-2E531B8FFD79}"/>
              </c:ext>
            </c:extLst>
          </c:dPt>
          <c:dPt>
            <c:idx val="1"/>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B748-4DC1-8E09-2E531B8FFD79}"/>
              </c:ext>
            </c:extLst>
          </c:dPt>
          <c:dPt>
            <c:idx val="2"/>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B748-4DC1-8E09-2E531B8FFD79}"/>
              </c:ext>
            </c:extLst>
          </c:dPt>
          <c:dPt>
            <c:idx val="3"/>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B748-4DC1-8E09-2E531B8FFD79}"/>
              </c:ext>
            </c:extLst>
          </c:dPt>
          <c:dPt>
            <c:idx val="4"/>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9-B748-4DC1-8E09-2E531B8FFD79}"/>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espect</c:v>
                </c:pt>
                <c:pt idx="1">
                  <c:v>Safety</c:v>
                </c:pt>
                <c:pt idx="2">
                  <c:v>Civility</c:v>
                </c:pt>
                <c:pt idx="3">
                  <c:v>Freedom</c:v>
                </c:pt>
                <c:pt idx="4">
                  <c:v>Kindness</c:v>
                </c:pt>
                <c:pt idx="5">
                  <c:v>Empathy</c:v>
                </c:pt>
                <c:pt idx="6">
                  <c:v>Well-being</c:v>
                </c:pt>
                <c:pt idx="7">
                  <c:v>Health</c:v>
                </c:pt>
                <c:pt idx="8">
                  <c:v>Curiosity</c:v>
                </c:pt>
              </c:strCache>
            </c:strRef>
          </c:cat>
          <c:val>
            <c:numRef>
              <c:f>Sheet1!$B$2:$B$10</c:f>
              <c:numCache>
                <c:formatCode>0%</c:formatCode>
                <c:ptCount val="9"/>
                <c:pt idx="0">
                  <c:v>0.67800000000000005</c:v>
                </c:pt>
                <c:pt idx="1">
                  <c:v>0.59</c:v>
                </c:pt>
                <c:pt idx="2">
                  <c:v>0.32</c:v>
                </c:pt>
                <c:pt idx="3">
                  <c:v>0.307</c:v>
                </c:pt>
                <c:pt idx="4">
                  <c:v>0.27</c:v>
                </c:pt>
                <c:pt idx="5">
                  <c:v>0.22</c:v>
                </c:pt>
                <c:pt idx="6">
                  <c:v>0.14399999999999999</c:v>
                </c:pt>
                <c:pt idx="7">
                  <c:v>0.11</c:v>
                </c:pt>
                <c:pt idx="8">
                  <c:v>0.10100000000000001</c:v>
                </c:pt>
              </c:numCache>
            </c:numRef>
          </c:val>
          <c:extLst>
            <c:ext xmlns:c16="http://schemas.microsoft.com/office/drawing/2014/chart" uri="{C3380CC4-5D6E-409C-BE32-E72D297353CC}">
              <c16:uniqueId val="{0000000A-B748-4DC1-8E09-2E531B8FFD79}"/>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l"/>
        <c:numFmt formatCode="General" sourceLinked="1"/>
        <c:majorTickMark val="out"/>
        <c:minorTickMark val="none"/>
        <c:tickLblPos val="nextTo"/>
        <c:crossAx val="471501176"/>
        <c:crosses val="autoZero"/>
        <c:auto val="1"/>
        <c:lblAlgn val="ctr"/>
        <c:lblOffset val="100"/>
        <c:noMultiLvlLbl val="0"/>
      </c:catAx>
      <c:valAx>
        <c:axId val="471501176"/>
        <c:scaling>
          <c:orientation val="minMax"/>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lumMod val="65000"/>
              <a:lumOff val="35000"/>
            </a:schemeClr>
          </a:solidFill>
        </a:defRPr>
      </a:pPr>
      <a:endParaRPr lang="en-US"/>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r>
              <a:rPr lang="en-US" dirty="0"/>
              <a:t> </a:t>
            </a:r>
          </a:p>
        </c:rich>
      </c:tx>
      <c:layout>
        <c:manualLayout>
          <c:xMode val="edge"/>
          <c:yMode val="edge"/>
          <c:x val="0.45185208702024515"/>
          <c:y val="0"/>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clustered"/>
        <c:varyColors val="0"/>
        <c:ser>
          <c:idx val="0"/>
          <c:order val="0"/>
          <c:tx>
            <c:strRef>
              <c:f>Sheet1!$B$1</c:f>
              <c:strCache>
                <c:ptCount val="1"/>
                <c:pt idx="0">
                  <c:v>Adult</c:v>
                </c:pt>
              </c:strCache>
            </c:strRef>
          </c:tx>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1"/>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FA36-48F6-AA31-9ED73E1DCD0F}"/>
              </c:ext>
            </c:extLst>
          </c:dPt>
          <c:dPt>
            <c:idx val="2"/>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FA36-48F6-AA31-9ED73E1DCD0F}"/>
              </c:ext>
            </c:extLst>
          </c:dPt>
          <c:dPt>
            <c:idx val="3"/>
            <c:invertIfNegative val="0"/>
            <c:bubble3D val="0"/>
            <c:spPr>
              <a:solidFill>
                <a:srgbClr val="3282B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FA36-48F6-AA31-9ED73E1DCD0F}"/>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espect</c:v>
                </c:pt>
                <c:pt idx="1">
                  <c:v>Safety</c:v>
                </c:pt>
                <c:pt idx="2">
                  <c:v>Civility</c:v>
                </c:pt>
                <c:pt idx="3">
                  <c:v>Freedom</c:v>
                </c:pt>
                <c:pt idx="4">
                  <c:v>Kindness</c:v>
                </c:pt>
                <c:pt idx="5">
                  <c:v>Empathy</c:v>
                </c:pt>
                <c:pt idx="6">
                  <c:v>Well-being</c:v>
                </c:pt>
                <c:pt idx="7">
                  <c:v>Health</c:v>
                </c:pt>
                <c:pt idx="8">
                  <c:v>Curiosity</c:v>
                </c:pt>
              </c:strCache>
            </c:strRef>
          </c:cat>
          <c:val>
            <c:numRef>
              <c:f>Sheet1!$B$2:$B$10</c:f>
              <c:numCache>
                <c:formatCode>0%</c:formatCode>
                <c:ptCount val="9"/>
                <c:pt idx="0">
                  <c:v>0.66625696711469251</c:v>
                </c:pt>
                <c:pt idx="1">
                  <c:v>0.56384557921493872</c:v>
                </c:pt>
                <c:pt idx="2">
                  <c:v>0.3340356328528008</c:v>
                </c:pt>
                <c:pt idx="3">
                  <c:v>0.33240547561275441</c:v>
                </c:pt>
                <c:pt idx="4">
                  <c:v>0.24677972912707855</c:v>
                </c:pt>
                <c:pt idx="5">
                  <c:v>0.21952941677045359</c:v>
                </c:pt>
                <c:pt idx="6">
                  <c:v>0.1442881933597287</c:v>
                </c:pt>
                <c:pt idx="7">
                  <c:v>0.11363148794159697</c:v>
                </c:pt>
                <c:pt idx="8">
                  <c:v>0.109007287295834</c:v>
                </c:pt>
              </c:numCache>
            </c:numRef>
          </c:val>
          <c:extLst>
            <c:ext xmlns:c16="http://schemas.microsoft.com/office/drawing/2014/chart" uri="{C3380CC4-5D6E-409C-BE32-E72D297353CC}">
              <c16:uniqueId val="{0000000A-FA36-48F6-AA31-9ED73E1DCD0F}"/>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r"/>
        <c:numFmt formatCode="General" sourceLinked="1"/>
        <c:majorTickMark val="out"/>
        <c:minorTickMark val="none"/>
        <c:tickLblPos val="nextTo"/>
        <c:crossAx val="471501176"/>
        <c:crosses val="autoZero"/>
        <c:auto val="1"/>
        <c:lblAlgn val="ctr"/>
        <c:lblOffset val="100"/>
        <c:noMultiLvlLbl val="0"/>
      </c:catAx>
      <c:valAx>
        <c:axId val="471501176"/>
        <c:scaling>
          <c:orientation val="maxMin"/>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solidFill>
      <a:schemeClr val="tx1"/>
    </a:solidFill>
    <a:ln>
      <a:noFill/>
    </a:ln>
    <a:effectLst/>
  </c:spPr>
  <c:txPr>
    <a:bodyPr/>
    <a:lstStyle/>
    <a:p>
      <a:pPr>
        <a:defRPr>
          <a:solidFill>
            <a:schemeClr val="bg1">
              <a:lumMod val="65000"/>
              <a:lumOff val="35000"/>
            </a:schemeClr>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0204678362573097E-2"/>
          <c:y val="8.8611111111111127E-2"/>
          <c:w val="0.91959064327485385"/>
          <c:h val="0.87898148148148147"/>
        </c:manualLayout>
      </c:layout>
      <c:barChart>
        <c:barDir val="bar"/>
        <c:grouping val="clustered"/>
        <c:varyColors val="0"/>
        <c:ser>
          <c:idx val="0"/>
          <c:order val="0"/>
          <c:tx>
            <c:strRef>
              <c:f>Sheet1!$B$1</c:f>
              <c:strCache>
                <c:ptCount val="1"/>
                <c:pt idx="0">
                  <c:v>Teens</c:v>
                </c:pt>
              </c:strCache>
            </c:strRef>
          </c:tx>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invertIfNegative val="0"/>
          <c:dPt>
            <c:idx val="0"/>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1-B748-4DC1-8E09-2E531B8FFD79}"/>
              </c:ext>
            </c:extLst>
          </c:dPt>
          <c:dPt>
            <c:idx val="1"/>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3-B748-4DC1-8E09-2E531B8FFD79}"/>
              </c:ext>
            </c:extLst>
          </c:dPt>
          <c:dPt>
            <c:idx val="2"/>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5-B748-4DC1-8E09-2E531B8FFD79}"/>
              </c:ext>
            </c:extLst>
          </c:dPt>
          <c:dPt>
            <c:idx val="3"/>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7-B748-4DC1-8E09-2E531B8FFD79}"/>
              </c:ext>
            </c:extLst>
          </c:dPt>
          <c:dPt>
            <c:idx val="4"/>
            <c:invertIfNegative val="0"/>
            <c:bubble3D val="0"/>
            <c:spPr>
              <a:solidFill>
                <a:srgbClr val="2CB8AE"/>
              </a:solidFill>
              <a:ln w="19050">
                <a:solidFill>
                  <a:schemeClr val="lt1"/>
                </a:solidFill>
              </a:ln>
              <a:effectLst>
                <a:outerShdw blurRad="50800" dist="38100" algn="l" rotWithShape="0">
                  <a:prstClr val="black">
                    <a:alpha val="40000"/>
                  </a:prstClr>
                </a:outerShdw>
              </a:effectLst>
              <a:scene3d>
                <a:camera prst="orthographicFront"/>
                <a:lightRig rig="threePt" dir="t"/>
              </a:scene3d>
              <a:sp3d>
                <a:bevelT/>
              </a:sp3d>
            </c:spPr>
            <c:extLst>
              <c:ext xmlns:c16="http://schemas.microsoft.com/office/drawing/2014/chart" uri="{C3380CC4-5D6E-409C-BE32-E72D297353CC}">
                <c16:uniqueId val="{00000009-B748-4DC1-8E09-2E531B8FFD79}"/>
              </c:ext>
            </c:extLst>
          </c:dPt>
          <c:dLbls>
            <c:spPr>
              <a:noFill/>
              <a:ln>
                <a:noFill/>
              </a:ln>
              <a:effectLst/>
            </c:spPr>
            <c:txPr>
              <a:bodyPr rot="0" spcFirstLastPara="1" vertOverflow="ellipsis" vert="horz" wrap="square" anchor="ctr" anchorCtr="1"/>
              <a:lstStyle/>
              <a:p>
                <a:pPr>
                  <a:defRPr sz="1800" b="0" i="0" u="none" strike="noStrike" kern="1200" baseline="0">
                    <a:solidFill>
                      <a:schemeClr val="bg1">
                        <a:lumMod val="65000"/>
                        <a:lumOff val="35000"/>
                      </a:schemeClr>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Respect</c:v>
                </c:pt>
                <c:pt idx="1">
                  <c:v>Safety</c:v>
                </c:pt>
                <c:pt idx="2">
                  <c:v>Civility</c:v>
                </c:pt>
                <c:pt idx="3">
                  <c:v>Freedom</c:v>
                </c:pt>
                <c:pt idx="4">
                  <c:v>Kindness</c:v>
                </c:pt>
                <c:pt idx="5">
                  <c:v>Empathy</c:v>
                </c:pt>
                <c:pt idx="6">
                  <c:v>Well-being</c:v>
                </c:pt>
                <c:pt idx="7">
                  <c:v>Health</c:v>
                </c:pt>
                <c:pt idx="8">
                  <c:v>Curiosity</c:v>
                </c:pt>
              </c:strCache>
            </c:strRef>
          </c:cat>
          <c:val>
            <c:numRef>
              <c:f>Sheet1!$B$2:$B$10</c:f>
              <c:numCache>
                <c:formatCode>0%</c:formatCode>
                <c:ptCount val="9"/>
                <c:pt idx="0">
                  <c:v>0.65016208794551833</c:v>
                </c:pt>
                <c:pt idx="1">
                  <c:v>0.58212152596470434</c:v>
                </c:pt>
                <c:pt idx="2">
                  <c:v>0.30266064532500586</c:v>
                </c:pt>
                <c:pt idx="3">
                  <c:v>0.33603495119573074</c:v>
                </c:pt>
                <c:pt idx="4">
                  <c:v>0.28000000000000003</c:v>
                </c:pt>
                <c:pt idx="5">
                  <c:v>0.19776656126804365</c:v>
                </c:pt>
                <c:pt idx="6">
                  <c:v>0.15671349484668701</c:v>
                </c:pt>
                <c:pt idx="7">
                  <c:v>0.11880150473418966</c:v>
                </c:pt>
                <c:pt idx="8">
                  <c:v>0.11740036008612079</c:v>
                </c:pt>
              </c:numCache>
            </c:numRef>
          </c:val>
          <c:extLst>
            <c:ext xmlns:c16="http://schemas.microsoft.com/office/drawing/2014/chart" uri="{C3380CC4-5D6E-409C-BE32-E72D297353CC}">
              <c16:uniqueId val="{0000000A-B748-4DC1-8E09-2E531B8FFD79}"/>
            </c:ext>
          </c:extLst>
        </c:ser>
        <c:dLbls>
          <c:dLblPos val="outEnd"/>
          <c:showLegendKey val="0"/>
          <c:showVal val="1"/>
          <c:showCatName val="0"/>
          <c:showSerName val="0"/>
          <c:showPercent val="0"/>
          <c:showBubbleSize val="0"/>
        </c:dLbls>
        <c:gapWidth val="50"/>
        <c:axId val="471498552"/>
        <c:axId val="471501176"/>
      </c:barChart>
      <c:catAx>
        <c:axId val="471498552"/>
        <c:scaling>
          <c:orientation val="maxMin"/>
        </c:scaling>
        <c:delete val="1"/>
        <c:axPos val="l"/>
        <c:numFmt formatCode="General" sourceLinked="1"/>
        <c:majorTickMark val="out"/>
        <c:minorTickMark val="none"/>
        <c:tickLblPos val="nextTo"/>
        <c:crossAx val="471501176"/>
        <c:crosses val="autoZero"/>
        <c:auto val="1"/>
        <c:lblAlgn val="ctr"/>
        <c:lblOffset val="100"/>
        <c:noMultiLvlLbl val="0"/>
      </c:catAx>
      <c:valAx>
        <c:axId val="471501176"/>
        <c:scaling>
          <c:orientation val="minMax"/>
        </c:scaling>
        <c:delete val="1"/>
        <c:axPos val="t"/>
        <c:numFmt formatCode="0%" sourceLinked="1"/>
        <c:majorTickMark val="out"/>
        <c:minorTickMark val="none"/>
        <c:tickLblPos val="nextTo"/>
        <c:crossAx val="471498552"/>
        <c:crosses val="autoZero"/>
        <c:crossBetween val="between"/>
      </c:valAx>
      <c:spPr>
        <a:noFill/>
        <a:ln>
          <a:noFill/>
        </a:ln>
        <a:effectLst/>
      </c:spPr>
    </c:plotArea>
    <c:plotVisOnly val="1"/>
    <c:dispBlanksAs val="gap"/>
    <c:showDLblsOverMax val="0"/>
  </c:chart>
  <c:spPr>
    <a:noFill/>
    <a:ln>
      <a:noFill/>
    </a:ln>
    <a:effectLst/>
  </c:spPr>
  <c:txPr>
    <a:bodyPr/>
    <a:lstStyle/>
    <a:p>
      <a:pPr>
        <a:defRPr>
          <a:solidFill>
            <a:schemeClr val="bg1">
              <a:lumMod val="65000"/>
              <a:lumOff val="35000"/>
            </a:schemeClr>
          </a:solidFill>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8194444444444448E-2"/>
          <c:y val="3.6112025759532582E-3"/>
          <c:w val="0.92361111111111116"/>
          <c:h val="0.84822115573268453"/>
        </c:manualLayout>
      </c:layout>
      <c:lineChart>
        <c:grouping val="standard"/>
        <c:varyColors val="0"/>
        <c:ser>
          <c:idx val="1"/>
          <c:order val="1"/>
          <c:tx>
            <c:strRef>
              <c:f>Sheet1!$A$3</c:f>
              <c:strCache>
                <c:ptCount val="1"/>
                <c:pt idx="0">
                  <c:v>Damage to personal rep</c:v>
                </c:pt>
              </c:strCache>
            </c:strRef>
          </c:tx>
          <c:spPr>
            <a:ln w="76200" cap="rnd">
              <a:solidFill>
                <a:srgbClr val="3282BE">
                  <a:alpha val="60000"/>
                </a:srgbClr>
              </a:solidFill>
              <a:round/>
            </a:ln>
            <a:effectLst/>
          </c:spPr>
          <c:marker>
            <c:symbol val="circle"/>
            <c:size val="11"/>
            <c:spPr>
              <a:solidFill>
                <a:schemeClr val="tx1"/>
              </a:solidFill>
              <a:ln w="12700">
                <a:solidFill>
                  <a:srgbClr val="FFB900"/>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03-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4-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3:$E$3</c:f>
              <c:numCache>
                <c:formatCode>0%</c:formatCode>
                <c:ptCount val="4"/>
                <c:pt idx="0">
                  <c:v>0.09</c:v>
                </c:pt>
                <c:pt idx="1">
                  <c:v>0.1</c:v>
                </c:pt>
                <c:pt idx="2">
                  <c:v>0.1</c:v>
                </c:pt>
                <c:pt idx="3">
                  <c:v>0.11</c:v>
                </c:pt>
              </c:numCache>
            </c:numRef>
          </c:val>
          <c:smooth val="0"/>
          <c:extLst>
            <c:ext xmlns:c16="http://schemas.microsoft.com/office/drawing/2014/chart" uri="{C3380CC4-5D6E-409C-BE32-E72D297353CC}">
              <c16:uniqueId val="{00000005-6760-4095-A181-9528C940F5F5}"/>
            </c:ext>
          </c:extLst>
        </c:ser>
        <c:ser>
          <c:idx val="2"/>
          <c:order val="2"/>
          <c:tx>
            <c:strRef>
              <c:f>Sheet1!$A$4</c:f>
              <c:strCache>
                <c:ptCount val="1"/>
                <c:pt idx="0">
                  <c:v>Doxing</c:v>
                </c:pt>
              </c:strCache>
            </c:strRef>
          </c:tx>
          <c:spPr>
            <a:ln w="76200" cap="rnd">
              <a:solidFill>
                <a:srgbClr val="28608C">
                  <a:alpha val="60000"/>
                </a:srgbClr>
              </a:solidFill>
              <a:round/>
            </a:ln>
            <a:effectLst/>
          </c:spPr>
          <c:marker>
            <c:symbol val="circle"/>
            <c:size val="11"/>
            <c:spPr>
              <a:solidFill>
                <a:schemeClr val="tx1"/>
              </a:solidFill>
              <a:ln w="12700">
                <a:solidFill>
                  <a:schemeClr val="accent3"/>
                </a:solidFill>
                <a:round/>
              </a:ln>
              <a:effectLst/>
            </c:spPr>
          </c:marker>
          <c:dLbls>
            <c:dLbl>
              <c:idx val="1"/>
              <c:delete val="1"/>
              <c:extLst>
                <c:ext xmlns:c15="http://schemas.microsoft.com/office/drawing/2012/chart" uri="{CE6537A1-D6FC-4f65-9D91-7224C49458BB}"/>
                <c:ext xmlns:c16="http://schemas.microsoft.com/office/drawing/2014/chart" uri="{C3380CC4-5D6E-409C-BE32-E72D297353CC}">
                  <c16:uniqueId val="{00000015-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6-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4:$E$4</c:f>
              <c:numCache>
                <c:formatCode>0%</c:formatCode>
                <c:ptCount val="4"/>
                <c:pt idx="0">
                  <c:v>0.09</c:v>
                </c:pt>
                <c:pt idx="1">
                  <c:v>0.09</c:v>
                </c:pt>
                <c:pt idx="2">
                  <c:v>0.09</c:v>
                </c:pt>
                <c:pt idx="3">
                  <c:v>0.11700000000000001</c:v>
                </c:pt>
              </c:numCache>
            </c:numRef>
          </c:val>
          <c:smooth val="0"/>
          <c:extLst>
            <c:ext xmlns:c16="http://schemas.microsoft.com/office/drawing/2014/chart" uri="{C3380CC4-5D6E-409C-BE32-E72D297353CC}">
              <c16:uniqueId val="{00000007-6760-4095-A181-9528C940F5F5}"/>
            </c:ext>
          </c:extLst>
        </c:ser>
        <c:ser>
          <c:idx val="3"/>
          <c:order val="3"/>
          <c:tx>
            <c:strRef>
              <c:f>Sheet1!$A$5</c:f>
              <c:strCache>
                <c:ptCount val="1"/>
                <c:pt idx="0">
                  <c:v>Damage to work rep</c:v>
                </c:pt>
              </c:strCache>
            </c:strRef>
          </c:tx>
          <c:spPr>
            <a:ln w="76200" cap="rnd">
              <a:solidFill>
                <a:srgbClr val="2CB8AE">
                  <a:alpha val="60000"/>
                </a:srgbClr>
              </a:solidFill>
              <a:round/>
            </a:ln>
            <a:effectLst/>
          </c:spPr>
          <c:marker>
            <c:symbol val="circle"/>
            <c:size val="11"/>
            <c:spPr>
              <a:solidFill>
                <a:schemeClr val="tx1"/>
              </a:solidFill>
              <a:ln w="12700">
                <a:solidFill>
                  <a:schemeClr val="bg1">
                    <a:lumMod val="50000"/>
                    <a:lumOff val="50000"/>
                  </a:schemeClr>
                </a:solidFill>
                <a:round/>
              </a:ln>
              <a:effectLst/>
            </c:spPr>
          </c:marker>
          <c:dPt>
            <c:idx val="2"/>
            <c:marker>
              <c:symbol val="circle"/>
              <c:size val="11"/>
              <c:spPr>
                <a:solidFill>
                  <a:schemeClr val="tx1"/>
                </a:solidFill>
                <a:ln w="12700">
                  <a:solidFill>
                    <a:schemeClr val="bg1">
                      <a:lumMod val="50000"/>
                      <a:lumOff val="50000"/>
                    </a:schemeClr>
                  </a:solidFill>
                  <a:round/>
                </a:ln>
                <a:effectLst/>
              </c:spPr>
            </c:marker>
            <c:bubble3D val="0"/>
            <c:spPr>
              <a:ln w="76200" cap="rnd">
                <a:solidFill>
                  <a:srgbClr val="2CB8AE">
                    <a:alpha val="60000"/>
                  </a:srgbClr>
                </a:solidFill>
                <a:round/>
              </a:ln>
              <a:effectLst/>
            </c:spPr>
            <c:extLst>
              <c:ext xmlns:c16="http://schemas.microsoft.com/office/drawing/2014/chart" uri="{C3380CC4-5D6E-409C-BE32-E72D297353CC}">
                <c16:uniqueId val="{00000009-6760-4095-A181-9528C940F5F5}"/>
              </c:ext>
            </c:extLst>
          </c:dPt>
          <c:dLbls>
            <c:dLbl>
              <c:idx val="1"/>
              <c:delete val="1"/>
              <c:extLst>
                <c:ext xmlns:c15="http://schemas.microsoft.com/office/drawing/2012/chart" uri="{CE6537A1-D6FC-4f65-9D91-7224C49458BB}"/>
                <c:ext xmlns:c16="http://schemas.microsoft.com/office/drawing/2014/chart" uri="{C3380CC4-5D6E-409C-BE32-E72D297353CC}">
                  <c16:uniqueId val="{0000000A-6760-4095-A181-9528C940F5F5}"/>
                </c:ext>
              </c:extLst>
            </c:dLbl>
            <c:dLbl>
              <c:idx val="2"/>
              <c:delete val="1"/>
              <c:extLst>
                <c:ext xmlns:c15="http://schemas.microsoft.com/office/drawing/2012/chart" uri="{CE6537A1-D6FC-4f65-9D91-7224C49458BB}"/>
                <c:ext xmlns:c16="http://schemas.microsoft.com/office/drawing/2014/chart" uri="{C3380CC4-5D6E-409C-BE32-E72D297353CC}">
                  <c16:uniqueId val="{00000009-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a:solidFill>
                        <a:schemeClr val="tx2">
                          <a:lumMod val="35000"/>
                          <a:lumOff val="65000"/>
                        </a:schemeClr>
                      </a:solidFill>
                    </a:ln>
                    <a:effectLst/>
                  </c:spPr>
                </c15:leaderLines>
              </c:ext>
            </c:extLst>
          </c:dLbls>
          <c:cat>
            <c:strRef>
              <c:f>Sheet1!$B$1:$E$1</c:f>
              <c:strCache>
                <c:ptCount val="4"/>
                <c:pt idx="0">
                  <c:v>2016</c:v>
                </c:pt>
                <c:pt idx="1">
                  <c:v>2017*</c:v>
                </c:pt>
                <c:pt idx="2">
                  <c:v>2018*</c:v>
                </c:pt>
                <c:pt idx="3">
                  <c:v>2019*</c:v>
                </c:pt>
              </c:strCache>
            </c:strRef>
          </c:cat>
          <c:val>
            <c:numRef>
              <c:f>Sheet1!$B$5:$E$5</c:f>
              <c:numCache>
                <c:formatCode>0%</c:formatCode>
                <c:ptCount val="4"/>
                <c:pt idx="0">
                  <c:v>0.04</c:v>
                </c:pt>
                <c:pt idx="1">
                  <c:v>0.04</c:v>
                </c:pt>
                <c:pt idx="2">
                  <c:v>0.05</c:v>
                </c:pt>
                <c:pt idx="3">
                  <c:v>6.2E-2</c:v>
                </c:pt>
              </c:numCache>
            </c:numRef>
          </c:val>
          <c:smooth val="0"/>
          <c:extLst>
            <c:ext xmlns:c16="http://schemas.microsoft.com/office/drawing/2014/chart" uri="{C3380CC4-5D6E-409C-BE32-E72D297353CC}">
              <c16:uniqueId val="{0000000B-6760-4095-A181-9528C940F5F5}"/>
            </c:ext>
          </c:extLst>
        </c:ser>
        <c:dLbls>
          <c:showLegendKey val="0"/>
          <c:showVal val="1"/>
          <c:showCatName val="0"/>
          <c:showSerName val="0"/>
          <c:showPercent val="0"/>
          <c:showBubbleSize val="0"/>
        </c:dLbls>
        <c:marker val="1"/>
        <c:smooth val="0"/>
        <c:axId val="830347024"/>
        <c:axId val="830348336"/>
        <c:extLst>
          <c:ext xmlns:c15="http://schemas.microsoft.com/office/drawing/2012/chart" uri="{02D57815-91ED-43cb-92C2-25804820EDAC}">
            <c15:filteredLineSeries>
              <c15:ser>
                <c:idx val="0"/>
                <c:order val="0"/>
                <c:tx>
                  <c:strRef>
                    <c:extLst>
                      <c:ext uri="{02D57815-91ED-43cb-92C2-25804820EDAC}">
                        <c15:formulaRef>
                          <c15:sqref>Sheet1!$A$2</c15:sqref>
                        </c15:formulaRef>
                      </c:ext>
                    </c:extLst>
                    <c:strCache>
                      <c:ptCount val="1"/>
                      <c:pt idx="0">
                        <c:v>Reputational risks</c:v>
                      </c:pt>
                    </c:strCache>
                  </c:strRef>
                </c:tx>
                <c:spPr>
                  <a:ln w="127000" cap="rnd">
                    <a:solidFill>
                      <a:srgbClr val="002050">
                        <a:alpha val="80000"/>
                      </a:srgbClr>
                    </a:solidFill>
                    <a:round/>
                  </a:ln>
                  <a:effectLst/>
                </c:spPr>
                <c:marker>
                  <c:symbol val="circle"/>
                  <c:size val="14"/>
                  <c:spPr>
                    <a:solidFill>
                      <a:schemeClr val="tx1"/>
                    </a:solidFill>
                    <a:ln w="12700">
                      <a:solidFill>
                        <a:srgbClr val="002050"/>
                      </a:solidFill>
                      <a:round/>
                    </a:ln>
                    <a:effectLst/>
                  </c:spPr>
                </c:marker>
                <c:dLbls>
                  <c:dLbl>
                    <c:idx val="1"/>
                    <c:delete val="1"/>
                    <c:extLst>
                      <c:ext uri="{CE6537A1-D6FC-4f65-9D91-7224C49458BB}"/>
                      <c:ext xmlns:c16="http://schemas.microsoft.com/office/drawing/2014/chart" uri="{C3380CC4-5D6E-409C-BE32-E72D297353CC}">
                        <c16:uniqueId val="{00000000-6760-4095-A181-9528C940F5F5}"/>
                      </c:ext>
                    </c:extLst>
                  </c:dLbl>
                  <c:dLbl>
                    <c:idx val="2"/>
                    <c:delete val="1"/>
                    <c:extLst>
                      <c:ext uri="{CE6537A1-D6FC-4f65-9D91-7224C49458BB}"/>
                      <c:ext xmlns:c16="http://schemas.microsoft.com/office/drawing/2014/chart" uri="{C3380CC4-5D6E-409C-BE32-E72D297353CC}">
                        <c16:uniqueId val="{00000001-6760-4095-A181-9528C940F5F5}"/>
                      </c:ext>
                    </c:extLst>
                  </c:dLbl>
                  <c:spPr>
                    <a:noFill/>
                    <a:ln>
                      <a:noFill/>
                    </a:ln>
                    <a:effectLst/>
                  </c:spPr>
                  <c:txPr>
                    <a:bodyPr rot="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dLblPos val="t"/>
                  <c:showLegendKey val="0"/>
                  <c:showVal val="1"/>
                  <c:showCatName val="0"/>
                  <c:showSerName val="0"/>
                  <c:showPercent val="0"/>
                  <c:showBubbleSize val="0"/>
                  <c:showLeaderLines val="0"/>
                  <c:extLst>
                    <c:ext uri="{CE6537A1-D6FC-4f65-9D91-7224C49458BB}">
                      <c15:showLeaderLines val="0"/>
                    </c:ext>
                  </c:extLst>
                </c:dLbls>
                <c:cat>
                  <c:strRef>
                    <c:extLst>
                      <c:ext uri="{02D57815-91ED-43cb-92C2-25804820EDAC}">
                        <c15:formulaRef>
                          <c15:sqref>Sheet1!$B$1:$E$1</c15:sqref>
                        </c15:formulaRef>
                      </c:ext>
                    </c:extLst>
                    <c:strCache>
                      <c:ptCount val="4"/>
                      <c:pt idx="0">
                        <c:v>2016</c:v>
                      </c:pt>
                      <c:pt idx="1">
                        <c:v>2017*</c:v>
                      </c:pt>
                      <c:pt idx="2">
                        <c:v>2018*</c:v>
                      </c:pt>
                      <c:pt idx="3">
                        <c:v>2019*</c:v>
                      </c:pt>
                    </c:strCache>
                  </c:strRef>
                </c:cat>
                <c:val>
                  <c:numRef>
                    <c:extLst>
                      <c:ext uri="{02D57815-91ED-43cb-92C2-25804820EDAC}">
                        <c15:formulaRef>
                          <c15:sqref>Sheet1!$B$2:$E$2</c15:sqref>
                        </c15:formulaRef>
                      </c:ext>
                    </c:extLst>
                    <c:numCache>
                      <c:formatCode>0%</c:formatCode>
                      <c:ptCount val="4"/>
                      <c:pt idx="0">
                        <c:v>0.19</c:v>
                      </c:pt>
                      <c:pt idx="1">
                        <c:v>0.17</c:v>
                      </c:pt>
                      <c:pt idx="2">
                        <c:v>0.18</c:v>
                      </c:pt>
                      <c:pt idx="3">
                        <c:v>0.21199999999999999</c:v>
                      </c:pt>
                    </c:numCache>
                  </c:numRef>
                </c:val>
                <c:smooth val="0"/>
                <c:extLst>
                  <c:ext xmlns:c16="http://schemas.microsoft.com/office/drawing/2014/chart" uri="{C3380CC4-5D6E-409C-BE32-E72D297353CC}">
                    <c16:uniqueId val="{00000002-6760-4095-A181-9528C940F5F5}"/>
                  </c:ext>
                </c:extLst>
              </c15:ser>
            </c15:filteredLineSeries>
          </c:ext>
        </c:extLst>
      </c:lineChart>
      <c:catAx>
        <c:axId val="830347024"/>
        <c:scaling>
          <c:orientation val="minMax"/>
        </c:scaling>
        <c:delete val="0"/>
        <c:axPos val="b"/>
        <c:numFmt formatCode="General" sourceLinked="1"/>
        <c:majorTickMark val="out"/>
        <c:minorTickMark val="none"/>
        <c:tickLblPos val="nextTo"/>
        <c:spPr>
          <a:noFill/>
          <a:ln w="9525" cap="flat" cmpd="sng" algn="ctr">
            <a:solidFill>
              <a:schemeClr val="tx2">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2"/>
                </a:solidFill>
                <a:latin typeface="Arial" panose="020B0604020202020204" pitchFamily="34" charset="0"/>
                <a:ea typeface="+mn-ea"/>
                <a:cs typeface="Arial" panose="020B0604020202020204" pitchFamily="34" charset="0"/>
              </a:defRPr>
            </a:pPr>
            <a:endParaRPr lang="en-US"/>
          </a:p>
        </c:txPr>
        <c:crossAx val="830348336"/>
        <c:crosses val="autoZero"/>
        <c:auto val="1"/>
        <c:lblAlgn val="ctr"/>
        <c:lblOffset val="100"/>
        <c:noMultiLvlLbl val="0"/>
      </c:catAx>
      <c:valAx>
        <c:axId val="830348336"/>
        <c:scaling>
          <c:orientation val="minMax"/>
          <c:max val="0.15000000000000002"/>
          <c:min val="0"/>
        </c:scaling>
        <c:delete val="1"/>
        <c:axPos val="l"/>
        <c:numFmt formatCode="0%" sourceLinked="1"/>
        <c:majorTickMark val="out"/>
        <c:minorTickMark val="none"/>
        <c:tickLblPos val="nextTo"/>
        <c:crossAx val="830347024"/>
        <c:crosses val="autoZero"/>
        <c:crossBetween val="between"/>
      </c:valAx>
      <c:spPr>
        <a:noFill/>
        <a:ln>
          <a:noFill/>
        </a:ln>
        <a:effectLst/>
      </c:spPr>
    </c:plotArea>
    <c:plotVisOnly val="1"/>
    <c:dispBlanksAs val="gap"/>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33009666146416E-2"/>
          <c:y val="0"/>
          <c:w val="0.90152633558416406"/>
          <c:h val="0.9978366707337496"/>
        </c:manualLayout>
      </c:layout>
      <c:doughnutChart>
        <c:varyColors val="1"/>
        <c:ser>
          <c:idx val="0"/>
          <c:order val="0"/>
          <c:tx>
            <c:strRef>
              <c:f>Sheet1!$B$1</c:f>
              <c:strCache>
                <c:ptCount val="1"/>
                <c:pt idx="0">
                  <c:v>Sales</c:v>
                </c:pt>
              </c:strCache>
            </c:strRef>
          </c:tx>
          <c:dPt>
            <c:idx val="0"/>
            <c:bubble3D val="0"/>
            <c:spPr>
              <a:solidFill>
                <a:schemeClr val="accent2"/>
              </a:solidFill>
            </c:spPr>
            <c:extLst>
              <c:ext xmlns:c16="http://schemas.microsoft.com/office/drawing/2014/chart" uri="{C3380CC4-5D6E-409C-BE32-E72D297353CC}">
                <c16:uniqueId val="{00000001-76A4-4D63-B099-17211149C5EF}"/>
              </c:ext>
            </c:extLst>
          </c:dPt>
          <c:dPt>
            <c:idx val="1"/>
            <c:bubble3D val="0"/>
            <c:spPr>
              <a:solidFill>
                <a:schemeClr val="bg1"/>
              </a:solidFill>
            </c:spPr>
            <c:extLst>
              <c:ext xmlns:c16="http://schemas.microsoft.com/office/drawing/2014/chart" uri="{C3380CC4-5D6E-409C-BE32-E72D297353CC}">
                <c16:uniqueId val="{00000003-76A4-4D63-B099-17211149C5EF}"/>
              </c:ext>
            </c:extLst>
          </c:dPt>
          <c:cat>
            <c:strRef>
              <c:f>Sheet1!$A$2:$A$3</c:f>
              <c:strCache>
                <c:ptCount val="1"/>
                <c:pt idx="0">
                  <c:v>Past month</c:v>
                </c:pt>
              </c:strCache>
            </c:strRef>
          </c:cat>
          <c:val>
            <c:numRef>
              <c:f>Sheet1!$B$2:$B$3</c:f>
              <c:numCache>
                <c:formatCode>General</c:formatCode>
                <c:ptCount val="2"/>
                <c:pt idx="0">
                  <c:v>40</c:v>
                </c:pt>
                <c:pt idx="1">
                  <c:v>60</c:v>
                </c:pt>
              </c:numCache>
            </c:numRef>
          </c:val>
          <c:extLst>
            <c:ext xmlns:c16="http://schemas.microsoft.com/office/drawing/2014/chart" uri="{C3380CC4-5D6E-409C-BE32-E72D297353CC}">
              <c16:uniqueId val="{00000004-76A4-4D63-B099-17211149C5EF}"/>
            </c:ext>
          </c:extLst>
        </c:ser>
        <c:dLbls>
          <c:showLegendKey val="0"/>
          <c:showVal val="0"/>
          <c:showCatName val="0"/>
          <c:showSerName val="0"/>
          <c:showPercent val="0"/>
          <c:showBubbleSize val="0"/>
          <c:showLeaderLines val="1"/>
        </c:dLbls>
        <c:firstSliceAng val="0"/>
        <c:holeSize val="70"/>
      </c:doughnutChart>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0653084105514244"/>
          <c:y val="0.19260730226104547"/>
          <c:w val="0.65903039978542954"/>
          <c:h val="0.66004817024825024"/>
        </c:manualLayout>
      </c:layout>
      <c:barChart>
        <c:barDir val="col"/>
        <c:grouping val="stacked"/>
        <c:varyColors val="0"/>
        <c:ser>
          <c:idx val="0"/>
          <c:order val="0"/>
          <c:tx>
            <c:strRef>
              <c:f>Sheet1!$A$2</c:f>
              <c:strCache>
                <c:ptCount val="1"/>
                <c:pt idx="0">
                  <c:v>Past Week</c:v>
                </c:pt>
              </c:strCache>
            </c:strRef>
          </c:tx>
          <c:spPr>
            <a:solidFill>
              <a:srgbClr val="3282BE"/>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3"/>
                <c:pt idx="0">
                  <c:v>2017</c:v>
                </c:pt>
                <c:pt idx="1">
                  <c:v>2018</c:v>
                </c:pt>
                <c:pt idx="2">
                  <c:v>2019</c:v>
                </c:pt>
              </c:strCache>
            </c:strRef>
          </c:cat>
          <c:val>
            <c:numRef>
              <c:f>Sheet1!$B$2:$E$2</c:f>
              <c:numCache>
                <c:formatCode>0%</c:formatCode>
                <c:ptCount val="3"/>
                <c:pt idx="0">
                  <c:v>0.11</c:v>
                </c:pt>
                <c:pt idx="1">
                  <c:v>0.1</c:v>
                </c:pt>
                <c:pt idx="2">
                  <c:v>0.12</c:v>
                </c:pt>
              </c:numCache>
            </c:numRef>
          </c:val>
          <c:extLst>
            <c:ext xmlns:c16="http://schemas.microsoft.com/office/drawing/2014/chart" uri="{C3380CC4-5D6E-409C-BE32-E72D297353CC}">
              <c16:uniqueId val="{00000000-5B6E-4B5F-B488-3A5273EFC8FE}"/>
            </c:ext>
          </c:extLst>
        </c:ser>
        <c:ser>
          <c:idx val="1"/>
          <c:order val="1"/>
          <c:tx>
            <c:strRef>
              <c:f>Sheet1!$A$3</c:f>
              <c:strCache>
                <c:ptCount val="1"/>
                <c:pt idx="0">
                  <c:v>Past Month</c:v>
                </c:pt>
              </c:strCache>
            </c:strRef>
          </c:tx>
          <c:spPr>
            <a:solidFill>
              <a:srgbClr val="28608C"/>
            </a:solidFill>
            <a:ln>
              <a:noFill/>
            </a:ln>
            <a:effectLst/>
          </c:spPr>
          <c:invertIfNegative val="0"/>
          <c:dLbls>
            <c:spPr>
              <a:noFill/>
              <a:ln>
                <a:noFill/>
              </a:ln>
              <a:effectLst/>
            </c:spPr>
            <c:txPr>
              <a:bodyPr rot="0" spcFirstLastPara="1" vertOverflow="ellipsis" vert="horz" wrap="square" anchor="ctr" anchorCtr="1"/>
              <a:lstStyle/>
              <a:p>
                <a:pPr>
                  <a:defRPr sz="2000"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E$1</c:f>
              <c:strCache>
                <c:ptCount val="3"/>
                <c:pt idx="0">
                  <c:v>2017</c:v>
                </c:pt>
                <c:pt idx="1">
                  <c:v>2018</c:v>
                </c:pt>
                <c:pt idx="2">
                  <c:v>2019</c:v>
                </c:pt>
              </c:strCache>
            </c:strRef>
          </c:cat>
          <c:val>
            <c:numRef>
              <c:f>Sheet1!$B$3:$E$3</c:f>
              <c:numCache>
                <c:formatCode>0%</c:formatCode>
                <c:ptCount val="3"/>
                <c:pt idx="0">
                  <c:v>0.22</c:v>
                </c:pt>
                <c:pt idx="1">
                  <c:v>0.2</c:v>
                </c:pt>
                <c:pt idx="2">
                  <c:v>0.28000000000000003</c:v>
                </c:pt>
              </c:numCache>
            </c:numRef>
          </c:val>
          <c:extLst>
            <c:ext xmlns:c16="http://schemas.microsoft.com/office/drawing/2014/chart" uri="{C3380CC4-5D6E-409C-BE32-E72D297353CC}">
              <c16:uniqueId val="{00000001-5B6E-4B5F-B488-3A5273EFC8FE}"/>
            </c:ext>
          </c:extLst>
        </c:ser>
        <c:dLbls>
          <c:showLegendKey val="0"/>
          <c:showVal val="0"/>
          <c:showCatName val="0"/>
          <c:showSerName val="0"/>
          <c:showPercent val="0"/>
          <c:showBubbleSize val="0"/>
        </c:dLbls>
        <c:gapWidth val="100"/>
        <c:overlap val="100"/>
        <c:axId val="625030520"/>
        <c:axId val="625030840"/>
        <c:extLst>
          <c:ext xmlns:c15="http://schemas.microsoft.com/office/drawing/2012/chart" uri="{02D57815-91ED-43cb-92C2-25804820EDAC}">
            <c15:filteredBarSeries>
              <c15:ser>
                <c:idx val="2"/>
                <c:order val="2"/>
                <c:tx>
                  <c:strRef>
                    <c:extLst>
                      <c:ext uri="{02D57815-91ED-43cb-92C2-25804820EDAC}">
                        <c15:formulaRef>
                          <c15:sqref>Sheet1!$A$4</c15:sqref>
                        </c15:formulaRef>
                      </c:ext>
                    </c:extLst>
                    <c:strCache>
                      <c:ptCount val="1"/>
                      <c:pt idx="0">
                        <c:v>Past Week/Month</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c:ext uri="{02D57815-91ED-43cb-92C2-25804820EDAC}">
                        <c15:formulaRef>
                          <c15:sqref>Sheet1!$B$1:$E$1</c15:sqref>
                        </c15:formulaRef>
                      </c:ext>
                    </c:extLst>
                    <c:strCache>
                      <c:ptCount val="3"/>
                      <c:pt idx="0">
                        <c:v>2017</c:v>
                      </c:pt>
                      <c:pt idx="1">
                        <c:v>2018</c:v>
                      </c:pt>
                      <c:pt idx="2">
                        <c:v>2019</c:v>
                      </c:pt>
                    </c:strCache>
                  </c:strRef>
                </c:cat>
                <c:val>
                  <c:numRef>
                    <c:extLst>
                      <c:ext uri="{02D57815-91ED-43cb-92C2-25804820EDAC}">
                        <c15:formulaRef>
                          <c15:sqref>Sheet1!$B$4:$E$4</c15:sqref>
                        </c15:formulaRef>
                      </c:ext>
                    </c:extLst>
                    <c:numCache>
                      <c:formatCode>0%</c:formatCode>
                      <c:ptCount val="3"/>
                      <c:pt idx="0">
                        <c:v>0.26</c:v>
                      </c:pt>
                      <c:pt idx="1">
                        <c:v>0.24</c:v>
                      </c:pt>
                      <c:pt idx="2">
                        <c:v>0.32</c:v>
                      </c:pt>
                    </c:numCache>
                  </c:numRef>
                </c:val>
                <c:extLst>
                  <c:ext xmlns:c16="http://schemas.microsoft.com/office/drawing/2014/chart" uri="{C3380CC4-5D6E-409C-BE32-E72D297353CC}">
                    <c16:uniqueId val="{00000002-5B6E-4B5F-B488-3A5273EFC8FE}"/>
                  </c:ext>
                </c:extLst>
              </c15:ser>
            </c15:filteredBarSeries>
            <c15:filteredBarSeries>
              <c15:ser>
                <c:idx val="3"/>
                <c:order val="3"/>
                <c:tx>
                  <c:strRef>
                    <c:extLst xmlns:c15="http://schemas.microsoft.com/office/drawing/2012/chart">
                      <c:ext xmlns:c15="http://schemas.microsoft.com/office/drawing/2012/chart" uri="{02D57815-91ED-43cb-92C2-25804820EDAC}">
                        <c15:formulaRef>
                          <c15:sqref>Sheet1!$A$5</c15:sqref>
                        </c15:formulaRef>
                      </c:ext>
                    </c:extLst>
                    <c:strCache>
                      <c:ptCount val="1"/>
                      <c:pt idx="0">
                        <c:v>&gt;Month</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xmlns:c15="http://schemas.microsoft.com/office/drawing/2012/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extLst xmlns:c15="http://schemas.microsoft.com/office/drawing/2012/chart">
                      <c:ext xmlns:c15="http://schemas.microsoft.com/office/drawing/2012/chart" uri="{02D57815-91ED-43cb-92C2-25804820EDAC}">
                        <c15:formulaRef>
                          <c15:sqref>Sheet1!$B$1:$E$1</c15:sqref>
                        </c15:formulaRef>
                      </c:ext>
                    </c:extLst>
                    <c:strCache>
                      <c:ptCount val="3"/>
                      <c:pt idx="0">
                        <c:v>2017</c:v>
                      </c:pt>
                      <c:pt idx="1">
                        <c:v>2018</c:v>
                      </c:pt>
                      <c:pt idx="2">
                        <c:v>2019</c:v>
                      </c:pt>
                    </c:strCache>
                  </c:strRef>
                </c:cat>
                <c:val>
                  <c:numRef>
                    <c:extLst xmlns:c15="http://schemas.microsoft.com/office/drawing/2012/chart">
                      <c:ext xmlns:c15="http://schemas.microsoft.com/office/drawing/2012/chart" uri="{02D57815-91ED-43cb-92C2-25804820EDAC}">
                        <c15:formulaRef>
                          <c15:sqref>Sheet1!$B$5:$E$5</c15:sqref>
                        </c15:formulaRef>
                      </c:ext>
                    </c:extLst>
                    <c:numCache>
                      <c:formatCode>0%</c:formatCode>
                      <c:ptCount val="3"/>
                      <c:pt idx="0">
                        <c:v>0.61</c:v>
                      </c:pt>
                      <c:pt idx="1">
                        <c:v>0.6</c:v>
                      </c:pt>
                      <c:pt idx="2">
                        <c:v>0.72</c:v>
                      </c:pt>
                    </c:numCache>
                  </c:numRef>
                </c:val>
                <c:extLst xmlns:c15="http://schemas.microsoft.com/office/drawing/2012/chart">
                  <c:ext xmlns:c16="http://schemas.microsoft.com/office/drawing/2014/chart" uri="{C3380CC4-5D6E-409C-BE32-E72D297353CC}">
                    <c16:uniqueId val="{00000003-5B6E-4B5F-B488-3A5273EFC8FE}"/>
                  </c:ext>
                </c:extLst>
              </c15:ser>
            </c15:filteredBarSeries>
          </c:ext>
        </c:extLst>
      </c:barChart>
      <c:catAx>
        <c:axId val="62503052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625030840"/>
        <c:crosses val="autoZero"/>
        <c:auto val="1"/>
        <c:lblAlgn val="ctr"/>
        <c:lblOffset val="100"/>
        <c:noMultiLvlLbl val="0"/>
      </c:catAx>
      <c:valAx>
        <c:axId val="625030840"/>
        <c:scaling>
          <c:orientation val="minMax"/>
        </c:scaling>
        <c:delete val="1"/>
        <c:axPos val="l"/>
        <c:numFmt formatCode="0%" sourceLinked="1"/>
        <c:majorTickMark val="out"/>
        <c:minorTickMark val="none"/>
        <c:tickLblPos val="nextTo"/>
        <c:crossAx val="625030520"/>
        <c:crosses val="autoZero"/>
        <c:crossBetween val="between"/>
      </c:valAx>
      <c:spPr>
        <a:noFill/>
        <a:ln>
          <a:noFill/>
        </a:ln>
        <a:effectLst/>
      </c:spPr>
    </c:plotArea>
    <c:legend>
      <c:legendPos val="l"/>
      <c:layout>
        <c:manualLayout>
          <c:xMode val="edge"/>
          <c:yMode val="edge"/>
          <c:x val="6.4980391331087711E-2"/>
          <c:y val="0.48979821125874889"/>
          <c:w val="0.2418836230401315"/>
          <c:h val="0.17542283532917757"/>
        </c:manualLayout>
      </c:layout>
      <c:overlay val="0"/>
      <c:spPr>
        <a:noFill/>
        <a:ln>
          <a:noFill/>
        </a:ln>
        <a:effectLst/>
      </c:spPr>
      <c:txPr>
        <a:bodyPr rot="0" spcFirstLastPara="1" vertOverflow="ellipsis" vert="horz" wrap="square" anchor="ctr" anchorCtr="1"/>
        <a:lstStyle/>
        <a:p>
          <a:pPr>
            <a:defRPr sz="20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Sheet1!$B$1</c:f>
              <c:strCache>
                <c:ptCount val="1"/>
                <c:pt idx="0">
                  <c:v>1x</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Any Risk</c:v>
                </c:pt>
                <c:pt idx="1">
                  <c:v>Unwanted sexual attention</c:v>
                </c:pt>
                <c:pt idx="2">
                  <c:v>Sexual solicitation</c:v>
                </c:pt>
                <c:pt idx="3">
                  <c:v>Unwanted contact</c:v>
                </c:pt>
                <c:pt idx="4">
                  <c:v>Unwanted Sexting Received</c:v>
                </c:pt>
                <c:pt idx="5">
                  <c:v>Online harassment</c:v>
                </c:pt>
                <c:pt idx="6">
                  <c:v>Hate speech</c:v>
                </c:pt>
                <c:pt idx="7">
                  <c:v>Unwanted Sexting Sent</c:v>
                </c:pt>
                <c:pt idx="8">
                  <c:v>Discrimination</c:v>
                </c:pt>
                <c:pt idx="9">
                  <c:v>Hoaxes, scams, frauds</c:v>
                </c:pt>
                <c:pt idx="10">
                  <c:v>Treated Mean</c:v>
                </c:pt>
                <c:pt idx="11">
                  <c:v>Misogyny</c:v>
                </c:pt>
                <c:pt idx="12">
                  <c:v>Cyberbullying</c:v>
                </c:pt>
                <c:pt idx="13">
                  <c:v>Microaggression</c:v>
                </c:pt>
                <c:pt idx="14">
                  <c:v>Trolling</c:v>
                </c:pt>
                <c:pt idx="15">
                  <c:v>Sextortion</c:v>
                </c:pt>
                <c:pt idx="16">
                  <c:v>Damage to Personal rep</c:v>
                </c:pt>
                <c:pt idx="17">
                  <c:v>Damage to work rep</c:v>
                </c:pt>
                <c:pt idx="18">
                  <c:v>Revenge pornography</c:v>
                </c:pt>
                <c:pt idx="19">
                  <c:v>Doxing</c:v>
                </c:pt>
                <c:pt idx="20">
                  <c:v>Terrorism recruiting</c:v>
                </c:pt>
                <c:pt idx="21">
                  <c:v>Swatting</c:v>
                </c:pt>
              </c:strCache>
            </c:strRef>
          </c:cat>
          <c:val>
            <c:numRef>
              <c:f>Sheet1!$B$2:$B$23</c:f>
              <c:numCache>
                <c:formatCode>0%</c:formatCode>
                <c:ptCount val="22"/>
                <c:pt idx="0">
                  <c:v>0.247</c:v>
                </c:pt>
                <c:pt idx="1">
                  <c:v>0.39600000000000002</c:v>
                </c:pt>
                <c:pt idx="2">
                  <c:v>0.39</c:v>
                </c:pt>
                <c:pt idx="3">
                  <c:v>0.38300000000000001</c:v>
                </c:pt>
                <c:pt idx="4">
                  <c:v>0.40300000000000002</c:v>
                </c:pt>
                <c:pt idx="5">
                  <c:v>0.40500000000000003</c:v>
                </c:pt>
                <c:pt idx="6">
                  <c:v>0.376</c:v>
                </c:pt>
                <c:pt idx="7">
                  <c:v>0.43099999999999999</c:v>
                </c:pt>
                <c:pt idx="8">
                  <c:v>0.41699999999999998</c:v>
                </c:pt>
                <c:pt idx="9">
                  <c:v>0.41199999999999998</c:v>
                </c:pt>
                <c:pt idx="10">
                  <c:v>0.38100000000000001</c:v>
                </c:pt>
                <c:pt idx="11">
                  <c:v>0.46600000000000003</c:v>
                </c:pt>
                <c:pt idx="12">
                  <c:v>0.42</c:v>
                </c:pt>
                <c:pt idx="13">
                  <c:v>0.46700000000000003</c:v>
                </c:pt>
                <c:pt idx="14">
                  <c:v>0.46600000000000003</c:v>
                </c:pt>
                <c:pt idx="15">
                  <c:v>0.53</c:v>
                </c:pt>
                <c:pt idx="16">
                  <c:v>0.54100000000000004</c:v>
                </c:pt>
                <c:pt idx="17">
                  <c:v>0.58199999999999996</c:v>
                </c:pt>
                <c:pt idx="18">
                  <c:v>0.56100000000000005</c:v>
                </c:pt>
                <c:pt idx="19">
                  <c:v>0.64</c:v>
                </c:pt>
                <c:pt idx="20">
                  <c:v>0.66300000000000003</c:v>
                </c:pt>
                <c:pt idx="21">
                  <c:v>0.62</c:v>
                </c:pt>
              </c:numCache>
            </c:numRef>
          </c:val>
          <c:extLst>
            <c:ext xmlns:c16="http://schemas.microsoft.com/office/drawing/2014/chart" uri="{C3380CC4-5D6E-409C-BE32-E72D297353CC}">
              <c16:uniqueId val="{00000000-C40A-4CFB-B5B8-01AD795E646F}"/>
            </c:ext>
          </c:extLst>
        </c:ser>
        <c:ser>
          <c:idx val="1"/>
          <c:order val="1"/>
          <c:tx>
            <c:strRef>
              <c:f>Sheet1!$C$1</c:f>
              <c:strCache>
                <c:ptCount val="1"/>
                <c:pt idx="0">
                  <c:v>2x</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Any Risk</c:v>
                </c:pt>
                <c:pt idx="1">
                  <c:v>Unwanted sexual attention</c:v>
                </c:pt>
                <c:pt idx="2">
                  <c:v>Sexual solicitation</c:v>
                </c:pt>
                <c:pt idx="3">
                  <c:v>Unwanted contact</c:v>
                </c:pt>
                <c:pt idx="4">
                  <c:v>Unwanted Sexting Received</c:v>
                </c:pt>
                <c:pt idx="5">
                  <c:v>Online harassment</c:v>
                </c:pt>
                <c:pt idx="6">
                  <c:v>Hate speech</c:v>
                </c:pt>
                <c:pt idx="7">
                  <c:v>Unwanted Sexting Sent</c:v>
                </c:pt>
                <c:pt idx="8">
                  <c:v>Discrimination</c:v>
                </c:pt>
                <c:pt idx="9">
                  <c:v>Hoaxes, scams, frauds</c:v>
                </c:pt>
                <c:pt idx="10">
                  <c:v>Treated Mean</c:v>
                </c:pt>
                <c:pt idx="11">
                  <c:v>Misogyny</c:v>
                </c:pt>
                <c:pt idx="12">
                  <c:v>Cyberbullying</c:v>
                </c:pt>
                <c:pt idx="13">
                  <c:v>Microaggression</c:v>
                </c:pt>
                <c:pt idx="14">
                  <c:v>Trolling</c:v>
                </c:pt>
                <c:pt idx="15">
                  <c:v>Sextortion</c:v>
                </c:pt>
                <c:pt idx="16">
                  <c:v>Damage to Personal rep</c:v>
                </c:pt>
                <c:pt idx="17">
                  <c:v>Damage to work rep</c:v>
                </c:pt>
                <c:pt idx="18">
                  <c:v>Revenge pornography</c:v>
                </c:pt>
                <c:pt idx="19">
                  <c:v>Doxing</c:v>
                </c:pt>
                <c:pt idx="20">
                  <c:v>Terrorism recruiting</c:v>
                </c:pt>
                <c:pt idx="21">
                  <c:v>Swatting</c:v>
                </c:pt>
              </c:strCache>
            </c:strRef>
          </c:cat>
          <c:val>
            <c:numRef>
              <c:f>Sheet1!$C$2:$C$23</c:f>
              <c:numCache>
                <c:formatCode>0%</c:formatCode>
                <c:ptCount val="22"/>
                <c:pt idx="0">
                  <c:v>0.20599999999999999</c:v>
                </c:pt>
                <c:pt idx="1">
                  <c:v>0.2</c:v>
                </c:pt>
                <c:pt idx="2">
                  <c:v>0.215</c:v>
                </c:pt>
                <c:pt idx="3">
                  <c:v>0.222</c:v>
                </c:pt>
                <c:pt idx="4">
                  <c:v>0.20599999999999999</c:v>
                </c:pt>
                <c:pt idx="5">
                  <c:v>0.221</c:v>
                </c:pt>
                <c:pt idx="6">
                  <c:v>0.253</c:v>
                </c:pt>
                <c:pt idx="7">
                  <c:v>0.20100000000000001</c:v>
                </c:pt>
                <c:pt idx="8">
                  <c:v>0.22800000000000001</c:v>
                </c:pt>
                <c:pt idx="9">
                  <c:v>0.23599999999999999</c:v>
                </c:pt>
                <c:pt idx="10">
                  <c:v>0.27</c:v>
                </c:pt>
                <c:pt idx="11">
                  <c:v>0.19500000000000001</c:v>
                </c:pt>
                <c:pt idx="12">
                  <c:v>0.252</c:v>
                </c:pt>
                <c:pt idx="13">
                  <c:v>0.221</c:v>
                </c:pt>
                <c:pt idx="14">
                  <c:v>0.23300000000000001</c:v>
                </c:pt>
                <c:pt idx="15">
                  <c:v>0.246</c:v>
                </c:pt>
                <c:pt idx="16">
                  <c:v>0.24099999999999999</c:v>
                </c:pt>
                <c:pt idx="17">
                  <c:v>0.219</c:v>
                </c:pt>
                <c:pt idx="18">
                  <c:v>0.246</c:v>
                </c:pt>
                <c:pt idx="19">
                  <c:v>0.21</c:v>
                </c:pt>
                <c:pt idx="20">
                  <c:v>0.19400000000000001</c:v>
                </c:pt>
                <c:pt idx="21">
                  <c:v>0.24</c:v>
                </c:pt>
              </c:numCache>
            </c:numRef>
          </c:val>
          <c:extLst>
            <c:ext xmlns:c16="http://schemas.microsoft.com/office/drawing/2014/chart" uri="{C3380CC4-5D6E-409C-BE32-E72D297353CC}">
              <c16:uniqueId val="{00000001-C40A-4CFB-B5B8-01AD795E646F}"/>
            </c:ext>
          </c:extLst>
        </c:ser>
        <c:ser>
          <c:idx val="2"/>
          <c:order val="2"/>
          <c:tx>
            <c:strRef>
              <c:f>Sheet1!$D$1</c:f>
              <c:strCache>
                <c:ptCount val="1"/>
                <c:pt idx="0">
                  <c:v>3x +</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23</c:f>
              <c:strCache>
                <c:ptCount val="22"/>
                <c:pt idx="0">
                  <c:v>Any Risk</c:v>
                </c:pt>
                <c:pt idx="1">
                  <c:v>Unwanted sexual attention</c:v>
                </c:pt>
                <c:pt idx="2">
                  <c:v>Sexual solicitation</c:v>
                </c:pt>
                <c:pt idx="3">
                  <c:v>Unwanted contact</c:v>
                </c:pt>
                <c:pt idx="4">
                  <c:v>Unwanted Sexting Received</c:v>
                </c:pt>
                <c:pt idx="5">
                  <c:v>Online harassment</c:v>
                </c:pt>
                <c:pt idx="6">
                  <c:v>Hate speech</c:v>
                </c:pt>
                <c:pt idx="7">
                  <c:v>Unwanted Sexting Sent</c:v>
                </c:pt>
                <c:pt idx="8">
                  <c:v>Discrimination</c:v>
                </c:pt>
                <c:pt idx="9">
                  <c:v>Hoaxes, scams, frauds</c:v>
                </c:pt>
                <c:pt idx="10">
                  <c:v>Treated Mean</c:v>
                </c:pt>
                <c:pt idx="11">
                  <c:v>Misogyny</c:v>
                </c:pt>
                <c:pt idx="12">
                  <c:v>Cyberbullying</c:v>
                </c:pt>
                <c:pt idx="13">
                  <c:v>Microaggression</c:v>
                </c:pt>
                <c:pt idx="14">
                  <c:v>Trolling</c:v>
                </c:pt>
                <c:pt idx="15">
                  <c:v>Sextortion</c:v>
                </c:pt>
                <c:pt idx="16">
                  <c:v>Damage to Personal rep</c:v>
                </c:pt>
                <c:pt idx="17">
                  <c:v>Damage to work rep</c:v>
                </c:pt>
                <c:pt idx="18">
                  <c:v>Revenge pornography</c:v>
                </c:pt>
                <c:pt idx="19">
                  <c:v>Doxing</c:v>
                </c:pt>
                <c:pt idx="20">
                  <c:v>Terrorism recruiting</c:v>
                </c:pt>
                <c:pt idx="21">
                  <c:v>Swatting</c:v>
                </c:pt>
              </c:strCache>
            </c:strRef>
          </c:cat>
          <c:val>
            <c:numRef>
              <c:f>Sheet1!$D$2:$D$23</c:f>
              <c:numCache>
                <c:formatCode>0%</c:formatCode>
                <c:ptCount val="22"/>
                <c:pt idx="0">
                  <c:v>0.54700000000000004</c:v>
                </c:pt>
                <c:pt idx="1">
                  <c:v>0.40399999999999991</c:v>
                </c:pt>
                <c:pt idx="2">
                  <c:v>0.39500000000000002</c:v>
                </c:pt>
                <c:pt idx="3">
                  <c:v>0.39500000000000002</c:v>
                </c:pt>
                <c:pt idx="4">
                  <c:v>0.39100000000000001</c:v>
                </c:pt>
                <c:pt idx="5">
                  <c:v>0.374</c:v>
                </c:pt>
                <c:pt idx="6">
                  <c:v>0.371</c:v>
                </c:pt>
                <c:pt idx="7">
                  <c:v>0.36799999999999999</c:v>
                </c:pt>
                <c:pt idx="8">
                  <c:v>0.35499999999999998</c:v>
                </c:pt>
                <c:pt idx="9">
                  <c:v>0.35200000000000009</c:v>
                </c:pt>
                <c:pt idx="10">
                  <c:v>0.34899999999999998</c:v>
                </c:pt>
                <c:pt idx="11">
                  <c:v>0.33899999999999997</c:v>
                </c:pt>
                <c:pt idx="12">
                  <c:v>0.32800000000000007</c:v>
                </c:pt>
                <c:pt idx="13">
                  <c:v>0.31199999999999994</c:v>
                </c:pt>
                <c:pt idx="14">
                  <c:v>0.30099999999999993</c:v>
                </c:pt>
                <c:pt idx="15">
                  <c:v>0.22399999999999998</c:v>
                </c:pt>
                <c:pt idx="16">
                  <c:v>0.21799999999999997</c:v>
                </c:pt>
                <c:pt idx="17">
                  <c:v>0.19900000000000007</c:v>
                </c:pt>
                <c:pt idx="18">
                  <c:v>0.19299999999999995</c:v>
                </c:pt>
                <c:pt idx="19">
                  <c:v>0.15000000000000002</c:v>
                </c:pt>
                <c:pt idx="20">
                  <c:v>0.14300000000000002</c:v>
                </c:pt>
                <c:pt idx="21">
                  <c:v>0.14000000000000001</c:v>
                </c:pt>
              </c:numCache>
            </c:numRef>
          </c:val>
          <c:extLst>
            <c:ext xmlns:c16="http://schemas.microsoft.com/office/drawing/2014/chart" uri="{C3380CC4-5D6E-409C-BE32-E72D297353CC}">
              <c16:uniqueId val="{00000002-C40A-4CFB-B5B8-01AD795E646F}"/>
            </c:ext>
          </c:extLst>
        </c:ser>
        <c:dLbls>
          <c:showLegendKey val="0"/>
          <c:showVal val="0"/>
          <c:showCatName val="0"/>
          <c:showSerName val="0"/>
          <c:showPercent val="0"/>
          <c:showBubbleSize val="0"/>
        </c:dLbls>
        <c:gapWidth val="20"/>
        <c:overlap val="100"/>
        <c:axId val="596286072"/>
        <c:axId val="596286392"/>
      </c:barChart>
      <c:catAx>
        <c:axId val="596286072"/>
        <c:scaling>
          <c:orientation val="maxMin"/>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en-US"/>
          </a:p>
        </c:txPr>
        <c:crossAx val="596286392"/>
        <c:crosses val="autoZero"/>
        <c:auto val="1"/>
        <c:lblAlgn val="ctr"/>
        <c:lblOffset val="100"/>
        <c:noMultiLvlLbl val="0"/>
      </c:catAx>
      <c:valAx>
        <c:axId val="596286392"/>
        <c:scaling>
          <c:orientation val="minMax"/>
        </c:scaling>
        <c:delete val="1"/>
        <c:axPos val="t"/>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96286072"/>
        <c:crosses val="autoZero"/>
        <c:crossBetween val="between"/>
      </c:valAx>
      <c:spPr>
        <a:noFill/>
        <a:ln>
          <a:noFill/>
        </a:ln>
        <a:effectLst/>
      </c:spPr>
    </c:plotArea>
    <c:legend>
      <c:legendPos val="t"/>
      <c:layout>
        <c:manualLayout>
          <c:xMode val="edge"/>
          <c:yMode val="edge"/>
          <c:x val="0.56626843519560044"/>
          <c:y val="1.8949065434330857E-2"/>
          <c:w val="0.22450812128336692"/>
          <c:h val="5.0886819992457678E-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19.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4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419">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43.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81">
  <cs:axisTitle>
    <cs:lnRef idx="0"/>
    <cs:fillRef idx="0"/>
    <cs:effectRef idx="0"/>
    <cs:fontRef idx="minor">
      <a:schemeClr val="tx2"/>
    </cs:fontRef>
    <cs:defRPr sz="1197" b="1" kern="1200"/>
  </cs:axisTitle>
  <cs:categoryAxis>
    <cs:lnRef idx="0"/>
    <cs:fillRef idx="0"/>
    <cs:effectRef idx="0"/>
    <cs:fontRef idx="minor">
      <a:schemeClr val="tx2"/>
    </cs:fontRef>
    <cs:spPr>
      <a:ln w="9525" cap="flat" cmpd="sng" algn="ctr">
        <a:solidFill>
          <a:schemeClr val="tx2">
            <a:lumMod val="15000"/>
            <a:lumOff val="85000"/>
          </a:schemeClr>
        </a:solidFill>
        <a:round/>
      </a:ln>
    </cs:spPr>
    <cs:defRPr sz="1197" kern="1200"/>
  </cs:categoryAxis>
  <cs:chartArea mods="allowNoFillOverride allowNoLineOverride">
    <cs:lnRef idx="0"/>
    <cs:fillRef idx="0"/>
    <cs:effectRef idx="0"/>
    <cs:fontRef idx="minor">
      <a:schemeClr val="tx2"/>
    </cs:fontRef>
    <cs:spPr>
      <a:solidFill>
        <a:schemeClr val="bg1"/>
      </a:solidFill>
      <a:ln w="9525" cap="flat" cmpd="sng" algn="ctr">
        <a:solidFill>
          <a:schemeClr val="tx2">
            <a:lumMod val="15000"/>
            <a:lumOff val="85000"/>
          </a:schemeClr>
        </a:solidFill>
        <a:round/>
      </a:ln>
    </cs:spPr>
    <cs:defRPr sz="1197" kern="1200"/>
  </cs:chartArea>
  <cs:dataLabel>
    <cs:lnRef idx="0"/>
    <cs:fillRef idx="0"/>
    <cs:effectRef idx="0"/>
    <cs:fontRef idx="minor">
      <a:schemeClr val="tx2"/>
    </cs:fontRef>
    <cs:defRPr sz="1197" kern="1200"/>
  </cs:dataLabel>
  <cs:dataLabelCallout>
    <cs:lnRef idx="0"/>
    <cs:fillRef idx="0"/>
    <cs:effectRef idx="0"/>
    <cs:fontRef idx="minor">
      <a:schemeClr val="dk2">
        <a:lumMod val="7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3">
      <cs:styleClr val="auto"/>
    </cs:fillRef>
    <cs:effectRef idx="2"/>
    <cs:fontRef idx="minor">
      <a:schemeClr val="tx2"/>
    </cs:fontRef>
  </cs:dataPoint>
  <cs:dataPoint3D>
    <cs:lnRef idx="0"/>
    <cs:fillRef idx="3">
      <cs:styleClr val="auto"/>
    </cs:fillRef>
    <cs:effectRef idx="2"/>
    <cs:fontRef idx="minor">
      <a:schemeClr val="tx2"/>
    </cs:fontRef>
  </cs:dataPoint3D>
  <cs:dataPointLine>
    <cs:lnRef idx="0">
      <cs:styleClr val="auto"/>
    </cs:lnRef>
    <cs:fillRef idx="3"/>
    <cs:effectRef idx="2"/>
    <cs:fontRef idx="minor">
      <a:schemeClr val="tx2"/>
    </cs:fontRef>
    <cs:spPr>
      <a:ln w="31750" cap="rnd">
        <a:solidFill>
          <a:schemeClr val="phClr"/>
        </a:solidFill>
        <a:round/>
      </a:ln>
    </cs:spPr>
  </cs:dataPointLine>
  <cs:dataPointMarker>
    <cs:lnRef idx="0"/>
    <cs:fillRef idx="3">
      <cs:styleClr val="auto"/>
    </cs:fillRef>
    <cs:effectRef idx="2"/>
    <cs:fontRef idx="minor">
      <a:schemeClr val="tx2"/>
    </cs:fontRef>
    <cs:spPr>
      <a:ln w="12700">
        <a:solidFill>
          <a:schemeClr val="lt2"/>
        </a:solidFill>
        <a:round/>
      </a:ln>
    </cs:spPr>
  </cs:dataPointMarker>
  <cs:dataPointMarkerLayout symbol="circle" size="5"/>
  <cs:dataPointWireframe>
    <cs:lnRef idx="0">
      <cs:styleClr val="auto"/>
    </cs:lnRef>
    <cs:fillRef idx="3"/>
    <cs:effectRef idx="2"/>
    <cs:fontRef idx="minor">
      <a:schemeClr val="tx2"/>
    </cs:fontRef>
    <cs:spPr>
      <a:ln w="9525" cap="rnd">
        <a:solidFill>
          <a:schemeClr val="phClr"/>
        </a:solidFill>
        <a:round/>
      </a:ln>
    </cs:spPr>
  </cs:dataPointWireframe>
  <cs:dataTable>
    <cs:lnRef idx="0"/>
    <cs:fillRef idx="0"/>
    <cs:effectRef idx="0"/>
    <cs:fontRef idx="minor">
      <a:schemeClr val="tx2"/>
    </cs:fontRef>
    <cs:spPr>
      <a:ln w="9525">
        <a:solidFill>
          <a:schemeClr val="tx2">
            <a:lumMod val="15000"/>
            <a:lumOff val="85000"/>
          </a:schemeClr>
        </a:solidFill>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2"/>
    </cs:fontRef>
    <cs:spPr>
      <a:ln w="9525">
        <a:solidFill>
          <a:schemeClr val="tx2">
            <a:lumMod val="60000"/>
            <a:lumOff val="40000"/>
          </a:schemeClr>
        </a:solidFill>
        <a:prstDash val="dash"/>
      </a:ln>
    </cs:spPr>
  </cs:dropLine>
  <cs:errorBar>
    <cs:lnRef idx="0"/>
    <cs:fillRef idx="0"/>
    <cs:effectRef idx="0"/>
    <cs:fontRef idx="minor">
      <a:schemeClr val="tx2"/>
    </cs:fontRef>
    <cs:spPr>
      <a:ln w="9525">
        <a:solidFill>
          <a:schemeClr val="tx2">
            <a:lumMod val="75000"/>
          </a:schemeClr>
        </a:solidFill>
        <a:round/>
      </a:ln>
    </cs:spPr>
  </cs:errorBar>
  <cs:floor>
    <cs:lnRef idx="0"/>
    <cs:fillRef idx="0"/>
    <cs:effectRef idx="0"/>
    <cs:fontRef idx="minor">
      <a:schemeClr val="tx2"/>
    </cs:fontRef>
    <cs:spPr>
      <a:ln w="9525" cap="flat" cmpd="sng" algn="ctr">
        <a:solidFill>
          <a:schemeClr val="tx2">
            <a:lumMod val="40000"/>
            <a:lumOff val="60000"/>
          </a:schemeClr>
        </a:solidFill>
        <a:round/>
      </a:ln>
    </cs:spPr>
  </cs:floor>
  <cs:gridlineMajor>
    <cs:lnRef idx="0"/>
    <cs:fillRef idx="0"/>
    <cs:effectRef idx="0"/>
    <cs:fontRef idx="minor">
      <a:schemeClr val="tx2"/>
    </cs:fontRef>
    <cs:spPr>
      <a:ln w="9525" cap="flat" cmpd="sng" algn="ctr">
        <a:solidFill>
          <a:schemeClr val="tx2">
            <a:lumMod val="15000"/>
            <a:lumOff val="85000"/>
          </a:schemeClr>
        </a:solidFill>
        <a:round/>
      </a:ln>
    </cs:spPr>
  </cs:gridlineMajor>
  <cs:gridlineMinor>
    <cs:lnRef idx="0"/>
    <cs:fillRef idx="0"/>
    <cs:effectRef idx="0"/>
    <cs:fontRef idx="minor">
      <a:schemeClr val="tx2"/>
    </cs:fontRef>
    <cs:spPr>
      <a:ln>
        <a:solidFill>
          <a:schemeClr val="tx2">
            <a:lumMod val="5000"/>
            <a:lumOff val="95000"/>
          </a:schemeClr>
        </a:solidFill>
      </a:ln>
    </cs:spPr>
  </cs:gridlineMinor>
  <cs:hiLoLine>
    <cs:lnRef idx="0"/>
    <cs:fillRef idx="0"/>
    <cs:effectRef idx="0"/>
    <cs:fontRef idx="minor">
      <a:schemeClr val="tx2"/>
    </cs:fontRef>
    <cs:spPr>
      <a:ln w="9525">
        <a:solidFill>
          <a:schemeClr val="tx2">
            <a:lumMod val="60000"/>
            <a:lumOff val="40000"/>
          </a:schemeClr>
        </a:solidFill>
        <a:prstDash val="dash"/>
      </a:ln>
    </cs:spPr>
  </cs:hiLoLine>
  <cs:leaderLine>
    <cs:lnRef idx="0"/>
    <cs:fillRef idx="0"/>
    <cs:effectRef idx="0"/>
    <cs:fontRef idx="minor">
      <a:schemeClr val="tx2"/>
    </cs:fontRef>
    <cs:spPr>
      <a:ln w="9525">
        <a:solidFill>
          <a:schemeClr val="tx2">
            <a:lumMod val="35000"/>
            <a:lumOff val="65000"/>
          </a:schemeClr>
        </a:solidFill>
      </a:ln>
    </cs:spPr>
  </cs:leaderLine>
  <cs:legend>
    <cs:lnRef idx="0"/>
    <cs:fillRef idx="0"/>
    <cs:effectRef idx="0"/>
    <cs:fontRef idx="minor">
      <a:schemeClr val="tx2"/>
    </cs:fontRef>
    <cs:defRPr sz="1197" kern="1200"/>
  </cs:legend>
  <cs:plotArea>
    <cs:lnRef idx="0"/>
    <cs:fillRef idx="0"/>
    <cs:effectRef idx="0"/>
    <cs:fontRef idx="minor">
      <a:schemeClr val="tx2"/>
    </cs:fontRef>
  </cs:plotArea>
  <cs:plotArea3D>
    <cs:lnRef idx="0"/>
    <cs:fillRef idx="0"/>
    <cs:effectRef idx="0"/>
    <cs:fontRef idx="minor">
      <a:schemeClr val="tx2"/>
    </cs:fontRef>
  </cs:plotArea3D>
  <cs:seriesAxis>
    <cs:lnRef idx="0"/>
    <cs:fillRef idx="0"/>
    <cs:effectRef idx="0"/>
    <cs:fontRef idx="minor">
      <a:schemeClr val="tx2"/>
    </cs:fontRef>
    <cs:spPr>
      <a:ln w="9525" cap="flat" cmpd="sng" algn="ctr">
        <a:solidFill>
          <a:schemeClr val="tx2">
            <a:lumMod val="15000"/>
            <a:lumOff val="85000"/>
          </a:schemeClr>
        </a:solidFill>
        <a:round/>
      </a:ln>
    </cs:spPr>
    <cs:defRPr sz="1197" kern="1200"/>
  </cs:seriesAxis>
  <cs:seriesLine>
    <cs:lnRef idx="0"/>
    <cs:fillRef idx="0"/>
    <cs:effectRef idx="0"/>
    <cs:fontRef idx="minor">
      <a:schemeClr val="tx2"/>
    </cs:fontRef>
    <cs:spPr>
      <a:ln w="9525">
        <a:solidFill>
          <a:schemeClr val="tx2">
            <a:lumMod val="60000"/>
            <a:lumOff val="40000"/>
          </a:schemeClr>
        </a:solidFill>
        <a:prstDash val="dash"/>
      </a:ln>
    </cs:spPr>
  </cs:seriesLine>
  <cs:title>
    <cs:lnRef idx="0"/>
    <cs:fillRef idx="0"/>
    <cs:effectRef idx="0"/>
    <cs:fontRef idx="minor">
      <a:schemeClr val="tx2"/>
    </cs:fontRef>
    <cs:defRPr sz="2128" b="1" kern="1200"/>
  </cs:title>
  <cs:trendline>
    <cs:lnRef idx="0">
      <cs:styleClr val="auto"/>
    </cs:lnRef>
    <cs:fillRef idx="0"/>
    <cs:effectRef idx="0"/>
    <cs:fontRef idx="minor">
      <a:schemeClr val="tx2"/>
    </cs:fontRef>
    <cs:spPr>
      <a:ln w="19050" cap="rnd">
        <a:solidFill>
          <a:schemeClr val="phClr"/>
        </a:solidFill>
        <a:prstDash val="sysDash"/>
      </a:ln>
    </cs:spPr>
  </cs:trendline>
  <cs:trendlineLabel>
    <cs:lnRef idx="0"/>
    <cs:fillRef idx="0"/>
    <cs:effectRef idx="0"/>
    <cs:fontRef idx="minor">
      <a:schemeClr val="tx2"/>
    </cs:fontRef>
    <cs:defRPr sz="1197" kern="1200"/>
  </cs:trendlineLabel>
  <cs:upBar>
    <cs:lnRef idx="0"/>
    <cs:fillRef idx="0"/>
    <cs:effectRef idx="0"/>
    <cs:fontRef idx="minor">
      <a:schemeClr val="tx2"/>
    </cs:fontRef>
    <cs:spPr>
      <a:solidFill>
        <a:schemeClr val="lt1"/>
      </a:solidFill>
      <a:ln w="9525">
        <a:solidFill>
          <a:schemeClr val="tx1">
            <a:lumMod val="15000"/>
            <a:lumOff val="85000"/>
          </a:schemeClr>
        </a:solidFill>
      </a:ln>
    </cs:spPr>
  </cs:upBar>
  <cs:valueAxis>
    <cs:lnRef idx="0"/>
    <cs:fillRef idx="0"/>
    <cs:effectRef idx="0"/>
    <cs:fontRef idx="minor">
      <a:schemeClr val="tx2"/>
    </cs:fontRef>
    <cs:defRPr sz="1197" kern="1200"/>
  </cs:valueAxis>
  <cs:wall>
    <cs:lnRef idx="0"/>
    <cs:fillRef idx="0"/>
    <cs:effectRef idx="0"/>
    <cs:fontRef idx="minor">
      <a:schemeClr val="tx2"/>
    </cs:fontRef>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_rels/data1.xml.rels><?xml version="1.0" encoding="UTF-8" standalone="yes"?>
<Relationships xmlns="http://schemas.openxmlformats.org/package/2006/relationships"><Relationship Id="rId8" Type="http://schemas.openxmlformats.org/officeDocument/2006/relationships/image" Target="../media/image30.jpg"/><Relationship Id="rId13" Type="http://schemas.openxmlformats.org/officeDocument/2006/relationships/image" Target="../media/image35.jpg"/><Relationship Id="rId3" Type="http://schemas.openxmlformats.org/officeDocument/2006/relationships/image" Target="../media/image25.jpg"/><Relationship Id="rId7" Type="http://schemas.openxmlformats.org/officeDocument/2006/relationships/image" Target="../media/image29.jpg"/><Relationship Id="rId12" Type="http://schemas.openxmlformats.org/officeDocument/2006/relationships/image" Target="../media/image34.jpg"/><Relationship Id="rId2" Type="http://schemas.openxmlformats.org/officeDocument/2006/relationships/image" Target="../media/image24.jpg"/><Relationship Id="rId16" Type="http://schemas.openxmlformats.org/officeDocument/2006/relationships/image" Target="../media/image38.jpg"/><Relationship Id="rId1" Type="http://schemas.openxmlformats.org/officeDocument/2006/relationships/image" Target="../media/image23.jpg"/><Relationship Id="rId6" Type="http://schemas.openxmlformats.org/officeDocument/2006/relationships/image" Target="../media/image28.jpg"/><Relationship Id="rId11" Type="http://schemas.openxmlformats.org/officeDocument/2006/relationships/image" Target="../media/image33.jpg"/><Relationship Id="rId5" Type="http://schemas.openxmlformats.org/officeDocument/2006/relationships/image" Target="../media/image27.jpg"/><Relationship Id="rId15" Type="http://schemas.openxmlformats.org/officeDocument/2006/relationships/image" Target="../media/image37.jpg"/><Relationship Id="rId10" Type="http://schemas.openxmlformats.org/officeDocument/2006/relationships/image" Target="../media/image32.jpg"/><Relationship Id="rId4" Type="http://schemas.openxmlformats.org/officeDocument/2006/relationships/image" Target="../media/image26.jpg"/><Relationship Id="rId9" Type="http://schemas.openxmlformats.org/officeDocument/2006/relationships/image" Target="../media/image31.jpg"/><Relationship Id="rId14" Type="http://schemas.openxmlformats.org/officeDocument/2006/relationships/image" Target="../media/image36.jpg"/></Relationships>
</file>

<file path=ppt/diagrams/_rels/drawing1.xml.rels><?xml version="1.0" encoding="UTF-8" standalone="yes"?>
<Relationships xmlns="http://schemas.openxmlformats.org/package/2006/relationships"><Relationship Id="rId8" Type="http://schemas.openxmlformats.org/officeDocument/2006/relationships/image" Target="../media/image32.jpg"/><Relationship Id="rId13" Type="http://schemas.openxmlformats.org/officeDocument/2006/relationships/image" Target="../media/image37.jpg"/><Relationship Id="rId3" Type="http://schemas.openxmlformats.org/officeDocument/2006/relationships/image" Target="../media/image25.jpg"/><Relationship Id="rId7" Type="http://schemas.openxmlformats.org/officeDocument/2006/relationships/image" Target="../media/image31.jpg"/><Relationship Id="rId12" Type="http://schemas.openxmlformats.org/officeDocument/2006/relationships/image" Target="../media/image36.jpg"/><Relationship Id="rId2" Type="http://schemas.openxmlformats.org/officeDocument/2006/relationships/image" Target="../media/image24.jpg"/><Relationship Id="rId16" Type="http://schemas.openxmlformats.org/officeDocument/2006/relationships/image" Target="../media/image30.jpg"/><Relationship Id="rId1" Type="http://schemas.openxmlformats.org/officeDocument/2006/relationships/image" Target="../media/image23.jpg"/><Relationship Id="rId6" Type="http://schemas.openxmlformats.org/officeDocument/2006/relationships/image" Target="../media/image28.jpg"/><Relationship Id="rId11" Type="http://schemas.openxmlformats.org/officeDocument/2006/relationships/image" Target="../media/image35.jpg"/><Relationship Id="rId5" Type="http://schemas.openxmlformats.org/officeDocument/2006/relationships/image" Target="../media/image27.jpg"/><Relationship Id="rId15" Type="http://schemas.openxmlformats.org/officeDocument/2006/relationships/image" Target="../media/image29.jpg"/><Relationship Id="rId10" Type="http://schemas.openxmlformats.org/officeDocument/2006/relationships/image" Target="../media/image34.jpg"/><Relationship Id="rId4" Type="http://schemas.openxmlformats.org/officeDocument/2006/relationships/image" Target="../media/image26.jpg"/><Relationship Id="rId9" Type="http://schemas.openxmlformats.org/officeDocument/2006/relationships/image" Target="../media/image33.jpg"/><Relationship Id="rId14" Type="http://schemas.openxmlformats.org/officeDocument/2006/relationships/image" Target="../media/image38.jp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D8B4808-937A-4626-9428-B4EBEE193949}" type="doc">
      <dgm:prSet loTypeId="urn:microsoft.com/office/officeart/2008/layout/AlternatingHexagons" loCatId="list" qsTypeId="urn:microsoft.com/office/officeart/2005/8/quickstyle/simple1" qsCatId="simple" csTypeId="urn:microsoft.com/office/officeart/2005/8/colors/accent1_2" csCatId="accent1" phldr="1"/>
      <dgm:spPr/>
      <dgm:t>
        <a:bodyPr/>
        <a:lstStyle/>
        <a:p>
          <a:endParaRPr lang="en-US"/>
        </a:p>
      </dgm:t>
    </dgm:pt>
    <dgm:pt modelId="{6142629A-62F6-4C87-B819-A6D3ABC55F68}">
      <dgm:prSet phldrT="[Text]"/>
      <dgm:spPr>
        <a:blipFill dpi="0" rotWithShape="0">
          <a:blip xmlns:r="http://schemas.openxmlformats.org/officeDocument/2006/relationships" r:embed="rId1"/>
          <a:srcRect/>
          <a:stretch>
            <a:fillRect l="-30000" r="-27000"/>
          </a:stretch>
        </a:blipFill>
      </dgm:spPr>
      <dgm:t>
        <a:bodyPr/>
        <a:lstStyle/>
        <a:p>
          <a:endParaRPr lang="en-US" dirty="0"/>
        </a:p>
      </dgm:t>
    </dgm:pt>
    <dgm:pt modelId="{7A02804A-D234-4EC2-9AA7-EA2375ECFF5E}" type="parTrans" cxnId="{7B391BA0-3EC3-4472-9137-A4958E6B4D80}">
      <dgm:prSet/>
      <dgm:spPr/>
      <dgm:t>
        <a:bodyPr/>
        <a:lstStyle/>
        <a:p>
          <a:endParaRPr lang="en-US"/>
        </a:p>
      </dgm:t>
    </dgm:pt>
    <dgm:pt modelId="{F9F044E3-E02B-40C7-8047-00D20C154396}" type="sibTrans" cxnId="{7B391BA0-3EC3-4472-9137-A4958E6B4D80}">
      <dgm:prSet/>
      <dgm:spPr>
        <a:blipFill dpi="0" rotWithShape="0">
          <a:blip xmlns:r="http://schemas.openxmlformats.org/officeDocument/2006/relationships" r:embed="rId2"/>
          <a:srcRect/>
          <a:stretch>
            <a:fillRect l="-30000" r="-40000"/>
          </a:stretch>
        </a:blipFill>
      </dgm:spPr>
      <dgm:t>
        <a:bodyPr/>
        <a:lstStyle/>
        <a:p>
          <a:endParaRPr lang="en-US" dirty="0"/>
        </a:p>
      </dgm:t>
    </dgm:pt>
    <dgm:pt modelId="{F0A44364-0EC3-4793-840A-DE567FE7269C}">
      <dgm:prSet phldrT="[Text]"/>
      <dgm:spPr>
        <a:blipFill rotWithShape="0">
          <a:blip xmlns:r="http://schemas.openxmlformats.org/officeDocument/2006/relationships" r:embed="rId3"/>
          <a:stretch>
            <a:fillRect l="-10000" r="-45000"/>
          </a:stretch>
        </a:blipFill>
      </dgm:spPr>
      <dgm:t>
        <a:bodyPr/>
        <a:lstStyle/>
        <a:p>
          <a:r>
            <a:rPr lang="en-US" dirty="0"/>
            <a:t> </a:t>
          </a:r>
        </a:p>
      </dgm:t>
    </dgm:pt>
    <dgm:pt modelId="{7766DB00-369A-4831-A495-F7590612DE39}" type="parTrans" cxnId="{6D50B9AE-7306-4164-9886-CC1486A51182}">
      <dgm:prSet/>
      <dgm:spPr/>
      <dgm:t>
        <a:bodyPr/>
        <a:lstStyle/>
        <a:p>
          <a:endParaRPr lang="en-US"/>
        </a:p>
      </dgm:t>
    </dgm:pt>
    <dgm:pt modelId="{EFA65555-4038-4142-9330-A69047C92892}" type="sibTrans" cxnId="{6D50B9AE-7306-4164-9886-CC1486A51182}">
      <dgm:prSet/>
      <dgm:spPr>
        <a:blipFill dpi="0" rotWithShape="0">
          <a:blip xmlns:r="http://schemas.openxmlformats.org/officeDocument/2006/relationships" r:embed="rId4"/>
          <a:srcRect/>
          <a:stretch>
            <a:fillRect l="-45000" r="-30000"/>
          </a:stretch>
        </a:blipFill>
      </dgm:spPr>
      <dgm:t>
        <a:bodyPr/>
        <a:lstStyle/>
        <a:p>
          <a:endParaRPr lang="en-US" dirty="0"/>
        </a:p>
      </dgm:t>
    </dgm:pt>
    <dgm:pt modelId="{F479C649-5CF5-4CD2-896F-CF6609F8B348}">
      <dgm:prSet phldrT="[Text]"/>
      <dgm:spPr>
        <a:blipFill rotWithShape="0">
          <a:blip xmlns:r="http://schemas.openxmlformats.org/officeDocument/2006/relationships" r:embed="rId5"/>
          <a:stretch>
            <a:fillRect l="-35000" r="-35000"/>
          </a:stretch>
        </a:blipFill>
      </dgm:spPr>
      <dgm:t>
        <a:bodyPr/>
        <a:lstStyle/>
        <a:p>
          <a:r>
            <a:rPr lang="en-US" dirty="0"/>
            <a:t> </a:t>
          </a:r>
        </a:p>
      </dgm:t>
    </dgm:pt>
    <dgm:pt modelId="{3CFAFE27-F710-46D4-A16F-519CAF1F5342}" type="parTrans" cxnId="{DC4FF7EA-B9FF-4D06-AA17-69164D6FCE55}">
      <dgm:prSet/>
      <dgm:spPr/>
      <dgm:t>
        <a:bodyPr/>
        <a:lstStyle/>
        <a:p>
          <a:endParaRPr lang="en-US"/>
        </a:p>
      </dgm:t>
    </dgm:pt>
    <dgm:pt modelId="{C3EFAE77-F911-4AE7-9970-D4B84D748ACE}" type="sibTrans" cxnId="{DC4FF7EA-B9FF-4D06-AA17-69164D6FCE55}">
      <dgm:prSet/>
      <dgm:spPr>
        <a:blipFill dpi="0" rotWithShape="0">
          <a:blip xmlns:r="http://schemas.openxmlformats.org/officeDocument/2006/relationships" r:embed="rId6"/>
          <a:srcRect/>
          <a:stretch>
            <a:fillRect l="-45000"/>
          </a:stretch>
        </a:blipFill>
      </dgm:spPr>
      <dgm:t>
        <a:bodyPr/>
        <a:lstStyle/>
        <a:p>
          <a:endParaRPr lang="en-US" dirty="0"/>
        </a:p>
      </dgm:t>
    </dgm:pt>
    <dgm:pt modelId="{8CA7B0DC-3CF9-497C-AB8B-F1F710DC9EFC}">
      <dgm:prSet phldrT="[Text]"/>
      <dgm:spPr>
        <a:blipFill dpi="0" rotWithShape="0">
          <a:blip xmlns:r="http://schemas.openxmlformats.org/officeDocument/2006/relationships" r:embed="rId7"/>
          <a:srcRect/>
          <a:stretch>
            <a:fillRect l="-36000" t="5000" r="-20000"/>
          </a:stretch>
        </a:blipFill>
      </dgm:spPr>
      <dgm:t>
        <a:bodyPr/>
        <a:lstStyle/>
        <a:p>
          <a:endParaRPr lang="en-US" dirty="0"/>
        </a:p>
      </dgm:t>
    </dgm:pt>
    <dgm:pt modelId="{586AED44-3B1F-4803-ADDF-7775F9668DFB}" type="parTrans" cxnId="{0B1FBFB9-334A-43D0-85E3-AB85F6234809}">
      <dgm:prSet/>
      <dgm:spPr/>
      <dgm:t>
        <a:bodyPr/>
        <a:lstStyle/>
        <a:p>
          <a:endParaRPr lang="en-US"/>
        </a:p>
      </dgm:t>
    </dgm:pt>
    <dgm:pt modelId="{3322F324-0D02-463B-9B93-587E118FEDC8}" type="sibTrans" cxnId="{0B1FBFB9-334A-43D0-85E3-AB85F6234809}">
      <dgm:prSet/>
      <dgm:spPr>
        <a:blipFill dpi="0" rotWithShape="0">
          <a:blip xmlns:r="http://schemas.openxmlformats.org/officeDocument/2006/relationships" r:embed="rId8"/>
          <a:srcRect/>
          <a:stretch>
            <a:fillRect l="-25000" r="-25000"/>
          </a:stretch>
        </a:blipFill>
      </dgm:spPr>
      <dgm:t>
        <a:bodyPr/>
        <a:lstStyle/>
        <a:p>
          <a:endParaRPr lang="en-US" dirty="0"/>
        </a:p>
      </dgm:t>
    </dgm:pt>
    <dgm:pt modelId="{9ABA8A69-A036-4D1E-94BC-EA8112A238FB}">
      <dgm:prSet phldrT="[Text]"/>
      <dgm:spPr>
        <a:blipFill dpi="0" rotWithShape="0">
          <a:blip xmlns:r="http://schemas.openxmlformats.org/officeDocument/2006/relationships" r:embed="rId9"/>
          <a:srcRect/>
          <a:stretch>
            <a:fillRect l="-60000"/>
          </a:stretch>
        </a:blipFill>
      </dgm:spPr>
      <dgm:t>
        <a:bodyPr/>
        <a:lstStyle/>
        <a:p>
          <a:endParaRPr lang="en-US" dirty="0"/>
        </a:p>
      </dgm:t>
    </dgm:pt>
    <dgm:pt modelId="{C5D8953B-B76B-4DD2-ADD1-E5ACDA586B4D}" type="parTrans" cxnId="{A7361349-B72E-4D16-9BD5-8B3F134323BA}">
      <dgm:prSet/>
      <dgm:spPr/>
      <dgm:t>
        <a:bodyPr/>
        <a:lstStyle/>
        <a:p>
          <a:endParaRPr lang="en-US"/>
        </a:p>
      </dgm:t>
    </dgm:pt>
    <dgm:pt modelId="{E4D14F22-9D06-4DDD-960B-81CB0D08DF0D}" type="sibTrans" cxnId="{A7361349-B72E-4D16-9BD5-8B3F134323BA}">
      <dgm:prSet/>
      <dgm:spPr>
        <a:blipFill dpi="0" rotWithShape="0">
          <a:blip xmlns:r="http://schemas.openxmlformats.org/officeDocument/2006/relationships" r:embed="rId10"/>
          <a:srcRect/>
          <a:stretch>
            <a:fillRect l="-45000" r="-30000"/>
          </a:stretch>
        </a:blipFill>
      </dgm:spPr>
      <dgm:t>
        <a:bodyPr/>
        <a:lstStyle/>
        <a:p>
          <a:endParaRPr lang="en-US" dirty="0"/>
        </a:p>
      </dgm:t>
    </dgm:pt>
    <dgm:pt modelId="{AEF26DF5-DCD3-4B13-95F2-AB553032AFAF}">
      <dgm:prSet phldrT="[Text]"/>
      <dgm:spPr>
        <a:blipFill dpi="0" rotWithShape="0">
          <a:blip xmlns:r="http://schemas.openxmlformats.org/officeDocument/2006/relationships" r:embed="rId11"/>
          <a:srcRect/>
          <a:stretch>
            <a:fillRect l="-30000" r="-35000"/>
          </a:stretch>
        </a:blipFill>
      </dgm:spPr>
      <dgm:t>
        <a:bodyPr/>
        <a:lstStyle/>
        <a:p>
          <a:endParaRPr lang="en-US" dirty="0"/>
        </a:p>
      </dgm:t>
    </dgm:pt>
    <dgm:pt modelId="{D6315CE4-F9A3-4B96-91AF-DC0731E66D92}" type="parTrans" cxnId="{482F549B-20BA-4D53-B1EF-E9EFDA95CF91}">
      <dgm:prSet/>
      <dgm:spPr/>
      <dgm:t>
        <a:bodyPr/>
        <a:lstStyle/>
        <a:p>
          <a:endParaRPr lang="en-US"/>
        </a:p>
      </dgm:t>
    </dgm:pt>
    <dgm:pt modelId="{DFD3D424-673C-471E-8959-78BC2CCC8695}" type="sibTrans" cxnId="{482F549B-20BA-4D53-B1EF-E9EFDA95CF91}">
      <dgm:prSet/>
      <dgm:spPr>
        <a:blipFill dpi="0" rotWithShape="0">
          <a:blip xmlns:r="http://schemas.openxmlformats.org/officeDocument/2006/relationships" r:embed="rId12"/>
          <a:srcRect/>
          <a:stretch>
            <a:fillRect l="-30000" r="-30000"/>
          </a:stretch>
        </a:blipFill>
      </dgm:spPr>
      <dgm:t>
        <a:bodyPr/>
        <a:lstStyle/>
        <a:p>
          <a:endParaRPr lang="en-US" dirty="0"/>
        </a:p>
      </dgm:t>
    </dgm:pt>
    <dgm:pt modelId="{773E7640-162C-41E7-AC5C-4ED1BB174E6C}">
      <dgm:prSet phldrT="[Text]"/>
      <dgm:spPr>
        <a:blipFill rotWithShape="0">
          <a:blip xmlns:r="http://schemas.openxmlformats.org/officeDocument/2006/relationships" r:embed="rId13"/>
          <a:stretch>
            <a:fillRect l="-10000" r="-45000"/>
          </a:stretch>
        </a:blipFill>
      </dgm:spPr>
      <dgm:t>
        <a:bodyPr/>
        <a:lstStyle/>
        <a:p>
          <a:endParaRPr lang="en-US" dirty="0"/>
        </a:p>
      </dgm:t>
    </dgm:pt>
    <dgm:pt modelId="{400249F4-38AE-4F91-95A6-65C46EC45366}" type="parTrans" cxnId="{2C3B49ED-950E-4710-80EA-0487E46CA9CC}">
      <dgm:prSet/>
      <dgm:spPr/>
      <dgm:t>
        <a:bodyPr/>
        <a:lstStyle/>
        <a:p>
          <a:endParaRPr lang="en-US"/>
        </a:p>
      </dgm:t>
    </dgm:pt>
    <dgm:pt modelId="{E91273AA-701D-4223-AA4D-E9836F246F88}" type="sibTrans" cxnId="{2C3B49ED-950E-4710-80EA-0487E46CA9CC}">
      <dgm:prSet/>
      <dgm:spPr>
        <a:blipFill dpi="0" rotWithShape="0">
          <a:blip xmlns:r="http://schemas.openxmlformats.org/officeDocument/2006/relationships" r:embed="rId14"/>
          <a:srcRect/>
          <a:stretch>
            <a:fillRect l="8000" r="8000"/>
          </a:stretch>
        </a:blipFill>
      </dgm:spPr>
      <dgm:t>
        <a:bodyPr/>
        <a:lstStyle/>
        <a:p>
          <a:endParaRPr lang="en-US" dirty="0"/>
        </a:p>
      </dgm:t>
    </dgm:pt>
    <dgm:pt modelId="{7664FF3F-5FCB-4DBB-8984-693EAAB2DC10}">
      <dgm:prSet phldrT="[Text]"/>
      <dgm:spPr>
        <a:blipFill dpi="0" rotWithShape="0">
          <a:blip xmlns:r="http://schemas.openxmlformats.org/officeDocument/2006/relationships" r:embed="rId15"/>
          <a:srcRect/>
          <a:stretch>
            <a:fillRect/>
          </a:stretch>
        </a:blipFill>
      </dgm:spPr>
      <dgm:t>
        <a:bodyPr/>
        <a:lstStyle/>
        <a:p>
          <a:endParaRPr lang="en-US" dirty="0"/>
        </a:p>
      </dgm:t>
    </dgm:pt>
    <dgm:pt modelId="{62E1F072-BE79-4F5E-A1C2-124A07FDAF46}" type="parTrans" cxnId="{772A10C7-E8FC-40A7-A4C8-D76D413A63E3}">
      <dgm:prSet/>
      <dgm:spPr/>
      <dgm:t>
        <a:bodyPr/>
        <a:lstStyle/>
        <a:p>
          <a:endParaRPr lang="en-US"/>
        </a:p>
      </dgm:t>
    </dgm:pt>
    <dgm:pt modelId="{2611E1BB-C054-4B10-B3AE-4D2C1F5E3F69}" type="sibTrans" cxnId="{772A10C7-E8FC-40A7-A4C8-D76D413A63E3}">
      <dgm:prSet/>
      <dgm:spPr>
        <a:blipFill dpi="0" rotWithShape="0">
          <a:blip xmlns:r="http://schemas.openxmlformats.org/officeDocument/2006/relationships" r:embed="rId16"/>
          <a:srcRect/>
          <a:stretch>
            <a:fillRect l="-4000" r="-50000"/>
          </a:stretch>
        </a:blipFill>
      </dgm:spPr>
      <dgm:t>
        <a:bodyPr/>
        <a:lstStyle/>
        <a:p>
          <a:endParaRPr lang="en-US" dirty="0"/>
        </a:p>
      </dgm:t>
    </dgm:pt>
    <dgm:pt modelId="{0126FA87-5EE3-4407-867C-8A0D8D97C300}" type="pres">
      <dgm:prSet presAssocID="{0D8B4808-937A-4626-9428-B4EBEE193949}" presName="Name0" presStyleCnt="0">
        <dgm:presLayoutVars>
          <dgm:chMax/>
          <dgm:chPref/>
          <dgm:dir/>
          <dgm:animLvl val="lvl"/>
        </dgm:presLayoutVars>
      </dgm:prSet>
      <dgm:spPr/>
    </dgm:pt>
    <dgm:pt modelId="{C6DE1D52-4E73-4985-950B-ABD2E4153E05}" type="pres">
      <dgm:prSet presAssocID="{6142629A-62F6-4C87-B819-A6D3ABC55F68}" presName="composite" presStyleCnt="0"/>
      <dgm:spPr/>
    </dgm:pt>
    <dgm:pt modelId="{F960C867-FAF1-4309-AB4F-4719CAD2A495}" type="pres">
      <dgm:prSet presAssocID="{6142629A-62F6-4C87-B819-A6D3ABC55F68}" presName="Parent1" presStyleLbl="node1" presStyleIdx="0" presStyleCnt="16">
        <dgm:presLayoutVars>
          <dgm:chMax val="1"/>
          <dgm:chPref val="1"/>
          <dgm:bulletEnabled val="1"/>
        </dgm:presLayoutVars>
      </dgm:prSet>
      <dgm:spPr/>
    </dgm:pt>
    <dgm:pt modelId="{55D9BC19-4197-44F1-9B1D-484D8D5536EA}" type="pres">
      <dgm:prSet presAssocID="{6142629A-62F6-4C87-B819-A6D3ABC55F68}" presName="Childtext1" presStyleLbl="revTx" presStyleIdx="0" presStyleCnt="8">
        <dgm:presLayoutVars>
          <dgm:chMax val="0"/>
          <dgm:chPref val="0"/>
          <dgm:bulletEnabled val="1"/>
        </dgm:presLayoutVars>
      </dgm:prSet>
      <dgm:spPr/>
    </dgm:pt>
    <dgm:pt modelId="{6A8D0A25-01E8-4CC8-8A1E-532BDCE96D5E}" type="pres">
      <dgm:prSet presAssocID="{6142629A-62F6-4C87-B819-A6D3ABC55F68}" presName="BalanceSpacing" presStyleCnt="0"/>
      <dgm:spPr/>
    </dgm:pt>
    <dgm:pt modelId="{81FCC3A0-D131-4B32-9040-8858792ADF33}" type="pres">
      <dgm:prSet presAssocID="{6142629A-62F6-4C87-B819-A6D3ABC55F68}" presName="BalanceSpacing1" presStyleCnt="0"/>
      <dgm:spPr/>
    </dgm:pt>
    <dgm:pt modelId="{FD4EF0BC-FA5E-465C-B6FF-2699BFF71C1F}" type="pres">
      <dgm:prSet presAssocID="{F9F044E3-E02B-40C7-8047-00D20C154396}" presName="Accent1Text" presStyleLbl="node1" presStyleIdx="1" presStyleCnt="16"/>
      <dgm:spPr/>
    </dgm:pt>
    <dgm:pt modelId="{039706A9-20DC-45A4-890F-F8DFBB651A1A}" type="pres">
      <dgm:prSet presAssocID="{F9F044E3-E02B-40C7-8047-00D20C154396}" presName="spaceBetweenRectangles" presStyleCnt="0"/>
      <dgm:spPr/>
    </dgm:pt>
    <dgm:pt modelId="{00BA57FE-725B-4168-88DE-31427F907EA2}" type="pres">
      <dgm:prSet presAssocID="{F0A44364-0EC3-4793-840A-DE567FE7269C}" presName="composite" presStyleCnt="0"/>
      <dgm:spPr/>
    </dgm:pt>
    <dgm:pt modelId="{72BE9173-C0E9-43A6-821C-3F107C0BB20A}" type="pres">
      <dgm:prSet presAssocID="{F0A44364-0EC3-4793-840A-DE567FE7269C}" presName="Parent1" presStyleLbl="node1" presStyleIdx="2" presStyleCnt="16" custLinFactNeighborX="581" custLinFactNeighborY="0">
        <dgm:presLayoutVars>
          <dgm:chMax val="1"/>
          <dgm:chPref val="1"/>
          <dgm:bulletEnabled val="1"/>
        </dgm:presLayoutVars>
      </dgm:prSet>
      <dgm:spPr/>
    </dgm:pt>
    <dgm:pt modelId="{6305EFB9-B1DA-45D3-9E2A-30DE58A62EB2}" type="pres">
      <dgm:prSet presAssocID="{F0A44364-0EC3-4793-840A-DE567FE7269C}" presName="Childtext1" presStyleLbl="revTx" presStyleIdx="1" presStyleCnt="8">
        <dgm:presLayoutVars>
          <dgm:chMax val="0"/>
          <dgm:chPref val="0"/>
          <dgm:bulletEnabled val="1"/>
        </dgm:presLayoutVars>
      </dgm:prSet>
      <dgm:spPr/>
    </dgm:pt>
    <dgm:pt modelId="{2A3385BE-3941-427A-B246-69D8CE683863}" type="pres">
      <dgm:prSet presAssocID="{F0A44364-0EC3-4793-840A-DE567FE7269C}" presName="BalanceSpacing" presStyleCnt="0"/>
      <dgm:spPr/>
    </dgm:pt>
    <dgm:pt modelId="{76070244-A6CC-498D-B622-9E2A0140CFEA}" type="pres">
      <dgm:prSet presAssocID="{F0A44364-0EC3-4793-840A-DE567FE7269C}" presName="BalanceSpacing1" presStyleCnt="0"/>
      <dgm:spPr/>
    </dgm:pt>
    <dgm:pt modelId="{BCF7A521-5434-4BA9-AAFC-143B9A0FCB04}" type="pres">
      <dgm:prSet presAssocID="{EFA65555-4038-4142-9330-A69047C92892}" presName="Accent1Text" presStyleLbl="node1" presStyleIdx="3" presStyleCnt="16"/>
      <dgm:spPr/>
    </dgm:pt>
    <dgm:pt modelId="{3137B365-27A5-43C7-8D18-930E8223B641}" type="pres">
      <dgm:prSet presAssocID="{EFA65555-4038-4142-9330-A69047C92892}" presName="spaceBetweenRectangles" presStyleCnt="0"/>
      <dgm:spPr/>
    </dgm:pt>
    <dgm:pt modelId="{B51BBA99-B118-4F04-AB51-B1F3CE2E63DF}" type="pres">
      <dgm:prSet presAssocID="{F479C649-5CF5-4CD2-896F-CF6609F8B348}" presName="composite" presStyleCnt="0"/>
      <dgm:spPr/>
    </dgm:pt>
    <dgm:pt modelId="{9846EB03-F191-4732-B253-FB52F9F36C5C}" type="pres">
      <dgm:prSet presAssocID="{F479C649-5CF5-4CD2-896F-CF6609F8B348}" presName="Parent1" presStyleLbl="node1" presStyleIdx="4" presStyleCnt="16">
        <dgm:presLayoutVars>
          <dgm:chMax val="1"/>
          <dgm:chPref val="1"/>
          <dgm:bulletEnabled val="1"/>
        </dgm:presLayoutVars>
      </dgm:prSet>
      <dgm:spPr/>
    </dgm:pt>
    <dgm:pt modelId="{41085EEB-A0AE-4928-9BEA-2F4557E44D1E}" type="pres">
      <dgm:prSet presAssocID="{F479C649-5CF5-4CD2-896F-CF6609F8B348}" presName="Childtext1" presStyleLbl="revTx" presStyleIdx="2" presStyleCnt="8">
        <dgm:presLayoutVars>
          <dgm:chMax val="0"/>
          <dgm:chPref val="0"/>
          <dgm:bulletEnabled val="1"/>
        </dgm:presLayoutVars>
      </dgm:prSet>
      <dgm:spPr/>
    </dgm:pt>
    <dgm:pt modelId="{F9390043-4BC1-4918-B367-34DDB60F6AC5}" type="pres">
      <dgm:prSet presAssocID="{F479C649-5CF5-4CD2-896F-CF6609F8B348}" presName="BalanceSpacing" presStyleCnt="0"/>
      <dgm:spPr/>
    </dgm:pt>
    <dgm:pt modelId="{58DCEEBE-B258-4BBC-A3AB-75C495B2B819}" type="pres">
      <dgm:prSet presAssocID="{F479C649-5CF5-4CD2-896F-CF6609F8B348}" presName="BalanceSpacing1" presStyleCnt="0"/>
      <dgm:spPr/>
    </dgm:pt>
    <dgm:pt modelId="{EF42F8F8-419A-4429-AA06-7A2626E69A58}" type="pres">
      <dgm:prSet presAssocID="{C3EFAE77-F911-4AE7-9970-D4B84D748ACE}" presName="Accent1Text" presStyleLbl="node1" presStyleIdx="5" presStyleCnt="16"/>
      <dgm:spPr/>
    </dgm:pt>
    <dgm:pt modelId="{F100DE07-DC07-45A3-928F-01CF3C3823D1}" type="pres">
      <dgm:prSet presAssocID="{C3EFAE77-F911-4AE7-9970-D4B84D748ACE}" presName="spaceBetweenRectangles" presStyleCnt="0"/>
      <dgm:spPr/>
    </dgm:pt>
    <dgm:pt modelId="{346A3D0E-5BE9-40A2-BA48-44DA2CF44B5A}" type="pres">
      <dgm:prSet presAssocID="{9ABA8A69-A036-4D1E-94BC-EA8112A238FB}" presName="composite" presStyleCnt="0"/>
      <dgm:spPr/>
    </dgm:pt>
    <dgm:pt modelId="{C6913ACC-F526-4A96-9CAD-D18F248AEAD7}" type="pres">
      <dgm:prSet presAssocID="{9ABA8A69-A036-4D1E-94BC-EA8112A238FB}" presName="Parent1" presStyleLbl="node1" presStyleIdx="6" presStyleCnt="16">
        <dgm:presLayoutVars>
          <dgm:chMax val="1"/>
          <dgm:chPref val="1"/>
          <dgm:bulletEnabled val="1"/>
        </dgm:presLayoutVars>
      </dgm:prSet>
      <dgm:spPr/>
    </dgm:pt>
    <dgm:pt modelId="{F5481904-DEB4-42F1-86A3-02670367E1CF}" type="pres">
      <dgm:prSet presAssocID="{9ABA8A69-A036-4D1E-94BC-EA8112A238FB}" presName="Childtext1" presStyleLbl="revTx" presStyleIdx="3" presStyleCnt="8">
        <dgm:presLayoutVars>
          <dgm:chMax val="0"/>
          <dgm:chPref val="0"/>
          <dgm:bulletEnabled val="1"/>
        </dgm:presLayoutVars>
      </dgm:prSet>
      <dgm:spPr/>
    </dgm:pt>
    <dgm:pt modelId="{5DA38484-A9FD-4869-BE65-B2794FCBA0A8}" type="pres">
      <dgm:prSet presAssocID="{9ABA8A69-A036-4D1E-94BC-EA8112A238FB}" presName="BalanceSpacing" presStyleCnt="0"/>
      <dgm:spPr/>
    </dgm:pt>
    <dgm:pt modelId="{3B9044D7-9880-4177-BB91-8056BC4F5BA4}" type="pres">
      <dgm:prSet presAssocID="{9ABA8A69-A036-4D1E-94BC-EA8112A238FB}" presName="BalanceSpacing1" presStyleCnt="0"/>
      <dgm:spPr/>
    </dgm:pt>
    <dgm:pt modelId="{A574FB86-CAAD-4975-8097-F8C5B35A7101}" type="pres">
      <dgm:prSet presAssocID="{E4D14F22-9D06-4DDD-960B-81CB0D08DF0D}" presName="Accent1Text" presStyleLbl="node1" presStyleIdx="7" presStyleCnt="16"/>
      <dgm:spPr/>
    </dgm:pt>
    <dgm:pt modelId="{74F51155-DFEB-4EB0-8540-170FDC3922D3}" type="pres">
      <dgm:prSet presAssocID="{E4D14F22-9D06-4DDD-960B-81CB0D08DF0D}" presName="spaceBetweenRectangles" presStyleCnt="0"/>
      <dgm:spPr/>
    </dgm:pt>
    <dgm:pt modelId="{1258A938-741C-4C9D-B49E-B635EBE1C5E8}" type="pres">
      <dgm:prSet presAssocID="{AEF26DF5-DCD3-4B13-95F2-AB553032AFAF}" presName="composite" presStyleCnt="0"/>
      <dgm:spPr/>
    </dgm:pt>
    <dgm:pt modelId="{C4872333-E845-4B59-8142-456AF061FA25}" type="pres">
      <dgm:prSet presAssocID="{AEF26DF5-DCD3-4B13-95F2-AB553032AFAF}" presName="Parent1" presStyleLbl="node1" presStyleIdx="8" presStyleCnt="16">
        <dgm:presLayoutVars>
          <dgm:chMax val="1"/>
          <dgm:chPref val="1"/>
          <dgm:bulletEnabled val="1"/>
        </dgm:presLayoutVars>
      </dgm:prSet>
      <dgm:spPr/>
    </dgm:pt>
    <dgm:pt modelId="{1F73D090-BFA0-4B4A-96E3-3925906D53BF}" type="pres">
      <dgm:prSet presAssocID="{AEF26DF5-DCD3-4B13-95F2-AB553032AFAF}" presName="Childtext1" presStyleLbl="revTx" presStyleIdx="4" presStyleCnt="8">
        <dgm:presLayoutVars>
          <dgm:chMax val="0"/>
          <dgm:chPref val="0"/>
          <dgm:bulletEnabled val="1"/>
        </dgm:presLayoutVars>
      </dgm:prSet>
      <dgm:spPr/>
    </dgm:pt>
    <dgm:pt modelId="{DB7347C9-8A66-4123-94FA-651C3C37C1A3}" type="pres">
      <dgm:prSet presAssocID="{AEF26DF5-DCD3-4B13-95F2-AB553032AFAF}" presName="BalanceSpacing" presStyleCnt="0"/>
      <dgm:spPr/>
    </dgm:pt>
    <dgm:pt modelId="{ED9060FC-07C5-4CDC-87EA-F90290E48452}" type="pres">
      <dgm:prSet presAssocID="{AEF26DF5-DCD3-4B13-95F2-AB553032AFAF}" presName="BalanceSpacing1" presStyleCnt="0"/>
      <dgm:spPr/>
    </dgm:pt>
    <dgm:pt modelId="{1252E95D-0808-442E-9410-AF619D47FEF5}" type="pres">
      <dgm:prSet presAssocID="{DFD3D424-673C-471E-8959-78BC2CCC8695}" presName="Accent1Text" presStyleLbl="node1" presStyleIdx="9" presStyleCnt="16"/>
      <dgm:spPr/>
    </dgm:pt>
    <dgm:pt modelId="{25841286-1693-4B68-BFB3-BE8E2DD2CEF5}" type="pres">
      <dgm:prSet presAssocID="{DFD3D424-673C-471E-8959-78BC2CCC8695}" presName="spaceBetweenRectangles" presStyleCnt="0"/>
      <dgm:spPr/>
    </dgm:pt>
    <dgm:pt modelId="{25B4BCDB-5404-4485-98D7-5F79D8253195}" type="pres">
      <dgm:prSet presAssocID="{773E7640-162C-41E7-AC5C-4ED1BB174E6C}" presName="composite" presStyleCnt="0"/>
      <dgm:spPr/>
    </dgm:pt>
    <dgm:pt modelId="{F5B6C73C-98A2-443F-A947-97436DD9AA17}" type="pres">
      <dgm:prSet presAssocID="{773E7640-162C-41E7-AC5C-4ED1BB174E6C}" presName="Parent1" presStyleLbl="node1" presStyleIdx="10" presStyleCnt="16">
        <dgm:presLayoutVars>
          <dgm:chMax val="1"/>
          <dgm:chPref val="1"/>
          <dgm:bulletEnabled val="1"/>
        </dgm:presLayoutVars>
      </dgm:prSet>
      <dgm:spPr/>
    </dgm:pt>
    <dgm:pt modelId="{D77212B0-BC75-41E0-BFB9-6BC0104A790A}" type="pres">
      <dgm:prSet presAssocID="{773E7640-162C-41E7-AC5C-4ED1BB174E6C}" presName="Childtext1" presStyleLbl="revTx" presStyleIdx="5" presStyleCnt="8">
        <dgm:presLayoutVars>
          <dgm:chMax val="0"/>
          <dgm:chPref val="0"/>
          <dgm:bulletEnabled val="1"/>
        </dgm:presLayoutVars>
      </dgm:prSet>
      <dgm:spPr/>
    </dgm:pt>
    <dgm:pt modelId="{08ADF808-3D24-4EDF-80FB-AF1228455E7F}" type="pres">
      <dgm:prSet presAssocID="{773E7640-162C-41E7-AC5C-4ED1BB174E6C}" presName="BalanceSpacing" presStyleCnt="0"/>
      <dgm:spPr/>
    </dgm:pt>
    <dgm:pt modelId="{07314696-068C-4CFD-839B-C6B27B6DA624}" type="pres">
      <dgm:prSet presAssocID="{773E7640-162C-41E7-AC5C-4ED1BB174E6C}" presName="BalanceSpacing1" presStyleCnt="0"/>
      <dgm:spPr/>
    </dgm:pt>
    <dgm:pt modelId="{6A1379D2-B0DC-4983-94F1-DD9FF074D5E3}" type="pres">
      <dgm:prSet presAssocID="{E91273AA-701D-4223-AA4D-E9836F246F88}" presName="Accent1Text" presStyleLbl="node1" presStyleIdx="11" presStyleCnt="16"/>
      <dgm:spPr/>
    </dgm:pt>
    <dgm:pt modelId="{B09D6122-03C4-40C5-BAF3-1888187BF592}" type="pres">
      <dgm:prSet presAssocID="{E91273AA-701D-4223-AA4D-E9836F246F88}" presName="spaceBetweenRectangles" presStyleCnt="0"/>
      <dgm:spPr/>
    </dgm:pt>
    <dgm:pt modelId="{9B1B0703-11A6-458F-85B5-B90674BDF1DE}" type="pres">
      <dgm:prSet presAssocID="{7664FF3F-5FCB-4DBB-8984-693EAAB2DC10}" presName="composite" presStyleCnt="0"/>
      <dgm:spPr/>
    </dgm:pt>
    <dgm:pt modelId="{552B3F95-040A-4625-9FB3-364FF3F06349}" type="pres">
      <dgm:prSet presAssocID="{7664FF3F-5FCB-4DBB-8984-693EAAB2DC10}" presName="Parent1" presStyleLbl="node1" presStyleIdx="12" presStyleCnt="16">
        <dgm:presLayoutVars>
          <dgm:chMax val="1"/>
          <dgm:chPref val="1"/>
          <dgm:bulletEnabled val="1"/>
        </dgm:presLayoutVars>
      </dgm:prSet>
      <dgm:spPr/>
    </dgm:pt>
    <dgm:pt modelId="{257E0CFB-5CEE-4F58-9B7D-48636AB1C7F3}" type="pres">
      <dgm:prSet presAssocID="{7664FF3F-5FCB-4DBB-8984-693EAAB2DC10}" presName="Childtext1" presStyleLbl="revTx" presStyleIdx="6" presStyleCnt="8">
        <dgm:presLayoutVars>
          <dgm:chMax val="0"/>
          <dgm:chPref val="0"/>
          <dgm:bulletEnabled val="1"/>
        </dgm:presLayoutVars>
      </dgm:prSet>
      <dgm:spPr/>
    </dgm:pt>
    <dgm:pt modelId="{86C80884-7113-4F74-ABE6-861A45390C6C}" type="pres">
      <dgm:prSet presAssocID="{7664FF3F-5FCB-4DBB-8984-693EAAB2DC10}" presName="BalanceSpacing" presStyleCnt="0"/>
      <dgm:spPr/>
    </dgm:pt>
    <dgm:pt modelId="{760C8556-0BD0-4693-9491-9747DCA76133}" type="pres">
      <dgm:prSet presAssocID="{7664FF3F-5FCB-4DBB-8984-693EAAB2DC10}" presName="BalanceSpacing1" presStyleCnt="0"/>
      <dgm:spPr/>
    </dgm:pt>
    <dgm:pt modelId="{4C8AFEF5-51B9-4B3B-A925-1C3065C660D4}" type="pres">
      <dgm:prSet presAssocID="{2611E1BB-C054-4B10-B3AE-4D2C1F5E3F69}" presName="Accent1Text" presStyleLbl="node1" presStyleIdx="13" presStyleCnt="16"/>
      <dgm:spPr/>
    </dgm:pt>
    <dgm:pt modelId="{59CD84F7-FA7E-45F5-839C-384F3BED7977}" type="pres">
      <dgm:prSet presAssocID="{2611E1BB-C054-4B10-B3AE-4D2C1F5E3F69}" presName="spaceBetweenRectangles" presStyleCnt="0"/>
      <dgm:spPr/>
    </dgm:pt>
    <dgm:pt modelId="{444E0EBE-F691-423E-9D2D-64F35E8EA4FD}" type="pres">
      <dgm:prSet presAssocID="{8CA7B0DC-3CF9-497C-AB8B-F1F710DC9EFC}" presName="composite" presStyleCnt="0"/>
      <dgm:spPr/>
    </dgm:pt>
    <dgm:pt modelId="{E33E4C4B-92D3-495A-92AB-13022DDF2160}" type="pres">
      <dgm:prSet presAssocID="{8CA7B0DC-3CF9-497C-AB8B-F1F710DC9EFC}" presName="Parent1" presStyleLbl="node1" presStyleIdx="14" presStyleCnt="16">
        <dgm:presLayoutVars>
          <dgm:chMax val="1"/>
          <dgm:chPref val="1"/>
          <dgm:bulletEnabled val="1"/>
        </dgm:presLayoutVars>
      </dgm:prSet>
      <dgm:spPr/>
    </dgm:pt>
    <dgm:pt modelId="{D9B5085A-80A7-4314-9829-AB64B8494DC4}" type="pres">
      <dgm:prSet presAssocID="{8CA7B0DC-3CF9-497C-AB8B-F1F710DC9EFC}" presName="Childtext1" presStyleLbl="revTx" presStyleIdx="7" presStyleCnt="8">
        <dgm:presLayoutVars>
          <dgm:chMax val="0"/>
          <dgm:chPref val="0"/>
          <dgm:bulletEnabled val="1"/>
        </dgm:presLayoutVars>
      </dgm:prSet>
      <dgm:spPr/>
    </dgm:pt>
    <dgm:pt modelId="{2A13799D-BE6A-4030-985B-539A68C0DC45}" type="pres">
      <dgm:prSet presAssocID="{8CA7B0DC-3CF9-497C-AB8B-F1F710DC9EFC}" presName="BalanceSpacing" presStyleCnt="0"/>
      <dgm:spPr/>
    </dgm:pt>
    <dgm:pt modelId="{5E718E4A-86E7-407D-B456-A9B26FEF6A88}" type="pres">
      <dgm:prSet presAssocID="{8CA7B0DC-3CF9-497C-AB8B-F1F710DC9EFC}" presName="BalanceSpacing1" presStyleCnt="0"/>
      <dgm:spPr/>
    </dgm:pt>
    <dgm:pt modelId="{A8142A8E-43D2-4B9D-9B9D-2BD85774AFBF}" type="pres">
      <dgm:prSet presAssocID="{3322F324-0D02-463B-9B93-587E118FEDC8}" presName="Accent1Text" presStyleLbl="node1" presStyleIdx="15" presStyleCnt="16"/>
      <dgm:spPr/>
    </dgm:pt>
  </dgm:ptLst>
  <dgm:cxnLst>
    <dgm:cxn modelId="{C1C0320A-9E3A-4475-9FA1-FFFB5138C04D}" type="presOf" srcId="{E4D14F22-9D06-4DDD-960B-81CB0D08DF0D}" destId="{A574FB86-CAAD-4975-8097-F8C5B35A7101}" srcOrd="0" destOrd="0" presId="urn:microsoft.com/office/officeart/2008/layout/AlternatingHexagons"/>
    <dgm:cxn modelId="{FB0D750C-5BA5-45F0-BB0A-CCCED2A47519}" type="presOf" srcId="{C3EFAE77-F911-4AE7-9970-D4B84D748ACE}" destId="{EF42F8F8-419A-4429-AA06-7A2626E69A58}" srcOrd="0" destOrd="0" presId="urn:microsoft.com/office/officeart/2008/layout/AlternatingHexagons"/>
    <dgm:cxn modelId="{BB110A37-25DA-4595-884A-9C0403B6E6B5}" type="presOf" srcId="{F0A44364-0EC3-4793-840A-DE567FE7269C}" destId="{72BE9173-C0E9-43A6-821C-3F107C0BB20A}" srcOrd="0" destOrd="0" presId="urn:microsoft.com/office/officeart/2008/layout/AlternatingHexagons"/>
    <dgm:cxn modelId="{4E5E1662-0CE3-458C-9205-20B26ECA14BE}" type="presOf" srcId="{DFD3D424-673C-471E-8959-78BC2CCC8695}" destId="{1252E95D-0808-442E-9410-AF619D47FEF5}" srcOrd="0" destOrd="0" presId="urn:microsoft.com/office/officeart/2008/layout/AlternatingHexagons"/>
    <dgm:cxn modelId="{B6FED742-47E8-4743-AADD-3E942B02DB1B}" type="presOf" srcId="{9ABA8A69-A036-4D1E-94BC-EA8112A238FB}" destId="{C6913ACC-F526-4A96-9CAD-D18F248AEAD7}" srcOrd="0" destOrd="0" presId="urn:microsoft.com/office/officeart/2008/layout/AlternatingHexagons"/>
    <dgm:cxn modelId="{28FC0F48-98FF-42C7-8D26-F16DAD499FE5}" type="presOf" srcId="{773E7640-162C-41E7-AC5C-4ED1BB174E6C}" destId="{F5B6C73C-98A2-443F-A947-97436DD9AA17}" srcOrd="0" destOrd="0" presId="urn:microsoft.com/office/officeart/2008/layout/AlternatingHexagons"/>
    <dgm:cxn modelId="{AD22AB68-5261-4037-8B0A-52284447D4EC}" type="presOf" srcId="{E91273AA-701D-4223-AA4D-E9836F246F88}" destId="{6A1379D2-B0DC-4983-94F1-DD9FF074D5E3}" srcOrd="0" destOrd="0" presId="urn:microsoft.com/office/officeart/2008/layout/AlternatingHexagons"/>
    <dgm:cxn modelId="{A7361349-B72E-4D16-9BD5-8B3F134323BA}" srcId="{0D8B4808-937A-4626-9428-B4EBEE193949}" destId="{9ABA8A69-A036-4D1E-94BC-EA8112A238FB}" srcOrd="3" destOrd="0" parTransId="{C5D8953B-B76B-4DD2-ADD1-E5ACDA586B4D}" sibTransId="{E4D14F22-9D06-4DDD-960B-81CB0D08DF0D}"/>
    <dgm:cxn modelId="{BBF73A4A-493E-4D97-A282-7BF1265C4CB2}" type="presOf" srcId="{AEF26DF5-DCD3-4B13-95F2-AB553032AFAF}" destId="{C4872333-E845-4B59-8142-456AF061FA25}" srcOrd="0" destOrd="0" presId="urn:microsoft.com/office/officeart/2008/layout/AlternatingHexagons"/>
    <dgm:cxn modelId="{0400077E-DE1C-4048-BD29-74F5A9A2A5B3}" type="presOf" srcId="{2611E1BB-C054-4B10-B3AE-4D2C1F5E3F69}" destId="{4C8AFEF5-51B9-4B3B-A925-1C3065C660D4}" srcOrd="0" destOrd="0" presId="urn:microsoft.com/office/officeart/2008/layout/AlternatingHexagons"/>
    <dgm:cxn modelId="{058F368F-3727-4E7F-B953-36C5CD53CEDC}" type="presOf" srcId="{F9F044E3-E02B-40C7-8047-00D20C154396}" destId="{FD4EF0BC-FA5E-465C-B6FF-2699BFF71C1F}" srcOrd="0" destOrd="0" presId="urn:microsoft.com/office/officeart/2008/layout/AlternatingHexagons"/>
    <dgm:cxn modelId="{482F549B-20BA-4D53-B1EF-E9EFDA95CF91}" srcId="{0D8B4808-937A-4626-9428-B4EBEE193949}" destId="{AEF26DF5-DCD3-4B13-95F2-AB553032AFAF}" srcOrd="4" destOrd="0" parTransId="{D6315CE4-F9A3-4B96-91AF-DC0731E66D92}" sibTransId="{DFD3D424-673C-471E-8959-78BC2CCC8695}"/>
    <dgm:cxn modelId="{7B391BA0-3EC3-4472-9137-A4958E6B4D80}" srcId="{0D8B4808-937A-4626-9428-B4EBEE193949}" destId="{6142629A-62F6-4C87-B819-A6D3ABC55F68}" srcOrd="0" destOrd="0" parTransId="{7A02804A-D234-4EC2-9AA7-EA2375ECFF5E}" sibTransId="{F9F044E3-E02B-40C7-8047-00D20C154396}"/>
    <dgm:cxn modelId="{B065B9AB-F767-43C3-A9BA-BB17024C984F}" type="presOf" srcId="{F479C649-5CF5-4CD2-896F-CF6609F8B348}" destId="{9846EB03-F191-4732-B253-FB52F9F36C5C}" srcOrd="0" destOrd="0" presId="urn:microsoft.com/office/officeart/2008/layout/AlternatingHexagons"/>
    <dgm:cxn modelId="{AFE789AE-5528-419E-A6F5-B2679D931CBC}" type="presOf" srcId="{6142629A-62F6-4C87-B819-A6D3ABC55F68}" destId="{F960C867-FAF1-4309-AB4F-4719CAD2A495}" srcOrd="0" destOrd="0" presId="urn:microsoft.com/office/officeart/2008/layout/AlternatingHexagons"/>
    <dgm:cxn modelId="{6D50B9AE-7306-4164-9886-CC1486A51182}" srcId="{0D8B4808-937A-4626-9428-B4EBEE193949}" destId="{F0A44364-0EC3-4793-840A-DE567FE7269C}" srcOrd="1" destOrd="0" parTransId="{7766DB00-369A-4831-A495-F7590612DE39}" sibTransId="{EFA65555-4038-4142-9330-A69047C92892}"/>
    <dgm:cxn modelId="{0B1FBFB9-334A-43D0-85E3-AB85F6234809}" srcId="{0D8B4808-937A-4626-9428-B4EBEE193949}" destId="{8CA7B0DC-3CF9-497C-AB8B-F1F710DC9EFC}" srcOrd="7" destOrd="0" parTransId="{586AED44-3B1F-4803-ADDF-7775F9668DFB}" sibTransId="{3322F324-0D02-463B-9B93-587E118FEDC8}"/>
    <dgm:cxn modelId="{F55FCAC2-05C1-499C-83C6-B94859089332}" type="presOf" srcId="{3322F324-0D02-463B-9B93-587E118FEDC8}" destId="{A8142A8E-43D2-4B9D-9B9D-2BD85774AFBF}" srcOrd="0" destOrd="0" presId="urn:microsoft.com/office/officeart/2008/layout/AlternatingHexagons"/>
    <dgm:cxn modelId="{772A10C7-E8FC-40A7-A4C8-D76D413A63E3}" srcId="{0D8B4808-937A-4626-9428-B4EBEE193949}" destId="{7664FF3F-5FCB-4DBB-8984-693EAAB2DC10}" srcOrd="6" destOrd="0" parTransId="{62E1F072-BE79-4F5E-A1C2-124A07FDAF46}" sibTransId="{2611E1BB-C054-4B10-B3AE-4D2C1F5E3F69}"/>
    <dgm:cxn modelId="{DB71E8C7-458D-4F2F-9FEE-DDFE9E442F89}" type="presOf" srcId="{8CA7B0DC-3CF9-497C-AB8B-F1F710DC9EFC}" destId="{E33E4C4B-92D3-495A-92AB-13022DDF2160}" srcOrd="0" destOrd="0" presId="urn:microsoft.com/office/officeart/2008/layout/AlternatingHexagons"/>
    <dgm:cxn modelId="{03A59FD3-F0F1-4E50-AE6F-1EAEEF9C1B4D}" type="presOf" srcId="{7664FF3F-5FCB-4DBB-8984-693EAAB2DC10}" destId="{552B3F95-040A-4625-9FB3-364FF3F06349}" srcOrd="0" destOrd="0" presId="urn:microsoft.com/office/officeart/2008/layout/AlternatingHexagons"/>
    <dgm:cxn modelId="{EB80D8EA-EA52-4116-9CC6-16CEE59168E9}" type="presOf" srcId="{EFA65555-4038-4142-9330-A69047C92892}" destId="{BCF7A521-5434-4BA9-AAFC-143B9A0FCB04}" srcOrd="0" destOrd="0" presId="urn:microsoft.com/office/officeart/2008/layout/AlternatingHexagons"/>
    <dgm:cxn modelId="{DC4FF7EA-B9FF-4D06-AA17-69164D6FCE55}" srcId="{0D8B4808-937A-4626-9428-B4EBEE193949}" destId="{F479C649-5CF5-4CD2-896F-CF6609F8B348}" srcOrd="2" destOrd="0" parTransId="{3CFAFE27-F710-46D4-A16F-519CAF1F5342}" sibTransId="{C3EFAE77-F911-4AE7-9970-D4B84D748ACE}"/>
    <dgm:cxn modelId="{2C3B49ED-950E-4710-80EA-0487E46CA9CC}" srcId="{0D8B4808-937A-4626-9428-B4EBEE193949}" destId="{773E7640-162C-41E7-AC5C-4ED1BB174E6C}" srcOrd="5" destOrd="0" parTransId="{400249F4-38AE-4F91-95A6-65C46EC45366}" sibTransId="{E91273AA-701D-4223-AA4D-E9836F246F88}"/>
    <dgm:cxn modelId="{1AB9B8F2-5F79-4C07-A4D1-2B199BEA37A1}" type="presOf" srcId="{0D8B4808-937A-4626-9428-B4EBEE193949}" destId="{0126FA87-5EE3-4407-867C-8A0D8D97C300}" srcOrd="0" destOrd="0" presId="urn:microsoft.com/office/officeart/2008/layout/AlternatingHexagons"/>
    <dgm:cxn modelId="{B1D55842-FBE2-4629-B071-FDD362651E0D}" type="presParOf" srcId="{0126FA87-5EE3-4407-867C-8A0D8D97C300}" destId="{C6DE1D52-4E73-4985-950B-ABD2E4153E05}" srcOrd="0" destOrd="0" presId="urn:microsoft.com/office/officeart/2008/layout/AlternatingHexagons"/>
    <dgm:cxn modelId="{C3416B00-1A45-411F-A58C-DC8251B421DC}" type="presParOf" srcId="{C6DE1D52-4E73-4985-950B-ABD2E4153E05}" destId="{F960C867-FAF1-4309-AB4F-4719CAD2A495}" srcOrd="0" destOrd="0" presId="urn:microsoft.com/office/officeart/2008/layout/AlternatingHexagons"/>
    <dgm:cxn modelId="{D3531C08-1B8F-4EEB-937C-2D3C7C56FD68}" type="presParOf" srcId="{C6DE1D52-4E73-4985-950B-ABD2E4153E05}" destId="{55D9BC19-4197-44F1-9B1D-484D8D5536EA}" srcOrd="1" destOrd="0" presId="urn:microsoft.com/office/officeart/2008/layout/AlternatingHexagons"/>
    <dgm:cxn modelId="{6194500B-C78B-4BD2-BEB3-DD88DB8944F2}" type="presParOf" srcId="{C6DE1D52-4E73-4985-950B-ABD2E4153E05}" destId="{6A8D0A25-01E8-4CC8-8A1E-532BDCE96D5E}" srcOrd="2" destOrd="0" presId="urn:microsoft.com/office/officeart/2008/layout/AlternatingHexagons"/>
    <dgm:cxn modelId="{574BDFB5-9BAB-4D3C-8AD9-7ED7B5755815}" type="presParOf" srcId="{C6DE1D52-4E73-4985-950B-ABD2E4153E05}" destId="{81FCC3A0-D131-4B32-9040-8858792ADF33}" srcOrd="3" destOrd="0" presId="urn:microsoft.com/office/officeart/2008/layout/AlternatingHexagons"/>
    <dgm:cxn modelId="{6BF48133-5F59-45B0-820D-E3E50B9AB94E}" type="presParOf" srcId="{C6DE1D52-4E73-4985-950B-ABD2E4153E05}" destId="{FD4EF0BC-FA5E-465C-B6FF-2699BFF71C1F}" srcOrd="4" destOrd="0" presId="urn:microsoft.com/office/officeart/2008/layout/AlternatingHexagons"/>
    <dgm:cxn modelId="{386D56B3-4EB8-4691-BA05-60D13A5885D1}" type="presParOf" srcId="{0126FA87-5EE3-4407-867C-8A0D8D97C300}" destId="{039706A9-20DC-45A4-890F-F8DFBB651A1A}" srcOrd="1" destOrd="0" presId="urn:microsoft.com/office/officeart/2008/layout/AlternatingHexagons"/>
    <dgm:cxn modelId="{6D09AA8C-89BB-4A50-9EE2-A83FD28A7CD5}" type="presParOf" srcId="{0126FA87-5EE3-4407-867C-8A0D8D97C300}" destId="{00BA57FE-725B-4168-88DE-31427F907EA2}" srcOrd="2" destOrd="0" presId="urn:microsoft.com/office/officeart/2008/layout/AlternatingHexagons"/>
    <dgm:cxn modelId="{A1A239D9-F067-434C-BDAF-AC8287965FCA}" type="presParOf" srcId="{00BA57FE-725B-4168-88DE-31427F907EA2}" destId="{72BE9173-C0E9-43A6-821C-3F107C0BB20A}" srcOrd="0" destOrd="0" presId="urn:microsoft.com/office/officeart/2008/layout/AlternatingHexagons"/>
    <dgm:cxn modelId="{A8DB02E7-6D8D-4DD7-BE61-3B8611F021A0}" type="presParOf" srcId="{00BA57FE-725B-4168-88DE-31427F907EA2}" destId="{6305EFB9-B1DA-45D3-9E2A-30DE58A62EB2}" srcOrd="1" destOrd="0" presId="urn:microsoft.com/office/officeart/2008/layout/AlternatingHexagons"/>
    <dgm:cxn modelId="{AA1BAEBB-2EB3-44A4-A54D-6846B1B52E6D}" type="presParOf" srcId="{00BA57FE-725B-4168-88DE-31427F907EA2}" destId="{2A3385BE-3941-427A-B246-69D8CE683863}" srcOrd="2" destOrd="0" presId="urn:microsoft.com/office/officeart/2008/layout/AlternatingHexagons"/>
    <dgm:cxn modelId="{8CCBB26E-201B-4AC6-98B4-698A930B77CE}" type="presParOf" srcId="{00BA57FE-725B-4168-88DE-31427F907EA2}" destId="{76070244-A6CC-498D-B622-9E2A0140CFEA}" srcOrd="3" destOrd="0" presId="urn:microsoft.com/office/officeart/2008/layout/AlternatingHexagons"/>
    <dgm:cxn modelId="{C186F562-E692-4D1F-81E9-F3DCA3B05538}" type="presParOf" srcId="{00BA57FE-725B-4168-88DE-31427F907EA2}" destId="{BCF7A521-5434-4BA9-AAFC-143B9A0FCB04}" srcOrd="4" destOrd="0" presId="urn:microsoft.com/office/officeart/2008/layout/AlternatingHexagons"/>
    <dgm:cxn modelId="{5AA2EAB2-DFD5-43A3-8291-FCD27D1DE5EF}" type="presParOf" srcId="{0126FA87-5EE3-4407-867C-8A0D8D97C300}" destId="{3137B365-27A5-43C7-8D18-930E8223B641}" srcOrd="3" destOrd="0" presId="urn:microsoft.com/office/officeart/2008/layout/AlternatingHexagons"/>
    <dgm:cxn modelId="{76975E89-D92F-4B5D-9DCE-9C0DBE934A14}" type="presParOf" srcId="{0126FA87-5EE3-4407-867C-8A0D8D97C300}" destId="{B51BBA99-B118-4F04-AB51-B1F3CE2E63DF}" srcOrd="4" destOrd="0" presId="urn:microsoft.com/office/officeart/2008/layout/AlternatingHexagons"/>
    <dgm:cxn modelId="{EBE403A6-CF7E-4C0D-9CD7-1C314C27016C}" type="presParOf" srcId="{B51BBA99-B118-4F04-AB51-B1F3CE2E63DF}" destId="{9846EB03-F191-4732-B253-FB52F9F36C5C}" srcOrd="0" destOrd="0" presId="urn:microsoft.com/office/officeart/2008/layout/AlternatingHexagons"/>
    <dgm:cxn modelId="{89860154-C529-4753-A6A3-35E3C1216596}" type="presParOf" srcId="{B51BBA99-B118-4F04-AB51-B1F3CE2E63DF}" destId="{41085EEB-A0AE-4928-9BEA-2F4557E44D1E}" srcOrd="1" destOrd="0" presId="urn:microsoft.com/office/officeart/2008/layout/AlternatingHexagons"/>
    <dgm:cxn modelId="{08692448-6853-442F-9FD0-1CC31642B553}" type="presParOf" srcId="{B51BBA99-B118-4F04-AB51-B1F3CE2E63DF}" destId="{F9390043-4BC1-4918-B367-34DDB60F6AC5}" srcOrd="2" destOrd="0" presId="urn:microsoft.com/office/officeart/2008/layout/AlternatingHexagons"/>
    <dgm:cxn modelId="{D0473552-1D75-4373-9F03-65D862325728}" type="presParOf" srcId="{B51BBA99-B118-4F04-AB51-B1F3CE2E63DF}" destId="{58DCEEBE-B258-4BBC-A3AB-75C495B2B819}" srcOrd="3" destOrd="0" presId="urn:microsoft.com/office/officeart/2008/layout/AlternatingHexagons"/>
    <dgm:cxn modelId="{2540F077-F3D0-451D-8919-0673EEF934D6}" type="presParOf" srcId="{B51BBA99-B118-4F04-AB51-B1F3CE2E63DF}" destId="{EF42F8F8-419A-4429-AA06-7A2626E69A58}" srcOrd="4" destOrd="0" presId="urn:microsoft.com/office/officeart/2008/layout/AlternatingHexagons"/>
    <dgm:cxn modelId="{E8473E1B-A793-490C-AB2F-E75BA5427C37}" type="presParOf" srcId="{0126FA87-5EE3-4407-867C-8A0D8D97C300}" destId="{F100DE07-DC07-45A3-928F-01CF3C3823D1}" srcOrd="5" destOrd="0" presId="urn:microsoft.com/office/officeart/2008/layout/AlternatingHexagons"/>
    <dgm:cxn modelId="{6E4FBFFD-F9F3-4FD8-A56E-60CF2925B7FC}" type="presParOf" srcId="{0126FA87-5EE3-4407-867C-8A0D8D97C300}" destId="{346A3D0E-5BE9-40A2-BA48-44DA2CF44B5A}" srcOrd="6" destOrd="0" presId="urn:microsoft.com/office/officeart/2008/layout/AlternatingHexagons"/>
    <dgm:cxn modelId="{94AF383D-ED3D-4F56-B286-4A3AE74A5C6F}" type="presParOf" srcId="{346A3D0E-5BE9-40A2-BA48-44DA2CF44B5A}" destId="{C6913ACC-F526-4A96-9CAD-D18F248AEAD7}" srcOrd="0" destOrd="0" presId="urn:microsoft.com/office/officeart/2008/layout/AlternatingHexagons"/>
    <dgm:cxn modelId="{5CAB727E-7A71-409A-9DC5-9F887016C155}" type="presParOf" srcId="{346A3D0E-5BE9-40A2-BA48-44DA2CF44B5A}" destId="{F5481904-DEB4-42F1-86A3-02670367E1CF}" srcOrd="1" destOrd="0" presId="urn:microsoft.com/office/officeart/2008/layout/AlternatingHexagons"/>
    <dgm:cxn modelId="{5716F09C-E4FF-4867-BAA9-F7A4C11F3C19}" type="presParOf" srcId="{346A3D0E-5BE9-40A2-BA48-44DA2CF44B5A}" destId="{5DA38484-A9FD-4869-BE65-B2794FCBA0A8}" srcOrd="2" destOrd="0" presId="urn:microsoft.com/office/officeart/2008/layout/AlternatingHexagons"/>
    <dgm:cxn modelId="{CEF11051-9B2C-4C7D-A3B9-59F410396577}" type="presParOf" srcId="{346A3D0E-5BE9-40A2-BA48-44DA2CF44B5A}" destId="{3B9044D7-9880-4177-BB91-8056BC4F5BA4}" srcOrd="3" destOrd="0" presId="urn:microsoft.com/office/officeart/2008/layout/AlternatingHexagons"/>
    <dgm:cxn modelId="{E5A31A0A-D3DE-4DD6-A9DD-D645C811DD04}" type="presParOf" srcId="{346A3D0E-5BE9-40A2-BA48-44DA2CF44B5A}" destId="{A574FB86-CAAD-4975-8097-F8C5B35A7101}" srcOrd="4" destOrd="0" presId="urn:microsoft.com/office/officeart/2008/layout/AlternatingHexagons"/>
    <dgm:cxn modelId="{A9C8153F-E0EC-49CA-B829-8A2DF40D7BAE}" type="presParOf" srcId="{0126FA87-5EE3-4407-867C-8A0D8D97C300}" destId="{74F51155-DFEB-4EB0-8540-170FDC3922D3}" srcOrd="7" destOrd="0" presId="urn:microsoft.com/office/officeart/2008/layout/AlternatingHexagons"/>
    <dgm:cxn modelId="{F05752A9-0161-4EFC-8BCB-F8F5656BF4D6}" type="presParOf" srcId="{0126FA87-5EE3-4407-867C-8A0D8D97C300}" destId="{1258A938-741C-4C9D-B49E-B635EBE1C5E8}" srcOrd="8" destOrd="0" presId="urn:microsoft.com/office/officeart/2008/layout/AlternatingHexagons"/>
    <dgm:cxn modelId="{AA522A8C-6DF1-4DA2-AAD6-DDD30F438A4A}" type="presParOf" srcId="{1258A938-741C-4C9D-B49E-B635EBE1C5E8}" destId="{C4872333-E845-4B59-8142-456AF061FA25}" srcOrd="0" destOrd="0" presId="urn:microsoft.com/office/officeart/2008/layout/AlternatingHexagons"/>
    <dgm:cxn modelId="{7A553715-B749-4A38-ABD1-B04B125915B0}" type="presParOf" srcId="{1258A938-741C-4C9D-B49E-B635EBE1C5E8}" destId="{1F73D090-BFA0-4B4A-96E3-3925906D53BF}" srcOrd="1" destOrd="0" presId="urn:microsoft.com/office/officeart/2008/layout/AlternatingHexagons"/>
    <dgm:cxn modelId="{BCC77F78-15A1-47CD-ADBB-37D31C74471E}" type="presParOf" srcId="{1258A938-741C-4C9D-B49E-B635EBE1C5E8}" destId="{DB7347C9-8A66-4123-94FA-651C3C37C1A3}" srcOrd="2" destOrd="0" presId="urn:microsoft.com/office/officeart/2008/layout/AlternatingHexagons"/>
    <dgm:cxn modelId="{1D8BDDDC-B94C-44DA-BA4A-A3E71C2A392D}" type="presParOf" srcId="{1258A938-741C-4C9D-B49E-B635EBE1C5E8}" destId="{ED9060FC-07C5-4CDC-87EA-F90290E48452}" srcOrd="3" destOrd="0" presId="urn:microsoft.com/office/officeart/2008/layout/AlternatingHexagons"/>
    <dgm:cxn modelId="{28F54837-190F-458B-B973-816BE27A24DC}" type="presParOf" srcId="{1258A938-741C-4C9D-B49E-B635EBE1C5E8}" destId="{1252E95D-0808-442E-9410-AF619D47FEF5}" srcOrd="4" destOrd="0" presId="urn:microsoft.com/office/officeart/2008/layout/AlternatingHexagons"/>
    <dgm:cxn modelId="{539D5AED-9C49-47F7-A282-E21AF8580733}" type="presParOf" srcId="{0126FA87-5EE3-4407-867C-8A0D8D97C300}" destId="{25841286-1693-4B68-BFB3-BE8E2DD2CEF5}" srcOrd="9" destOrd="0" presId="urn:microsoft.com/office/officeart/2008/layout/AlternatingHexagons"/>
    <dgm:cxn modelId="{94CD08D8-E3EE-4148-9B92-05BA9837354A}" type="presParOf" srcId="{0126FA87-5EE3-4407-867C-8A0D8D97C300}" destId="{25B4BCDB-5404-4485-98D7-5F79D8253195}" srcOrd="10" destOrd="0" presId="urn:microsoft.com/office/officeart/2008/layout/AlternatingHexagons"/>
    <dgm:cxn modelId="{70B8208F-225A-4215-A201-B2804841C688}" type="presParOf" srcId="{25B4BCDB-5404-4485-98D7-5F79D8253195}" destId="{F5B6C73C-98A2-443F-A947-97436DD9AA17}" srcOrd="0" destOrd="0" presId="urn:microsoft.com/office/officeart/2008/layout/AlternatingHexagons"/>
    <dgm:cxn modelId="{5A31440B-C2B4-47F4-8CEC-42F3081C45A8}" type="presParOf" srcId="{25B4BCDB-5404-4485-98D7-5F79D8253195}" destId="{D77212B0-BC75-41E0-BFB9-6BC0104A790A}" srcOrd="1" destOrd="0" presId="urn:microsoft.com/office/officeart/2008/layout/AlternatingHexagons"/>
    <dgm:cxn modelId="{6074FF2B-EFC0-4D12-B075-709C810CF552}" type="presParOf" srcId="{25B4BCDB-5404-4485-98D7-5F79D8253195}" destId="{08ADF808-3D24-4EDF-80FB-AF1228455E7F}" srcOrd="2" destOrd="0" presId="urn:microsoft.com/office/officeart/2008/layout/AlternatingHexagons"/>
    <dgm:cxn modelId="{7A6C3E4A-D9E9-4018-8F95-EB45106AB2E0}" type="presParOf" srcId="{25B4BCDB-5404-4485-98D7-5F79D8253195}" destId="{07314696-068C-4CFD-839B-C6B27B6DA624}" srcOrd="3" destOrd="0" presId="urn:microsoft.com/office/officeart/2008/layout/AlternatingHexagons"/>
    <dgm:cxn modelId="{3F0D5862-8B0F-4915-BB7D-4DF889B95BAD}" type="presParOf" srcId="{25B4BCDB-5404-4485-98D7-5F79D8253195}" destId="{6A1379D2-B0DC-4983-94F1-DD9FF074D5E3}" srcOrd="4" destOrd="0" presId="urn:microsoft.com/office/officeart/2008/layout/AlternatingHexagons"/>
    <dgm:cxn modelId="{43C960C1-4791-4013-BA5C-943937763160}" type="presParOf" srcId="{0126FA87-5EE3-4407-867C-8A0D8D97C300}" destId="{B09D6122-03C4-40C5-BAF3-1888187BF592}" srcOrd="11" destOrd="0" presId="urn:microsoft.com/office/officeart/2008/layout/AlternatingHexagons"/>
    <dgm:cxn modelId="{AC00AA4B-2E10-4463-8DA9-4D082233BE4B}" type="presParOf" srcId="{0126FA87-5EE3-4407-867C-8A0D8D97C300}" destId="{9B1B0703-11A6-458F-85B5-B90674BDF1DE}" srcOrd="12" destOrd="0" presId="urn:microsoft.com/office/officeart/2008/layout/AlternatingHexagons"/>
    <dgm:cxn modelId="{B1AB283D-1CBA-4748-99E0-1ACCF62A838A}" type="presParOf" srcId="{9B1B0703-11A6-458F-85B5-B90674BDF1DE}" destId="{552B3F95-040A-4625-9FB3-364FF3F06349}" srcOrd="0" destOrd="0" presId="urn:microsoft.com/office/officeart/2008/layout/AlternatingHexagons"/>
    <dgm:cxn modelId="{17AABBAB-C687-4626-BBEC-DF1C465D9240}" type="presParOf" srcId="{9B1B0703-11A6-458F-85B5-B90674BDF1DE}" destId="{257E0CFB-5CEE-4F58-9B7D-48636AB1C7F3}" srcOrd="1" destOrd="0" presId="urn:microsoft.com/office/officeart/2008/layout/AlternatingHexagons"/>
    <dgm:cxn modelId="{37CE45AB-AC1A-48F3-85FE-367D47072F46}" type="presParOf" srcId="{9B1B0703-11A6-458F-85B5-B90674BDF1DE}" destId="{86C80884-7113-4F74-ABE6-861A45390C6C}" srcOrd="2" destOrd="0" presId="urn:microsoft.com/office/officeart/2008/layout/AlternatingHexagons"/>
    <dgm:cxn modelId="{C893E356-FFE1-4802-9076-2BE191E693B0}" type="presParOf" srcId="{9B1B0703-11A6-458F-85B5-B90674BDF1DE}" destId="{760C8556-0BD0-4693-9491-9747DCA76133}" srcOrd="3" destOrd="0" presId="urn:microsoft.com/office/officeart/2008/layout/AlternatingHexagons"/>
    <dgm:cxn modelId="{7CB1457D-74DC-4A43-9D7A-D440CB1CC31C}" type="presParOf" srcId="{9B1B0703-11A6-458F-85B5-B90674BDF1DE}" destId="{4C8AFEF5-51B9-4B3B-A925-1C3065C660D4}" srcOrd="4" destOrd="0" presId="urn:microsoft.com/office/officeart/2008/layout/AlternatingHexagons"/>
    <dgm:cxn modelId="{99BB2233-8C75-461D-9CBF-BDD7068D7893}" type="presParOf" srcId="{0126FA87-5EE3-4407-867C-8A0D8D97C300}" destId="{59CD84F7-FA7E-45F5-839C-384F3BED7977}" srcOrd="13" destOrd="0" presId="urn:microsoft.com/office/officeart/2008/layout/AlternatingHexagons"/>
    <dgm:cxn modelId="{3F3431DC-C1DA-43EC-AC7B-D1343D23677A}" type="presParOf" srcId="{0126FA87-5EE3-4407-867C-8A0D8D97C300}" destId="{444E0EBE-F691-423E-9D2D-64F35E8EA4FD}" srcOrd="14" destOrd="0" presId="urn:microsoft.com/office/officeart/2008/layout/AlternatingHexagons"/>
    <dgm:cxn modelId="{E87B8430-ABA2-4405-882B-CFF631F66FEE}" type="presParOf" srcId="{444E0EBE-F691-423E-9D2D-64F35E8EA4FD}" destId="{E33E4C4B-92D3-495A-92AB-13022DDF2160}" srcOrd="0" destOrd="0" presId="urn:microsoft.com/office/officeart/2008/layout/AlternatingHexagons"/>
    <dgm:cxn modelId="{7F4C31FE-EB10-4573-B59E-EDB5B86DBA00}" type="presParOf" srcId="{444E0EBE-F691-423E-9D2D-64F35E8EA4FD}" destId="{D9B5085A-80A7-4314-9829-AB64B8494DC4}" srcOrd="1" destOrd="0" presId="urn:microsoft.com/office/officeart/2008/layout/AlternatingHexagons"/>
    <dgm:cxn modelId="{523519FB-3E66-4711-BBAD-BD1B2F282B43}" type="presParOf" srcId="{444E0EBE-F691-423E-9D2D-64F35E8EA4FD}" destId="{2A13799D-BE6A-4030-985B-539A68C0DC45}" srcOrd="2" destOrd="0" presId="urn:microsoft.com/office/officeart/2008/layout/AlternatingHexagons"/>
    <dgm:cxn modelId="{AF2C70EE-3139-449B-9F00-A837FABBF408}" type="presParOf" srcId="{444E0EBE-F691-423E-9D2D-64F35E8EA4FD}" destId="{5E718E4A-86E7-407D-B456-A9B26FEF6A88}" srcOrd="3" destOrd="0" presId="urn:microsoft.com/office/officeart/2008/layout/AlternatingHexagons"/>
    <dgm:cxn modelId="{C734EAF3-FD94-4858-8B7E-CB4EC5BB6EC4}" type="presParOf" srcId="{444E0EBE-F691-423E-9D2D-64F35E8EA4FD}" destId="{A8142A8E-43D2-4B9D-9B9D-2BD85774AFBF}" srcOrd="4" destOrd="0" presId="urn:microsoft.com/office/officeart/2008/layout/AlternatingHexagons"/>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960C867-FAF1-4309-AB4F-4719CAD2A495}">
      <dsp:nvSpPr>
        <dsp:cNvPr id="0" name=""/>
        <dsp:cNvSpPr/>
      </dsp:nvSpPr>
      <dsp:spPr>
        <a:xfrm rot="5400000">
          <a:off x="1631046" y="44091"/>
          <a:ext cx="661559" cy="575556"/>
        </a:xfrm>
        <a:prstGeom prst="hexagon">
          <a:avLst>
            <a:gd name="adj" fmla="val 25000"/>
            <a:gd name="vf" fmla="val 115470"/>
          </a:avLst>
        </a:prstGeom>
        <a:blipFill dpi="0" rotWithShape="0">
          <a:blip xmlns:r="http://schemas.openxmlformats.org/officeDocument/2006/relationships" r:embed="rId1"/>
          <a:srcRect/>
          <a:stretch>
            <a:fillRect l="-30000" r="-27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763738" y="104183"/>
        <a:ext cx="396174" cy="455373"/>
      </dsp:txXfrm>
    </dsp:sp>
    <dsp:sp modelId="{55D9BC19-4197-44F1-9B1D-484D8D5536EA}">
      <dsp:nvSpPr>
        <dsp:cNvPr id="0" name=""/>
        <dsp:cNvSpPr/>
      </dsp:nvSpPr>
      <dsp:spPr>
        <a:xfrm>
          <a:off x="2267070" y="133402"/>
          <a:ext cx="738300" cy="396935"/>
        </a:xfrm>
        <a:prstGeom prst="rect">
          <a:avLst/>
        </a:prstGeom>
        <a:noFill/>
        <a:ln>
          <a:noFill/>
        </a:ln>
        <a:effectLst/>
      </dsp:spPr>
      <dsp:style>
        <a:lnRef idx="0">
          <a:scrgbClr r="0" g="0" b="0"/>
        </a:lnRef>
        <a:fillRef idx="0">
          <a:scrgbClr r="0" g="0" b="0"/>
        </a:fillRef>
        <a:effectRef idx="0">
          <a:scrgbClr r="0" g="0" b="0"/>
        </a:effectRef>
        <a:fontRef idx="minor"/>
      </dsp:style>
    </dsp:sp>
    <dsp:sp modelId="{FD4EF0BC-FA5E-465C-B6FF-2699BFF71C1F}">
      <dsp:nvSpPr>
        <dsp:cNvPr id="0" name=""/>
        <dsp:cNvSpPr/>
      </dsp:nvSpPr>
      <dsp:spPr>
        <a:xfrm rot="5400000">
          <a:off x="1009445" y="44091"/>
          <a:ext cx="661559" cy="575556"/>
        </a:xfrm>
        <a:prstGeom prst="hexagon">
          <a:avLst>
            <a:gd name="adj" fmla="val 25000"/>
            <a:gd name="vf" fmla="val 115470"/>
          </a:avLst>
        </a:prstGeom>
        <a:blipFill dpi="0" rotWithShape="0">
          <a:blip xmlns:r="http://schemas.openxmlformats.org/officeDocument/2006/relationships" r:embed="rId2"/>
          <a:srcRect/>
          <a:stretch>
            <a:fillRect l="-30000" r="-4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1142137" y="104183"/>
        <a:ext cx="396174" cy="455373"/>
      </dsp:txXfrm>
    </dsp:sp>
    <dsp:sp modelId="{72BE9173-C0E9-43A6-821C-3F107C0BB20A}">
      <dsp:nvSpPr>
        <dsp:cNvPr id="0" name=""/>
        <dsp:cNvSpPr/>
      </dsp:nvSpPr>
      <dsp:spPr>
        <a:xfrm rot="5400000">
          <a:off x="1322399" y="605623"/>
          <a:ext cx="661559" cy="575556"/>
        </a:xfrm>
        <a:prstGeom prst="hexagon">
          <a:avLst>
            <a:gd name="adj" fmla="val 25000"/>
            <a:gd name="vf" fmla="val 115470"/>
          </a:avLst>
        </a:prstGeom>
        <a:blipFill rotWithShape="0">
          <a:blip xmlns:r="http://schemas.openxmlformats.org/officeDocument/2006/relationships" r:embed="rId3"/>
          <a:stretch>
            <a:fillRect l="-10000" r="-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 </a:t>
          </a:r>
        </a:p>
      </dsp:txBody>
      <dsp:txXfrm rot="-5400000">
        <a:off x="1455091" y="665715"/>
        <a:ext cx="396174" cy="455373"/>
      </dsp:txXfrm>
    </dsp:sp>
    <dsp:sp modelId="{6305EFB9-B1DA-45D3-9E2A-30DE58A62EB2}">
      <dsp:nvSpPr>
        <dsp:cNvPr id="0" name=""/>
        <dsp:cNvSpPr/>
      </dsp:nvSpPr>
      <dsp:spPr>
        <a:xfrm>
          <a:off x="623756" y="694934"/>
          <a:ext cx="714484" cy="396935"/>
        </a:xfrm>
        <a:prstGeom prst="rect">
          <a:avLst/>
        </a:prstGeom>
        <a:noFill/>
        <a:ln>
          <a:noFill/>
        </a:ln>
        <a:effectLst/>
      </dsp:spPr>
      <dsp:style>
        <a:lnRef idx="0">
          <a:scrgbClr r="0" g="0" b="0"/>
        </a:lnRef>
        <a:fillRef idx="0">
          <a:scrgbClr r="0" g="0" b="0"/>
        </a:fillRef>
        <a:effectRef idx="0">
          <a:scrgbClr r="0" g="0" b="0"/>
        </a:effectRef>
        <a:fontRef idx="minor"/>
      </dsp:style>
    </dsp:sp>
    <dsp:sp modelId="{BCF7A521-5434-4BA9-AAFC-143B9A0FCB04}">
      <dsp:nvSpPr>
        <dsp:cNvPr id="0" name=""/>
        <dsp:cNvSpPr/>
      </dsp:nvSpPr>
      <dsp:spPr>
        <a:xfrm rot="5400000">
          <a:off x="1940656" y="605623"/>
          <a:ext cx="661559" cy="575556"/>
        </a:xfrm>
        <a:prstGeom prst="hexagon">
          <a:avLst>
            <a:gd name="adj" fmla="val 25000"/>
            <a:gd name="vf" fmla="val 115470"/>
          </a:avLst>
        </a:prstGeom>
        <a:blipFill dpi="0" rotWithShape="0">
          <a:blip xmlns:r="http://schemas.openxmlformats.org/officeDocument/2006/relationships" r:embed="rId4"/>
          <a:srcRect/>
          <a:stretch>
            <a:fillRect l="-45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2073348" y="665715"/>
        <a:ext cx="396174" cy="455373"/>
      </dsp:txXfrm>
    </dsp:sp>
    <dsp:sp modelId="{9846EB03-F191-4732-B253-FB52F9F36C5C}">
      <dsp:nvSpPr>
        <dsp:cNvPr id="0" name=""/>
        <dsp:cNvSpPr/>
      </dsp:nvSpPr>
      <dsp:spPr>
        <a:xfrm rot="5400000">
          <a:off x="1631046" y="1167155"/>
          <a:ext cx="661559" cy="575556"/>
        </a:xfrm>
        <a:prstGeom prst="hexagon">
          <a:avLst>
            <a:gd name="adj" fmla="val 25000"/>
            <a:gd name="vf" fmla="val 115470"/>
          </a:avLst>
        </a:prstGeom>
        <a:blipFill rotWithShape="0">
          <a:blip xmlns:r="http://schemas.openxmlformats.org/officeDocument/2006/relationships" r:embed="rId5"/>
          <a:stretch>
            <a:fillRect l="-35000" r="-3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r>
            <a:rPr lang="en-US" sz="2100" kern="1200" dirty="0"/>
            <a:t> </a:t>
          </a:r>
        </a:p>
      </dsp:txBody>
      <dsp:txXfrm rot="-5400000">
        <a:off x="1763738" y="1227247"/>
        <a:ext cx="396174" cy="455373"/>
      </dsp:txXfrm>
    </dsp:sp>
    <dsp:sp modelId="{41085EEB-A0AE-4928-9BEA-2F4557E44D1E}">
      <dsp:nvSpPr>
        <dsp:cNvPr id="0" name=""/>
        <dsp:cNvSpPr/>
      </dsp:nvSpPr>
      <dsp:spPr>
        <a:xfrm>
          <a:off x="2267070" y="1256465"/>
          <a:ext cx="738300" cy="396935"/>
        </a:xfrm>
        <a:prstGeom prst="rect">
          <a:avLst/>
        </a:prstGeom>
        <a:noFill/>
        <a:ln>
          <a:noFill/>
        </a:ln>
        <a:effectLst/>
      </dsp:spPr>
      <dsp:style>
        <a:lnRef idx="0">
          <a:scrgbClr r="0" g="0" b="0"/>
        </a:lnRef>
        <a:fillRef idx="0">
          <a:scrgbClr r="0" g="0" b="0"/>
        </a:fillRef>
        <a:effectRef idx="0">
          <a:scrgbClr r="0" g="0" b="0"/>
        </a:effectRef>
        <a:fontRef idx="minor"/>
      </dsp:style>
    </dsp:sp>
    <dsp:sp modelId="{EF42F8F8-419A-4429-AA06-7A2626E69A58}">
      <dsp:nvSpPr>
        <dsp:cNvPr id="0" name=""/>
        <dsp:cNvSpPr/>
      </dsp:nvSpPr>
      <dsp:spPr>
        <a:xfrm rot="5400000">
          <a:off x="1009445" y="1167155"/>
          <a:ext cx="661559" cy="575556"/>
        </a:xfrm>
        <a:prstGeom prst="hexagon">
          <a:avLst>
            <a:gd name="adj" fmla="val 25000"/>
            <a:gd name="vf" fmla="val 115470"/>
          </a:avLst>
        </a:prstGeom>
        <a:blipFill dpi="0" rotWithShape="0">
          <a:blip xmlns:r="http://schemas.openxmlformats.org/officeDocument/2006/relationships" r:embed="rId6"/>
          <a:srcRect/>
          <a:stretch>
            <a:fillRect l="-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1142137" y="1227247"/>
        <a:ext cx="396174" cy="455373"/>
      </dsp:txXfrm>
    </dsp:sp>
    <dsp:sp modelId="{C6913ACC-F526-4A96-9CAD-D18F248AEAD7}">
      <dsp:nvSpPr>
        <dsp:cNvPr id="0" name=""/>
        <dsp:cNvSpPr/>
      </dsp:nvSpPr>
      <dsp:spPr>
        <a:xfrm rot="5400000">
          <a:off x="1319055" y="1728687"/>
          <a:ext cx="661559" cy="575556"/>
        </a:xfrm>
        <a:prstGeom prst="hexagon">
          <a:avLst>
            <a:gd name="adj" fmla="val 25000"/>
            <a:gd name="vf" fmla="val 115470"/>
          </a:avLst>
        </a:prstGeom>
        <a:blipFill dpi="0" rotWithShape="0">
          <a:blip xmlns:r="http://schemas.openxmlformats.org/officeDocument/2006/relationships" r:embed="rId7"/>
          <a:srcRect/>
          <a:stretch>
            <a:fillRect l="-6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451747" y="1788779"/>
        <a:ext cx="396174" cy="455373"/>
      </dsp:txXfrm>
    </dsp:sp>
    <dsp:sp modelId="{F5481904-DEB4-42F1-86A3-02670367E1CF}">
      <dsp:nvSpPr>
        <dsp:cNvPr id="0" name=""/>
        <dsp:cNvSpPr/>
      </dsp:nvSpPr>
      <dsp:spPr>
        <a:xfrm>
          <a:off x="623756" y="1817997"/>
          <a:ext cx="714484" cy="396935"/>
        </a:xfrm>
        <a:prstGeom prst="rect">
          <a:avLst/>
        </a:prstGeom>
        <a:noFill/>
        <a:ln>
          <a:noFill/>
        </a:ln>
        <a:effectLst/>
      </dsp:spPr>
      <dsp:style>
        <a:lnRef idx="0">
          <a:scrgbClr r="0" g="0" b="0"/>
        </a:lnRef>
        <a:fillRef idx="0">
          <a:scrgbClr r="0" g="0" b="0"/>
        </a:fillRef>
        <a:effectRef idx="0">
          <a:scrgbClr r="0" g="0" b="0"/>
        </a:effectRef>
        <a:fontRef idx="minor"/>
      </dsp:style>
    </dsp:sp>
    <dsp:sp modelId="{A574FB86-CAAD-4975-8097-F8C5B35A7101}">
      <dsp:nvSpPr>
        <dsp:cNvPr id="0" name=""/>
        <dsp:cNvSpPr/>
      </dsp:nvSpPr>
      <dsp:spPr>
        <a:xfrm rot="5400000">
          <a:off x="1940656" y="1728687"/>
          <a:ext cx="661559" cy="575556"/>
        </a:xfrm>
        <a:prstGeom prst="hexagon">
          <a:avLst>
            <a:gd name="adj" fmla="val 25000"/>
            <a:gd name="vf" fmla="val 115470"/>
          </a:avLst>
        </a:prstGeom>
        <a:blipFill dpi="0" rotWithShape="0">
          <a:blip xmlns:r="http://schemas.openxmlformats.org/officeDocument/2006/relationships" r:embed="rId8"/>
          <a:srcRect/>
          <a:stretch>
            <a:fillRect l="-45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2073348" y="1788779"/>
        <a:ext cx="396174" cy="455373"/>
      </dsp:txXfrm>
    </dsp:sp>
    <dsp:sp modelId="{C4872333-E845-4B59-8142-456AF061FA25}">
      <dsp:nvSpPr>
        <dsp:cNvPr id="0" name=""/>
        <dsp:cNvSpPr/>
      </dsp:nvSpPr>
      <dsp:spPr>
        <a:xfrm rot="5400000">
          <a:off x="1631046" y="2290218"/>
          <a:ext cx="661559" cy="575556"/>
        </a:xfrm>
        <a:prstGeom prst="hexagon">
          <a:avLst>
            <a:gd name="adj" fmla="val 25000"/>
            <a:gd name="vf" fmla="val 115470"/>
          </a:avLst>
        </a:prstGeom>
        <a:blipFill dpi="0" rotWithShape="0">
          <a:blip xmlns:r="http://schemas.openxmlformats.org/officeDocument/2006/relationships" r:embed="rId9"/>
          <a:srcRect/>
          <a:stretch>
            <a:fillRect l="-30000" r="-3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763738" y="2350310"/>
        <a:ext cx="396174" cy="455373"/>
      </dsp:txXfrm>
    </dsp:sp>
    <dsp:sp modelId="{1F73D090-BFA0-4B4A-96E3-3925906D53BF}">
      <dsp:nvSpPr>
        <dsp:cNvPr id="0" name=""/>
        <dsp:cNvSpPr/>
      </dsp:nvSpPr>
      <dsp:spPr>
        <a:xfrm>
          <a:off x="2267070" y="2379529"/>
          <a:ext cx="738300" cy="396935"/>
        </a:xfrm>
        <a:prstGeom prst="rect">
          <a:avLst/>
        </a:prstGeom>
        <a:noFill/>
        <a:ln>
          <a:noFill/>
        </a:ln>
        <a:effectLst/>
      </dsp:spPr>
      <dsp:style>
        <a:lnRef idx="0">
          <a:scrgbClr r="0" g="0" b="0"/>
        </a:lnRef>
        <a:fillRef idx="0">
          <a:scrgbClr r="0" g="0" b="0"/>
        </a:fillRef>
        <a:effectRef idx="0">
          <a:scrgbClr r="0" g="0" b="0"/>
        </a:effectRef>
        <a:fontRef idx="minor"/>
      </dsp:style>
    </dsp:sp>
    <dsp:sp modelId="{1252E95D-0808-442E-9410-AF619D47FEF5}">
      <dsp:nvSpPr>
        <dsp:cNvPr id="0" name=""/>
        <dsp:cNvSpPr/>
      </dsp:nvSpPr>
      <dsp:spPr>
        <a:xfrm rot="5400000">
          <a:off x="1009445" y="2290218"/>
          <a:ext cx="661559" cy="575556"/>
        </a:xfrm>
        <a:prstGeom prst="hexagon">
          <a:avLst>
            <a:gd name="adj" fmla="val 25000"/>
            <a:gd name="vf" fmla="val 115470"/>
          </a:avLst>
        </a:prstGeom>
        <a:blipFill dpi="0" rotWithShape="0">
          <a:blip xmlns:r="http://schemas.openxmlformats.org/officeDocument/2006/relationships" r:embed="rId10"/>
          <a:srcRect/>
          <a:stretch>
            <a:fillRect l="-30000" r="-3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1142137" y="2350310"/>
        <a:ext cx="396174" cy="455373"/>
      </dsp:txXfrm>
    </dsp:sp>
    <dsp:sp modelId="{F5B6C73C-98A2-443F-A947-97436DD9AA17}">
      <dsp:nvSpPr>
        <dsp:cNvPr id="0" name=""/>
        <dsp:cNvSpPr/>
      </dsp:nvSpPr>
      <dsp:spPr>
        <a:xfrm rot="5400000">
          <a:off x="1319055" y="2851750"/>
          <a:ext cx="661559" cy="575556"/>
        </a:xfrm>
        <a:prstGeom prst="hexagon">
          <a:avLst>
            <a:gd name="adj" fmla="val 25000"/>
            <a:gd name="vf" fmla="val 115470"/>
          </a:avLst>
        </a:prstGeom>
        <a:blipFill rotWithShape="0">
          <a:blip xmlns:r="http://schemas.openxmlformats.org/officeDocument/2006/relationships" r:embed="rId11"/>
          <a:stretch>
            <a:fillRect l="-10000" r="-4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451747" y="2911842"/>
        <a:ext cx="396174" cy="455373"/>
      </dsp:txXfrm>
    </dsp:sp>
    <dsp:sp modelId="{D77212B0-BC75-41E0-BFB9-6BC0104A790A}">
      <dsp:nvSpPr>
        <dsp:cNvPr id="0" name=""/>
        <dsp:cNvSpPr/>
      </dsp:nvSpPr>
      <dsp:spPr>
        <a:xfrm>
          <a:off x="623756" y="2941061"/>
          <a:ext cx="714484" cy="396935"/>
        </a:xfrm>
        <a:prstGeom prst="rect">
          <a:avLst/>
        </a:prstGeom>
        <a:noFill/>
        <a:ln>
          <a:noFill/>
        </a:ln>
        <a:effectLst/>
      </dsp:spPr>
      <dsp:style>
        <a:lnRef idx="0">
          <a:scrgbClr r="0" g="0" b="0"/>
        </a:lnRef>
        <a:fillRef idx="0">
          <a:scrgbClr r="0" g="0" b="0"/>
        </a:fillRef>
        <a:effectRef idx="0">
          <a:scrgbClr r="0" g="0" b="0"/>
        </a:effectRef>
        <a:fontRef idx="minor"/>
      </dsp:style>
    </dsp:sp>
    <dsp:sp modelId="{6A1379D2-B0DC-4983-94F1-DD9FF074D5E3}">
      <dsp:nvSpPr>
        <dsp:cNvPr id="0" name=""/>
        <dsp:cNvSpPr/>
      </dsp:nvSpPr>
      <dsp:spPr>
        <a:xfrm rot="5400000">
          <a:off x="1940656" y="2851750"/>
          <a:ext cx="661559" cy="575556"/>
        </a:xfrm>
        <a:prstGeom prst="hexagon">
          <a:avLst>
            <a:gd name="adj" fmla="val 25000"/>
            <a:gd name="vf" fmla="val 115470"/>
          </a:avLst>
        </a:prstGeom>
        <a:blipFill dpi="0" rotWithShape="0">
          <a:blip xmlns:r="http://schemas.openxmlformats.org/officeDocument/2006/relationships" r:embed="rId12"/>
          <a:srcRect/>
          <a:stretch>
            <a:fillRect l="8000" r="8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2073348" y="2911842"/>
        <a:ext cx="396174" cy="455373"/>
      </dsp:txXfrm>
    </dsp:sp>
    <dsp:sp modelId="{552B3F95-040A-4625-9FB3-364FF3F06349}">
      <dsp:nvSpPr>
        <dsp:cNvPr id="0" name=""/>
        <dsp:cNvSpPr/>
      </dsp:nvSpPr>
      <dsp:spPr>
        <a:xfrm rot="5400000">
          <a:off x="1631046" y="3413282"/>
          <a:ext cx="661559" cy="575556"/>
        </a:xfrm>
        <a:prstGeom prst="hexagon">
          <a:avLst>
            <a:gd name="adj" fmla="val 25000"/>
            <a:gd name="vf" fmla="val 115470"/>
          </a:avLst>
        </a:prstGeom>
        <a:blipFill dpi="0" rotWithShape="0">
          <a:blip xmlns:r="http://schemas.openxmlformats.org/officeDocument/2006/relationships" r:embed="rId13"/>
          <a:srcRect/>
          <a:stretch>
            <a:fillRect/>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763738" y="3473374"/>
        <a:ext cx="396174" cy="455373"/>
      </dsp:txXfrm>
    </dsp:sp>
    <dsp:sp modelId="{257E0CFB-5CEE-4F58-9B7D-48636AB1C7F3}">
      <dsp:nvSpPr>
        <dsp:cNvPr id="0" name=""/>
        <dsp:cNvSpPr/>
      </dsp:nvSpPr>
      <dsp:spPr>
        <a:xfrm>
          <a:off x="2267070" y="3502593"/>
          <a:ext cx="738300" cy="396935"/>
        </a:xfrm>
        <a:prstGeom prst="rect">
          <a:avLst/>
        </a:prstGeom>
        <a:noFill/>
        <a:ln>
          <a:noFill/>
        </a:ln>
        <a:effectLst/>
      </dsp:spPr>
      <dsp:style>
        <a:lnRef idx="0">
          <a:scrgbClr r="0" g="0" b="0"/>
        </a:lnRef>
        <a:fillRef idx="0">
          <a:scrgbClr r="0" g="0" b="0"/>
        </a:fillRef>
        <a:effectRef idx="0">
          <a:scrgbClr r="0" g="0" b="0"/>
        </a:effectRef>
        <a:fontRef idx="minor"/>
      </dsp:style>
    </dsp:sp>
    <dsp:sp modelId="{4C8AFEF5-51B9-4B3B-A925-1C3065C660D4}">
      <dsp:nvSpPr>
        <dsp:cNvPr id="0" name=""/>
        <dsp:cNvSpPr/>
      </dsp:nvSpPr>
      <dsp:spPr>
        <a:xfrm rot="5400000">
          <a:off x="1009445" y="3413282"/>
          <a:ext cx="661559" cy="575556"/>
        </a:xfrm>
        <a:prstGeom prst="hexagon">
          <a:avLst>
            <a:gd name="adj" fmla="val 25000"/>
            <a:gd name="vf" fmla="val 115470"/>
          </a:avLst>
        </a:prstGeom>
        <a:blipFill dpi="0" rotWithShape="0">
          <a:blip xmlns:r="http://schemas.openxmlformats.org/officeDocument/2006/relationships" r:embed="rId14"/>
          <a:srcRect/>
          <a:stretch>
            <a:fillRect l="-4000" r="-5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1142137" y="3473374"/>
        <a:ext cx="396174" cy="455373"/>
      </dsp:txXfrm>
    </dsp:sp>
    <dsp:sp modelId="{E33E4C4B-92D3-495A-92AB-13022DDF2160}">
      <dsp:nvSpPr>
        <dsp:cNvPr id="0" name=""/>
        <dsp:cNvSpPr/>
      </dsp:nvSpPr>
      <dsp:spPr>
        <a:xfrm rot="5400000">
          <a:off x="1319055" y="3974814"/>
          <a:ext cx="661559" cy="575556"/>
        </a:xfrm>
        <a:prstGeom prst="hexagon">
          <a:avLst>
            <a:gd name="adj" fmla="val 25000"/>
            <a:gd name="vf" fmla="val 115470"/>
          </a:avLst>
        </a:prstGeom>
        <a:blipFill dpi="0" rotWithShape="0">
          <a:blip xmlns:r="http://schemas.openxmlformats.org/officeDocument/2006/relationships" r:embed="rId15"/>
          <a:srcRect/>
          <a:stretch>
            <a:fillRect l="-36000" t="5000" r="-20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lvl="0" indent="0" algn="ctr" defTabSz="933450">
            <a:lnSpc>
              <a:spcPct val="90000"/>
            </a:lnSpc>
            <a:spcBef>
              <a:spcPct val="0"/>
            </a:spcBef>
            <a:spcAft>
              <a:spcPct val="35000"/>
            </a:spcAft>
            <a:buNone/>
          </a:pPr>
          <a:endParaRPr lang="en-US" sz="2100" kern="1200" dirty="0"/>
        </a:p>
      </dsp:txBody>
      <dsp:txXfrm rot="-5400000">
        <a:off x="1451747" y="4034906"/>
        <a:ext cx="396174" cy="455373"/>
      </dsp:txXfrm>
    </dsp:sp>
    <dsp:sp modelId="{D9B5085A-80A7-4314-9829-AB64B8494DC4}">
      <dsp:nvSpPr>
        <dsp:cNvPr id="0" name=""/>
        <dsp:cNvSpPr/>
      </dsp:nvSpPr>
      <dsp:spPr>
        <a:xfrm>
          <a:off x="623756" y="4064124"/>
          <a:ext cx="714484" cy="396935"/>
        </a:xfrm>
        <a:prstGeom prst="rect">
          <a:avLst/>
        </a:prstGeom>
        <a:noFill/>
        <a:ln>
          <a:noFill/>
        </a:ln>
        <a:effectLst/>
      </dsp:spPr>
      <dsp:style>
        <a:lnRef idx="0">
          <a:scrgbClr r="0" g="0" b="0"/>
        </a:lnRef>
        <a:fillRef idx="0">
          <a:scrgbClr r="0" g="0" b="0"/>
        </a:fillRef>
        <a:effectRef idx="0">
          <a:scrgbClr r="0" g="0" b="0"/>
        </a:effectRef>
        <a:fontRef idx="minor"/>
      </dsp:style>
    </dsp:sp>
    <dsp:sp modelId="{A8142A8E-43D2-4B9D-9B9D-2BD85774AFBF}">
      <dsp:nvSpPr>
        <dsp:cNvPr id="0" name=""/>
        <dsp:cNvSpPr/>
      </dsp:nvSpPr>
      <dsp:spPr>
        <a:xfrm rot="5400000">
          <a:off x="1940656" y="3974814"/>
          <a:ext cx="661559" cy="575556"/>
        </a:xfrm>
        <a:prstGeom prst="hexagon">
          <a:avLst>
            <a:gd name="adj" fmla="val 25000"/>
            <a:gd name="vf" fmla="val 115470"/>
          </a:avLst>
        </a:prstGeom>
        <a:blipFill dpi="0" rotWithShape="0">
          <a:blip xmlns:r="http://schemas.openxmlformats.org/officeDocument/2006/relationships" r:embed="rId16"/>
          <a:srcRect/>
          <a:stretch>
            <a:fillRect l="-25000" r="-25000"/>
          </a:stretch>
        </a:blip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1511300">
            <a:lnSpc>
              <a:spcPct val="90000"/>
            </a:lnSpc>
            <a:spcBef>
              <a:spcPct val="0"/>
            </a:spcBef>
            <a:spcAft>
              <a:spcPct val="35000"/>
            </a:spcAft>
            <a:buNone/>
          </a:pPr>
          <a:endParaRPr lang="en-US" sz="3400" kern="1200" dirty="0"/>
        </a:p>
      </dsp:txBody>
      <dsp:txXfrm rot="-5400000">
        <a:off x="2073348" y="4034906"/>
        <a:ext cx="396174" cy="455373"/>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9.emf"/></Relationships>
</file>

<file path=ppt/drawings/drawing1.xml><?xml version="1.0" encoding="utf-8"?>
<c:userShapes xmlns:c="http://schemas.openxmlformats.org/drawingml/2006/chart">
  <cdr:relSizeAnchor xmlns:cdr="http://schemas.openxmlformats.org/drawingml/2006/chartDrawing">
    <cdr:from>
      <cdr:x>0.25152</cdr:x>
      <cdr:y>0.07027</cdr:y>
    </cdr:from>
    <cdr:to>
      <cdr:x>0.75279</cdr:x>
      <cdr:y>0.27216</cdr:y>
    </cdr:to>
    <cdr:sp macro="" textlink="">
      <cdr:nvSpPr>
        <cdr:cNvPr id="3" name="TextBox 2">
          <a:extLst xmlns:a="http://schemas.openxmlformats.org/drawingml/2006/main">
            <a:ext uri="{FF2B5EF4-FFF2-40B4-BE49-F238E27FC236}">
              <a16:creationId xmlns:a16="http://schemas.microsoft.com/office/drawing/2014/main" id="{3F72BA7A-92DD-457D-8034-694FF1A1B1A7}"/>
            </a:ext>
          </a:extLst>
        </cdr:cNvPr>
        <cdr:cNvSpPr txBox="1"/>
      </cdr:nvSpPr>
      <cdr:spPr>
        <a:xfrm xmlns:a="http://schemas.openxmlformats.org/drawingml/2006/main">
          <a:off x="2299894" y="199252"/>
          <a:ext cx="4583613" cy="572477"/>
        </a:xfrm>
        <a:prstGeom xmlns:a="http://schemas.openxmlformats.org/drawingml/2006/main" prst="rect">
          <a:avLst/>
        </a:prstGeom>
        <a:noFill xmlns:a="http://schemas.openxmlformats.org/drawingml/2006/main"/>
      </cdr:spPr>
      <cdr:txBody>
        <a:bodyPr xmlns:a="http://schemas.openxmlformats.org/drawingml/2006/main" vertOverflow="clip" wrap="none" lIns="182880" tIns="146304" rIns="182880" bIns="146304" rtlCol="0">
          <a:spAutoFit/>
        </a:bodyPr>
        <a:lstStyle xmlns:a="http://schemas.openxmlformats.org/drawingml/2006/main"/>
        <a:p xmlns:a="http://schemas.openxmlformats.org/drawingml/2006/main">
          <a:pPr lvl="0">
            <a:lnSpc>
              <a:spcPct val="90000"/>
            </a:lnSpc>
          </a:pPr>
          <a:r>
            <a:rPr lang="en-US" sz="2000" dirty="0">
              <a:solidFill>
                <a:srgbClr val="000000">
                  <a:lumMod val="65000"/>
                  <a:lumOff val="35000"/>
                </a:srgbClr>
              </a:solidFill>
              <a:latin typeface="Arial" panose="020B0604020202020204" pitchFamily="34" charset="0"/>
              <a:cs typeface="Arial" panose="020B0604020202020204" pitchFamily="34" charset="0"/>
            </a:rPr>
            <a:t>Extremely, very or somewhat worried</a:t>
          </a:r>
        </a:p>
      </cdr:txBody>
    </cdr:sp>
  </cdr:relSizeAnchor>
</c:userShapes>
</file>

<file path=ppt/drawings/drawing2.xml><?xml version="1.0" encoding="utf-8"?>
<c:userShapes xmlns:c="http://schemas.openxmlformats.org/drawingml/2006/chart">
  <cdr:relSizeAnchor xmlns:cdr="http://schemas.openxmlformats.org/drawingml/2006/chartDrawing">
    <cdr:from>
      <cdr:x>0.0191</cdr:x>
      <cdr:y>0.86862</cdr:y>
    </cdr:from>
    <cdr:to>
      <cdr:x>0.97985</cdr:x>
      <cdr:y>0.86862</cdr:y>
    </cdr:to>
    <cdr:cxnSp macro="">
      <cdr:nvCxnSpPr>
        <cdr:cNvPr id="3" name="Straight Connector 2">
          <a:extLst xmlns:a="http://schemas.openxmlformats.org/drawingml/2006/main">
            <a:ext uri="{FF2B5EF4-FFF2-40B4-BE49-F238E27FC236}">
              <a16:creationId xmlns:a16="http://schemas.microsoft.com/office/drawing/2014/main" id="{DA440562-0607-41AE-B409-3C04C28CA908}"/>
            </a:ext>
          </a:extLst>
        </cdr:cNvPr>
        <cdr:cNvCxnSpPr/>
      </cdr:nvCxnSpPr>
      <cdr:spPr>
        <a:xfrm xmlns:a="http://schemas.openxmlformats.org/drawingml/2006/main">
          <a:off x="151809" y="3947014"/>
          <a:ext cx="7636172"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3.xml><?xml version="1.0" encoding="utf-8"?>
<c:userShapes xmlns:c="http://schemas.openxmlformats.org/drawingml/2006/chart">
  <cdr:relSizeAnchor xmlns:cdr="http://schemas.openxmlformats.org/drawingml/2006/chartDrawing">
    <cdr:from>
      <cdr:x>0.0191</cdr:x>
      <cdr:y>0.88283</cdr:y>
    </cdr:from>
    <cdr:to>
      <cdr:x>0.97985</cdr:x>
      <cdr:y>0.88283</cdr:y>
    </cdr:to>
    <cdr:cxnSp macro="">
      <cdr:nvCxnSpPr>
        <cdr:cNvPr id="3" name="Straight Connector 2">
          <a:extLst xmlns:a="http://schemas.openxmlformats.org/drawingml/2006/main">
            <a:ext uri="{FF2B5EF4-FFF2-40B4-BE49-F238E27FC236}">
              <a16:creationId xmlns:a16="http://schemas.microsoft.com/office/drawing/2014/main" id="{DA440562-0607-41AE-B409-3C04C28CA908}"/>
            </a:ext>
          </a:extLst>
        </cdr:cNvPr>
        <cdr:cNvCxnSpPr/>
      </cdr:nvCxnSpPr>
      <cdr:spPr>
        <a:xfrm xmlns:a="http://schemas.openxmlformats.org/drawingml/2006/main">
          <a:off x="151811" y="4011554"/>
          <a:ext cx="7636151"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4.xml><?xml version="1.0" encoding="utf-8"?>
<c:userShapes xmlns:c="http://schemas.openxmlformats.org/drawingml/2006/chart">
  <cdr:relSizeAnchor xmlns:cdr="http://schemas.openxmlformats.org/drawingml/2006/chartDrawing">
    <cdr:from>
      <cdr:x>0.0191</cdr:x>
      <cdr:y>0.88283</cdr:y>
    </cdr:from>
    <cdr:to>
      <cdr:x>0.97985</cdr:x>
      <cdr:y>0.88283</cdr:y>
    </cdr:to>
    <cdr:cxnSp macro="">
      <cdr:nvCxnSpPr>
        <cdr:cNvPr id="3" name="Straight Connector 2">
          <a:extLst xmlns:a="http://schemas.openxmlformats.org/drawingml/2006/main">
            <a:ext uri="{FF2B5EF4-FFF2-40B4-BE49-F238E27FC236}">
              <a16:creationId xmlns:a16="http://schemas.microsoft.com/office/drawing/2014/main" id="{DA440562-0607-41AE-B409-3C04C28CA908}"/>
            </a:ext>
          </a:extLst>
        </cdr:cNvPr>
        <cdr:cNvCxnSpPr/>
      </cdr:nvCxnSpPr>
      <cdr:spPr>
        <a:xfrm xmlns:a="http://schemas.openxmlformats.org/drawingml/2006/main">
          <a:off x="151811" y="4011554"/>
          <a:ext cx="7636151" cy="0"/>
        </a:xfrm>
        <a:prstGeom xmlns:a="http://schemas.openxmlformats.org/drawingml/2006/main" prst="line">
          <a:avLst/>
        </a:prstGeom>
        <a:ln xmlns:a="http://schemas.openxmlformats.org/drawingml/2006/main" w="12700"/>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81E7F5F5-A15F-48FF-8568-EA7C7F5F19A4}"/>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A43BF0FB-EC7C-4043-92E3-A25A539C145B}"/>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9EEC22BC-4EC5-49EA-BDA1-815815462784}" type="datetimeFigureOut">
              <a:rPr lang="en-US" smtClean="0"/>
              <a:t>2/7/2020</a:t>
            </a:fld>
            <a:endParaRPr lang="en-US" dirty="0"/>
          </a:p>
        </p:txBody>
      </p:sp>
      <p:sp>
        <p:nvSpPr>
          <p:cNvPr id="4" name="Footer Placeholder 3">
            <a:extLst>
              <a:ext uri="{FF2B5EF4-FFF2-40B4-BE49-F238E27FC236}">
                <a16:creationId xmlns:a16="http://schemas.microsoft.com/office/drawing/2014/main" id="{DE8F972B-4A02-470B-940F-1B6F0906DA6A}"/>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6826775E-E3DB-46FF-A9E2-1D677A9FFAA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B9ADAA6-E9D2-4F22-91A1-EF0EFB9388B1}" type="slidenum">
              <a:rPr lang="en-US" smtClean="0"/>
              <a:t>‹#›</a:t>
            </a:fld>
            <a:endParaRPr lang="en-US" dirty="0"/>
          </a:p>
        </p:txBody>
      </p:sp>
    </p:spTree>
    <p:extLst>
      <p:ext uri="{BB962C8B-B14F-4D97-AF65-F5344CB8AC3E}">
        <p14:creationId xmlns:p14="http://schemas.microsoft.com/office/powerpoint/2010/main" val="227540952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3AA7B1F-1BEE-4075-AB72-A882668F42D0}" type="datetimeFigureOut">
              <a:rPr lang="en-US" smtClean="0"/>
              <a:t>2/7/2020</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CA09A37-3AE2-45B1-BF3E-4AAAD65A5B4D}" type="slidenum">
              <a:rPr lang="en-US" smtClean="0"/>
              <a:t>‹#›</a:t>
            </a:fld>
            <a:endParaRPr lang="en-US" dirty="0"/>
          </a:p>
        </p:txBody>
      </p:sp>
    </p:spTree>
    <p:extLst>
      <p:ext uri="{BB962C8B-B14F-4D97-AF65-F5344CB8AC3E}">
        <p14:creationId xmlns:p14="http://schemas.microsoft.com/office/powerpoint/2010/main" val="79563996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1</a:t>
            </a:fld>
            <a:endParaRPr lang="en-US" dirty="0"/>
          </a:p>
        </p:txBody>
      </p:sp>
    </p:spTree>
    <p:extLst>
      <p:ext uri="{BB962C8B-B14F-4D97-AF65-F5344CB8AC3E}">
        <p14:creationId xmlns:p14="http://schemas.microsoft.com/office/powerpoint/2010/main" val="33125942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cidence of Unwanted contact &amp; Hoaxes did not significantly increase YOY yet perceptions that these risks are a big problem increased</a:t>
            </a:r>
          </a:p>
        </p:txBody>
      </p:sp>
      <p:sp>
        <p:nvSpPr>
          <p:cNvPr id="4" name="Slide Number Placeholder 3"/>
          <p:cNvSpPr>
            <a:spLocks noGrp="1"/>
          </p:cNvSpPr>
          <p:nvPr>
            <p:ph type="sldNum" sz="quarter" idx="5"/>
          </p:nvPr>
        </p:nvSpPr>
        <p:spPr/>
        <p:txBody>
          <a:bodyPr/>
          <a:lstStyle/>
          <a:p>
            <a:fld id="{DCA09A37-3AE2-45B1-BF3E-4AAAD65A5B4D}" type="slidenum">
              <a:rPr lang="en-US" smtClean="0"/>
              <a:t>13</a:t>
            </a:fld>
            <a:endParaRPr lang="en-US" dirty="0"/>
          </a:p>
        </p:txBody>
      </p:sp>
    </p:spTree>
    <p:extLst>
      <p:ext uri="{BB962C8B-B14F-4D97-AF65-F5344CB8AC3E}">
        <p14:creationId xmlns:p14="http://schemas.microsoft.com/office/powerpoint/2010/main" val="4568525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igration from the bottom end of the pain scale: 13% from no pain/mild pain to moderate/severe pain</a:t>
            </a:r>
          </a:p>
        </p:txBody>
      </p:sp>
      <p:sp>
        <p:nvSpPr>
          <p:cNvPr id="4" name="Slide Number Placeholder 3"/>
          <p:cNvSpPr>
            <a:spLocks noGrp="1"/>
          </p:cNvSpPr>
          <p:nvPr>
            <p:ph type="sldNum" sz="quarter" idx="5"/>
          </p:nvPr>
        </p:nvSpPr>
        <p:spPr/>
        <p:txBody>
          <a:bodyPr/>
          <a:lstStyle/>
          <a:p>
            <a:fld id="{DCA09A37-3AE2-45B1-BF3E-4AAAD65A5B4D}" type="slidenum">
              <a:rPr lang="en-US" smtClean="0"/>
              <a:t>14</a:t>
            </a:fld>
            <a:endParaRPr lang="en-US" dirty="0"/>
          </a:p>
        </p:txBody>
      </p:sp>
    </p:spTree>
    <p:extLst>
      <p:ext uri="{BB962C8B-B14F-4D97-AF65-F5344CB8AC3E}">
        <p14:creationId xmlns:p14="http://schemas.microsoft.com/office/powerpoint/2010/main" val="381909673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p five the same as in 2018. Misogyny was 10 points lower than Discrimination in 2018.</a:t>
            </a:r>
          </a:p>
        </p:txBody>
      </p:sp>
      <p:sp>
        <p:nvSpPr>
          <p:cNvPr id="4" name="Slide Number Placeholder 3"/>
          <p:cNvSpPr>
            <a:spLocks noGrp="1"/>
          </p:cNvSpPr>
          <p:nvPr>
            <p:ph type="sldNum" sz="quarter" idx="5"/>
          </p:nvPr>
        </p:nvSpPr>
        <p:spPr/>
        <p:txBody>
          <a:bodyPr/>
          <a:lstStyle/>
          <a:p>
            <a:fld id="{DCA09A37-3AE2-45B1-BF3E-4AAAD65A5B4D}" type="slidenum">
              <a:rPr lang="en-US" smtClean="0"/>
              <a:t>15</a:t>
            </a:fld>
            <a:endParaRPr lang="en-US" dirty="0"/>
          </a:p>
        </p:txBody>
      </p:sp>
    </p:spTree>
    <p:extLst>
      <p:ext uri="{BB962C8B-B14F-4D97-AF65-F5344CB8AC3E}">
        <p14:creationId xmlns:p14="http://schemas.microsoft.com/office/powerpoint/2010/main" val="315694751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Big subgroup differences- adults – politics 38%, sexual orientation 30% religion 29% race 25% appearance 24%</a:t>
            </a:r>
          </a:p>
          <a:p>
            <a:r>
              <a:rPr lang="en-US" dirty="0"/>
              <a:t>Teens- appearance 38% sexual orientation 30% religion 22% race 24% politics 23%,  [Slide 50 in appendix]</a:t>
            </a:r>
          </a:p>
          <a:p>
            <a:endParaRPr lang="en-US" dirty="0"/>
          </a:p>
          <a:p>
            <a:r>
              <a:rPr lang="en-US" dirty="0"/>
              <a:t>Social Media sites are most often venue for online risks (66% cite, 2X next largest category– slide 51]</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Males-politics 34%, sexual orientation 29% religion 27% appearance 26% race 26% </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Females appearance 35% sexual orientation 31% religion 25% race 23% politics 28%,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Teen girls appearance 41% sexual orientation 31% religion 21% race 23% politics 21%, </a:t>
            </a:r>
          </a:p>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17</a:t>
            </a:fld>
            <a:endParaRPr lang="en-US" dirty="0"/>
          </a:p>
        </p:txBody>
      </p:sp>
    </p:spTree>
    <p:extLst>
      <p:ext uri="{BB962C8B-B14F-4D97-AF65-F5344CB8AC3E}">
        <p14:creationId xmlns:p14="http://schemas.microsoft.com/office/powerpoint/2010/main" val="158974480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2019 Wave 1 countries family &amp; friends = 32%</a:t>
            </a:r>
          </a:p>
        </p:txBody>
      </p:sp>
      <p:sp>
        <p:nvSpPr>
          <p:cNvPr id="4" name="Slide Number Placeholder 3"/>
          <p:cNvSpPr>
            <a:spLocks noGrp="1"/>
          </p:cNvSpPr>
          <p:nvPr>
            <p:ph type="sldNum" sz="quarter" idx="5"/>
          </p:nvPr>
        </p:nvSpPr>
        <p:spPr/>
        <p:txBody>
          <a:bodyPr/>
          <a:lstStyle/>
          <a:p>
            <a:fld id="{DCA09A37-3AE2-45B1-BF3E-4AAAD65A5B4D}" type="slidenum">
              <a:rPr lang="en-US" smtClean="0"/>
              <a:t>18</a:t>
            </a:fld>
            <a:endParaRPr lang="en-US" dirty="0"/>
          </a:p>
        </p:txBody>
      </p:sp>
    </p:spTree>
    <p:extLst>
      <p:ext uri="{BB962C8B-B14F-4D97-AF65-F5344CB8AC3E}">
        <p14:creationId xmlns:p14="http://schemas.microsoft.com/office/powerpoint/2010/main" val="256643408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19</a:t>
            </a:fld>
            <a:endParaRPr lang="en-US" dirty="0"/>
          </a:p>
        </p:txBody>
      </p:sp>
    </p:spTree>
    <p:extLst>
      <p:ext uri="{BB962C8B-B14F-4D97-AF65-F5344CB8AC3E}">
        <p14:creationId xmlns:p14="http://schemas.microsoft.com/office/powerpoint/2010/main" val="175550574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4D0852D-B822-4B56-B719-BD43D9EBCA40}"/>
              </a:ext>
            </a:extLst>
          </p:cNvPr>
          <p:cNvSpPr>
            <a:spLocks noGrp="1"/>
          </p:cNvSpPr>
          <p:nvPr>
            <p:ph type="body" idx="1"/>
          </p:nvPr>
        </p:nvSpPr>
        <p:spPr/>
        <p:txBody>
          <a:bodyPr/>
          <a:lstStyle/>
          <a:p>
            <a:r>
              <a:rPr lang="en-US" dirty="0"/>
              <a:t>7% - Was encouraged to harm myself or others (new in 2019)</a:t>
            </a:r>
          </a:p>
          <a:p>
            <a:r>
              <a:rPr lang="en-US" dirty="0"/>
              <a:t>Thoughts of suicide: Teens 18% vs. 14% adults</a:t>
            </a:r>
          </a:p>
        </p:txBody>
      </p:sp>
    </p:spTree>
    <p:extLst>
      <p:ext uri="{BB962C8B-B14F-4D97-AF65-F5344CB8AC3E}">
        <p14:creationId xmlns:p14="http://schemas.microsoft.com/office/powerpoint/2010/main" val="12548468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4D0852D-B822-4B56-B719-BD43D9EBCA40}"/>
              </a:ext>
            </a:extLst>
          </p:cNvPr>
          <p:cNvSpPr>
            <a:spLocks noGrp="1"/>
          </p:cNvSpPr>
          <p:nvPr>
            <p:ph type="body" idx="1"/>
          </p:nvPr>
        </p:nvSpPr>
        <p:spPr/>
        <p:txBody>
          <a:bodyPr/>
          <a:lstStyle/>
          <a:p>
            <a:r>
              <a:rPr lang="en-US" dirty="0"/>
              <a:t>The average number of actions taken is down slightly 3.7 down from 4.0</a:t>
            </a:r>
          </a:p>
          <a:p>
            <a:r>
              <a:rPr lang="en-US" dirty="0"/>
              <a:t>Teens are the bigger driver of the downward trend vs. adults</a:t>
            </a:r>
          </a:p>
          <a:p>
            <a:r>
              <a:rPr lang="en-US" dirty="0"/>
              <a:t>“I defended someone” is one DCC item which rose slightly</a:t>
            </a:r>
          </a:p>
        </p:txBody>
      </p:sp>
    </p:spTree>
    <p:extLst>
      <p:ext uri="{BB962C8B-B14F-4D97-AF65-F5344CB8AC3E}">
        <p14:creationId xmlns:p14="http://schemas.microsoft.com/office/powerpoint/2010/main" val="286883795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statements mirror the risks categories</a:t>
            </a:r>
          </a:p>
        </p:txBody>
      </p:sp>
      <p:sp>
        <p:nvSpPr>
          <p:cNvPr id="4" name="Slide Number Placeholder 3"/>
          <p:cNvSpPr>
            <a:spLocks noGrp="1"/>
          </p:cNvSpPr>
          <p:nvPr>
            <p:ph type="sldNum" sz="quarter" idx="5"/>
          </p:nvPr>
        </p:nvSpPr>
        <p:spPr/>
        <p:txBody>
          <a:bodyPr/>
          <a:lstStyle/>
          <a:p>
            <a:fld id="{DCA09A37-3AE2-45B1-BF3E-4AAAD65A5B4D}" type="slidenum">
              <a:rPr lang="en-US" smtClean="0"/>
              <a:t>22</a:t>
            </a:fld>
            <a:endParaRPr lang="en-US" dirty="0"/>
          </a:p>
        </p:txBody>
      </p:sp>
    </p:spTree>
    <p:extLst>
      <p:ext uri="{BB962C8B-B14F-4D97-AF65-F5344CB8AC3E}">
        <p14:creationId xmlns:p14="http://schemas.microsoft.com/office/powerpoint/2010/main" val="261394844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uggests an opportunity for tech companies, but expectations are high</a:t>
            </a:r>
          </a:p>
        </p:txBody>
      </p:sp>
      <p:sp>
        <p:nvSpPr>
          <p:cNvPr id="4" name="Slide Number Placeholder 3"/>
          <p:cNvSpPr>
            <a:spLocks noGrp="1"/>
          </p:cNvSpPr>
          <p:nvPr>
            <p:ph type="sldNum" sz="quarter" idx="5"/>
          </p:nvPr>
        </p:nvSpPr>
        <p:spPr/>
        <p:txBody>
          <a:bodyPr/>
          <a:lstStyle/>
          <a:p>
            <a:fld id="{DCA09A37-3AE2-45B1-BF3E-4AAAD65A5B4D}" type="slidenum">
              <a:rPr lang="en-US" smtClean="0"/>
              <a:t>23</a:t>
            </a:fld>
            <a:endParaRPr lang="en-US" dirty="0"/>
          </a:p>
        </p:txBody>
      </p:sp>
    </p:spTree>
    <p:extLst>
      <p:ext uri="{BB962C8B-B14F-4D97-AF65-F5344CB8AC3E}">
        <p14:creationId xmlns:p14="http://schemas.microsoft.com/office/powerpoint/2010/main" val="13170081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4</a:t>
            </a:fld>
            <a:endParaRPr lang="en-US" dirty="0"/>
          </a:p>
        </p:txBody>
      </p:sp>
    </p:spTree>
    <p:extLst>
      <p:ext uri="{BB962C8B-B14F-4D97-AF65-F5344CB8AC3E}">
        <p14:creationId xmlns:p14="http://schemas.microsoft.com/office/powerpoint/2010/main" val="313062214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nk Maslow's hierarchy of needs</a:t>
            </a:r>
          </a:p>
        </p:txBody>
      </p:sp>
      <p:sp>
        <p:nvSpPr>
          <p:cNvPr id="4" name="Slide Number Placeholder 3"/>
          <p:cNvSpPr>
            <a:spLocks noGrp="1"/>
          </p:cNvSpPr>
          <p:nvPr>
            <p:ph type="sldNum" sz="quarter" idx="5"/>
          </p:nvPr>
        </p:nvSpPr>
        <p:spPr/>
        <p:txBody>
          <a:bodyPr/>
          <a:lstStyle/>
          <a:p>
            <a:fld id="{DCA09A37-3AE2-45B1-BF3E-4AAAD65A5B4D}" type="slidenum">
              <a:rPr lang="en-US" smtClean="0"/>
              <a:t>24</a:t>
            </a:fld>
            <a:endParaRPr lang="en-US" dirty="0"/>
          </a:p>
        </p:txBody>
      </p:sp>
    </p:spTree>
    <p:extLst>
      <p:ext uri="{BB962C8B-B14F-4D97-AF65-F5344CB8AC3E}">
        <p14:creationId xmlns:p14="http://schemas.microsoft.com/office/powerpoint/2010/main" val="251518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ults are a little more confident 52% vs. 48% Teens (46% vs. 46% in 2017)</a:t>
            </a:r>
          </a:p>
          <a:p>
            <a:r>
              <a:rPr lang="en-US" dirty="0"/>
              <a:t>But Teens are much better at knowing where to find help</a:t>
            </a:r>
          </a:p>
          <a:p>
            <a:r>
              <a:rPr lang="en-US" dirty="0"/>
              <a:t>Teens find it easier to get help</a:t>
            </a:r>
          </a:p>
          <a:p>
            <a:r>
              <a:rPr lang="en-US" dirty="0"/>
              <a:t>Adults much less likely to ask for help 66% vs. 85% Teens</a:t>
            </a:r>
          </a:p>
        </p:txBody>
      </p:sp>
      <p:sp>
        <p:nvSpPr>
          <p:cNvPr id="4" name="Slide Number Placeholder 3"/>
          <p:cNvSpPr>
            <a:spLocks noGrp="1"/>
          </p:cNvSpPr>
          <p:nvPr>
            <p:ph type="sldNum" sz="quarter" idx="5"/>
          </p:nvPr>
        </p:nvSpPr>
        <p:spPr/>
        <p:txBody>
          <a:bodyPr/>
          <a:lstStyle/>
          <a:p>
            <a:fld id="{DCA09A37-3AE2-45B1-BF3E-4AAAD65A5B4D}" type="slidenum">
              <a:rPr lang="en-US" smtClean="0"/>
              <a:t>25</a:t>
            </a:fld>
            <a:endParaRPr lang="en-US" dirty="0"/>
          </a:p>
        </p:txBody>
      </p:sp>
    </p:spTree>
    <p:extLst>
      <p:ext uri="{BB962C8B-B14F-4D97-AF65-F5344CB8AC3E}">
        <p14:creationId xmlns:p14="http://schemas.microsoft.com/office/powerpoint/2010/main" val="253214159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ghtly lower DCI due to fewer Reputational and Sexual risks than adults</a:t>
            </a:r>
          </a:p>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27</a:t>
            </a:fld>
            <a:endParaRPr lang="en-US" dirty="0"/>
          </a:p>
        </p:txBody>
      </p:sp>
    </p:spTree>
    <p:extLst>
      <p:ext uri="{BB962C8B-B14F-4D97-AF65-F5344CB8AC3E}">
        <p14:creationId xmlns:p14="http://schemas.microsoft.com/office/powerpoint/2010/main" val="3427597119"/>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Know where to find help 2018: Teens 60%, Adults 37%</a:t>
            </a:r>
          </a:p>
        </p:txBody>
      </p:sp>
      <p:sp>
        <p:nvSpPr>
          <p:cNvPr id="4" name="Slide Number Placeholder 3"/>
          <p:cNvSpPr>
            <a:spLocks noGrp="1"/>
          </p:cNvSpPr>
          <p:nvPr>
            <p:ph type="sldNum" sz="quarter" idx="5"/>
          </p:nvPr>
        </p:nvSpPr>
        <p:spPr/>
        <p:txBody>
          <a:bodyPr/>
          <a:lstStyle/>
          <a:p>
            <a:fld id="{DCA09A37-3AE2-45B1-BF3E-4AAAD65A5B4D}" type="slidenum">
              <a:rPr lang="en-US" smtClean="0"/>
              <a:t>28</a:t>
            </a:fld>
            <a:endParaRPr lang="en-US" dirty="0"/>
          </a:p>
        </p:txBody>
      </p:sp>
    </p:spTree>
    <p:extLst>
      <p:ext uri="{BB962C8B-B14F-4D97-AF65-F5344CB8AC3E}">
        <p14:creationId xmlns:p14="http://schemas.microsoft.com/office/powerpoint/2010/main" val="385234375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exual risks are significant - 83% big problem girls vs. 77% boys</a:t>
            </a:r>
          </a:p>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29</a:t>
            </a:fld>
            <a:endParaRPr lang="en-US" dirty="0"/>
          </a:p>
        </p:txBody>
      </p:sp>
    </p:spTree>
    <p:extLst>
      <p:ext uri="{BB962C8B-B14F-4D97-AF65-F5344CB8AC3E}">
        <p14:creationId xmlns:p14="http://schemas.microsoft.com/office/powerpoint/2010/main" val="331477749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Nearly 5x growth in Teens asking for help vs 2017. Teen girls 53% ask parents help, boys 43%</a:t>
            </a:r>
          </a:p>
          <a:p>
            <a:r>
              <a:rPr lang="en-US" dirty="0"/>
              <a:t>Adults/Males more confident than Teens/Females. Millennials most confident</a:t>
            </a:r>
          </a:p>
          <a:p>
            <a:r>
              <a:rPr lang="en-US" dirty="0"/>
              <a:t>Where to find help: Millennials 42% highest among adult groups</a:t>
            </a:r>
          </a:p>
          <a:p>
            <a:r>
              <a:rPr lang="en-US" dirty="0"/>
              <a:t>Millennials find it the most difficult – 53%</a:t>
            </a:r>
          </a:p>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30</a:t>
            </a:fld>
            <a:endParaRPr lang="en-US" dirty="0"/>
          </a:p>
        </p:txBody>
      </p:sp>
    </p:spTree>
    <p:extLst>
      <p:ext uri="{BB962C8B-B14F-4D97-AF65-F5344CB8AC3E}">
        <p14:creationId xmlns:p14="http://schemas.microsoft.com/office/powerpoint/2010/main" val="945597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31</a:t>
            </a:fld>
            <a:endParaRPr lang="en-US" dirty="0"/>
          </a:p>
        </p:txBody>
      </p:sp>
    </p:spTree>
    <p:extLst>
      <p:ext uri="{BB962C8B-B14F-4D97-AF65-F5344CB8AC3E}">
        <p14:creationId xmlns:p14="http://schemas.microsoft.com/office/powerpoint/2010/main" val="274992716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1">
            <a:extLst>
              <a:ext uri="{FF2B5EF4-FFF2-40B4-BE49-F238E27FC236}">
                <a16:creationId xmlns:a16="http://schemas.microsoft.com/office/drawing/2014/main" id="{B4D0852D-B822-4B56-B719-BD43D9EBCA40}"/>
              </a:ext>
            </a:extLst>
          </p:cNvPr>
          <p:cNvSpPr>
            <a:spLocks noGrp="1"/>
          </p:cNvSpPr>
          <p:nvPr>
            <p:ph type="body" idx="1"/>
          </p:nvPr>
        </p:nvSpPr>
        <p:spPr/>
        <p:txBody>
          <a:bodyPr/>
          <a:lstStyle/>
          <a:p>
            <a:r>
              <a:rPr lang="en-US" dirty="0"/>
              <a:t>Sharenting: New item in 2019. A British study reported parents posted an average of 1500 photos on social media of their child before the age of 5.</a:t>
            </a:r>
          </a:p>
          <a:p>
            <a:r>
              <a:rPr lang="en-US" dirty="0"/>
              <a:t>4/2019 - UK proposes age “appropriate design” code t</a:t>
            </a:r>
            <a:r>
              <a:rPr lang="en-US" sz="1200" b="0" i="0" u="none" strike="noStrike" kern="1200" dirty="0">
                <a:solidFill>
                  <a:schemeClr val="tx1"/>
                </a:solidFill>
                <a:effectLst/>
                <a:latin typeface="+mn-lt"/>
                <a:ea typeface="+mn-ea"/>
                <a:cs typeface="+mn-cs"/>
              </a:rPr>
              <a:t>hat will regulate the provision of online services (i.e. data, info) likely to be accessed by children in the UK.</a:t>
            </a:r>
            <a:r>
              <a:rPr lang="en-US" dirty="0"/>
              <a:t> – think zoning law for the Internet</a:t>
            </a:r>
          </a:p>
        </p:txBody>
      </p:sp>
    </p:spTree>
    <p:extLst>
      <p:ext uri="{BB962C8B-B14F-4D97-AF65-F5344CB8AC3E}">
        <p14:creationId xmlns:p14="http://schemas.microsoft.com/office/powerpoint/2010/main" val="202839431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TAM countries dominate</a:t>
            </a:r>
          </a:p>
        </p:txBody>
      </p:sp>
      <p:sp>
        <p:nvSpPr>
          <p:cNvPr id="4" name="Slide Number Placeholder 3"/>
          <p:cNvSpPr>
            <a:spLocks noGrp="1"/>
          </p:cNvSpPr>
          <p:nvPr>
            <p:ph type="sldNum" sz="quarter" idx="5"/>
          </p:nvPr>
        </p:nvSpPr>
        <p:spPr/>
        <p:txBody>
          <a:bodyPr/>
          <a:lstStyle/>
          <a:p>
            <a:fld id="{DCA09A37-3AE2-45B1-BF3E-4AAAD65A5B4D}" type="slidenum">
              <a:rPr lang="en-US" smtClean="0"/>
              <a:t>39</a:t>
            </a:fld>
            <a:endParaRPr lang="en-US" dirty="0"/>
          </a:p>
        </p:txBody>
      </p:sp>
    </p:spTree>
    <p:extLst>
      <p:ext uri="{BB962C8B-B14F-4D97-AF65-F5344CB8AC3E}">
        <p14:creationId xmlns:p14="http://schemas.microsoft.com/office/powerpoint/2010/main" val="206510066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sitive relationship (r=.59, R</a:t>
            </a:r>
            <a:r>
              <a:rPr lang="en-US" sz="900" baseline="30000" dirty="0"/>
              <a:t>2</a:t>
            </a:r>
            <a:r>
              <a:rPr lang="en-US" dirty="0"/>
              <a:t>=.34, between DCI and Politics (a topic that is characterized by uncivil interactions).</a:t>
            </a:r>
          </a:p>
        </p:txBody>
      </p:sp>
      <p:sp>
        <p:nvSpPr>
          <p:cNvPr id="4" name="Slide Number Placeholder 3"/>
          <p:cNvSpPr>
            <a:spLocks noGrp="1"/>
          </p:cNvSpPr>
          <p:nvPr>
            <p:ph type="sldNum" sz="quarter" idx="5"/>
          </p:nvPr>
        </p:nvSpPr>
        <p:spPr/>
        <p:txBody>
          <a:bodyPr/>
          <a:lstStyle/>
          <a:p>
            <a:fld id="{DCA09A37-3AE2-45B1-BF3E-4AAAD65A5B4D}" type="slidenum">
              <a:rPr lang="en-US" smtClean="0"/>
              <a:t>42</a:t>
            </a:fld>
            <a:endParaRPr lang="en-US" dirty="0"/>
          </a:p>
        </p:txBody>
      </p:sp>
    </p:spTree>
    <p:extLst>
      <p:ext uri="{BB962C8B-B14F-4D97-AF65-F5344CB8AC3E}">
        <p14:creationId xmlns:p14="http://schemas.microsoft.com/office/powerpoint/2010/main" val="12011958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ko-KR" sz="1200" b="0" i="0" u="none" strike="noStrike" kern="1200" cap="none" spc="0" normalizeH="0" baseline="0" noProof="0" dirty="0">
                <a:ln>
                  <a:noFill/>
                </a:ln>
                <a:solidFill>
                  <a:prstClr val="white"/>
                </a:solidFill>
                <a:effectLst/>
                <a:uLnTx/>
                <a:uFillTx/>
                <a:latin typeface="Arial Narrow" panose="020B0606020202030204" pitchFamily="34" charset="0"/>
                <a:cs typeface="Arial" pitchFamily="34" charset="0"/>
              </a:rPr>
              <a:t>DCI 70 in the 23 YoY countries. </a:t>
            </a:r>
            <a:r>
              <a:rPr lang="en-US" dirty="0"/>
              <a:t>2019 25 country DCI = 69.2</a:t>
            </a:r>
          </a:p>
          <a:p>
            <a:r>
              <a:rPr kumimoji="0" lang="en-US" altLang="ko-KR" sz="1200" b="0" i="0" u="none" strike="noStrike" kern="1200" cap="none" spc="0" normalizeH="0" baseline="0" noProof="0" dirty="0">
                <a:ln>
                  <a:noFill/>
                </a:ln>
                <a:solidFill>
                  <a:prstClr val="white"/>
                </a:solidFill>
                <a:effectLst/>
                <a:uLnTx/>
                <a:uFillTx/>
                <a:latin typeface="Arial Narrow" panose="020B0606020202030204" pitchFamily="34" charset="0"/>
                <a:cs typeface="Arial" pitchFamily="34" charset="0"/>
              </a:rPr>
              <a:t>B1: Politics is tied for the #1 topic causing uncivil behavior (31%). 38% Adults, 23% Teens</a:t>
            </a:r>
          </a:p>
          <a:p>
            <a:pPr marL="0" marR="0" lvl="0" indent="0" algn="l" defTabSz="914400" rtl="0" eaLnBrk="1" fontAlgn="auto" latinLnBrk="0" hangingPunct="1">
              <a:lnSpc>
                <a:spcPct val="100000"/>
              </a:lnSpc>
              <a:spcBef>
                <a:spcPts val="0"/>
              </a:spcBef>
              <a:spcAft>
                <a:spcPts val="0"/>
              </a:spcAft>
              <a:buClrTx/>
              <a:buSzTx/>
              <a:buFontTx/>
              <a:buNone/>
              <a:tabLst/>
              <a:defRPr/>
            </a:pPr>
            <a:r>
              <a:rPr lang="en-US" altLang="ko-KR" sz="1200" dirty="0">
                <a:solidFill>
                  <a:prstClr val="white"/>
                </a:solidFill>
                <a:latin typeface="Arial Narrow" panose="020B0606020202030204" pitchFamily="34" charset="0"/>
                <a:cs typeface="Arial" pitchFamily="34" charset="0"/>
              </a:rPr>
              <a:t>About half of the twenty-five country DCI scores rose in 2019 = based on 3% or greater chg. In DCI YOY</a:t>
            </a:r>
          </a:p>
          <a:p>
            <a:endParaRPr kumimoji="0" lang="en-US" altLang="ko-KR" sz="1200" b="0" i="0" u="none" strike="noStrike" kern="1200" cap="none" spc="0" normalizeH="0" baseline="0" noProof="0" dirty="0">
              <a:ln>
                <a:noFill/>
              </a:ln>
              <a:solidFill>
                <a:prstClr val="white"/>
              </a:solidFill>
              <a:effectLst/>
              <a:uLnTx/>
              <a:uFillTx/>
              <a:latin typeface="Arial Narrow" panose="020B0606020202030204" pitchFamily="34" charset="0"/>
              <a:cs typeface="Arial" pitchFamily="34" charset="0"/>
            </a:endParaRPr>
          </a:p>
          <a:p>
            <a:r>
              <a:rPr kumimoji="0" lang="en-US" altLang="ko-KR" sz="1200" b="0" i="0" u="none" strike="noStrike" kern="1200" cap="none" spc="0" normalizeH="0" baseline="0" noProof="0" dirty="0">
                <a:ln>
                  <a:noFill/>
                </a:ln>
                <a:solidFill>
                  <a:prstClr val="white"/>
                </a:solidFill>
                <a:effectLst/>
                <a:uLnTx/>
                <a:uFillTx/>
                <a:latin typeface="Arial Narrow" panose="020B0606020202030204" pitchFamily="34" charset="0"/>
                <a:cs typeface="Arial" pitchFamily="34" charset="0"/>
              </a:rPr>
              <a:t>B3: It is possible that people are becoming desensitized to uncivil behavior and feel resigned to the current environment as the new normal.</a:t>
            </a:r>
          </a:p>
          <a:p>
            <a:r>
              <a:rPr kumimoji="0" lang="en-US" altLang="ko-KR" sz="1200" b="0" i="0" u="none" strike="noStrike" kern="1200" cap="none" spc="0" normalizeH="0" baseline="0" noProof="0" dirty="0">
                <a:ln>
                  <a:noFill/>
                </a:ln>
                <a:solidFill>
                  <a:prstClr val="white"/>
                </a:solidFill>
                <a:effectLst/>
                <a:uLnTx/>
                <a:uFillTx/>
                <a:latin typeface="Arial Narrow" panose="020B0606020202030204" pitchFamily="34" charset="0"/>
                <a:cs typeface="Arial" pitchFamily="34" charset="0"/>
              </a:rPr>
              <a:t>Hexagons: Putin, Trump, Yellow vest (FR), Bolsonaro (BR), Duque (CO), Obrador (MX), Widodo (ID), Indian populists, Loong (SG), Mohamad (MY), Argentinian populists, Erdogan (TU), Wilder (NE), Trong (VT), Orban (HU), Polish populists  </a:t>
            </a:r>
            <a:r>
              <a:rPr kumimoji="0" lang="en-US" altLang="ko-KR" sz="1200" b="1" i="0" u="none" strike="noStrike" kern="1200" cap="none" spc="0" normalizeH="0" baseline="0" noProof="0" dirty="0">
                <a:ln>
                  <a:noFill/>
                </a:ln>
                <a:solidFill>
                  <a:prstClr val="white"/>
                </a:solidFill>
                <a:effectLst/>
                <a:uLnTx/>
                <a:uFillTx/>
                <a:latin typeface="Arial"/>
                <a:cs typeface="Arial" pitchFamily="34" charset="0"/>
              </a:rPr>
              <a:t> </a:t>
            </a:r>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5</a:t>
            </a:fld>
            <a:endParaRPr lang="en-US" dirty="0"/>
          </a:p>
        </p:txBody>
      </p:sp>
    </p:spTree>
    <p:extLst>
      <p:ext uri="{BB962C8B-B14F-4D97-AF65-F5344CB8AC3E}">
        <p14:creationId xmlns:p14="http://schemas.microsoft.com/office/powerpoint/2010/main" val="57665619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47</a:t>
            </a:fld>
            <a:endParaRPr lang="en-US" dirty="0"/>
          </a:p>
        </p:txBody>
      </p:sp>
    </p:spTree>
    <p:extLst>
      <p:ext uri="{BB962C8B-B14F-4D97-AF65-F5344CB8AC3E}">
        <p14:creationId xmlns:p14="http://schemas.microsoft.com/office/powerpoint/2010/main" val="6654662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48</a:t>
            </a:fld>
            <a:endParaRPr lang="en-US" dirty="0"/>
          </a:p>
        </p:txBody>
      </p:sp>
    </p:spTree>
    <p:extLst>
      <p:ext uri="{BB962C8B-B14F-4D97-AF65-F5344CB8AC3E}">
        <p14:creationId xmlns:p14="http://schemas.microsoft.com/office/powerpoint/2010/main" val="882833455"/>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49</a:t>
            </a:fld>
            <a:endParaRPr lang="en-US" dirty="0"/>
          </a:p>
        </p:txBody>
      </p:sp>
    </p:spTree>
    <p:extLst>
      <p:ext uri="{BB962C8B-B14F-4D97-AF65-F5344CB8AC3E}">
        <p14:creationId xmlns:p14="http://schemas.microsoft.com/office/powerpoint/2010/main" val="2751750957"/>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50</a:t>
            </a:fld>
            <a:endParaRPr lang="en-US" dirty="0"/>
          </a:p>
        </p:txBody>
      </p:sp>
    </p:spTree>
    <p:extLst>
      <p:ext uri="{BB962C8B-B14F-4D97-AF65-F5344CB8AC3E}">
        <p14:creationId xmlns:p14="http://schemas.microsoft.com/office/powerpoint/2010/main" val="2424266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US and Western Europe have traditionally had better DCI scores, Netherlands &amp; Malaysia replaces Belgium &amp; France in the top 5.   </a:t>
            </a:r>
          </a:p>
          <a:p>
            <a:r>
              <a:rPr lang="en-US" dirty="0"/>
              <a:t>2018 top five: UK US FR BE DE</a:t>
            </a:r>
          </a:p>
          <a:p>
            <a:r>
              <a:rPr lang="en-US" dirty="0"/>
              <a:t>2018 bottom five: CO AR CL PE SA</a:t>
            </a:r>
          </a:p>
        </p:txBody>
      </p:sp>
      <p:sp>
        <p:nvSpPr>
          <p:cNvPr id="4" name="Slide Number Placeholder 3"/>
          <p:cNvSpPr>
            <a:spLocks noGrp="1"/>
          </p:cNvSpPr>
          <p:nvPr>
            <p:ph type="sldNum" sz="quarter" idx="5"/>
          </p:nvPr>
        </p:nvSpPr>
        <p:spPr/>
        <p:txBody>
          <a:bodyPr/>
          <a:lstStyle/>
          <a:p>
            <a:fld id="{DCA09A37-3AE2-45B1-BF3E-4AAAD65A5B4D}" type="slidenum">
              <a:rPr lang="en-US" smtClean="0"/>
              <a:t>7</a:t>
            </a:fld>
            <a:endParaRPr lang="en-US" dirty="0"/>
          </a:p>
        </p:txBody>
      </p:sp>
    </p:spTree>
    <p:extLst>
      <p:ext uri="{BB962C8B-B14F-4D97-AF65-F5344CB8AC3E}">
        <p14:creationId xmlns:p14="http://schemas.microsoft.com/office/powerpoint/2010/main" val="13521195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latin typeface="+mn-lt"/>
                <a:ea typeface="+mn-ea"/>
                <a:cs typeface="+mn-cs"/>
              </a:rPr>
              <a:t>Some of the biggest moves were seen in countries which had some of the lowest DCI ratings in the past (#1-4), though we also saw jumps in high DCI countries too.  India jump noteworthy.</a:t>
            </a:r>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8</a:t>
            </a:fld>
            <a:endParaRPr lang="en-US" dirty="0"/>
          </a:p>
        </p:txBody>
      </p:sp>
    </p:spTree>
    <p:extLst>
      <p:ext uri="{BB962C8B-B14F-4D97-AF65-F5344CB8AC3E}">
        <p14:creationId xmlns:p14="http://schemas.microsoft.com/office/powerpoint/2010/main" val="173752844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most all of the 21 risks rose at least slightly, with behavioral risks showing some of the biggest movement.</a:t>
            </a:r>
          </a:p>
        </p:txBody>
      </p:sp>
      <p:sp>
        <p:nvSpPr>
          <p:cNvPr id="4" name="Slide Number Placeholder 3"/>
          <p:cNvSpPr>
            <a:spLocks noGrp="1"/>
          </p:cNvSpPr>
          <p:nvPr>
            <p:ph type="sldNum" sz="quarter" idx="5"/>
          </p:nvPr>
        </p:nvSpPr>
        <p:spPr/>
        <p:txBody>
          <a:bodyPr/>
          <a:lstStyle/>
          <a:p>
            <a:fld id="{DCA09A37-3AE2-45B1-BF3E-4AAAD65A5B4D}" type="slidenum">
              <a:rPr lang="en-US" smtClean="0"/>
              <a:t>9</a:t>
            </a:fld>
            <a:endParaRPr lang="en-US" dirty="0"/>
          </a:p>
        </p:txBody>
      </p:sp>
    </p:spTree>
    <p:extLst>
      <p:ext uri="{BB962C8B-B14F-4D97-AF65-F5344CB8AC3E}">
        <p14:creationId xmlns:p14="http://schemas.microsoft.com/office/powerpoint/2010/main" val="29968223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10</a:t>
            </a:fld>
            <a:endParaRPr lang="en-US" dirty="0"/>
          </a:p>
        </p:txBody>
      </p:sp>
    </p:spTree>
    <p:extLst>
      <p:ext uri="{BB962C8B-B14F-4D97-AF65-F5344CB8AC3E}">
        <p14:creationId xmlns:p14="http://schemas.microsoft.com/office/powerpoint/2010/main" val="30573629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p:txBody>
      </p:sp>
      <p:sp>
        <p:nvSpPr>
          <p:cNvPr id="4" name="Slide Number Placeholder 3"/>
          <p:cNvSpPr>
            <a:spLocks noGrp="1"/>
          </p:cNvSpPr>
          <p:nvPr>
            <p:ph type="sldNum" sz="quarter" idx="5"/>
          </p:nvPr>
        </p:nvSpPr>
        <p:spPr/>
        <p:txBody>
          <a:bodyPr/>
          <a:lstStyle/>
          <a:p>
            <a:fld id="{DCA09A37-3AE2-45B1-BF3E-4AAAD65A5B4D}" type="slidenum">
              <a:rPr lang="en-US" smtClean="0"/>
              <a:t>11</a:t>
            </a:fld>
            <a:endParaRPr lang="en-US" dirty="0"/>
          </a:p>
        </p:txBody>
      </p:sp>
    </p:spTree>
    <p:extLst>
      <p:ext uri="{BB962C8B-B14F-4D97-AF65-F5344CB8AC3E}">
        <p14:creationId xmlns:p14="http://schemas.microsoft.com/office/powerpoint/2010/main" val="3050819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tif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17.emf"/><Relationship Id="rId2" Type="http://schemas.openxmlformats.org/officeDocument/2006/relationships/tags" Target="../tags/tag19.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microsoft.com/office/2007/relationships/hdphoto" Target="../media/hdphoto1.wdp"/><Relationship Id="rId4" Type="http://schemas.openxmlformats.org/officeDocument/2006/relationships/image" Target="../media/image18.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3.vml"/><Relationship Id="rId5" Type="http://schemas.openxmlformats.org/officeDocument/2006/relationships/image" Target="../media/image19.emf"/><Relationship Id="rId4" Type="http://schemas.openxmlformats.org/officeDocument/2006/relationships/oleObject" Target="../embeddings/oleObject3.bin"/></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tiff"/><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jpe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1.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jpe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ection Break Slide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D1B174B9-DDA6-43AC-94FF-E49E8A4C9EE5}"/>
              </a:ext>
            </a:extLst>
          </p:cNvPr>
          <p:cNvSpPr/>
          <p:nvPr userDrawn="1"/>
        </p:nvSpPr>
        <p:spPr>
          <a:xfrm>
            <a:off x="2" y="1"/>
            <a:ext cx="8641787" cy="6858000"/>
          </a:xfrm>
          <a:custGeom>
            <a:avLst/>
            <a:gdLst>
              <a:gd name="connsiteX0" fmla="*/ 0 w 8641787"/>
              <a:gd name="connsiteY0" fmla="*/ 0 h 6858000"/>
              <a:gd name="connsiteX1" fmla="*/ 6012887 w 8641787"/>
              <a:gd name="connsiteY1" fmla="*/ 0 h 6858000"/>
              <a:gd name="connsiteX2" fmla="*/ 8641787 w 8641787"/>
              <a:gd name="connsiteY2" fmla="*/ 6858000 h 6858000"/>
              <a:gd name="connsiteX3" fmla="*/ 0 w 864178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641787" h="6858000">
                <a:moveTo>
                  <a:pt x="0" y="0"/>
                </a:moveTo>
                <a:lnTo>
                  <a:pt x="6012887" y="0"/>
                </a:lnTo>
                <a:lnTo>
                  <a:pt x="8641787" y="6858000"/>
                </a:lnTo>
                <a:lnTo>
                  <a:pt x="0" y="6858000"/>
                </a:lnTo>
                <a:close/>
              </a:path>
            </a:pathLst>
          </a:custGeom>
          <a:solidFill>
            <a:srgbClr val="002050">
              <a:alpha val="41961"/>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0" name="Freeform: Shape 9">
            <a:extLst>
              <a:ext uri="{FF2B5EF4-FFF2-40B4-BE49-F238E27FC236}">
                <a16:creationId xmlns:a16="http://schemas.microsoft.com/office/drawing/2014/main" id="{6AFFB5B8-275F-4541-94CB-C7A723310F6D}"/>
              </a:ext>
            </a:extLst>
          </p:cNvPr>
          <p:cNvSpPr/>
          <p:nvPr userDrawn="1"/>
        </p:nvSpPr>
        <p:spPr>
          <a:xfrm rot="20330711">
            <a:off x="7416424" y="-293215"/>
            <a:ext cx="234813" cy="7444430"/>
          </a:xfrm>
          <a:custGeom>
            <a:avLst/>
            <a:gdLst>
              <a:gd name="connsiteX0" fmla="*/ 0 w 234813"/>
              <a:gd name="connsiteY0" fmla="*/ 0 h 7444430"/>
              <a:gd name="connsiteX1" fmla="*/ 234813 w 234813"/>
              <a:gd name="connsiteY1" fmla="*/ 90866 h 7444430"/>
              <a:gd name="connsiteX2" fmla="*/ 234813 w 234813"/>
              <a:gd name="connsiteY2" fmla="*/ 7444430 h 7444430"/>
              <a:gd name="connsiteX3" fmla="*/ 0 w 234813"/>
              <a:gd name="connsiteY3" fmla="*/ 7353565 h 7444430"/>
            </a:gdLst>
            <a:ahLst/>
            <a:cxnLst>
              <a:cxn ang="0">
                <a:pos x="connsiteX0" y="connsiteY0"/>
              </a:cxn>
              <a:cxn ang="0">
                <a:pos x="connsiteX1" y="connsiteY1"/>
              </a:cxn>
              <a:cxn ang="0">
                <a:pos x="connsiteX2" y="connsiteY2"/>
              </a:cxn>
              <a:cxn ang="0">
                <a:pos x="connsiteX3" y="connsiteY3"/>
              </a:cxn>
            </a:cxnLst>
            <a:rect l="l" t="t" r="r" b="b"/>
            <a:pathLst>
              <a:path w="234813" h="7444430">
                <a:moveTo>
                  <a:pt x="0" y="0"/>
                </a:moveTo>
                <a:lnTo>
                  <a:pt x="234813" y="90866"/>
                </a:lnTo>
                <a:lnTo>
                  <a:pt x="234813" y="7444430"/>
                </a:lnTo>
                <a:lnTo>
                  <a:pt x="0" y="7353565"/>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3" name="Freeform: Shape 12">
            <a:extLst>
              <a:ext uri="{FF2B5EF4-FFF2-40B4-BE49-F238E27FC236}">
                <a16:creationId xmlns:a16="http://schemas.microsoft.com/office/drawing/2014/main" id="{2A91EB93-1A80-4108-9845-8CEBD98D597C}"/>
              </a:ext>
            </a:extLst>
          </p:cNvPr>
          <p:cNvSpPr/>
          <p:nvPr userDrawn="1"/>
        </p:nvSpPr>
        <p:spPr>
          <a:xfrm rot="20330711">
            <a:off x="8020265" y="-134683"/>
            <a:ext cx="234813" cy="2739613"/>
          </a:xfrm>
          <a:custGeom>
            <a:avLst/>
            <a:gdLst>
              <a:gd name="connsiteX0" fmla="*/ 0 w 234813"/>
              <a:gd name="connsiteY0" fmla="*/ 0 h 2739613"/>
              <a:gd name="connsiteX1" fmla="*/ 234813 w 234813"/>
              <a:gd name="connsiteY1" fmla="*/ 90866 h 2739613"/>
              <a:gd name="connsiteX2" fmla="*/ 234813 w 234813"/>
              <a:gd name="connsiteY2" fmla="*/ 2739613 h 2739613"/>
              <a:gd name="connsiteX3" fmla="*/ 0 w 234813"/>
              <a:gd name="connsiteY3" fmla="*/ 2648748 h 2739613"/>
            </a:gdLst>
            <a:ahLst/>
            <a:cxnLst>
              <a:cxn ang="0">
                <a:pos x="connsiteX0" y="connsiteY0"/>
              </a:cxn>
              <a:cxn ang="0">
                <a:pos x="connsiteX1" y="connsiteY1"/>
              </a:cxn>
              <a:cxn ang="0">
                <a:pos x="connsiteX2" y="connsiteY2"/>
              </a:cxn>
              <a:cxn ang="0">
                <a:pos x="connsiteX3" y="connsiteY3"/>
              </a:cxn>
            </a:cxnLst>
            <a:rect l="l" t="t" r="r" b="b"/>
            <a:pathLst>
              <a:path w="234813" h="2739613">
                <a:moveTo>
                  <a:pt x="0" y="0"/>
                </a:moveTo>
                <a:lnTo>
                  <a:pt x="234813" y="90866"/>
                </a:lnTo>
                <a:lnTo>
                  <a:pt x="234813" y="2739613"/>
                </a:lnTo>
                <a:lnTo>
                  <a:pt x="0" y="264874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4" name="Freeform: Shape 13">
            <a:extLst>
              <a:ext uri="{FF2B5EF4-FFF2-40B4-BE49-F238E27FC236}">
                <a16:creationId xmlns:a16="http://schemas.microsoft.com/office/drawing/2014/main" id="{F3E07247-868E-438C-BD34-0D0EC28772B4}"/>
              </a:ext>
            </a:extLst>
          </p:cNvPr>
          <p:cNvSpPr/>
          <p:nvPr userDrawn="1"/>
        </p:nvSpPr>
        <p:spPr>
          <a:xfrm rot="20330711" flipH="1" flipV="1">
            <a:off x="10369955" y="4253071"/>
            <a:ext cx="234813" cy="2739613"/>
          </a:xfrm>
          <a:custGeom>
            <a:avLst/>
            <a:gdLst>
              <a:gd name="connsiteX0" fmla="*/ 0 w 234813"/>
              <a:gd name="connsiteY0" fmla="*/ 0 h 2739613"/>
              <a:gd name="connsiteX1" fmla="*/ 234813 w 234813"/>
              <a:gd name="connsiteY1" fmla="*/ 90866 h 2739613"/>
              <a:gd name="connsiteX2" fmla="*/ 234813 w 234813"/>
              <a:gd name="connsiteY2" fmla="*/ 2739613 h 2739613"/>
              <a:gd name="connsiteX3" fmla="*/ 0 w 234813"/>
              <a:gd name="connsiteY3" fmla="*/ 2648748 h 2739613"/>
            </a:gdLst>
            <a:ahLst/>
            <a:cxnLst>
              <a:cxn ang="0">
                <a:pos x="connsiteX0" y="connsiteY0"/>
              </a:cxn>
              <a:cxn ang="0">
                <a:pos x="connsiteX1" y="connsiteY1"/>
              </a:cxn>
              <a:cxn ang="0">
                <a:pos x="connsiteX2" y="connsiteY2"/>
              </a:cxn>
              <a:cxn ang="0">
                <a:pos x="connsiteX3" y="connsiteY3"/>
              </a:cxn>
            </a:cxnLst>
            <a:rect l="l" t="t" r="r" b="b"/>
            <a:pathLst>
              <a:path w="234813" h="2739613">
                <a:moveTo>
                  <a:pt x="0" y="0"/>
                </a:moveTo>
                <a:lnTo>
                  <a:pt x="234813" y="90866"/>
                </a:lnTo>
                <a:lnTo>
                  <a:pt x="234813" y="2739613"/>
                </a:lnTo>
                <a:lnTo>
                  <a:pt x="0" y="2648748"/>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Tree>
    <p:extLst>
      <p:ext uri="{BB962C8B-B14F-4D97-AF65-F5344CB8AC3E}">
        <p14:creationId xmlns:p14="http://schemas.microsoft.com/office/powerpoint/2010/main" val="35260155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302" y="1752654"/>
            <a:ext cx="8964248" cy="2331637"/>
          </a:xfrm>
          <a:prstGeom prst="rect">
            <a:avLst/>
          </a:prstGeom>
          <a:solidFill>
            <a:srgbClr val="33993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pic>
        <p:nvPicPr>
          <p:cNvPr id="3" name="Picture 2" descr="A close up of a sign&#10;&#10;Description generated with high confidence">
            <a:extLst>
              <a:ext uri="{FF2B5EF4-FFF2-40B4-BE49-F238E27FC236}">
                <a16:creationId xmlns:a16="http://schemas.microsoft.com/office/drawing/2014/main" id="{707CF559-A3D7-4C0A-B824-E1E104BBBCF2}"/>
              </a:ext>
            </a:extLst>
          </p:cNvPr>
          <p:cNvPicPr>
            <a:picLocks noChangeAspect="1"/>
          </p:cNvPicPr>
          <p:nvPr userDrawn="1"/>
        </p:nvPicPr>
        <p:blipFill>
          <a:blip r:embed="rId3"/>
          <a:stretch>
            <a:fillRect/>
          </a:stretch>
        </p:blipFill>
        <p:spPr>
          <a:xfrm>
            <a:off x="10401191" y="6112970"/>
            <a:ext cx="1655896" cy="627586"/>
          </a:xfrm>
          <a:prstGeom prst="rect">
            <a:avLst/>
          </a:prstGeom>
        </p:spPr>
      </p:pic>
    </p:spTree>
    <p:extLst>
      <p:ext uri="{BB962C8B-B14F-4D97-AF65-F5344CB8AC3E}">
        <p14:creationId xmlns:p14="http://schemas.microsoft.com/office/powerpoint/2010/main" val="55897591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70417444"/>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701909508"/>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689046500"/>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659651665"/>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075916710"/>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966793669"/>
      </p:ext>
    </p:extLst>
  </p:cSld>
  <p:clrMapOvr>
    <a:masterClrMapping/>
  </p:clrMapOvr>
  <p:transition>
    <p:fade/>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25902786"/>
      </p:ext>
    </p:extLst>
  </p:cSld>
  <p:clrMapOvr>
    <a:masterClrMapping/>
  </p:clrMapOvr>
  <p:transition>
    <p:fade/>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533180449"/>
      </p:ext>
    </p:extLst>
  </p:cSld>
  <p:clrMapOvr>
    <a:masterClrMapping/>
  </p:clrMapOvr>
  <p:transition>
    <p:fade/>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649465491"/>
      </p:ext>
    </p:extLst>
  </p:cSld>
  <p:clrMapOvr>
    <a:masterClrMapping/>
  </p:clrMapOvr>
  <p:transition>
    <p:fade/>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807194849"/>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408571461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242851224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3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6915568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1"/>
            <a:ext cx="12192001"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6295432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16" name="Rectangle 15"/>
          <p:cNvSpPr/>
          <p:nvPr userDrawn="1"/>
        </p:nvSpPr>
        <p:spPr>
          <a:xfrm rot="10800000" flipH="1">
            <a:off x="0" y="2084186"/>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7314725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9" name="Rectangle 8"/>
          <p:cNvSpPr/>
          <p:nvPr userDrawn="1"/>
        </p:nvSpPr>
        <p:spPr>
          <a:xfrm rot="10800000" flipH="1" flipV="1">
            <a:off x="0" y="0"/>
            <a:ext cx="11653773" cy="7642748"/>
          </a:xfrm>
          <a:prstGeom prst="rect">
            <a:avLst/>
          </a:prstGeom>
          <a:gradFill flip="none" rotWithShape="1">
            <a:gsLst>
              <a:gs pos="0">
                <a:schemeClr val="bg1">
                  <a:alpha val="22000"/>
                </a:schemeClr>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10239049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4004"/>
            <a:ext cx="12192000" cy="6892004"/>
          </a:xfrm>
          <a:prstGeom prst="rect">
            <a:avLst/>
          </a:prstGeom>
        </p:spPr>
      </p:pic>
      <p:sp>
        <p:nvSpPr>
          <p:cNvPr id="20" name="Rectangle 19"/>
          <p:cNvSpPr/>
          <p:nvPr userDrawn="1"/>
        </p:nvSpPr>
        <p:spPr>
          <a:xfrm rot="10800000" flipH="1">
            <a:off x="0" y="2084186"/>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7825332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6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4004"/>
            <a:ext cx="12192000" cy="6892004"/>
          </a:xfrm>
          <a:prstGeom prst="rect">
            <a:avLst/>
          </a:prstGeom>
        </p:spPr>
      </p:pic>
      <p:sp>
        <p:nvSpPr>
          <p:cNvPr id="12" name="Rectangle 11"/>
          <p:cNvSpPr/>
          <p:nvPr userDrawn="1"/>
        </p:nvSpPr>
        <p:spPr>
          <a:xfrm rot="10800000" flipH="1" flipV="1">
            <a:off x="0" y="0"/>
            <a:ext cx="12819112" cy="7642748"/>
          </a:xfrm>
          <a:prstGeom prst="rect">
            <a:avLst/>
          </a:prstGeom>
          <a:gradFill>
            <a:gsLst>
              <a:gs pos="0">
                <a:schemeClr val="tx1"/>
              </a:gs>
              <a:gs pos="28000">
                <a:schemeClr val="tx1">
                  <a:alpha val="0"/>
                </a:schemeClr>
              </a:gs>
            </a:gsLst>
            <a:lin ang="438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06839094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t="-496"/>
          <a:stretch/>
        </p:blipFill>
        <p:spPr>
          <a:xfrm flipH="1">
            <a:off x="-2" y="-34004"/>
            <a:ext cx="12192001"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65905899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1_Contents slide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CF074AD-5A0D-40B4-813D-34862D7DF200}"/>
              </a:ext>
            </a:extLst>
          </p:cNvPr>
          <p:cNvSpPr/>
          <p:nvPr userDrawn="1"/>
        </p:nvSpPr>
        <p:spPr>
          <a:xfrm>
            <a:off x="0" y="-1"/>
            <a:ext cx="12192000" cy="91440"/>
          </a:xfrm>
          <a:prstGeom prst="rect">
            <a:avLst/>
          </a:pr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ext Placeholder 9"/>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4400" b="0" baseline="0">
                <a:solidFill>
                  <a:schemeClr val="tx1"/>
                </a:solidFill>
                <a:latin typeface="+mj-lt"/>
                <a:cs typeface="Arial" pitchFamily="34" charset="0"/>
              </a:defRPr>
            </a:lvl1pPr>
          </a:lstStyle>
          <a:p>
            <a:pPr lvl="0"/>
            <a:r>
              <a:rPr lang="en-US" altLang="ko-KR" dirty="0"/>
              <a:t>BASIC LAYOUT</a:t>
            </a:r>
          </a:p>
        </p:txBody>
      </p:sp>
      <p:sp>
        <p:nvSpPr>
          <p:cNvPr id="9" name="Rectangle 8">
            <a:extLst>
              <a:ext uri="{FF2B5EF4-FFF2-40B4-BE49-F238E27FC236}">
                <a16:creationId xmlns:a16="http://schemas.microsoft.com/office/drawing/2014/main" id="{136F6D66-F2F9-4BF4-99F9-B1BA1142497F}"/>
              </a:ext>
            </a:extLst>
          </p:cNvPr>
          <p:cNvSpPr/>
          <p:nvPr userDrawn="1"/>
        </p:nvSpPr>
        <p:spPr>
          <a:xfrm>
            <a:off x="0" y="6792686"/>
            <a:ext cx="12192000" cy="653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Slide Number Placeholder 1">
            <a:extLst>
              <a:ext uri="{FF2B5EF4-FFF2-40B4-BE49-F238E27FC236}">
                <a16:creationId xmlns:a16="http://schemas.microsoft.com/office/drawing/2014/main" id="{5C68335E-4DFE-4234-8AA9-CB65EED47F3E}"/>
              </a:ext>
            </a:extLst>
          </p:cNvPr>
          <p:cNvSpPr>
            <a:spLocks noGrp="1"/>
          </p:cNvSpPr>
          <p:nvPr>
            <p:ph type="sldNum" sz="quarter" idx="4"/>
          </p:nvPr>
        </p:nvSpPr>
        <p:spPr>
          <a:xfrm>
            <a:off x="9280508" y="6520009"/>
            <a:ext cx="2901950" cy="371475"/>
          </a:xfrm>
          <a:prstGeom prst="rect">
            <a:avLst/>
          </a:prstGeom>
        </p:spPr>
        <p:txBody>
          <a:bodyPr/>
          <a:lstStyle>
            <a:lvl1pPr algn="r">
              <a:defRPr sz="1200">
                <a:solidFill>
                  <a:schemeClr val="tx1">
                    <a:lumMod val="50000"/>
                    <a:lumOff val="50000"/>
                  </a:schemeClr>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46924544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362" y="-34004"/>
            <a:ext cx="12191999"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139120860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76104442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82263128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11772143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1663661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74566865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4656775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00685588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942086607"/>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811954583"/>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Contents slide layout">
    <p:spTree>
      <p:nvGrpSpPr>
        <p:cNvPr id="1" name=""/>
        <p:cNvGrpSpPr/>
        <p:nvPr/>
      </p:nvGrpSpPr>
      <p:grpSpPr>
        <a:xfrm>
          <a:off x="0" y="0"/>
          <a:ext cx="0" cy="0"/>
          <a:chOff x="0" y="0"/>
          <a:chExt cx="0" cy="0"/>
        </a:xfrm>
      </p:grpSpPr>
      <p:sp>
        <p:nvSpPr>
          <p:cNvPr id="2" name="Text Placeholder 9"/>
          <p:cNvSpPr>
            <a:spLocks noGrp="1"/>
          </p:cNvSpPr>
          <p:nvPr>
            <p:ph type="body" sz="quarter" idx="10" hasCustomPrompt="1"/>
          </p:nvPr>
        </p:nvSpPr>
        <p:spPr>
          <a:xfrm>
            <a:off x="323529" y="339509"/>
            <a:ext cx="11573197" cy="724247"/>
          </a:xfrm>
          <a:prstGeom prst="rect">
            <a:avLst/>
          </a:prstGeom>
        </p:spPr>
        <p:txBody>
          <a:bodyPr anchor="ctr"/>
          <a:lstStyle>
            <a:lvl1pPr marL="0" indent="0" algn="ctr">
              <a:buNone/>
              <a:defRPr sz="4400" b="0" baseline="0">
                <a:solidFill>
                  <a:schemeClr val="tx1"/>
                </a:solidFill>
                <a:latin typeface="+mj-lt"/>
                <a:cs typeface="Arial" pitchFamily="34" charset="0"/>
              </a:defRPr>
            </a:lvl1pPr>
          </a:lstStyle>
          <a:p>
            <a:pPr lvl="0"/>
            <a:r>
              <a:rPr lang="en-US" altLang="ko-KR" dirty="0"/>
              <a:t>BASIC LAYOUT</a:t>
            </a:r>
          </a:p>
        </p:txBody>
      </p:sp>
      <p:sp>
        <p:nvSpPr>
          <p:cNvPr id="5" name="Slide Number Placeholder 1">
            <a:extLst>
              <a:ext uri="{FF2B5EF4-FFF2-40B4-BE49-F238E27FC236}">
                <a16:creationId xmlns:a16="http://schemas.microsoft.com/office/drawing/2014/main" id="{5C68335E-4DFE-4234-8AA9-CB65EED47F3E}"/>
              </a:ext>
            </a:extLst>
          </p:cNvPr>
          <p:cNvSpPr>
            <a:spLocks noGrp="1"/>
          </p:cNvSpPr>
          <p:nvPr>
            <p:ph type="sldNum" sz="quarter" idx="4"/>
          </p:nvPr>
        </p:nvSpPr>
        <p:spPr>
          <a:xfrm>
            <a:off x="9280508" y="6520009"/>
            <a:ext cx="2901950" cy="371475"/>
          </a:xfrm>
          <a:prstGeom prst="rect">
            <a:avLst/>
          </a:prstGeom>
        </p:spPr>
        <p:txBody>
          <a:bodyPr/>
          <a:lstStyle>
            <a:lvl1pPr algn="r">
              <a:defRPr sz="1200">
                <a:solidFill>
                  <a:schemeClr val="tx1">
                    <a:lumMod val="50000"/>
                    <a:lumOff val="50000"/>
                  </a:schemeClr>
                </a:solidFill>
              </a:defRPr>
            </a:lvl1pPr>
          </a:lstStyle>
          <a:p>
            <a:fld id="{7EFC24D6-DB8F-6B44-BA5A-9BEC68C15CAA}" type="slidenum">
              <a:rPr lang="en-US" smtClean="0"/>
              <a:pPr/>
              <a:t>‹#›</a:t>
            </a:fld>
            <a:endParaRPr lang="en-US" dirty="0"/>
          </a:p>
        </p:txBody>
      </p:sp>
      <p:pic>
        <p:nvPicPr>
          <p:cNvPr id="4" name="Picture 3">
            <a:extLst>
              <a:ext uri="{FF2B5EF4-FFF2-40B4-BE49-F238E27FC236}">
                <a16:creationId xmlns:a16="http://schemas.microsoft.com/office/drawing/2014/main" id="{1004B5CB-064D-448B-ADFE-AD9E0CEBF2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326477" y="1880786"/>
            <a:ext cx="3403839" cy="1911096"/>
          </a:xfrm>
          <a:prstGeom prst="rect">
            <a:avLst/>
          </a:prstGeom>
        </p:spPr>
      </p:pic>
      <p:pic>
        <p:nvPicPr>
          <p:cNvPr id="7" name="Picture 6">
            <a:extLst>
              <a:ext uri="{FF2B5EF4-FFF2-40B4-BE49-F238E27FC236}">
                <a16:creationId xmlns:a16="http://schemas.microsoft.com/office/drawing/2014/main" id="{24A002D3-877E-467C-8162-B755ED5CB44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6730316" y="1880786"/>
            <a:ext cx="3403840" cy="1911096"/>
          </a:xfrm>
          <a:prstGeom prst="rect">
            <a:avLst/>
          </a:prstGeom>
        </p:spPr>
      </p:pic>
      <p:pic>
        <p:nvPicPr>
          <p:cNvPr id="11" name="Picture 10">
            <a:extLst>
              <a:ext uri="{FF2B5EF4-FFF2-40B4-BE49-F238E27FC236}">
                <a16:creationId xmlns:a16="http://schemas.microsoft.com/office/drawing/2014/main" id="{213A729A-1884-4EF4-A972-7D63B4A2240D}"/>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320366" y="3791882"/>
            <a:ext cx="3409950" cy="1914525"/>
          </a:xfrm>
          <a:prstGeom prst="rect">
            <a:avLst/>
          </a:prstGeom>
        </p:spPr>
      </p:pic>
      <p:pic>
        <p:nvPicPr>
          <p:cNvPr id="13" name="Picture 12">
            <a:extLst>
              <a:ext uri="{FF2B5EF4-FFF2-40B4-BE49-F238E27FC236}">
                <a16:creationId xmlns:a16="http://schemas.microsoft.com/office/drawing/2014/main" id="{63F5613B-5F7F-4843-A7AC-D6C82E60BA1C}"/>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6724206" y="3791881"/>
            <a:ext cx="3409950" cy="1914525"/>
          </a:xfrm>
          <a:prstGeom prst="rect">
            <a:avLst/>
          </a:prstGeom>
        </p:spPr>
      </p:pic>
    </p:spTree>
    <p:extLst>
      <p:ext uri="{BB962C8B-B14F-4D97-AF65-F5344CB8AC3E}">
        <p14:creationId xmlns:p14="http://schemas.microsoft.com/office/powerpoint/2010/main" val="38958148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427625718"/>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41538729"/>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0723681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740242450"/>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674972337"/>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4219161101"/>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90402603"/>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34649365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40216811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00BCF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00BCF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56057110"/>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Image slide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9366219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656604294"/>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33338072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solidFill>
                  <a:srgbClr val="00BCF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solidFill>
                  <a:srgbClr val="00BCF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241170162"/>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491BE572-BFBC-4AB0-AD5F-068ADF6E8832}"/>
              </a:ext>
            </a:extLst>
          </p:cNvPr>
          <p:cNvSpPr>
            <a:spLocks noGrp="1"/>
          </p:cNvSpPr>
          <p:nvPr>
            <p:ph type="body" sz="quarter" idx="10" hasCustomPrompt="1"/>
          </p:nvPr>
        </p:nvSpPr>
        <p:spPr>
          <a:xfrm>
            <a:off x="323529" y="304601"/>
            <a:ext cx="11573197" cy="794064"/>
          </a:xfrm>
          <a:prstGeom prst="rect">
            <a:avLst/>
          </a:prstGeom>
        </p:spPr>
        <p:txBody>
          <a:bodyPr anchor="ctr"/>
          <a:lstStyle>
            <a:lvl1pPr marL="0" indent="0" algn="ctr">
              <a:buNone/>
              <a:defRPr sz="4400" b="0" baseline="0">
                <a:solidFill>
                  <a:schemeClr val="bg1"/>
                </a:solidFill>
                <a:latin typeface="Arial" panose="020B0604020202020204" pitchFamily="34" charset="0"/>
                <a:cs typeface="Arial" pitchFamily="34" charset="0"/>
              </a:defRPr>
            </a:lvl1pPr>
          </a:lstStyle>
          <a:p>
            <a:pPr lvl="0"/>
            <a:r>
              <a:rPr lang="en-US" altLang="ko-KR" dirty="0"/>
              <a:t>BASIC LAYOUT</a:t>
            </a:r>
          </a:p>
        </p:txBody>
      </p:sp>
      <p:sp>
        <p:nvSpPr>
          <p:cNvPr id="8" name="Rectangle 7">
            <a:extLst>
              <a:ext uri="{FF2B5EF4-FFF2-40B4-BE49-F238E27FC236}">
                <a16:creationId xmlns:a16="http://schemas.microsoft.com/office/drawing/2014/main" id="{399BF104-EC94-404E-8BDE-DEDCA22CDF8E}"/>
              </a:ext>
            </a:extLst>
          </p:cNvPr>
          <p:cNvSpPr/>
          <p:nvPr userDrawn="1"/>
        </p:nvSpPr>
        <p:spPr>
          <a:xfrm>
            <a:off x="0" y="-1"/>
            <a:ext cx="12192000" cy="91440"/>
          </a:xfrm>
          <a:prstGeom prst="rect">
            <a:avLst/>
          </a:pr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DCD6B62-BF8A-4878-A555-C78F6ABF114E}"/>
              </a:ext>
            </a:extLst>
          </p:cNvPr>
          <p:cNvSpPr/>
          <p:nvPr userDrawn="1"/>
        </p:nvSpPr>
        <p:spPr>
          <a:xfrm>
            <a:off x="0" y="6792686"/>
            <a:ext cx="12192000" cy="65314"/>
          </a:xfrm>
          <a:prstGeom prst="rect">
            <a:avLst/>
          </a:pr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Number Placeholder 1">
            <a:extLst>
              <a:ext uri="{FF2B5EF4-FFF2-40B4-BE49-F238E27FC236}">
                <a16:creationId xmlns:a16="http://schemas.microsoft.com/office/drawing/2014/main" id="{AFB2D5C7-7C82-49E4-9719-2A7B1F92688E}"/>
              </a:ext>
            </a:extLst>
          </p:cNvPr>
          <p:cNvSpPr>
            <a:spLocks noGrp="1"/>
          </p:cNvSpPr>
          <p:nvPr>
            <p:ph type="sldNum" sz="quarter" idx="4"/>
          </p:nvPr>
        </p:nvSpPr>
        <p:spPr>
          <a:xfrm>
            <a:off x="9290050" y="6486525"/>
            <a:ext cx="2901950" cy="371475"/>
          </a:xfrm>
          <a:prstGeom prst="rect">
            <a:avLst/>
          </a:prstGeom>
        </p:spPr>
        <p:txBody>
          <a:bodyPr/>
          <a:lstStyle>
            <a:lvl1pPr algn="r">
              <a:defRPr sz="1200">
                <a:solidFill>
                  <a:schemeClr val="bg1">
                    <a:lumMod val="50000"/>
                    <a:lumOff val="50000"/>
                  </a:schemeClr>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965335726"/>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775405544"/>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Blank">
    <p:bg>
      <p:bgPr>
        <a:solidFill>
          <a:schemeClr val="accent1"/>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224282556"/>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4"/>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034905413"/>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tx2"/>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315872541"/>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Blank Accent Color 2">
    <p:bg>
      <p:bgPr>
        <a:solidFill>
          <a:schemeClr val="accent5"/>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347596650"/>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_Blank Accent Color 2">
    <p:bg>
      <p:bgPr>
        <a:solidFill>
          <a:schemeClr val="accent2"/>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61055707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2"/>
          <p:cNvSpPr>
            <a:spLocks noGrp="1"/>
          </p:cNvSpPr>
          <p:nvPr>
            <p:ph type="title"/>
          </p:nvPr>
        </p:nvSpPr>
        <p:spPr>
          <a:xfrm>
            <a:off x="143339" y="0"/>
            <a:ext cx="12048661" cy="1179288"/>
          </a:xfrm>
          <a:prstGeom prst="rect">
            <a:avLst/>
          </a:prstGeom>
        </p:spPr>
        <p:txBody>
          <a:bodyPr anchor="ctr"/>
          <a:lstStyle>
            <a:lvl1pPr algn="l">
              <a:defRPr sz="4800" b="1">
                <a:solidFill>
                  <a:schemeClr val="tx1">
                    <a:lumMod val="75000"/>
                    <a:lumOff val="25000"/>
                  </a:schemeClr>
                </a:solidFill>
                <a:latin typeface="+mj-lt"/>
                <a:cs typeface="Arial" pitchFamily="34" charset="0"/>
              </a:defRPr>
            </a:lvl1pPr>
          </a:lstStyle>
          <a:p>
            <a:r>
              <a:rPr lang="en-US" dirty="0"/>
              <a:t> </a:t>
            </a:r>
            <a:r>
              <a:rPr lang="en-US" altLang="ko-KR" dirty="0"/>
              <a:t>Free PPT _ Click to add title</a:t>
            </a:r>
            <a:endParaRPr lang="en-US" dirty="0"/>
          </a:p>
        </p:txBody>
      </p:sp>
    </p:spTree>
    <p:extLst>
      <p:ext uri="{BB962C8B-B14F-4D97-AF65-F5344CB8AC3E}">
        <p14:creationId xmlns:p14="http://schemas.microsoft.com/office/powerpoint/2010/main" val="260440859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Blank Accent Color 2">
    <p:bg>
      <p:bgPr>
        <a:solidFill>
          <a:schemeClr val="accent3"/>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384425499"/>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6"/>
        </a:solidFill>
        <a:effectLst/>
      </p:bgPr>
    </p:bg>
    <p:spTree>
      <p:nvGrpSpPr>
        <p:cNvPr id="1" name=""/>
        <p:cNvGrpSpPr/>
        <p:nvPr/>
      </p:nvGrpSpPr>
      <p:grpSpPr>
        <a:xfrm>
          <a:off x="0" y="0"/>
          <a:ext cx="0" cy="0"/>
          <a:chOff x="0" y="0"/>
          <a:chExt cx="0" cy="0"/>
        </a:xfrm>
      </p:grpSpPr>
      <p:sp>
        <p:nvSpPr>
          <p:cNvPr id="2"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361755828"/>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5722" tIns="45722" rIns="45722" bIns="45722" numCol="1" spcCol="0" rtlCol="0" fromWordArt="0" anchor="ctr" anchorCtr="0" forceAA="0" compatLnSpc="1">
            <a:prstTxWarp prst="textNoShape">
              <a:avLst/>
            </a:prstTxWarp>
            <a:noAutofit/>
          </a:bodyPr>
          <a:lstStyle/>
          <a:p>
            <a:pPr algn="ctr" defTabSz="914102" fontAlgn="base">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69239" y="1197322"/>
            <a:ext cx="11653522" cy="1956973"/>
          </a:xfrm>
        </p:spPr>
        <p:txBody>
          <a:bodyPr/>
          <a:lstStyle>
            <a:lvl1pPr marL="0" indent="0">
              <a:buNone/>
              <a:defRPr sz="3235">
                <a:gradFill>
                  <a:gsLst>
                    <a:gs pos="1250">
                      <a:srgbClr val="000000"/>
                    </a:gs>
                    <a:gs pos="100000">
                      <a:srgbClr val="000000"/>
                    </a:gs>
                  </a:gsLst>
                  <a:lin ang="5400000" scaled="0"/>
                </a:gradFill>
                <a:latin typeface="Segoe UI" pitchFamily="34" charset="0"/>
                <a:cs typeface="Segoe UI" pitchFamily="34" charset="0"/>
              </a:defRPr>
            </a:lvl1pPr>
            <a:lvl2pPr marL="339726" indent="0">
              <a:buNone/>
              <a:defRPr>
                <a:gradFill>
                  <a:gsLst>
                    <a:gs pos="1250">
                      <a:srgbClr val="000000"/>
                    </a:gs>
                    <a:gs pos="100000">
                      <a:srgbClr val="000000"/>
                    </a:gs>
                  </a:gsLst>
                  <a:lin ang="5400000" scaled="0"/>
                </a:gradFill>
                <a:latin typeface="Segoe UI" pitchFamily="34" charset="0"/>
                <a:cs typeface="Segoe UI" pitchFamily="34" charset="0"/>
              </a:defRPr>
            </a:lvl2pPr>
            <a:lvl3pPr marL="573090" indent="0">
              <a:buNone/>
              <a:defRPr>
                <a:gradFill>
                  <a:gsLst>
                    <a:gs pos="1250">
                      <a:srgbClr val="000000"/>
                    </a:gs>
                    <a:gs pos="100000">
                      <a:srgbClr val="000000"/>
                    </a:gs>
                  </a:gsLst>
                  <a:lin ang="5400000" scaled="0"/>
                </a:gradFill>
                <a:latin typeface="Segoe UI" pitchFamily="34" charset="0"/>
                <a:cs typeface="Segoe UI" pitchFamily="34" charset="0"/>
              </a:defRPr>
            </a:lvl3pPr>
            <a:lvl4pPr marL="798516" indent="0">
              <a:buNone/>
              <a:defRPr>
                <a:gradFill>
                  <a:gsLst>
                    <a:gs pos="1250">
                      <a:srgbClr val="000000"/>
                    </a:gs>
                    <a:gs pos="100000">
                      <a:srgbClr val="000000"/>
                    </a:gs>
                  </a:gsLst>
                  <a:lin ang="5400000" scaled="0"/>
                </a:gradFill>
                <a:latin typeface="Segoe UI" pitchFamily="34" charset="0"/>
                <a:cs typeface="Segoe UI" pitchFamily="34" charset="0"/>
              </a:defRPr>
            </a:lvl4pPr>
            <a:lvl5pPr marL="1030292" indent="0">
              <a:buNone/>
              <a:defRPr>
                <a:gradFill>
                  <a:gsLst>
                    <a:gs pos="1250">
                      <a:srgbClr val="000000"/>
                    </a:gs>
                    <a:gs pos="100000">
                      <a:srgbClr val="000000"/>
                    </a:gs>
                  </a:gsLst>
                  <a:lin ang="5400000" scaled="0"/>
                </a:gradFill>
                <a:latin typeface="Segoe UI" pitchFamily="34" charset="0"/>
                <a:cs typeface="Segoe UI"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091870952"/>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chemeClr val="bg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39" y="1189177"/>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1"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809210257"/>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37">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908416793"/>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37">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08479729"/>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21" name="Picture 20">
            <a:extLst>
              <a:ext uri="{FF2B5EF4-FFF2-40B4-BE49-F238E27FC236}">
                <a16:creationId xmlns:a16="http://schemas.microsoft.com/office/drawing/2014/main" id="{B494D4A5-F03E-4980-A019-AA27194815FC}"/>
              </a:ext>
            </a:extLst>
          </p:cNvPr>
          <p:cNvPicPr>
            <a:picLocks noChangeAspect="1"/>
          </p:cNvPicPr>
          <p:nvPr userDrawn="1"/>
        </p:nvPicPr>
        <p:blipFill rotWithShape="1">
          <a:blip r:embed="rId4">
            <a:duotone>
              <a:schemeClr val="bg2">
                <a:shade val="45000"/>
                <a:satMod val="135000"/>
              </a:schemeClr>
              <a:prstClr val="white"/>
            </a:duotone>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val="0"/>
              </a:ext>
            </a:extLst>
          </a:blip>
          <a:srcRect t="184" b="184"/>
          <a:stretch/>
        </p:blipFill>
        <p:spPr>
          <a:xfrm>
            <a:off x="-1" y="0"/>
            <a:ext cx="12192001" cy="6858000"/>
          </a:xfrm>
          <a:prstGeom prst="rect">
            <a:avLst/>
          </a:prstGeom>
        </p:spPr>
      </p:pic>
      <p:graphicFrame>
        <p:nvGraphicFramePr>
          <p:cNvPr id="3" name="Object 2" hidden="1"/>
          <p:cNvGraphicFramePr>
            <a:graphicFrameLocks noChangeAspect="1"/>
          </p:cNvGraphicFramePr>
          <p:nvPr userDrawn="1">
            <p:custDataLst>
              <p:tags r:id="rId2"/>
            </p:custData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spid="_x0000_s2094"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2162" y="1623"/>
                        <a:ext cx="2159" cy="1619"/>
                      </a:xfrm>
                      <a:prstGeom prst="rect">
                        <a:avLst/>
                      </a:prstGeom>
                    </p:spPr>
                  </p:pic>
                </p:oleObj>
              </mc:Fallback>
            </mc:AlternateContent>
          </a:graphicData>
        </a:graphic>
      </p:graphicFrame>
      <p:sp>
        <p:nvSpPr>
          <p:cNvPr id="57" name="Document type" hidden="1"/>
          <p:cNvSpPr txBox="1">
            <a:spLocks noChangeArrowheads="1"/>
          </p:cNvSpPr>
          <p:nvPr userDrawn="1"/>
        </p:nvSpPr>
        <p:spPr bwMode="auto">
          <a:xfrm>
            <a:off x="595162" y="1858542"/>
            <a:ext cx="6908955"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t">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0" baseline="0" dirty="0">
                <a:solidFill>
                  <a:schemeClr val="tx1"/>
                </a:solidFill>
                <a:latin typeface="+mn-lt"/>
              </a:rPr>
              <a:t>Document type | Date</a:t>
            </a:r>
          </a:p>
        </p:txBody>
      </p:sp>
      <p:sp>
        <p:nvSpPr>
          <p:cNvPr id="45" name="Freeform: Shape 44">
            <a:extLst>
              <a:ext uri="{FF2B5EF4-FFF2-40B4-BE49-F238E27FC236}">
                <a16:creationId xmlns:a16="http://schemas.microsoft.com/office/drawing/2014/main" id="{7C010C59-D0F4-4FE8-88B7-4FF5E14B067C}"/>
              </a:ext>
            </a:extLst>
          </p:cNvPr>
          <p:cNvSpPr/>
          <p:nvPr userDrawn="1"/>
        </p:nvSpPr>
        <p:spPr>
          <a:xfrm>
            <a:off x="0" y="0"/>
            <a:ext cx="12192000" cy="6858000"/>
          </a:xfrm>
          <a:custGeom>
            <a:avLst/>
            <a:gdLst>
              <a:gd name="connsiteX0" fmla="*/ 1429139 w 12192000"/>
              <a:gd name="connsiteY0" fmla="*/ 6161467 h 6858000"/>
              <a:gd name="connsiteX1" fmla="*/ 1102568 w 12192000"/>
              <a:gd name="connsiteY1" fmla="*/ 6488038 h 6858000"/>
              <a:gd name="connsiteX2" fmla="*/ 1429139 w 12192000"/>
              <a:gd name="connsiteY2" fmla="*/ 6814609 h 6858000"/>
              <a:gd name="connsiteX3" fmla="*/ 1755710 w 12192000"/>
              <a:gd name="connsiteY3" fmla="*/ 6488038 h 6858000"/>
              <a:gd name="connsiteX4" fmla="*/ 1429139 w 12192000"/>
              <a:gd name="connsiteY4" fmla="*/ 6161467 h 6858000"/>
              <a:gd name="connsiteX5" fmla="*/ 8162314 w 12192000"/>
              <a:gd name="connsiteY5" fmla="*/ 5649061 h 6858000"/>
              <a:gd name="connsiteX6" fmla="*/ 8036905 w 12192000"/>
              <a:gd name="connsiteY6" fmla="*/ 5701007 h 6858000"/>
              <a:gd name="connsiteX7" fmla="*/ 7335995 w 12192000"/>
              <a:gd name="connsiteY7" fmla="*/ 6401917 h 6858000"/>
              <a:gd name="connsiteX8" fmla="*/ 7335995 w 12192000"/>
              <a:gd name="connsiteY8" fmla="*/ 6652735 h 6858000"/>
              <a:gd name="connsiteX9" fmla="*/ 7357954 w 12192000"/>
              <a:gd name="connsiteY9" fmla="*/ 6674694 h 6858000"/>
              <a:gd name="connsiteX10" fmla="*/ 7608772 w 12192000"/>
              <a:gd name="connsiteY10" fmla="*/ 6674694 h 6858000"/>
              <a:gd name="connsiteX11" fmla="*/ 8309682 w 12192000"/>
              <a:gd name="connsiteY11" fmla="*/ 5973784 h 6858000"/>
              <a:gd name="connsiteX12" fmla="*/ 8309682 w 12192000"/>
              <a:gd name="connsiteY12" fmla="*/ 5722966 h 6858000"/>
              <a:gd name="connsiteX13" fmla="*/ 8287723 w 12192000"/>
              <a:gd name="connsiteY13" fmla="*/ 5701007 h 6858000"/>
              <a:gd name="connsiteX14" fmla="*/ 8162314 w 12192000"/>
              <a:gd name="connsiteY14" fmla="*/ 5649061 h 6858000"/>
              <a:gd name="connsiteX15" fmla="*/ 899628 w 12192000"/>
              <a:gd name="connsiteY15" fmla="*/ 5446562 h 6858000"/>
              <a:gd name="connsiteX16" fmla="*/ 573057 w 12192000"/>
              <a:gd name="connsiteY16" fmla="*/ 5773133 h 6858000"/>
              <a:gd name="connsiteX17" fmla="*/ 899628 w 12192000"/>
              <a:gd name="connsiteY17" fmla="*/ 6099704 h 6858000"/>
              <a:gd name="connsiteX18" fmla="*/ 1226199 w 12192000"/>
              <a:gd name="connsiteY18" fmla="*/ 5773133 h 6858000"/>
              <a:gd name="connsiteX19" fmla="*/ 899628 w 12192000"/>
              <a:gd name="connsiteY19" fmla="*/ 5446562 h 6858000"/>
              <a:gd name="connsiteX20" fmla="*/ 370117 w 12192000"/>
              <a:gd name="connsiteY20" fmla="*/ 4731656 h 6858000"/>
              <a:gd name="connsiteX21" fmla="*/ 43547 w 12192000"/>
              <a:gd name="connsiteY21" fmla="*/ 5058227 h 6858000"/>
              <a:gd name="connsiteX22" fmla="*/ 370117 w 12192000"/>
              <a:gd name="connsiteY22" fmla="*/ 5384798 h 6858000"/>
              <a:gd name="connsiteX23" fmla="*/ 696689 w 12192000"/>
              <a:gd name="connsiteY23" fmla="*/ 5058227 h 6858000"/>
              <a:gd name="connsiteX24" fmla="*/ 370117 w 12192000"/>
              <a:gd name="connsiteY24" fmla="*/ 4731656 h 6858000"/>
              <a:gd name="connsiteX25" fmla="*/ 8139025 w 12192000"/>
              <a:gd name="connsiteY25" fmla="*/ 4569563 h 6858000"/>
              <a:gd name="connsiteX26" fmla="*/ 8013616 w 12192000"/>
              <a:gd name="connsiteY26" fmla="*/ 4621508 h 6858000"/>
              <a:gd name="connsiteX27" fmla="*/ 6236292 w 12192000"/>
              <a:gd name="connsiteY27" fmla="*/ 6398833 h 6858000"/>
              <a:gd name="connsiteX28" fmla="*/ 6236292 w 12192000"/>
              <a:gd name="connsiteY28" fmla="*/ 6649651 h 6858000"/>
              <a:gd name="connsiteX29" fmla="*/ 6258251 w 12192000"/>
              <a:gd name="connsiteY29" fmla="*/ 6671610 h 6858000"/>
              <a:gd name="connsiteX30" fmla="*/ 6509069 w 12192000"/>
              <a:gd name="connsiteY30" fmla="*/ 6671610 h 6858000"/>
              <a:gd name="connsiteX31" fmla="*/ 8286393 w 12192000"/>
              <a:gd name="connsiteY31" fmla="*/ 4894285 h 6858000"/>
              <a:gd name="connsiteX32" fmla="*/ 8286393 w 12192000"/>
              <a:gd name="connsiteY32" fmla="*/ 4643467 h 6858000"/>
              <a:gd name="connsiteX33" fmla="*/ 8264434 w 12192000"/>
              <a:gd name="connsiteY33" fmla="*/ 4621508 h 6858000"/>
              <a:gd name="connsiteX34" fmla="*/ 8139025 w 12192000"/>
              <a:gd name="connsiteY34" fmla="*/ 4569563 h 6858000"/>
              <a:gd name="connsiteX35" fmla="*/ 7618325 w 12192000"/>
              <a:gd name="connsiteY35" fmla="*/ 3939483 h 6858000"/>
              <a:gd name="connsiteX36" fmla="*/ 7492916 w 12192000"/>
              <a:gd name="connsiteY36" fmla="*/ 3991429 h 6858000"/>
              <a:gd name="connsiteX37" fmla="*/ 5016683 w 12192000"/>
              <a:gd name="connsiteY37" fmla="*/ 6467663 h 6858000"/>
              <a:gd name="connsiteX38" fmla="*/ 5016683 w 12192000"/>
              <a:gd name="connsiteY38" fmla="*/ 6718481 h 6858000"/>
              <a:gd name="connsiteX39" fmla="*/ 5038642 w 12192000"/>
              <a:gd name="connsiteY39" fmla="*/ 6740440 h 6858000"/>
              <a:gd name="connsiteX40" fmla="*/ 5289460 w 12192000"/>
              <a:gd name="connsiteY40" fmla="*/ 6740440 h 6858000"/>
              <a:gd name="connsiteX41" fmla="*/ 7765693 w 12192000"/>
              <a:gd name="connsiteY41" fmla="*/ 4264206 h 6858000"/>
              <a:gd name="connsiteX42" fmla="*/ 7765693 w 12192000"/>
              <a:gd name="connsiteY42" fmla="*/ 4013388 h 6858000"/>
              <a:gd name="connsiteX43" fmla="*/ 7743734 w 12192000"/>
              <a:gd name="connsiteY43" fmla="*/ 3991429 h 6858000"/>
              <a:gd name="connsiteX44" fmla="*/ 7618325 w 12192000"/>
              <a:gd name="connsiteY44" fmla="*/ 3939483 h 6858000"/>
              <a:gd name="connsiteX45" fmla="*/ 10089754 w 12192000"/>
              <a:gd name="connsiteY45" fmla="*/ 3704146 h 6858000"/>
              <a:gd name="connsiteX46" fmla="*/ 9964345 w 12192000"/>
              <a:gd name="connsiteY46" fmla="*/ 3756091 h 6858000"/>
              <a:gd name="connsiteX47" fmla="*/ 8460165 w 12192000"/>
              <a:gd name="connsiteY47" fmla="*/ 5260272 h 6858000"/>
              <a:gd name="connsiteX48" fmla="*/ 8460165 w 12192000"/>
              <a:gd name="connsiteY48" fmla="*/ 5511090 h 6858000"/>
              <a:gd name="connsiteX49" fmla="*/ 8482124 w 12192000"/>
              <a:gd name="connsiteY49" fmla="*/ 5533049 h 6858000"/>
              <a:gd name="connsiteX50" fmla="*/ 8732942 w 12192000"/>
              <a:gd name="connsiteY50" fmla="*/ 5533049 h 6858000"/>
              <a:gd name="connsiteX51" fmla="*/ 10237122 w 12192000"/>
              <a:gd name="connsiteY51" fmla="*/ 4028868 h 6858000"/>
              <a:gd name="connsiteX52" fmla="*/ 10237122 w 12192000"/>
              <a:gd name="connsiteY52" fmla="*/ 3778051 h 6858000"/>
              <a:gd name="connsiteX53" fmla="*/ 10215163 w 12192000"/>
              <a:gd name="connsiteY53" fmla="*/ 3756091 h 6858000"/>
              <a:gd name="connsiteX54" fmla="*/ 10089754 w 12192000"/>
              <a:gd name="connsiteY54" fmla="*/ 3704146 h 6858000"/>
              <a:gd name="connsiteX55" fmla="*/ 10041065 w 12192000"/>
              <a:gd name="connsiteY55" fmla="*/ 2624647 h 6858000"/>
              <a:gd name="connsiteX56" fmla="*/ 9915656 w 12192000"/>
              <a:gd name="connsiteY56" fmla="*/ 2676593 h 6858000"/>
              <a:gd name="connsiteX57" fmla="*/ 8411476 w 12192000"/>
              <a:gd name="connsiteY57" fmla="*/ 4180773 h 6858000"/>
              <a:gd name="connsiteX58" fmla="*/ 8411476 w 12192000"/>
              <a:gd name="connsiteY58" fmla="*/ 4431591 h 6858000"/>
              <a:gd name="connsiteX59" fmla="*/ 8433435 w 12192000"/>
              <a:gd name="connsiteY59" fmla="*/ 4453550 h 6858000"/>
              <a:gd name="connsiteX60" fmla="*/ 8684253 w 12192000"/>
              <a:gd name="connsiteY60" fmla="*/ 4453550 h 6858000"/>
              <a:gd name="connsiteX61" fmla="*/ 10188433 w 12192000"/>
              <a:gd name="connsiteY61" fmla="*/ 2949370 h 6858000"/>
              <a:gd name="connsiteX62" fmla="*/ 10188433 w 12192000"/>
              <a:gd name="connsiteY62" fmla="*/ 2698552 h 6858000"/>
              <a:gd name="connsiteX63" fmla="*/ 10166474 w 12192000"/>
              <a:gd name="connsiteY63" fmla="*/ 2676593 h 6858000"/>
              <a:gd name="connsiteX64" fmla="*/ 10041065 w 12192000"/>
              <a:gd name="connsiteY64" fmla="*/ 2624647 h 6858000"/>
              <a:gd name="connsiteX65" fmla="*/ 9520364 w 12192000"/>
              <a:gd name="connsiteY65" fmla="*/ 1994569 h 6858000"/>
              <a:gd name="connsiteX66" fmla="*/ 9394955 w 12192000"/>
              <a:gd name="connsiteY66" fmla="*/ 2046515 h 6858000"/>
              <a:gd name="connsiteX67" fmla="*/ 7890775 w 12192000"/>
              <a:gd name="connsiteY67" fmla="*/ 3550695 h 6858000"/>
              <a:gd name="connsiteX68" fmla="*/ 7890775 w 12192000"/>
              <a:gd name="connsiteY68" fmla="*/ 3801513 h 6858000"/>
              <a:gd name="connsiteX69" fmla="*/ 7912734 w 12192000"/>
              <a:gd name="connsiteY69" fmla="*/ 3823472 h 6858000"/>
              <a:gd name="connsiteX70" fmla="*/ 8163552 w 12192000"/>
              <a:gd name="connsiteY70" fmla="*/ 3823472 h 6858000"/>
              <a:gd name="connsiteX71" fmla="*/ 9667732 w 12192000"/>
              <a:gd name="connsiteY71" fmla="*/ 2319292 h 6858000"/>
              <a:gd name="connsiteX72" fmla="*/ 9667732 w 12192000"/>
              <a:gd name="connsiteY72" fmla="*/ 2068475 h 6858000"/>
              <a:gd name="connsiteX73" fmla="*/ 9645773 w 12192000"/>
              <a:gd name="connsiteY73" fmla="*/ 2046515 h 6858000"/>
              <a:gd name="connsiteX74" fmla="*/ 9520364 w 12192000"/>
              <a:gd name="connsiteY74" fmla="*/ 1994569 h 6858000"/>
              <a:gd name="connsiteX75" fmla="*/ 11974643 w 12192000"/>
              <a:gd name="connsiteY75" fmla="*/ 1766977 h 6858000"/>
              <a:gd name="connsiteX76" fmla="*/ 11849234 w 12192000"/>
              <a:gd name="connsiteY76" fmla="*/ 1818923 h 6858000"/>
              <a:gd name="connsiteX77" fmla="*/ 10345054 w 12192000"/>
              <a:gd name="connsiteY77" fmla="*/ 3323103 h 6858000"/>
              <a:gd name="connsiteX78" fmla="*/ 10345054 w 12192000"/>
              <a:gd name="connsiteY78" fmla="*/ 3573920 h 6858000"/>
              <a:gd name="connsiteX79" fmla="*/ 10367013 w 12192000"/>
              <a:gd name="connsiteY79" fmla="*/ 3595879 h 6858000"/>
              <a:gd name="connsiteX80" fmla="*/ 10617831 w 12192000"/>
              <a:gd name="connsiteY80" fmla="*/ 3595879 h 6858000"/>
              <a:gd name="connsiteX81" fmla="*/ 12122011 w 12192000"/>
              <a:gd name="connsiteY81" fmla="*/ 2091700 h 6858000"/>
              <a:gd name="connsiteX82" fmla="*/ 12122011 w 12192000"/>
              <a:gd name="connsiteY82" fmla="*/ 1840882 h 6858000"/>
              <a:gd name="connsiteX83" fmla="*/ 12100052 w 12192000"/>
              <a:gd name="connsiteY83" fmla="*/ 1818923 h 6858000"/>
              <a:gd name="connsiteX84" fmla="*/ 11974643 w 12192000"/>
              <a:gd name="connsiteY84" fmla="*/ 1766977 h 6858000"/>
              <a:gd name="connsiteX85" fmla="*/ 4017223 w 12192000"/>
              <a:gd name="connsiteY85" fmla="*/ 734456 h 6858000"/>
              <a:gd name="connsiteX86" fmla="*/ 3560024 w 12192000"/>
              <a:gd name="connsiteY86" fmla="*/ 1191656 h 6858000"/>
              <a:gd name="connsiteX87" fmla="*/ 4017223 w 12192000"/>
              <a:gd name="connsiteY87" fmla="*/ 1648856 h 6858000"/>
              <a:gd name="connsiteX88" fmla="*/ 4474421 w 12192000"/>
              <a:gd name="connsiteY88" fmla="*/ 1191656 h 6858000"/>
              <a:gd name="connsiteX89" fmla="*/ 5708917 w 12192000"/>
              <a:gd name="connsiteY89" fmla="*/ 734456 h 6858000"/>
              <a:gd name="connsiteX90" fmla="*/ 5251717 w 12192000"/>
              <a:gd name="connsiteY90" fmla="*/ 1191656 h 6858000"/>
              <a:gd name="connsiteX91" fmla="*/ 5708917 w 12192000"/>
              <a:gd name="connsiteY91" fmla="*/ 1648856 h 6858000"/>
              <a:gd name="connsiteX92" fmla="*/ 6166116 w 12192000"/>
              <a:gd name="connsiteY92" fmla="*/ 1191656 h 6858000"/>
              <a:gd name="connsiteX93" fmla="*/ 7400612 w 12192000"/>
              <a:gd name="connsiteY93" fmla="*/ 734455 h 6858000"/>
              <a:gd name="connsiteX94" fmla="*/ 6943412 w 12192000"/>
              <a:gd name="connsiteY94" fmla="*/ 1191656 h 6858000"/>
              <a:gd name="connsiteX95" fmla="*/ 7400612 w 12192000"/>
              <a:gd name="connsiteY95" fmla="*/ 1648856 h 6858000"/>
              <a:gd name="connsiteX96" fmla="*/ 7857812 w 12192000"/>
              <a:gd name="connsiteY96" fmla="*/ 1191656 h 6858000"/>
              <a:gd name="connsiteX97" fmla="*/ 9092308 w 12192000"/>
              <a:gd name="connsiteY97" fmla="*/ 734455 h 6858000"/>
              <a:gd name="connsiteX98" fmla="*/ 8635108 w 12192000"/>
              <a:gd name="connsiteY98" fmla="*/ 1191655 h 6858000"/>
              <a:gd name="connsiteX99" fmla="*/ 9092308 w 12192000"/>
              <a:gd name="connsiteY99" fmla="*/ 1648855 h 6858000"/>
              <a:gd name="connsiteX100" fmla="*/ 9549508 w 12192000"/>
              <a:gd name="connsiteY100" fmla="*/ 1191655 h 6858000"/>
              <a:gd name="connsiteX101" fmla="*/ 11938654 w 12192000"/>
              <a:gd name="connsiteY101" fmla="*/ 725578 h 6858000"/>
              <a:gd name="connsiteX102" fmla="*/ 11813245 w 12192000"/>
              <a:gd name="connsiteY102" fmla="*/ 777523 h 6858000"/>
              <a:gd name="connsiteX103" fmla="*/ 10309065 w 12192000"/>
              <a:gd name="connsiteY103" fmla="*/ 2281704 h 6858000"/>
              <a:gd name="connsiteX104" fmla="*/ 10309065 w 12192000"/>
              <a:gd name="connsiteY104" fmla="*/ 2532522 h 6858000"/>
              <a:gd name="connsiteX105" fmla="*/ 10331024 w 12192000"/>
              <a:gd name="connsiteY105" fmla="*/ 2554481 h 6858000"/>
              <a:gd name="connsiteX106" fmla="*/ 10581842 w 12192000"/>
              <a:gd name="connsiteY106" fmla="*/ 2554481 h 6858000"/>
              <a:gd name="connsiteX107" fmla="*/ 12086022 w 12192000"/>
              <a:gd name="connsiteY107" fmla="*/ 1050300 h 6858000"/>
              <a:gd name="connsiteX108" fmla="*/ 12086022 w 12192000"/>
              <a:gd name="connsiteY108" fmla="*/ 799483 h 6858000"/>
              <a:gd name="connsiteX109" fmla="*/ 12064063 w 12192000"/>
              <a:gd name="connsiteY109" fmla="*/ 777523 h 6858000"/>
              <a:gd name="connsiteX110" fmla="*/ 11938654 w 12192000"/>
              <a:gd name="connsiteY110" fmla="*/ 725578 h 6858000"/>
              <a:gd name="connsiteX111" fmla="*/ 11405253 w 12192000"/>
              <a:gd name="connsiteY111" fmla="*/ 57401 h 6858000"/>
              <a:gd name="connsiteX112" fmla="*/ 11279844 w 12192000"/>
              <a:gd name="connsiteY112" fmla="*/ 109347 h 6858000"/>
              <a:gd name="connsiteX113" fmla="*/ 9775664 w 12192000"/>
              <a:gd name="connsiteY113" fmla="*/ 1613528 h 6858000"/>
              <a:gd name="connsiteX114" fmla="*/ 9775664 w 12192000"/>
              <a:gd name="connsiteY114" fmla="*/ 1864346 h 6858000"/>
              <a:gd name="connsiteX115" fmla="*/ 9797623 w 12192000"/>
              <a:gd name="connsiteY115" fmla="*/ 1886305 h 6858000"/>
              <a:gd name="connsiteX116" fmla="*/ 10048441 w 12192000"/>
              <a:gd name="connsiteY116" fmla="*/ 1886305 h 6858000"/>
              <a:gd name="connsiteX117" fmla="*/ 11552621 w 12192000"/>
              <a:gd name="connsiteY117" fmla="*/ 382124 h 6858000"/>
              <a:gd name="connsiteX118" fmla="*/ 11552621 w 12192000"/>
              <a:gd name="connsiteY118" fmla="*/ 131306 h 6858000"/>
              <a:gd name="connsiteX119" fmla="*/ 11530662 w 12192000"/>
              <a:gd name="connsiteY119" fmla="*/ 109347 h 6858000"/>
              <a:gd name="connsiteX120" fmla="*/ 11405253 w 12192000"/>
              <a:gd name="connsiteY120" fmla="*/ 57401 h 6858000"/>
              <a:gd name="connsiteX121" fmla="*/ 4 w 12192000"/>
              <a:gd name="connsiteY121" fmla="*/ 2 h 6858000"/>
              <a:gd name="connsiteX122" fmla="*/ 4 w 12192000"/>
              <a:gd name="connsiteY122" fmla="*/ 3090502 h 6858000"/>
              <a:gd name="connsiteX123" fmla="*/ 3090503 w 12192000"/>
              <a:gd name="connsiteY123" fmla="*/ 2 h 6858000"/>
              <a:gd name="connsiteX124" fmla="*/ 3171376 w 12192000"/>
              <a:gd name="connsiteY124" fmla="*/ 2 h 6858000"/>
              <a:gd name="connsiteX125" fmla="*/ 2714176 w 12192000"/>
              <a:gd name="connsiteY125" fmla="*/ 457202 h 6858000"/>
              <a:gd name="connsiteX126" fmla="*/ 3171376 w 12192000"/>
              <a:gd name="connsiteY126" fmla="*/ 914402 h 6858000"/>
              <a:gd name="connsiteX127" fmla="*/ 3628576 w 12192000"/>
              <a:gd name="connsiteY127" fmla="*/ 457202 h 6858000"/>
              <a:gd name="connsiteX128" fmla="*/ 4863069 w 12192000"/>
              <a:gd name="connsiteY128" fmla="*/ 2 h 6858000"/>
              <a:gd name="connsiteX129" fmla="*/ 4405869 w 12192000"/>
              <a:gd name="connsiteY129" fmla="*/ 457202 h 6858000"/>
              <a:gd name="connsiteX130" fmla="*/ 4863069 w 12192000"/>
              <a:gd name="connsiteY130" fmla="*/ 914402 h 6858000"/>
              <a:gd name="connsiteX131" fmla="*/ 5320269 w 12192000"/>
              <a:gd name="connsiteY131" fmla="*/ 457202 h 6858000"/>
              <a:gd name="connsiteX132" fmla="*/ 6554764 w 12192000"/>
              <a:gd name="connsiteY132" fmla="*/ 2 h 6858000"/>
              <a:gd name="connsiteX133" fmla="*/ 6097564 w 12192000"/>
              <a:gd name="connsiteY133" fmla="*/ 457201 h 6858000"/>
              <a:gd name="connsiteX134" fmla="*/ 6554764 w 12192000"/>
              <a:gd name="connsiteY134" fmla="*/ 914401 h 6858000"/>
              <a:gd name="connsiteX135" fmla="*/ 7011964 w 12192000"/>
              <a:gd name="connsiteY135" fmla="*/ 457201 h 6858000"/>
              <a:gd name="connsiteX136" fmla="*/ 8246460 w 12192000"/>
              <a:gd name="connsiteY136" fmla="*/ 1 h 6858000"/>
              <a:gd name="connsiteX137" fmla="*/ 7789260 w 12192000"/>
              <a:gd name="connsiteY137" fmla="*/ 457201 h 6858000"/>
              <a:gd name="connsiteX138" fmla="*/ 8246460 w 12192000"/>
              <a:gd name="connsiteY138" fmla="*/ 914401 h 6858000"/>
              <a:gd name="connsiteX139" fmla="*/ 8703660 w 12192000"/>
              <a:gd name="connsiteY139" fmla="*/ 457201 h 6858000"/>
              <a:gd name="connsiteX140" fmla="*/ 9938152 w 12192000"/>
              <a:gd name="connsiteY140" fmla="*/ 1 h 6858000"/>
              <a:gd name="connsiteX141" fmla="*/ 9480952 w 12192000"/>
              <a:gd name="connsiteY141" fmla="*/ 457201 h 6858000"/>
              <a:gd name="connsiteX142" fmla="*/ 9938152 w 12192000"/>
              <a:gd name="connsiteY142" fmla="*/ 914401 h 6858000"/>
              <a:gd name="connsiteX143" fmla="*/ 10395352 w 12192000"/>
              <a:gd name="connsiteY143" fmla="*/ 457201 h 6858000"/>
              <a:gd name="connsiteX144" fmla="*/ 0 w 12192000"/>
              <a:gd name="connsiteY144" fmla="*/ 0 h 6858000"/>
              <a:gd name="connsiteX145" fmla="*/ 12192000 w 12192000"/>
              <a:gd name="connsiteY145" fmla="*/ 0 h 6858000"/>
              <a:gd name="connsiteX146" fmla="*/ 12192000 w 12192000"/>
              <a:gd name="connsiteY146" fmla="*/ 2431144 h 6858000"/>
              <a:gd name="connsiteX147" fmla="*/ 7765144 w 12192000"/>
              <a:gd name="connsiteY147" fmla="*/ 6858000 h 6858000"/>
              <a:gd name="connsiteX148" fmla="*/ 0 w 12192000"/>
              <a:gd name="connsiteY14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Lst>
            <a:rect l="l" t="t" r="r" b="b"/>
            <a:pathLst>
              <a:path w="12192000" h="6858000">
                <a:moveTo>
                  <a:pt x="1429139" y="6161467"/>
                </a:moveTo>
                <a:cubicBezTo>
                  <a:pt x="1248779" y="6161467"/>
                  <a:pt x="1102568" y="6307678"/>
                  <a:pt x="1102568" y="6488038"/>
                </a:cubicBezTo>
                <a:cubicBezTo>
                  <a:pt x="1102568" y="6668398"/>
                  <a:pt x="1248779" y="6814609"/>
                  <a:pt x="1429139" y="6814609"/>
                </a:cubicBezTo>
                <a:cubicBezTo>
                  <a:pt x="1609499" y="6814609"/>
                  <a:pt x="1755710" y="6668398"/>
                  <a:pt x="1755710" y="6488038"/>
                </a:cubicBezTo>
                <a:cubicBezTo>
                  <a:pt x="1755710" y="6307678"/>
                  <a:pt x="1609499" y="6161467"/>
                  <a:pt x="1429139" y="6161467"/>
                </a:cubicBezTo>
                <a:close/>
                <a:moveTo>
                  <a:pt x="8162314" y="5649061"/>
                </a:moveTo>
                <a:cubicBezTo>
                  <a:pt x="8116925" y="5649061"/>
                  <a:pt x="8071536" y="5666376"/>
                  <a:pt x="8036905" y="5701007"/>
                </a:cubicBezTo>
                <a:lnTo>
                  <a:pt x="7335995" y="6401917"/>
                </a:lnTo>
                <a:cubicBezTo>
                  <a:pt x="7266734" y="6471179"/>
                  <a:pt x="7266734" y="6583474"/>
                  <a:pt x="7335995" y="6652735"/>
                </a:cubicBezTo>
                <a:lnTo>
                  <a:pt x="7357954" y="6674694"/>
                </a:lnTo>
                <a:cubicBezTo>
                  <a:pt x="7427215" y="6743956"/>
                  <a:pt x="7539511" y="6743956"/>
                  <a:pt x="7608772" y="6674694"/>
                </a:cubicBezTo>
                <a:lnTo>
                  <a:pt x="8309682" y="5973784"/>
                </a:lnTo>
                <a:cubicBezTo>
                  <a:pt x="8378944" y="5904522"/>
                  <a:pt x="8378944" y="5792227"/>
                  <a:pt x="8309682" y="5722966"/>
                </a:cubicBezTo>
                <a:lnTo>
                  <a:pt x="8287723" y="5701007"/>
                </a:lnTo>
                <a:cubicBezTo>
                  <a:pt x="8253093" y="5666376"/>
                  <a:pt x="8207704" y="5649061"/>
                  <a:pt x="8162314" y="5649061"/>
                </a:cubicBezTo>
                <a:close/>
                <a:moveTo>
                  <a:pt x="899628" y="5446562"/>
                </a:moveTo>
                <a:cubicBezTo>
                  <a:pt x="719268" y="5446562"/>
                  <a:pt x="573057" y="5592773"/>
                  <a:pt x="573057" y="5773133"/>
                </a:cubicBezTo>
                <a:cubicBezTo>
                  <a:pt x="573057" y="5953493"/>
                  <a:pt x="719268" y="6099704"/>
                  <a:pt x="899628" y="6099704"/>
                </a:cubicBezTo>
                <a:cubicBezTo>
                  <a:pt x="1079988" y="6099704"/>
                  <a:pt x="1226199" y="5953493"/>
                  <a:pt x="1226199" y="5773133"/>
                </a:cubicBezTo>
                <a:cubicBezTo>
                  <a:pt x="1226199" y="5592773"/>
                  <a:pt x="1079988" y="5446562"/>
                  <a:pt x="899628" y="5446562"/>
                </a:cubicBezTo>
                <a:close/>
                <a:moveTo>
                  <a:pt x="370117" y="4731656"/>
                </a:moveTo>
                <a:cubicBezTo>
                  <a:pt x="189758" y="4731656"/>
                  <a:pt x="43547" y="4877867"/>
                  <a:pt x="43547" y="5058227"/>
                </a:cubicBezTo>
                <a:cubicBezTo>
                  <a:pt x="43547" y="5238587"/>
                  <a:pt x="189758" y="5384798"/>
                  <a:pt x="370117" y="5384798"/>
                </a:cubicBezTo>
                <a:cubicBezTo>
                  <a:pt x="550478" y="5384798"/>
                  <a:pt x="696689" y="5238587"/>
                  <a:pt x="696689" y="5058227"/>
                </a:cubicBezTo>
                <a:cubicBezTo>
                  <a:pt x="696689" y="4877867"/>
                  <a:pt x="550478" y="4731656"/>
                  <a:pt x="370117" y="4731656"/>
                </a:cubicBezTo>
                <a:close/>
                <a:moveTo>
                  <a:pt x="8139025" y="4569563"/>
                </a:moveTo>
                <a:cubicBezTo>
                  <a:pt x="8093636" y="4569563"/>
                  <a:pt x="8048247" y="4586878"/>
                  <a:pt x="8013616" y="4621508"/>
                </a:cubicBezTo>
                <a:lnTo>
                  <a:pt x="6236292" y="6398833"/>
                </a:lnTo>
                <a:cubicBezTo>
                  <a:pt x="6167031" y="6468094"/>
                  <a:pt x="6167031" y="6580390"/>
                  <a:pt x="6236292" y="6649651"/>
                </a:cubicBezTo>
                <a:lnTo>
                  <a:pt x="6258251" y="6671610"/>
                </a:lnTo>
                <a:cubicBezTo>
                  <a:pt x="6327512" y="6740871"/>
                  <a:pt x="6439808" y="6740871"/>
                  <a:pt x="6509069" y="6671610"/>
                </a:cubicBezTo>
                <a:lnTo>
                  <a:pt x="8286393" y="4894285"/>
                </a:lnTo>
                <a:cubicBezTo>
                  <a:pt x="8355654" y="4825024"/>
                  <a:pt x="8355654" y="4712728"/>
                  <a:pt x="8286393" y="4643467"/>
                </a:cubicBezTo>
                <a:lnTo>
                  <a:pt x="8264434" y="4621508"/>
                </a:lnTo>
                <a:cubicBezTo>
                  <a:pt x="8229804" y="4586878"/>
                  <a:pt x="8184415" y="4569563"/>
                  <a:pt x="8139025" y="4569563"/>
                </a:cubicBezTo>
                <a:close/>
                <a:moveTo>
                  <a:pt x="7618325" y="3939483"/>
                </a:moveTo>
                <a:cubicBezTo>
                  <a:pt x="7572936" y="3939483"/>
                  <a:pt x="7527547" y="3956798"/>
                  <a:pt x="7492916" y="3991429"/>
                </a:cubicBezTo>
                <a:lnTo>
                  <a:pt x="5016683" y="6467663"/>
                </a:lnTo>
                <a:cubicBezTo>
                  <a:pt x="4947422" y="6536924"/>
                  <a:pt x="4947422" y="6649220"/>
                  <a:pt x="5016683" y="6718481"/>
                </a:cubicBezTo>
                <a:lnTo>
                  <a:pt x="5038642" y="6740440"/>
                </a:lnTo>
                <a:cubicBezTo>
                  <a:pt x="5107903" y="6809701"/>
                  <a:pt x="5220199" y="6809701"/>
                  <a:pt x="5289460" y="6740440"/>
                </a:cubicBezTo>
                <a:lnTo>
                  <a:pt x="7765693" y="4264206"/>
                </a:lnTo>
                <a:cubicBezTo>
                  <a:pt x="7834954" y="4194945"/>
                  <a:pt x="7834954" y="4082649"/>
                  <a:pt x="7765693" y="4013388"/>
                </a:cubicBezTo>
                <a:lnTo>
                  <a:pt x="7743734" y="3991429"/>
                </a:lnTo>
                <a:cubicBezTo>
                  <a:pt x="7709103" y="3956798"/>
                  <a:pt x="7663714" y="3939483"/>
                  <a:pt x="7618325" y="3939483"/>
                </a:cubicBezTo>
                <a:close/>
                <a:moveTo>
                  <a:pt x="10089754" y="3704146"/>
                </a:moveTo>
                <a:cubicBezTo>
                  <a:pt x="10044365" y="3704146"/>
                  <a:pt x="9998976" y="3721461"/>
                  <a:pt x="9964345" y="3756091"/>
                </a:cubicBezTo>
                <a:lnTo>
                  <a:pt x="8460165" y="5260272"/>
                </a:lnTo>
                <a:cubicBezTo>
                  <a:pt x="8390903" y="5329533"/>
                  <a:pt x="8390903" y="5441829"/>
                  <a:pt x="8460165" y="5511090"/>
                </a:cubicBezTo>
                <a:lnTo>
                  <a:pt x="8482124" y="5533049"/>
                </a:lnTo>
                <a:cubicBezTo>
                  <a:pt x="8551385" y="5602310"/>
                  <a:pt x="8663680" y="5602310"/>
                  <a:pt x="8732942" y="5533049"/>
                </a:cubicBezTo>
                <a:lnTo>
                  <a:pt x="10237122" y="4028868"/>
                </a:lnTo>
                <a:cubicBezTo>
                  <a:pt x="10306384" y="3959607"/>
                  <a:pt x="10306384" y="3847312"/>
                  <a:pt x="10237122" y="3778051"/>
                </a:cubicBezTo>
                <a:lnTo>
                  <a:pt x="10215163" y="3756091"/>
                </a:lnTo>
                <a:cubicBezTo>
                  <a:pt x="10180532" y="3721461"/>
                  <a:pt x="10135144" y="3704146"/>
                  <a:pt x="10089754" y="3704146"/>
                </a:cubicBezTo>
                <a:close/>
                <a:moveTo>
                  <a:pt x="10041065" y="2624647"/>
                </a:moveTo>
                <a:cubicBezTo>
                  <a:pt x="9995676" y="2624647"/>
                  <a:pt x="9950287" y="2641962"/>
                  <a:pt x="9915656" y="2676593"/>
                </a:cubicBezTo>
                <a:lnTo>
                  <a:pt x="8411476" y="4180773"/>
                </a:lnTo>
                <a:cubicBezTo>
                  <a:pt x="8342215" y="4250034"/>
                  <a:pt x="8342215" y="4362330"/>
                  <a:pt x="8411476" y="4431591"/>
                </a:cubicBezTo>
                <a:lnTo>
                  <a:pt x="8433435" y="4453550"/>
                </a:lnTo>
                <a:cubicBezTo>
                  <a:pt x="8502696" y="4522811"/>
                  <a:pt x="8614991" y="4522811"/>
                  <a:pt x="8684253" y="4453550"/>
                </a:cubicBezTo>
                <a:lnTo>
                  <a:pt x="10188433" y="2949370"/>
                </a:lnTo>
                <a:cubicBezTo>
                  <a:pt x="10257695" y="2880109"/>
                  <a:pt x="10257695" y="2767813"/>
                  <a:pt x="10188433" y="2698552"/>
                </a:cubicBezTo>
                <a:lnTo>
                  <a:pt x="10166474" y="2676593"/>
                </a:lnTo>
                <a:cubicBezTo>
                  <a:pt x="10131844" y="2641962"/>
                  <a:pt x="10086454" y="2624647"/>
                  <a:pt x="10041065" y="2624647"/>
                </a:cubicBezTo>
                <a:close/>
                <a:moveTo>
                  <a:pt x="9520364" y="1994569"/>
                </a:moveTo>
                <a:cubicBezTo>
                  <a:pt x="9474975" y="1994569"/>
                  <a:pt x="9429586" y="2011885"/>
                  <a:pt x="9394955" y="2046515"/>
                </a:cubicBezTo>
                <a:lnTo>
                  <a:pt x="7890775" y="3550695"/>
                </a:lnTo>
                <a:cubicBezTo>
                  <a:pt x="7821514" y="3619956"/>
                  <a:pt x="7821514" y="3732252"/>
                  <a:pt x="7890775" y="3801513"/>
                </a:cubicBezTo>
                <a:lnTo>
                  <a:pt x="7912734" y="3823472"/>
                </a:lnTo>
                <a:cubicBezTo>
                  <a:pt x="7981995" y="3892733"/>
                  <a:pt x="8094291" y="3892733"/>
                  <a:pt x="8163552" y="3823472"/>
                </a:cubicBezTo>
                <a:lnTo>
                  <a:pt x="9667732" y="2319292"/>
                </a:lnTo>
                <a:cubicBezTo>
                  <a:pt x="9736994" y="2250031"/>
                  <a:pt x="9736994" y="2137735"/>
                  <a:pt x="9667732" y="2068475"/>
                </a:cubicBezTo>
                <a:lnTo>
                  <a:pt x="9645773" y="2046515"/>
                </a:lnTo>
                <a:cubicBezTo>
                  <a:pt x="9611142" y="2011885"/>
                  <a:pt x="9565753" y="1994569"/>
                  <a:pt x="9520364" y="1994569"/>
                </a:cubicBezTo>
                <a:close/>
                <a:moveTo>
                  <a:pt x="11974643" y="1766977"/>
                </a:moveTo>
                <a:cubicBezTo>
                  <a:pt x="11929254" y="1766977"/>
                  <a:pt x="11883865" y="1784292"/>
                  <a:pt x="11849234" y="1818923"/>
                </a:cubicBezTo>
                <a:lnTo>
                  <a:pt x="10345054" y="3323103"/>
                </a:lnTo>
                <a:cubicBezTo>
                  <a:pt x="10275792" y="3392364"/>
                  <a:pt x="10275792" y="3504659"/>
                  <a:pt x="10345054" y="3573920"/>
                </a:cubicBezTo>
                <a:lnTo>
                  <a:pt x="10367013" y="3595879"/>
                </a:lnTo>
                <a:cubicBezTo>
                  <a:pt x="10436274" y="3665140"/>
                  <a:pt x="10548569" y="3665140"/>
                  <a:pt x="10617831" y="3595879"/>
                </a:cubicBezTo>
                <a:lnTo>
                  <a:pt x="12122011" y="2091700"/>
                </a:lnTo>
                <a:cubicBezTo>
                  <a:pt x="12191273" y="2022439"/>
                  <a:pt x="12191273" y="1910143"/>
                  <a:pt x="12122011" y="1840882"/>
                </a:cubicBezTo>
                <a:lnTo>
                  <a:pt x="12100052" y="1818923"/>
                </a:lnTo>
                <a:cubicBezTo>
                  <a:pt x="12065422" y="1784292"/>
                  <a:pt x="12020032" y="1766977"/>
                  <a:pt x="11974643" y="1766977"/>
                </a:cubicBezTo>
                <a:close/>
                <a:moveTo>
                  <a:pt x="4017223" y="734456"/>
                </a:moveTo>
                <a:lnTo>
                  <a:pt x="3560024" y="1191656"/>
                </a:lnTo>
                <a:lnTo>
                  <a:pt x="4017223" y="1648856"/>
                </a:lnTo>
                <a:lnTo>
                  <a:pt x="4474421" y="1191656"/>
                </a:lnTo>
                <a:close/>
                <a:moveTo>
                  <a:pt x="5708917" y="734456"/>
                </a:moveTo>
                <a:lnTo>
                  <a:pt x="5251717" y="1191656"/>
                </a:lnTo>
                <a:lnTo>
                  <a:pt x="5708917" y="1648856"/>
                </a:lnTo>
                <a:lnTo>
                  <a:pt x="6166116" y="1191656"/>
                </a:lnTo>
                <a:close/>
                <a:moveTo>
                  <a:pt x="7400612" y="734455"/>
                </a:moveTo>
                <a:lnTo>
                  <a:pt x="6943412" y="1191656"/>
                </a:lnTo>
                <a:lnTo>
                  <a:pt x="7400612" y="1648856"/>
                </a:lnTo>
                <a:lnTo>
                  <a:pt x="7857812" y="1191656"/>
                </a:lnTo>
                <a:close/>
                <a:moveTo>
                  <a:pt x="9092308" y="734455"/>
                </a:moveTo>
                <a:lnTo>
                  <a:pt x="8635108" y="1191655"/>
                </a:lnTo>
                <a:lnTo>
                  <a:pt x="9092308" y="1648855"/>
                </a:lnTo>
                <a:lnTo>
                  <a:pt x="9549508" y="1191655"/>
                </a:lnTo>
                <a:close/>
                <a:moveTo>
                  <a:pt x="11938654" y="725578"/>
                </a:moveTo>
                <a:cubicBezTo>
                  <a:pt x="11893265" y="725578"/>
                  <a:pt x="11847876" y="742893"/>
                  <a:pt x="11813245" y="777523"/>
                </a:cubicBezTo>
                <a:lnTo>
                  <a:pt x="10309065" y="2281704"/>
                </a:lnTo>
                <a:cubicBezTo>
                  <a:pt x="10239803" y="2350965"/>
                  <a:pt x="10239803" y="2463261"/>
                  <a:pt x="10309065" y="2532522"/>
                </a:cubicBezTo>
                <a:lnTo>
                  <a:pt x="10331024" y="2554481"/>
                </a:lnTo>
                <a:cubicBezTo>
                  <a:pt x="10400285" y="2623742"/>
                  <a:pt x="10512580" y="2623742"/>
                  <a:pt x="10581842" y="2554481"/>
                </a:cubicBezTo>
                <a:lnTo>
                  <a:pt x="12086022" y="1050300"/>
                </a:lnTo>
                <a:cubicBezTo>
                  <a:pt x="12155284" y="981039"/>
                  <a:pt x="12155284" y="868744"/>
                  <a:pt x="12086022" y="799483"/>
                </a:cubicBezTo>
                <a:lnTo>
                  <a:pt x="12064063" y="777523"/>
                </a:lnTo>
                <a:cubicBezTo>
                  <a:pt x="12029432" y="742893"/>
                  <a:pt x="11984043" y="725578"/>
                  <a:pt x="11938654" y="725578"/>
                </a:cubicBezTo>
                <a:close/>
                <a:moveTo>
                  <a:pt x="11405253" y="57401"/>
                </a:moveTo>
                <a:cubicBezTo>
                  <a:pt x="11359864" y="57401"/>
                  <a:pt x="11314475" y="74716"/>
                  <a:pt x="11279844" y="109347"/>
                </a:cubicBezTo>
                <a:lnTo>
                  <a:pt x="9775664" y="1613528"/>
                </a:lnTo>
                <a:cubicBezTo>
                  <a:pt x="9706402" y="1682789"/>
                  <a:pt x="9706402" y="1795085"/>
                  <a:pt x="9775664" y="1864346"/>
                </a:cubicBezTo>
                <a:lnTo>
                  <a:pt x="9797623" y="1886305"/>
                </a:lnTo>
                <a:cubicBezTo>
                  <a:pt x="9866884" y="1955566"/>
                  <a:pt x="9979179" y="1955566"/>
                  <a:pt x="10048441" y="1886305"/>
                </a:cubicBezTo>
                <a:lnTo>
                  <a:pt x="11552621" y="382124"/>
                </a:lnTo>
                <a:cubicBezTo>
                  <a:pt x="11621883" y="312862"/>
                  <a:pt x="11621883" y="200567"/>
                  <a:pt x="11552621" y="131306"/>
                </a:cubicBezTo>
                <a:lnTo>
                  <a:pt x="11530662" y="109347"/>
                </a:lnTo>
                <a:cubicBezTo>
                  <a:pt x="11496032" y="74716"/>
                  <a:pt x="11450643" y="57401"/>
                  <a:pt x="11405253" y="57401"/>
                </a:cubicBezTo>
                <a:close/>
                <a:moveTo>
                  <a:pt x="4" y="2"/>
                </a:moveTo>
                <a:lnTo>
                  <a:pt x="4" y="3090502"/>
                </a:lnTo>
                <a:lnTo>
                  <a:pt x="3090503" y="2"/>
                </a:lnTo>
                <a:close/>
                <a:moveTo>
                  <a:pt x="3171376" y="2"/>
                </a:moveTo>
                <a:lnTo>
                  <a:pt x="2714176" y="457202"/>
                </a:lnTo>
                <a:lnTo>
                  <a:pt x="3171376" y="914402"/>
                </a:lnTo>
                <a:lnTo>
                  <a:pt x="3628576" y="457202"/>
                </a:lnTo>
                <a:close/>
                <a:moveTo>
                  <a:pt x="4863069" y="2"/>
                </a:moveTo>
                <a:lnTo>
                  <a:pt x="4405869" y="457202"/>
                </a:lnTo>
                <a:lnTo>
                  <a:pt x="4863069" y="914402"/>
                </a:lnTo>
                <a:lnTo>
                  <a:pt x="5320269" y="457202"/>
                </a:lnTo>
                <a:close/>
                <a:moveTo>
                  <a:pt x="6554764" y="2"/>
                </a:moveTo>
                <a:lnTo>
                  <a:pt x="6097564" y="457201"/>
                </a:lnTo>
                <a:lnTo>
                  <a:pt x="6554764" y="914401"/>
                </a:lnTo>
                <a:lnTo>
                  <a:pt x="7011964" y="457201"/>
                </a:lnTo>
                <a:close/>
                <a:moveTo>
                  <a:pt x="8246460" y="1"/>
                </a:moveTo>
                <a:lnTo>
                  <a:pt x="7789260" y="457201"/>
                </a:lnTo>
                <a:lnTo>
                  <a:pt x="8246460" y="914401"/>
                </a:lnTo>
                <a:lnTo>
                  <a:pt x="8703660" y="457201"/>
                </a:lnTo>
                <a:close/>
                <a:moveTo>
                  <a:pt x="9938152" y="1"/>
                </a:moveTo>
                <a:lnTo>
                  <a:pt x="9480952" y="457201"/>
                </a:lnTo>
                <a:lnTo>
                  <a:pt x="9938152" y="914401"/>
                </a:lnTo>
                <a:lnTo>
                  <a:pt x="10395352" y="457201"/>
                </a:lnTo>
                <a:close/>
                <a:moveTo>
                  <a:pt x="0" y="0"/>
                </a:moveTo>
                <a:lnTo>
                  <a:pt x="12192000" y="0"/>
                </a:lnTo>
                <a:lnTo>
                  <a:pt x="12192000" y="2431144"/>
                </a:lnTo>
                <a:lnTo>
                  <a:pt x="7765144" y="6858000"/>
                </a:lnTo>
                <a:lnTo>
                  <a:pt x="0" y="6858000"/>
                </a:lnTo>
                <a:close/>
              </a:path>
            </a:pathLst>
          </a:custGeom>
          <a:solidFill>
            <a:schemeClr val="accent1">
              <a:alpha val="92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b="1" dirty="0">
              <a:solidFill>
                <a:schemeClr val="accent4"/>
              </a:solidFill>
            </a:endParaRPr>
          </a:p>
        </p:txBody>
      </p:sp>
      <p:sp>
        <p:nvSpPr>
          <p:cNvPr id="49" name="Freeform: Shape 48">
            <a:extLst>
              <a:ext uri="{FF2B5EF4-FFF2-40B4-BE49-F238E27FC236}">
                <a16:creationId xmlns:a16="http://schemas.microsoft.com/office/drawing/2014/main" id="{A674ABF8-EAD4-4410-8CCD-477D276B43F4}"/>
              </a:ext>
            </a:extLst>
          </p:cNvPr>
          <p:cNvSpPr/>
          <p:nvPr userDrawn="1"/>
        </p:nvSpPr>
        <p:spPr>
          <a:xfrm>
            <a:off x="-3410" y="2450947"/>
            <a:ext cx="6607408" cy="2237168"/>
          </a:xfrm>
          <a:custGeom>
            <a:avLst/>
            <a:gdLst>
              <a:gd name="connsiteX0" fmla="*/ 643965 w 6607408"/>
              <a:gd name="connsiteY0" fmla="*/ 0 h 2237168"/>
              <a:gd name="connsiteX1" fmla="*/ 6607408 w 6607408"/>
              <a:gd name="connsiteY1" fmla="*/ 0 h 2237168"/>
              <a:gd name="connsiteX2" fmla="*/ 6607408 w 6607408"/>
              <a:gd name="connsiteY2" fmla="*/ 2237167 h 2237168"/>
              <a:gd name="connsiteX3" fmla="*/ 643965 w 6607408"/>
              <a:gd name="connsiteY3" fmla="*/ 2237167 h 2237168"/>
              <a:gd name="connsiteX4" fmla="*/ 643965 w 6607408"/>
              <a:gd name="connsiteY4" fmla="*/ 2237168 h 2237168"/>
              <a:gd name="connsiteX5" fmla="*/ 7730 w 6607408"/>
              <a:gd name="connsiteY5" fmla="*/ 2237168 h 2237168"/>
              <a:gd name="connsiteX6" fmla="*/ 7730 w 6607408"/>
              <a:gd name="connsiteY6" fmla="*/ 655216 h 2237168"/>
              <a:gd name="connsiteX7" fmla="*/ 0 w 6607408"/>
              <a:gd name="connsiteY7" fmla="*/ 647509 h 2237168"/>
              <a:gd name="connsiteX8" fmla="*/ 7730 w 6607408"/>
              <a:gd name="connsiteY8" fmla="*/ 639757 h 2237168"/>
              <a:gd name="connsiteX9" fmla="*/ 7730 w 6607408"/>
              <a:gd name="connsiteY9" fmla="*/ 635076 h 2237168"/>
              <a:gd name="connsiteX10" fmla="*/ 12397 w 6607408"/>
              <a:gd name="connsiteY10" fmla="*/ 635076 h 2237168"/>
              <a:gd name="connsiteX11" fmla="*/ 643965 w 6607408"/>
              <a:gd name="connsiteY11" fmla="*/ 1687 h 22371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607408" h="2237168">
                <a:moveTo>
                  <a:pt x="643965" y="0"/>
                </a:moveTo>
                <a:lnTo>
                  <a:pt x="6607408" y="0"/>
                </a:lnTo>
                <a:lnTo>
                  <a:pt x="6607408" y="2237167"/>
                </a:lnTo>
                <a:lnTo>
                  <a:pt x="643965" y="2237167"/>
                </a:lnTo>
                <a:lnTo>
                  <a:pt x="643965" y="2237168"/>
                </a:lnTo>
                <a:lnTo>
                  <a:pt x="7730" y="2237168"/>
                </a:lnTo>
                <a:lnTo>
                  <a:pt x="7730" y="655216"/>
                </a:lnTo>
                <a:lnTo>
                  <a:pt x="0" y="647509"/>
                </a:lnTo>
                <a:lnTo>
                  <a:pt x="7730" y="639757"/>
                </a:lnTo>
                <a:lnTo>
                  <a:pt x="7730" y="635076"/>
                </a:lnTo>
                <a:lnTo>
                  <a:pt x="12397" y="635076"/>
                </a:lnTo>
                <a:lnTo>
                  <a:pt x="643965" y="1687"/>
                </a:lnTo>
                <a:close/>
              </a:path>
            </a:pathLst>
          </a:cu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IN" sz="1600" b="1" dirty="0">
              <a:solidFill>
                <a:schemeClr val="accent4"/>
              </a:solidFill>
            </a:endParaRPr>
          </a:p>
        </p:txBody>
      </p:sp>
      <p:sp>
        <p:nvSpPr>
          <p:cNvPr id="42" name="Title 1">
            <a:extLst>
              <a:ext uri="{FF2B5EF4-FFF2-40B4-BE49-F238E27FC236}">
                <a16:creationId xmlns:a16="http://schemas.microsoft.com/office/drawing/2014/main" id="{9E90D4A6-EABC-4668-B33A-12C8E0ACFBB3}"/>
              </a:ext>
            </a:extLst>
          </p:cNvPr>
          <p:cNvSpPr>
            <a:spLocks noGrp="1"/>
          </p:cNvSpPr>
          <p:nvPr userDrawn="1">
            <p:ph type="ctrTitle" hasCustomPrompt="1"/>
          </p:nvPr>
        </p:nvSpPr>
        <p:spPr>
          <a:xfrm>
            <a:off x="1339912" y="2601085"/>
            <a:ext cx="6859208" cy="707886"/>
          </a:xfrm>
        </p:spPr>
        <p:txBody>
          <a:bodyPr wrap="square" anchor="b">
            <a:spAutoFit/>
          </a:bodyPr>
          <a:lstStyle>
            <a:lvl1pPr>
              <a:defRPr sz="4000">
                <a:solidFill>
                  <a:schemeClr val="bg1"/>
                </a:solidFill>
              </a:defRPr>
            </a:lvl1pPr>
          </a:lstStyle>
          <a:p>
            <a:r>
              <a:rPr lang="en-US" dirty="0"/>
              <a:t>TITLE OF THE DOCUMENT</a:t>
            </a:r>
          </a:p>
        </p:txBody>
      </p:sp>
      <p:sp>
        <p:nvSpPr>
          <p:cNvPr id="43" name="Subtitle 2">
            <a:extLst>
              <a:ext uri="{FF2B5EF4-FFF2-40B4-BE49-F238E27FC236}">
                <a16:creationId xmlns:a16="http://schemas.microsoft.com/office/drawing/2014/main" id="{5A7FD2E5-3430-4B6D-8B88-FEEF41234A8A}"/>
              </a:ext>
            </a:extLst>
          </p:cNvPr>
          <p:cNvSpPr>
            <a:spLocks noGrp="1"/>
          </p:cNvSpPr>
          <p:nvPr userDrawn="1">
            <p:ph type="subTitle" idx="1" hasCustomPrompt="1"/>
          </p:nvPr>
        </p:nvSpPr>
        <p:spPr>
          <a:xfrm>
            <a:off x="1339912" y="4237381"/>
            <a:ext cx="6859208" cy="492443"/>
          </a:xfrm>
        </p:spPr>
        <p:txBody>
          <a:bodyPr/>
          <a:lstStyle>
            <a:lvl1pPr>
              <a:defRPr sz="3200">
                <a:solidFill>
                  <a:schemeClr val="bg1"/>
                </a:solidFill>
              </a:defRPr>
            </a:lvl1pPr>
          </a:lstStyle>
          <a:p>
            <a:r>
              <a:rPr lang="en-US"/>
              <a:t>EDIT SUBTITLE</a:t>
            </a:r>
            <a:endParaRPr lang="en-US" dirty="0"/>
          </a:p>
        </p:txBody>
      </p:sp>
      <p:sp>
        <p:nvSpPr>
          <p:cNvPr id="85" name="Text Placeholder 84">
            <a:extLst>
              <a:ext uri="{FF2B5EF4-FFF2-40B4-BE49-F238E27FC236}">
                <a16:creationId xmlns:a16="http://schemas.microsoft.com/office/drawing/2014/main" id="{217D11FD-233F-4482-938B-82CA452ECE9C}"/>
              </a:ext>
            </a:extLst>
          </p:cNvPr>
          <p:cNvSpPr>
            <a:spLocks noGrp="1"/>
          </p:cNvSpPr>
          <p:nvPr userDrawn="1">
            <p:ph type="body" sz="quarter" idx="10"/>
          </p:nvPr>
        </p:nvSpPr>
        <p:spPr>
          <a:xfrm>
            <a:off x="1339397" y="3407037"/>
            <a:ext cx="6841373" cy="430887"/>
          </a:xfrm>
        </p:spPr>
        <p:txBody>
          <a:bodyPr vert="horz" wrap="square" lIns="0" tIns="0" rIns="0" bIns="0" rtlCol="0">
            <a:spAutoFit/>
          </a:bodyPr>
          <a:lstStyle>
            <a:lvl1pPr>
              <a:defRPr lang="en-US" sz="2800" i="0" dirty="0" smtClean="0">
                <a:solidFill>
                  <a:schemeClr val="bg1"/>
                </a:solidFill>
              </a:defRPr>
            </a:lvl1pPr>
            <a:lvl2pPr>
              <a:defRPr lang="en-US" dirty="0" smtClean="0"/>
            </a:lvl2pPr>
            <a:lvl3pPr>
              <a:defRPr lang="en-US" dirty="0" smtClean="0"/>
            </a:lvl3pPr>
            <a:lvl4pPr>
              <a:defRPr lang="en-US" dirty="0" smtClean="0"/>
            </a:lvl4pPr>
            <a:lvl5pPr>
              <a:defRPr lang="en-IN" dirty="0"/>
            </a:lvl5pPr>
          </a:lstStyle>
          <a:p>
            <a:pPr lvl="0"/>
            <a:r>
              <a:rPr lang="en-US" dirty="0"/>
              <a:t>Edit Master text styles</a:t>
            </a:r>
          </a:p>
        </p:txBody>
      </p:sp>
    </p:spTree>
    <p:extLst>
      <p:ext uri="{BB962C8B-B14F-4D97-AF65-F5344CB8AC3E}">
        <p14:creationId xmlns:p14="http://schemas.microsoft.com/office/powerpoint/2010/main" val="417334895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04119415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3_Title Slide">
    <p:spTree>
      <p:nvGrpSpPr>
        <p:cNvPr id="1" name=""/>
        <p:cNvGrpSpPr/>
        <p:nvPr/>
      </p:nvGrpSpPr>
      <p:grpSpPr>
        <a:xfrm>
          <a:off x="0" y="0"/>
          <a:ext cx="0" cy="0"/>
          <a:chOff x="0" y="0"/>
          <a:chExt cx="0" cy="0"/>
        </a:xfrm>
      </p:grpSpPr>
      <p:sp>
        <p:nvSpPr>
          <p:cNvPr id="7" name="Picture Placeholder 6"/>
          <p:cNvSpPr>
            <a:spLocks noGrp="1"/>
          </p:cNvSpPr>
          <p:nvPr>
            <p:ph type="pic" sz="quarter" idx="16" hasCustomPrompt="1"/>
          </p:nvPr>
        </p:nvSpPr>
        <p:spPr>
          <a:xfrm>
            <a:off x="1325281" y="-1"/>
            <a:ext cx="5195129" cy="4674887"/>
          </a:xfrm>
          <a:custGeom>
            <a:avLst/>
            <a:gdLst>
              <a:gd name="connsiteX0" fmla="*/ 1257458 w 5195129"/>
              <a:gd name="connsiteY0" fmla="*/ 0 h 4674887"/>
              <a:gd name="connsiteX1" fmla="*/ 4888355 w 5195129"/>
              <a:gd name="connsiteY1" fmla="*/ 0 h 4674887"/>
              <a:gd name="connsiteX2" fmla="*/ 4897797 w 5195129"/>
              <a:gd name="connsiteY2" fmla="*/ 10583 h 4674887"/>
              <a:gd name="connsiteX3" fmla="*/ 4991734 w 5195129"/>
              <a:gd name="connsiteY3" fmla="*/ 153016 h 4674887"/>
              <a:gd name="connsiteX4" fmla="*/ 5155578 w 5195129"/>
              <a:gd name="connsiteY4" fmla="*/ 618243 h 4674887"/>
              <a:gd name="connsiteX5" fmla="*/ 5191863 w 5195129"/>
              <a:gd name="connsiteY5" fmla="*/ 1214314 h 4674887"/>
              <a:gd name="connsiteX6" fmla="*/ 5140212 w 5195129"/>
              <a:gd name="connsiteY6" fmla="*/ 1702059 h 4674887"/>
              <a:gd name="connsiteX7" fmla="*/ 5065164 w 5195129"/>
              <a:gd name="connsiteY7" fmla="*/ 2086547 h 4674887"/>
              <a:gd name="connsiteX8" fmla="*/ 4969982 w 5195129"/>
              <a:gd name="connsiteY8" fmla="*/ 2462239 h 4674887"/>
              <a:gd name="connsiteX9" fmla="*/ 4966842 w 5195129"/>
              <a:gd name="connsiteY9" fmla="*/ 2481819 h 4674887"/>
              <a:gd name="connsiteX10" fmla="*/ 4948658 w 5195129"/>
              <a:gd name="connsiteY10" fmla="*/ 2545371 h 4674887"/>
              <a:gd name="connsiteX11" fmla="*/ 4938561 w 5195129"/>
              <a:gd name="connsiteY11" fmla="*/ 2572055 h 4674887"/>
              <a:gd name="connsiteX12" fmla="*/ 4784773 w 5195129"/>
              <a:gd name="connsiteY12" fmla="*/ 3040688 h 4674887"/>
              <a:gd name="connsiteX13" fmla="*/ 4548619 w 5195129"/>
              <a:gd name="connsiteY13" fmla="*/ 3590655 h 4674887"/>
              <a:gd name="connsiteX14" fmla="*/ 4250458 w 5195129"/>
              <a:gd name="connsiteY14" fmla="*/ 4073335 h 4674887"/>
              <a:gd name="connsiteX15" fmla="*/ 3878856 w 5195129"/>
              <a:gd name="connsiteY15" fmla="*/ 4443497 h 4674887"/>
              <a:gd name="connsiteX16" fmla="*/ 3186482 w 5195129"/>
              <a:gd name="connsiteY16" fmla="*/ 4674862 h 4674887"/>
              <a:gd name="connsiteX17" fmla="*/ 2891514 w 5195129"/>
              <a:gd name="connsiteY17" fmla="*/ 4643798 h 4674887"/>
              <a:gd name="connsiteX18" fmla="*/ 2828700 w 5195129"/>
              <a:gd name="connsiteY18" fmla="*/ 4634421 h 4674887"/>
              <a:gd name="connsiteX19" fmla="*/ 2731286 w 5195129"/>
              <a:gd name="connsiteY19" fmla="*/ 4606548 h 4674887"/>
              <a:gd name="connsiteX20" fmla="*/ 2693489 w 5195129"/>
              <a:gd name="connsiteY20" fmla="*/ 4588909 h 4674887"/>
              <a:gd name="connsiteX21" fmla="*/ 2259009 w 5195129"/>
              <a:gd name="connsiteY21" fmla="*/ 4386231 h 4674887"/>
              <a:gd name="connsiteX22" fmla="*/ 1725702 w 5195129"/>
              <a:gd name="connsiteY22" fmla="*/ 4009169 h 4674887"/>
              <a:gd name="connsiteX23" fmla="*/ 1036282 w 5195129"/>
              <a:gd name="connsiteY23" fmla="*/ 3354127 h 4674887"/>
              <a:gd name="connsiteX24" fmla="*/ 456082 w 5195129"/>
              <a:gd name="connsiteY24" fmla="*/ 2640093 h 4674887"/>
              <a:gd name="connsiteX25" fmla="*/ 152116 w 5195129"/>
              <a:gd name="connsiteY25" fmla="*/ 2096603 h 4674887"/>
              <a:gd name="connsiteX26" fmla="*/ 13326 w 5195129"/>
              <a:gd name="connsiteY26" fmla="*/ 1617813 h 4674887"/>
              <a:gd name="connsiteX27" fmla="*/ 19959 w 5195129"/>
              <a:gd name="connsiteY27" fmla="*/ 1209959 h 4674887"/>
              <a:gd name="connsiteX28" fmla="*/ 31259 w 5195129"/>
              <a:gd name="connsiteY28" fmla="*/ 1142921 h 4674887"/>
              <a:gd name="connsiteX29" fmla="*/ 53053 w 5195129"/>
              <a:gd name="connsiteY29" fmla="*/ 1066752 h 4674887"/>
              <a:gd name="connsiteX30" fmla="*/ 61817 w 5195129"/>
              <a:gd name="connsiteY30" fmla="*/ 1049035 h 4674887"/>
              <a:gd name="connsiteX31" fmla="*/ 105769 w 5195129"/>
              <a:gd name="connsiteY31" fmla="*/ 941036 h 4674887"/>
              <a:gd name="connsiteX32" fmla="*/ 367836 w 5195129"/>
              <a:gd name="connsiteY32" fmla="*/ 565570 h 4674887"/>
              <a:gd name="connsiteX33" fmla="*/ 837097 w 5195129"/>
              <a:gd name="connsiteY33" fmla="*/ 206920 h 4674887"/>
              <a:gd name="connsiteX34" fmla="*/ 1121761 w 5195129"/>
              <a:gd name="connsiteY34" fmla="*/ 57235 h 4674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5195129" h="4674887">
                <a:moveTo>
                  <a:pt x="1257458" y="0"/>
                </a:moveTo>
                <a:lnTo>
                  <a:pt x="4888355" y="0"/>
                </a:lnTo>
                <a:lnTo>
                  <a:pt x="4897797" y="10583"/>
                </a:lnTo>
                <a:cubicBezTo>
                  <a:pt x="4932002" y="55083"/>
                  <a:pt x="4963329" y="102548"/>
                  <a:pt x="4991734" y="153016"/>
                </a:cubicBezTo>
                <a:cubicBezTo>
                  <a:pt x="5073471" y="298496"/>
                  <a:pt x="5124502" y="454903"/>
                  <a:pt x="5155578" y="618243"/>
                </a:cubicBezTo>
                <a:cubicBezTo>
                  <a:pt x="5192956" y="815490"/>
                  <a:pt x="5200577" y="1014331"/>
                  <a:pt x="5191863" y="1214314"/>
                </a:cubicBezTo>
                <a:cubicBezTo>
                  <a:pt x="5184425" y="1378006"/>
                  <a:pt x="5166047" y="1540340"/>
                  <a:pt x="5140212" y="1702059"/>
                </a:cubicBezTo>
                <a:cubicBezTo>
                  <a:pt x="5119763" y="1831189"/>
                  <a:pt x="5095537" y="1959748"/>
                  <a:pt x="5065164" y="2086547"/>
                </a:cubicBezTo>
                <a:cubicBezTo>
                  <a:pt x="5035290" y="2212477"/>
                  <a:pt x="5001840" y="2337131"/>
                  <a:pt x="4969982" y="2462239"/>
                </a:cubicBezTo>
                <a:cubicBezTo>
                  <a:pt x="4968404" y="2468613"/>
                  <a:pt x="4967964" y="2475314"/>
                  <a:pt x="4966842" y="2481819"/>
                </a:cubicBezTo>
                <a:lnTo>
                  <a:pt x="4948658" y="2545371"/>
                </a:lnTo>
                <a:cubicBezTo>
                  <a:pt x="4945367" y="2554287"/>
                  <a:pt x="4941394" y="2563009"/>
                  <a:pt x="4938561" y="2572055"/>
                </a:cubicBezTo>
                <a:cubicBezTo>
                  <a:pt x="4891773" y="2729547"/>
                  <a:pt x="4841279" y="2886230"/>
                  <a:pt x="4784773" y="3040688"/>
                </a:cubicBezTo>
                <a:cubicBezTo>
                  <a:pt x="4715843" y="3228242"/>
                  <a:pt x="4638756" y="3412454"/>
                  <a:pt x="4548619" y="3590655"/>
                </a:cubicBezTo>
                <a:cubicBezTo>
                  <a:pt x="4462746" y="3759964"/>
                  <a:pt x="4366041" y="3922386"/>
                  <a:pt x="4250458" y="4073335"/>
                </a:cubicBezTo>
                <a:cubicBezTo>
                  <a:pt x="4143196" y="4213270"/>
                  <a:pt x="4022542" y="4339769"/>
                  <a:pt x="3878856" y="4443497"/>
                </a:cubicBezTo>
                <a:cubicBezTo>
                  <a:pt x="3672253" y="4592420"/>
                  <a:pt x="3442748" y="4673364"/>
                  <a:pt x="3186482" y="4674862"/>
                </a:cubicBezTo>
                <a:cubicBezTo>
                  <a:pt x="3087070" y="4675486"/>
                  <a:pt x="2988750" y="4664545"/>
                  <a:pt x="2891514" y="4643798"/>
                </a:cubicBezTo>
                <a:cubicBezTo>
                  <a:pt x="2870856" y="4639405"/>
                  <a:pt x="2849760" y="4637412"/>
                  <a:pt x="2828700" y="4634421"/>
                </a:cubicBezTo>
                <a:lnTo>
                  <a:pt x="2731286" y="4606548"/>
                </a:lnTo>
                <a:cubicBezTo>
                  <a:pt x="2718686" y="4600669"/>
                  <a:pt x="2706718" y="4593450"/>
                  <a:pt x="2693489" y="4588909"/>
                </a:cubicBezTo>
                <a:cubicBezTo>
                  <a:pt x="2541742" y="4536644"/>
                  <a:pt x="2397648" y="4467102"/>
                  <a:pt x="2259009" y="4386231"/>
                </a:cubicBezTo>
                <a:cubicBezTo>
                  <a:pt x="2070375" y="4276141"/>
                  <a:pt x="1894025" y="4148078"/>
                  <a:pt x="1725702" y="4009169"/>
                </a:cubicBezTo>
                <a:cubicBezTo>
                  <a:pt x="1480355" y="3807273"/>
                  <a:pt x="1253033" y="3586266"/>
                  <a:pt x="1036282" y="3354127"/>
                </a:cubicBezTo>
                <a:cubicBezTo>
                  <a:pt x="826552" y="3129305"/>
                  <a:pt x="629305" y="2894407"/>
                  <a:pt x="456082" y="2640093"/>
                </a:cubicBezTo>
                <a:cubicBezTo>
                  <a:pt x="338927" y="2467797"/>
                  <a:pt x="234138" y="2288421"/>
                  <a:pt x="152116" y="2096603"/>
                </a:cubicBezTo>
                <a:cubicBezTo>
                  <a:pt x="86077" y="1942724"/>
                  <a:pt x="36464" y="1783939"/>
                  <a:pt x="13326" y="1617813"/>
                </a:cubicBezTo>
                <a:cubicBezTo>
                  <a:pt x="-5531" y="1481481"/>
                  <a:pt x="-5295" y="1345552"/>
                  <a:pt x="19959" y="1209959"/>
                </a:cubicBezTo>
                <a:cubicBezTo>
                  <a:pt x="24128" y="1187644"/>
                  <a:pt x="27546" y="1165366"/>
                  <a:pt x="31259" y="1142921"/>
                </a:cubicBezTo>
                <a:lnTo>
                  <a:pt x="53053" y="1066752"/>
                </a:lnTo>
                <a:cubicBezTo>
                  <a:pt x="55998" y="1060766"/>
                  <a:pt x="59555" y="1055213"/>
                  <a:pt x="61817" y="1049035"/>
                </a:cubicBezTo>
                <a:cubicBezTo>
                  <a:pt x="76541" y="1013058"/>
                  <a:pt x="89516" y="976325"/>
                  <a:pt x="105769" y="941036"/>
                </a:cubicBezTo>
                <a:cubicBezTo>
                  <a:pt x="170030" y="799921"/>
                  <a:pt x="260001" y="676524"/>
                  <a:pt x="367836" y="565570"/>
                </a:cubicBezTo>
                <a:cubicBezTo>
                  <a:pt x="506395" y="422961"/>
                  <a:pt x="666033" y="307366"/>
                  <a:pt x="837097" y="206920"/>
                </a:cubicBezTo>
                <a:cubicBezTo>
                  <a:pt x="929764" y="152419"/>
                  <a:pt x="1024798" y="102766"/>
                  <a:pt x="1121761" y="57235"/>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CBF662B1-E5B0-48D2-B39D-43A30B4B8A46}"/>
              </a:ext>
            </a:extLst>
          </p:cNvPr>
          <p:cNvSpPr>
            <a:spLocks noGrp="1"/>
          </p:cNvSpPr>
          <p:nvPr>
            <p:ph type="title"/>
          </p:nvPr>
        </p:nvSpPr>
        <p:spPr>
          <a:xfrm>
            <a:off x="6858001" y="230314"/>
            <a:ext cx="5104002" cy="1077218"/>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B142802C-AEEA-4B92-B5B3-0756576E8F5B}"/>
              </a:ext>
            </a:extLst>
          </p:cNvPr>
          <p:cNvSpPr>
            <a:spLocks noGrp="1"/>
          </p:cNvSpPr>
          <p:nvPr>
            <p:ph type="body" sz="quarter" idx="17"/>
          </p:nvPr>
        </p:nvSpPr>
        <p:spPr>
          <a:xfrm>
            <a:off x="6858001" y="843417"/>
            <a:ext cx="5104001"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249830265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18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386458" y="1260375"/>
            <a:ext cx="4397254" cy="4336451"/>
          </a:xfrm>
          <a:custGeom>
            <a:avLst/>
            <a:gdLst>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0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575706 h 4910916"/>
              <a:gd name="connsiteX1" fmla="*/ 1958741 w 7680637"/>
              <a:gd name="connsiteY1" fmla="*/ 578860 h 4910916"/>
              <a:gd name="connsiteX2" fmla="*/ 2359375 w 7680637"/>
              <a:gd name="connsiteY2" fmla="*/ 688177 h 4910916"/>
              <a:gd name="connsiteX3" fmla="*/ 2789536 w 7680637"/>
              <a:gd name="connsiteY3" fmla="*/ 948486 h 4910916"/>
              <a:gd name="connsiteX4" fmla="*/ 3102571 w 7680637"/>
              <a:gd name="connsiteY4" fmla="*/ 1217819 h 4910916"/>
              <a:gd name="connsiteX5" fmla="*/ 3332895 w 7680637"/>
              <a:gd name="connsiteY5" fmla="*/ 1453908 h 4910916"/>
              <a:gd name="connsiteX6" fmla="*/ 3547486 w 7680637"/>
              <a:gd name="connsiteY6" fmla="*/ 1699728 h 4910916"/>
              <a:gd name="connsiteX7" fmla="*/ 3559541 w 7680637"/>
              <a:gd name="connsiteY7" fmla="*/ 1711279 h 4910916"/>
              <a:gd name="connsiteX8" fmla="*/ 3594844 w 7680637"/>
              <a:gd name="connsiteY8" fmla="*/ 1754304 h 4910916"/>
              <a:gd name="connsiteX9" fmla="*/ 3608488 w 7680637"/>
              <a:gd name="connsiteY9" fmla="*/ 1774075 h 4910916"/>
              <a:gd name="connsiteX10" fmla="*/ 3859378 w 7680637"/>
              <a:gd name="connsiteY10" fmla="*/ 2104986 h 4910916"/>
              <a:gd name="connsiteX11" fmla="*/ 4127150 w 7680637"/>
              <a:gd name="connsiteY11" fmla="*/ 2531885 h 4910916"/>
              <a:gd name="connsiteX12" fmla="*/ 4318633 w 7680637"/>
              <a:gd name="connsiteY12" fmla="*/ 2969503 h 4910916"/>
              <a:gd name="connsiteX13" fmla="*/ 4397027 w 7680637"/>
              <a:gd name="connsiteY13" fmla="*/ 3404098 h 4910916"/>
              <a:gd name="connsiteX14" fmla="*/ 4225697 w 7680637"/>
              <a:gd name="connsiteY14" fmla="*/ 3994367 h 4910916"/>
              <a:gd name="connsiteX15" fmla="*/ 4062935 w 7680637"/>
              <a:gd name="connsiteY15" fmla="*/ 4183760 h 4910916"/>
              <a:gd name="connsiteX16" fmla="*/ 4026361 w 7680637"/>
              <a:gd name="connsiteY16" fmla="*/ 4222769 h 4910916"/>
              <a:gd name="connsiteX17" fmla="*/ 3960411 w 7680637"/>
              <a:gd name="connsiteY17" fmla="*/ 4276882 h 4910916"/>
              <a:gd name="connsiteX18" fmla="*/ 3930096 w 7680637"/>
              <a:gd name="connsiteY18" fmla="*/ 4294610 h 4910916"/>
              <a:gd name="connsiteX19" fmla="*/ 3581683 w 7680637"/>
              <a:gd name="connsiteY19" fmla="*/ 4498437 h 4910916"/>
              <a:gd name="connsiteX20" fmla="*/ 3065181 w 7680637"/>
              <a:gd name="connsiteY20" fmla="*/ 4687197 h 4910916"/>
              <a:gd name="connsiteX21" fmla="*/ 2281419 w 7680637"/>
              <a:gd name="connsiteY21" fmla="*/ 4850951 h 4910916"/>
              <a:gd name="connsiteX22" fmla="*/ 1509106 w 7680637"/>
              <a:gd name="connsiteY22" fmla="*/ 4910820 h 4910916"/>
              <a:gd name="connsiteX23" fmla="*/ 987175 w 7680637"/>
              <a:gd name="connsiteY23" fmla="*/ 4861062 h 4910916"/>
              <a:gd name="connsiteX24" fmla="*/ 589146 w 7680637"/>
              <a:gd name="connsiteY24" fmla="*/ 4727900 h 4910916"/>
              <a:gd name="connsiteX25" fmla="*/ 309879 w 7680637"/>
              <a:gd name="connsiteY25" fmla="*/ 4528000 h 4910916"/>
              <a:gd name="connsiteX26" fmla="*/ 268865 w 7680637"/>
              <a:gd name="connsiteY26" fmla="*/ 4488072 h 4910916"/>
              <a:gd name="connsiteX27" fmla="*/ 226554 w 7680637"/>
              <a:gd name="connsiteY27" fmla="*/ 4436505 h 4910916"/>
              <a:gd name="connsiteX28" fmla="*/ 218482 w 7680637"/>
              <a:gd name="connsiteY28" fmla="*/ 4421951 h 4910916"/>
              <a:gd name="connsiteX29" fmla="*/ 164739 w 7680637"/>
              <a:gd name="connsiteY29" fmla="*/ 4339798 h 4910916"/>
              <a:gd name="connsiteX30" fmla="*/ 30218 w 7680637"/>
              <a:gd name="connsiteY30" fmla="*/ 3978516 h 4910916"/>
              <a:gd name="connsiteX31" fmla="*/ 6563 w 7680637"/>
              <a:gd name="connsiteY31" fmla="*/ 3481803 h 4910916"/>
              <a:gd name="connsiteX32" fmla="*/ 94549 w 7680637"/>
              <a:gd name="connsiteY32" fmla="*/ 2948010 h 4910916"/>
              <a:gd name="connsiteX33" fmla="*/ 517592 w 7680637"/>
              <a:gd name="connsiteY33" fmla="*/ 1774309 h 4910916"/>
              <a:gd name="connsiteX34" fmla="*/ 854449 w 7680637"/>
              <a:gd name="connsiteY34" fmla="*/ 1197238 h 4910916"/>
              <a:gd name="connsiteX35" fmla="*/ 1142073 w 7680637"/>
              <a:gd name="connsiteY35" fmla="*/ 876277 h 4910916"/>
              <a:gd name="connsiteX36" fmla="*/ 1156923 w 7680637"/>
              <a:gd name="connsiteY36" fmla="*/ 860124 h 4910916"/>
              <a:gd name="connsiteX37" fmla="*/ 1219944 w 7680637"/>
              <a:gd name="connsiteY37" fmla="*/ 808414 h 4910916"/>
              <a:gd name="connsiteX38" fmla="*/ 1243132 w 7680637"/>
              <a:gd name="connsiteY38" fmla="*/ 793623 h 4910916"/>
              <a:gd name="connsiteX39" fmla="*/ 1408343 w 7680637"/>
              <a:gd name="connsiteY39" fmla="*/ 687974 h 4910916"/>
              <a:gd name="connsiteX40" fmla="*/ 1815121 w 7680637"/>
              <a:gd name="connsiteY40" fmla="*/ 575706 h 4910916"/>
              <a:gd name="connsiteX41" fmla="*/ 5284387 w 7680637"/>
              <a:gd name="connsiteY41" fmla="*/ 2396248 h 4910916"/>
              <a:gd name="connsiteX42" fmla="*/ 7680637 w 7680637"/>
              <a:gd name="connsiteY42" fmla="*/ 0 h 4910916"/>
              <a:gd name="connsiteX43" fmla="*/ 7680637 w 7680637"/>
              <a:gd name="connsiteY43" fmla="*/ 2396248 h 4910916"/>
              <a:gd name="connsiteX44" fmla="*/ 5284387 w 7680637"/>
              <a:gd name="connsiteY44" fmla="*/ 2396248 h 4910916"/>
              <a:gd name="connsiteX0" fmla="*/ 1815121 w 7680637"/>
              <a:gd name="connsiteY0" fmla="*/ 1241 h 4336451"/>
              <a:gd name="connsiteX1" fmla="*/ 1958741 w 7680637"/>
              <a:gd name="connsiteY1" fmla="*/ 4395 h 4336451"/>
              <a:gd name="connsiteX2" fmla="*/ 2359375 w 7680637"/>
              <a:gd name="connsiteY2" fmla="*/ 113712 h 4336451"/>
              <a:gd name="connsiteX3" fmla="*/ 2789536 w 7680637"/>
              <a:gd name="connsiteY3" fmla="*/ 374021 h 4336451"/>
              <a:gd name="connsiteX4" fmla="*/ 3102571 w 7680637"/>
              <a:gd name="connsiteY4" fmla="*/ 643354 h 4336451"/>
              <a:gd name="connsiteX5" fmla="*/ 3332895 w 7680637"/>
              <a:gd name="connsiteY5" fmla="*/ 879443 h 4336451"/>
              <a:gd name="connsiteX6" fmla="*/ 3547486 w 7680637"/>
              <a:gd name="connsiteY6" fmla="*/ 1125263 h 4336451"/>
              <a:gd name="connsiteX7" fmla="*/ 3559541 w 7680637"/>
              <a:gd name="connsiteY7" fmla="*/ 1136814 h 4336451"/>
              <a:gd name="connsiteX8" fmla="*/ 3594844 w 7680637"/>
              <a:gd name="connsiteY8" fmla="*/ 1179839 h 4336451"/>
              <a:gd name="connsiteX9" fmla="*/ 3608488 w 7680637"/>
              <a:gd name="connsiteY9" fmla="*/ 1199610 h 4336451"/>
              <a:gd name="connsiteX10" fmla="*/ 3859378 w 7680637"/>
              <a:gd name="connsiteY10" fmla="*/ 1530521 h 4336451"/>
              <a:gd name="connsiteX11" fmla="*/ 4127150 w 7680637"/>
              <a:gd name="connsiteY11" fmla="*/ 1957420 h 4336451"/>
              <a:gd name="connsiteX12" fmla="*/ 4318633 w 7680637"/>
              <a:gd name="connsiteY12" fmla="*/ 2395038 h 4336451"/>
              <a:gd name="connsiteX13" fmla="*/ 4397027 w 7680637"/>
              <a:gd name="connsiteY13" fmla="*/ 2829633 h 4336451"/>
              <a:gd name="connsiteX14" fmla="*/ 4225697 w 7680637"/>
              <a:gd name="connsiteY14" fmla="*/ 3419902 h 4336451"/>
              <a:gd name="connsiteX15" fmla="*/ 4062935 w 7680637"/>
              <a:gd name="connsiteY15" fmla="*/ 3609295 h 4336451"/>
              <a:gd name="connsiteX16" fmla="*/ 4026361 w 7680637"/>
              <a:gd name="connsiteY16" fmla="*/ 3648304 h 4336451"/>
              <a:gd name="connsiteX17" fmla="*/ 3960411 w 7680637"/>
              <a:gd name="connsiteY17" fmla="*/ 3702417 h 4336451"/>
              <a:gd name="connsiteX18" fmla="*/ 3930096 w 7680637"/>
              <a:gd name="connsiteY18" fmla="*/ 3720145 h 4336451"/>
              <a:gd name="connsiteX19" fmla="*/ 3581683 w 7680637"/>
              <a:gd name="connsiteY19" fmla="*/ 3923972 h 4336451"/>
              <a:gd name="connsiteX20" fmla="*/ 3065181 w 7680637"/>
              <a:gd name="connsiteY20" fmla="*/ 4112732 h 4336451"/>
              <a:gd name="connsiteX21" fmla="*/ 2281419 w 7680637"/>
              <a:gd name="connsiteY21" fmla="*/ 4276486 h 4336451"/>
              <a:gd name="connsiteX22" fmla="*/ 1509106 w 7680637"/>
              <a:gd name="connsiteY22" fmla="*/ 4336355 h 4336451"/>
              <a:gd name="connsiteX23" fmla="*/ 987175 w 7680637"/>
              <a:gd name="connsiteY23" fmla="*/ 4286597 h 4336451"/>
              <a:gd name="connsiteX24" fmla="*/ 589146 w 7680637"/>
              <a:gd name="connsiteY24" fmla="*/ 4153435 h 4336451"/>
              <a:gd name="connsiteX25" fmla="*/ 309879 w 7680637"/>
              <a:gd name="connsiteY25" fmla="*/ 3953535 h 4336451"/>
              <a:gd name="connsiteX26" fmla="*/ 268865 w 7680637"/>
              <a:gd name="connsiteY26" fmla="*/ 3913607 h 4336451"/>
              <a:gd name="connsiteX27" fmla="*/ 226554 w 7680637"/>
              <a:gd name="connsiteY27" fmla="*/ 3862040 h 4336451"/>
              <a:gd name="connsiteX28" fmla="*/ 218482 w 7680637"/>
              <a:gd name="connsiteY28" fmla="*/ 3847486 h 4336451"/>
              <a:gd name="connsiteX29" fmla="*/ 164739 w 7680637"/>
              <a:gd name="connsiteY29" fmla="*/ 3765333 h 4336451"/>
              <a:gd name="connsiteX30" fmla="*/ 30218 w 7680637"/>
              <a:gd name="connsiteY30" fmla="*/ 3404051 h 4336451"/>
              <a:gd name="connsiteX31" fmla="*/ 6563 w 7680637"/>
              <a:gd name="connsiteY31" fmla="*/ 2907338 h 4336451"/>
              <a:gd name="connsiteX32" fmla="*/ 94549 w 7680637"/>
              <a:gd name="connsiteY32" fmla="*/ 2373545 h 4336451"/>
              <a:gd name="connsiteX33" fmla="*/ 517592 w 7680637"/>
              <a:gd name="connsiteY33" fmla="*/ 1199844 h 4336451"/>
              <a:gd name="connsiteX34" fmla="*/ 854449 w 7680637"/>
              <a:gd name="connsiteY34" fmla="*/ 622773 h 4336451"/>
              <a:gd name="connsiteX35" fmla="*/ 1142073 w 7680637"/>
              <a:gd name="connsiteY35" fmla="*/ 301812 h 4336451"/>
              <a:gd name="connsiteX36" fmla="*/ 1156923 w 7680637"/>
              <a:gd name="connsiteY36" fmla="*/ 285659 h 4336451"/>
              <a:gd name="connsiteX37" fmla="*/ 1219944 w 7680637"/>
              <a:gd name="connsiteY37" fmla="*/ 233949 h 4336451"/>
              <a:gd name="connsiteX38" fmla="*/ 1243132 w 7680637"/>
              <a:gd name="connsiteY38" fmla="*/ 219158 h 4336451"/>
              <a:gd name="connsiteX39" fmla="*/ 1408343 w 7680637"/>
              <a:gd name="connsiteY39" fmla="*/ 113509 h 4336451"/>
              <a:gd name="connsiteX40" fmla="*/ 1815121 w 7680637"/>
              <a:gd name="connsiteY40" fmla="*/ 1241 h 4336451"/>
              <a:gd name="connsiteX41" fmla="*/ 5284387 w 7680637"/>
              <a:gd name="connsiteY41" fmla="*/ 1821783 h 4336451"/>
              <a:gd name="connsiteX42" fmla="*/ 7680637 w 7680637"/>
              <a:gd name="connsiteY42" fmla="*/ 1821783 h 4336451"/>
              <a:gd name="connsiteX43" fmla="*/ 5284387 w 7680637"/>
              <a:gd name="connsiteY43" fmla="*/ 1821783 h 4336451"/>
              <a:gd name="connsiteX0" fmla="*/ 1815121 w 4397254"/>
              <a:gd name="connsiteY0" fmla="*/ 1241 h 4336451"/>
              <a:gd name="connsiteX1" fmla="*/ 1958741 w 4397254"/>
              <a:gd name="connsiteY1" fmla="*/ 4395 h 4336451"/>
              <a:gd name="connsiteX2" fmla="*/ 2359375 w 4397254"/>
              <a:gd name="connsiteY2" fmla="*/ 113712 h 4336451"/>
              <a:gd name="connsiteX3" fmla="*/ 2789536 w 4397254"/>
              <a:gd name="connsiteY3" fmla="*/ 374021 h 4336451"/>
              <a:gd name="connsiteX4" fmla="*/ 3102571 w 4397254"/>
              <a:gd name="connsiteY4" fmla="*/ 643354 h 4336451"/>
              <a:gd name="connsiteX5" fmla="*/ 3332895 w 4397254"/>
              <a:gd name="connsiteY5" fmla="*/ 879443 h 4336451"/>
              <a:gd name="connsiteX6" fmla="*/ 3547486 w 4397254"/>
              <a:gd name="connsiteY6" fmla="*/ 1125263 h 4336451"/>
              <a:gd name="connsiteX7" fmla="*/ 3559541 w 4397254"/>
              <a:gd name="connsiteY7" fmla="*/ 1136814 h 4336451"/>
              <a:gd name="connsiteX8" fmla="*/ 3594844 w 4397254"/>
              <a:gd name="connsiteY8" fmla="*/ 1179839 h 4336451"/>
              <a:gd name="connsiteX9" fmla="*/ 3608488 w 4397254"/>
              <a:gd name="connsiteY9" fmla="*/ 1199610 h 4336451"/>
              <a:gd name="connsiteX10" fmla="*/ 3859378 w 4397254"/>
              <a:gd name="connsiteY10" fmla="*/ 1530521 h 4336451"/>
              <a:gd name="connsiteX11" fmla="*/ 4127150 w 4397254"/>
              <a:gd name="connsiteY11" fmla="*/ 1957420 h 4336451"/>
              <a:gd name="connsiteX12" fmla="*/ 4318633 w 4397254"/>
              <a:gd name="connsiteY12" fmla="*/ 2395038 h 4336451"/>
              <a:gd name="connsiteX13" fmla="*/ 4397027 w 4397254"/>
              <a:gd name="connsiteY13" fmla="*/ 2829633 h 4336451"/>
              <a:gd name="connsiteX14" fmla="*/ 4225697 w 4397254"/>
              <a:gd name="connsiteY14" fmla="*/ 3419902 h 4336451"/>
              <a:gd name="connsiteX15" fmla="*/ 4062935 w 4397254"/>
              <a:gd name="connsiteY15" fmla="*/ 3609295 h 4336451"/>
              <a:gd name="connsiteX16" fmla="*/ 4026361 w 4397254"/>
              <a:gd name="connsiteY16" fmla="*/ 3648304 h 4336451"/>
              <a:gd name="connsiteX17" fmla="*/ 3960411 w 4397254"/>
              <a:gd name="connsiteY17" fmla="*/ 3702417 h 4336451"/>
              <a:gd name="connsiteX18" fmla="*/ 3930096 w 4397254"/>
              <a:gd name="connsiteY18" fmla="*/ 3720145 h 4336451"/>
              <a:gd name="connsiteX19" fmla="*/ 3581683 w 4397254"/>
              <a:gd name="connsiteY19" fmla="*/ 3923972 h 4336451"/>
              <a:gd name="connsiteX20" fmla="*/ 3065181 w 4397254"/>
              <a:gd name="connsiteY20" fmla="*/ 4112732 h 4336451"/>
              <a:gd name="connsiteX21" fmla="*/ 2281419 w 4397254"/>
              <a:gd name="connsiteY21" fmla="*/ 4276486 h 4336451"/>
              <a:gd name="connsiteX22" fmla="*/ 1509106 w 4397254"/>
              <a:gd name="connsiteY22" fmla="*/ 4336355 h 4336451"/>
              <a:gd name="connsiteX23" fmla="*/ 987175 w 4397254"/>
              <a:gd name="connsiteY23" fmla="*/ 4286597 h 4336451"/>
              <a:gd name="connsiteX24" fmla="*/ 589146 w 4397254"/>
              <a:gd name="connsiteY24" fmla="*/ 4153435 h 4336451"/>
              <a:gd name="connsiteX25" fmla="*/ 309879 w 4397254"/>
              <a:gd name="connsiteY25" fmla="*/ 3953535 h 4336451"/>
              <a:gd name="connsiteX26" fmla="*/ 268865 w 4397254"/>
              <a:gd name="connsiteY26" fmla="*/ 3913607 h 4336451"/>
              <a:gd name="connsiteX27" fmla="*/ 226554 w 4397254"/>
              <a:gd name="connsiteY27" fmla="*/ 3862040 h 4336451"/>
              <a:gd name="connsiteX28" fmla="*/ 218482 w 4397254"/>
              <a:gd name="connsiteY28" fmla="*/ 3847486 h 4336451"/>
              <a:gd name="connsiteX29" fmla="*/ 164739 w 4397254"/>
              <a:gd name="connsiteY29" fmla="*/ 3765333 h 4336451"/>
              <a:gd name="connsiteX30" fmla="*/ 30218 w 4397254"/>
              <a:gd name="connsiteY30" fmla="*/ 3404051 h 4336451"/>
              <a:gd name="connsiteX31" fmla="*/ 6563 w 4397254"/>
              <a:gd name="connsiteY31" fmla="*/ 2907338 h 4336451"/>
              <a:gd name="connsiteX32" fmla="*/ 94549 w 4397254"/>
              <a:gd name="connsiteY32" fmla="*/ 2373545 h 4336451"/>
              <a:gd name="connsiteX33" fmla="*/ 517592 w 4397254"/>
              <a:gd name="connsiteY33" fmla="*/ 1199844 h 4336451"/>
              <a:gd name="connsiteX34" fmla="*/ 854449 w 4397254"/>
              <a:gd name="connsiteY34" fmla="*/ 622773 h 4336451"/>
              <a:gd name="connsiteX35" fmla="*/ 1142073 w 4397254"/>
              <a:gd name="connsiteY35" fmla="*/ 301812 h 4336451"/>
              <a:gd name="connsiteX36" fmla="*/ 1156923 w 4397254"/>
              <a:gd name="connsiteY36" fmla="*/ 285659 h 4336451"/>
              <a:gd name="connsiteX37" fmla="*/ 1219944 w 4397254"/>
              <a:gd name="connsiteY37" fmla="*/ 233949 h 4336451"/>
              <a:gd name="connsiteX38" fmla="*/ 1243132 w 4397254"/>
              <a:gd name="connsiteY38" fmla="*/ 219158 h 4336451"/>
              <a:gd name="connsiteX39" fmla="*/ 1408343 w 4397254"/>
              <a:gd name="connsiteY39" fmla="*/ 113509 h 4336451"/>
              <a:gd name="connsiteX40" fmla="*/ 1815121 w 4397254"/>
              <a:gd name="connsiteY40" fmla="*/ 1241 h 43364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4397254" h="4336451">
                <a:moveTo>
                  <a:pt x="1815121" y="1241"/>
                </a:moveTo>
                <a:cubicBezTo>
                  <a:pt x="1862318" y="-1137"/>
                  <a:pt x="1910189" y="-102"/>
                  <a:pt x="1958741" y="4395"/>
                </a:cubicBezTo>
                <a:cubicBezTo>
                  <a:pt x="2098628" y="17457"/>
                  <a:pt x="2231379" y="57015"/>
                  <a:pt x="2359375" y="113712"/>
                </a:cubicBezTo>
                <a:cubicBezTo>
                  <a:pt x="2513869" y="182282"/>
                  <a:pt x="2655218" y="272222"/>
                  <a:pt x="2789536" y="374021"/>
                </a:cubicBezTo>
                <a:cubicBezTo>
                  <a:pt x="2899333" y="457559"/>
                  <a:pt x="3002950" y="548021"/>
                  <a:pt x="3102571" y="643354"/>
                </a:cubicBezTo>
                <a:cubicBezTo>
                  <a:pt x="3182202" y="719351"/>
                  <a:pt x="3259630" y="797689"/>
                  <a:pt x="3332895" y="879443"/>
                </a:cubicBezTo>
                <a:cubicBezTo>
                  <a:pt x="3405797" y="960434"/>
                  <a:pt x="3476103" y="1043291"/>
                  <a:pt x="3547486" y="1125263"/>
                </a:cubicBezTo>
                <a:cubicBezTo>
                  <a:pt x="3551145" y="1129408"/>
                  <a:pt x="3555574" y="1132922"/>
                  <a:pt x="3559541" y="1136814"/>
                </a:cubicBezTo>
                <a:lnTo>
                  <a:pt x="3594844" y="1179839"/>
                </a:lnTo>
                <a:cubicBezTo>
                  <a:pt x="3599444" y="1186387"/>
                  <a:pt x="3603581" y="1193315"/>
                  <a:pt x="3608488" y="1199610"/>
                </a:cubicBezTo>
                <a:cubicBezTo>
                  <a:pt x="3695148" y="1307428"/>
                  <a:pt x="3779473" y="1417425"/>
                  <a:pt x="3859378" y="1530521"/>
                </a:cubicBezTo>
                <a:cubicBezTo>
                  <a:pt x="3956253" y="1668069"/>
                  <a:pt x="4046908" y="1809665"/>
                  <a:pt x="4127150" y="1957420"/>
                </a:cubicBezTo>
                <a:cubicBezTo>
                  <a:pt x="4203278" y="2097963"/>
                  <a:pt x="4269448" y="2242711"/>
                  <a:pt x="4318633" y="2395038"/>
                </a:cubicBezTo>
                <a:cubicBezTo>
                  <a:pt x="4364176" y="2536327"/>
                  <a:pt x="4394000" y="2680458"/>
                  <a:pt x="4397027" y="2829633"/>
                </a:cubicBezTo>
                <a:cubicBezTo>
                  <a:pt x="4401223" y="3044022"/>
                  <a:pt x="4347375" y="3241718"/>
                  <a:pt x="4225697" y="3419902"/>
                </a:cubicBezTo>
                <a:cubicBezTo>
                  <a:pt x="4178523" y="3489045"/>
                  <a:pt x="4123864" y="3551893"/>
                  <a:pt x="4062935" y="3609295"/>
                </a:cubicBezTo>
                <a:cubicBezTo>
                  <a:pt x="4050000" y="3621498"/>
                  <a:pt x="4038518" y="3635153"/>
                  <a:pt x="4026361" y="3648304"/>
                </a:cubicBezTo>
                <a:lnTo>
                  <a:pt x="3960411" y="3702417"/>
                </a:lnTo>
                <a:cubicBezTo>
                  <a:pt x="3950306" y="3708327"/>
                  <a:pt x="3939576" y="3713159"/>
                  <a:pt x="3930096" y="3720145"/>
                </a:cubicBezTo>
                <a:cubicBezTo>
                  <a:pt x="3821235" y="3800204"/>
                  <a:pt x="3704076" y="3866689"/>
                  <a:pt x="3581683" y="3923972"/>
                </a:cubicBezTo>
                <a:cubicBezTo>
                  <a:pt x="3415114" y="4001885"/>
                  <a:pt x="3241981" y="4062685"/>
                  <a:pt x="3065181" y="4112732"/>
                </a:cubicBezTo>
                <a:cubicBezTo>
                  <a:pt x="2807878" y="4185956"/>
                  <a:pt x="2545972" y="4237546"/>
                  <a:pt x="2281419" y="4276486"/>
                </a:cubicBezTo>
                <a:cubicBezTo>
                  <a:pt x="2025295" y="4314067"/>
                  <a:pt x="1768171" y="4338178"/>
                  <a:pt x="1509106" y="4336355"/>
                </a:cubicBezTo>
                <a:cubicBezTo>
                  <a:pt x="1333688" y="4334979"/>
                  <a:pt x="1159288" y="4321650"/>
                  <a:pt x="987175" y="4286597"/>
                </a:cubicBezTo>
                <a:cubicBezTo>
                  <a:pt x="848988" y="4258642"/>
                  <a:pt x="715269" y="4216963"/>
                  <a:pt x="589146" y="4153435"/>
                </a:cubicBezTo>
                <a:cubicBezTo>
                  <a:pt x="485705" y="4101209"/>
                  <a:pt x="391685" y="4035954"/>
                  <a:pt x="309879" y="3953535"/>
                </a:cubicBezTo>
                <a:cubicBezTo>
                  <a:pt x="296422" y="3939962"/>
                  <a:pt x="282631" y="3926927"/>
                  <a:pt x="268865" y="3913607"/>
                </a:cubicBezTo>
                <a:lnTo>
                  <a:pt x="226554" y="3862040"/>
                </a:lnTo>
                <a:cubicBezTo>
                  <a:pt x="223819" y="3857134"/>
                  <a:pt x="221677" y="3852011"/>
                  <a:pt x="218482" y="3847486"/>
                </a:cubicBezTo>
                <a:cubicBezTo>
                  <a:pt x="200618" y="3820062"/>
                  <a:pt x="181393" y="3793486"/>
                  <a:pt x="164739" y="3765333"/>
                </a:cubicBezTo>
                <a:cubicBezTo>
                  <a:pt x="97787" y="3653256"/>
                  <a:pt x="55417" y="3531860"/>
                  <a:pt x="30218" y="3404051"/>
                </a:cubicBezTo>
                <a:cubicBezTo>
                  <a:pt x="-2189" y="3239807"/>
                  <a:pt x="-5794" y="3073902"/>
                  <a:pt x="6563" y="2907338"/>
                </a:cubicBezTo>
                <a:cubicBezTo>
                  <a:pt x="19827" y="2726795"/>
                  <a:pt x="51054" y="2548982"/>
                  <a:pt x="94549" y="2373545"/>
                </a:cubicBezTo>
                <a:cubicBezTo>
                  <a:pt x="194967" y="1967715"/>
                  <a:pt x="339184" y="1577558"/>
                  <a:pt x="517592" y="1199844"/>
                </a:cubicBezTo>
                <a:cubicBezTo>
                  <a:pt x="613094" y="997614"/>
                  <a:pt x="722388" y="803389"/>
                  <a:pt x="854449" y="622773"/>
                </a:cubicBezTo>
                <a:cubicBezTo>
                  <a:pt x="939492" y="506147"/>
                  <a:pt x="1031609" y="395627"/>
                  <a:pt x="1142073" y="301812"/>
                </a:cubicBezTo>
                <a:cubicBezTo>
                  <a:pt x="1147644" y="296975"/>
                  <a:pt x="1152023" y="291001"/>
                  <a:pt x="1156923" y="285659"/>
                </a:cubicBezTo>
                <a:lnTo>
                  <a:pt x="1219944" y="233949"/>
                </a:lnTo>
                <a:cubicBezTo>
                  <a:pt x="1227812" y="229081"/>
                  <a:pt x="1236043" y="224975"/>
                  <a:pt x="1243132" y="219158"/>
                </a:cubicBezTo>
                <a:cubicBezTo>
                  <a:pt x="1294110" y="177594"/>
                  <a:pt x="1350030" y="143622"/>
                  <a:pt x="1408343" y="113509"/>
                </a:cubicBezTo>
                <a:cubicBezTo>
                  <a:pt x="1538001" y="46229"/>
                  <a:pt x="1673529" y="8376"/>
                  <a:pt x="1815121" y="1241"/>
                </a:cubicBezTo>
                <a:close/>
              </a:path>
            </a:pathLst>
          </a:cu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96C377F9-FA26-4D7D-8C15-5737D0343826}"/>
              </a:ext>
            </a:extLst>
          </p:cNvPr>
          <p:cNvSpPr>
            <a:spLocks noGrp="1"/>
          </p:cNvSpPr>
          <p:nvPr>
            <p:ph type="title"/>
          </p:nvPr>
        </p:nvSpPr>
        <p:spPr>
          <a:xfrm>
            <a:off x="4296227" y="230314"/>
            <a:ext cx="7665776"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8DEAE418-52E2-4DE7-A31D-BA3FF67BE6A9}"/>
              </a:ext>
            </a:extLst>
          </p:cNvPr>
          <p:cNvSpPr>
            <a:spLocks noGrp="1"/>
          </p:cNvSpPr>
          <p:nvPr>
            <p:ph type="body" sz="quarter" idx="17"/>
          </p:nvPr>
        </p:nvSpPr>
        <p:spPr>
          <a:xfrm>
            <a:off x="4296227" y="843417"/>
            <a:ext cx="7665776"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420777293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491BE572-BFBC-4AB0-AD5F-068ADF6E8832}"/>
              </a:ext>
            </a:extLst>
          </p:cNvPr>
          <p:cNvSpPr>
            <a:spLocks noGrp="1"/>
          </p:cNvSpPr>
          <p:nvPr>
            <p:ph type="body" sz="quarter" idx="10" hasCustomPrompt="1"/>
          </p:nvPr>
        </p:nvSpPr>
        <p:spPr>
          <a:xfrm>
            <a:off x="323529" y="304601"/>
            <a:ext cx="11573197" cy="794064"/>
          </a:xfrm>
          <a:prstGeom prst="rect">
            <a:avLst/>
          </a:prstGeom>
        </p:spPr>
        <p:txBody>
          <a:bodyPr anchor="ctr"/>
          <a:lstStyle>
            <a:lvl1pPr marL="0" indent="0" algn="ctr">
              <a:buNone/>
              <a:defRPr sz="4400" b="0" baseline="0">
                <a:solidFill>
                  <a:schemeClr val="bg1"/>
                </a:solidFill>
                <a:latin typeface="Arial" panose="020B0604020202020204" pitchFamily="34" charset="0"/>
                <a:cs typeface="Arial" pitchFamily="34" charset="0"/>
              </a:defRPr>
            </a:lvl1pPr>
          </a:lstStyle>
          <a:p>
            <a:pPr lvl="0"/>
            <a:r>
              <a:rPr lang="en-US" altLang="ko-KR" dirty="0"/>
              <a:t>BASIC LAYOUT</a:t>
            </a:r>
          </a:p>
        </p:txBody>
      </p:sp>
      <p:sp>
        <p:nvSpPr>
          <p:cNvPr id="8" name="Rectangle 7">
            <a:extLst>
              <a:ext uri="{FF2B5EF4-FFF2-40B4-BE49-F238E27FC236}">
                <a16:creationId xmlns:a16="http://schemas.microsoft.com/office/drawing/2014/main" id="{399BF104-EC94-404E-8BDE-DEDCA22CDF8E}"/>
              </a:ext>
            </a:extLst>
          </p:cNvPr>
          <p:cNvSpPr/>
          <p:nvPr userDrawn="1"/>
        </p:nvSpPr>
        <p:spPr>
          <a:xfrm>
            <a:off x="0" y="-1"/>
            <a:ext cx="12192000" cy="91440"/>
          </a:xfrm>
          <a:prstGeom prst="rect">
            <a:avLst/>
          </a:pr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Rectangle 8">
            <a:extLst>
              <a:ext uri="{FF2B5EF4-FFF2-40B4-BE49-F238E27FC236}">
                <a16:creationId xmlns:a16="http://schemas.microsoft.com/office/drawing/2014/main" id="{FDCD6B62-BF8A-4878-A555-C78F6ABF114E}"/>
              </a:ext>
            </a:extLst>
          </p:cNvPr>
          <p:cNvSpPr/>
          <p:nvPr userDrawn="1"/>
        </p:nvSpPr>
        <p:spPr>
          <a:xfrm>
            <a:off x="0" y="6792686"/>
            <a:ext cx="12192000" cy="65314"/>
          </a:xfrm>
          <a:prstGeom prst="rect">
            <a:avLst/>
          </a:pr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Slide Number Placeholder 1">
            <a:extLst>
              <a:ext uri="{FF2B5EF4-FFF2-40B4-BE49-F238E27FC236}">
                <a16:creationId xmlns:a16="http://schemas.microsoft.com/office/drawing/2014/main" id="{AFB2D5C7-7C82-49E4-9719-2A7B1F92688E}"/>
              </a:ext>
            </a:extLst>
          </p:cNvPr>
          <p:cNvSpPr>
            <a:spLocks noGrp="1"/>
          </p:cNvSpPr>
          <p:nvPr>
            <p:ph type="sldNum" sz="quarter" idx="4"/>
          </p:nvPr>
        </p:nvSpPr>
        <p:spPr>
          <a:xfrm>
            <a:off x="9290050" y="6486525"/>
            <a:ext cx="2901950" cy="371475"/>
          </a:xfrm>
          <a:prstGeom prst="rect">
            <a:avLst/>
          </a:prstGeom>
        </p:spPr>
        <p:txBody>
          <a:bodyPr/>
          <a:lstStyle>
            <a:lvl1pPr algn="r">
              <a:defRPr sz="1200">
                <a:solidFill>
                  <a:schemeClr val="bg1">
                    <a:lumMod val="50000"/>
                    <a:lumOff val="50000"/>
                  </a:schemeClr>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419594198"/>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7_Title Slide">
    <p:spTree>
      <p:nvGrpSpPr>
        <p:cNvPr id="1" name=""/>
        <p:cNvGrpSpPr/>
        <p:nvPr/>
      </p:nvGrpSpPr>
      <p:grpSpPr>
        <a:xfrm>
          <a:off x="0" y="0"/>
          <a:ext cx="0" cy="0"/>
          <a:chOff x="0" y="0"/>
          <a:chExt cx="0" cy="0"/>
        </a:xfrm>
      </p:grpSpPr>
      <p:sp>
        <p:nvSpPr>
          <p:cNvPr id="7" name="Picture Placeholder 3">
            <a:extLst>
              <a:ext uri="{FF2B5EF4-FFF2-40B4-BE49-F238E27FC236}">
                <a16:creationId xmlns:a16="http://schemas.microsoft.com/office/drawing/2014/main" id="{2755FD07-32D4-4A25-A7A2-13926211B760}"/>
              </a:ext>
            </a:extLst>
          </p:cNvPr>
          <p:cNvSpPr>
            <a:spLocks noGrp="1"/>
          </p:cNvSpPr>
          <p:nvPr>
            <p:ph type="pic" sz="quarter" idx="16" hasCustomPrompt="1"/>
          </p:nvPr>
        </p:nvSpPr>
        <p:spPr>
          <a:xfrm>
            <a:off x="0" y="1"/>
            <a:ext cx="12192000" cy="3187700"/>
          </a:xfrm>
          <a:prstGeom prst="rect">
            <a:avLst/>
          </a:prstGeom>
          <a:solidFill>
            <a:schemeClr val="bg1">
              <a:lumMod val="85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6" name="Title 1">
            <a:extLst>
              <a:ext uri="{FF2B5EF4-FFF2-40B4-BE49-F238E27FC236}">
                <a16:creationId xmlns:a16="http://schemas.microsoft.com/office/drawing/2014/main" id="{51F7B841-B016-4EA6-B35A-56DF9234E7A6}"/>
              </a:ext>
            </a:extLst>
          </p:cNvPr>
          <p:cNvSpPr>
            <a:spLocks noGrp="1"/>
          </p:cNvSpPr>
          <p:nvPr>
            <p:ph type="title"/>
          </p:nvPr>
        </p:nvSpPr>
        <p:spPr>
          <a:xfrm>
            <a:off x="723900" y="230314"/>
            <a:ext cx="108204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8" name="Text Placeholder 5">
            <a:extLst>
              <a:ext uri="{FF2B5EF4-FFF2-40B4-BE49-F238E27FC236}">
                <a16:creationId xmlns:a16="http://schemas.microsoft.com/office/drawing/2014/main" id="{4E848E19-DAF4-49BB-B133-74C5F04FFF33}"/>
              </a:ext>
            </a:extLst>
          </p:cNvPr>
          <p:cNvSpPr>
            <a:spLocks noGrp="1"/>
          </p:cNvSpPr>
          <p:nvPr>
            <p:ph type="body" sz="quarter" idx="17"/>
          </p:nvPr>
        </p:nvSpPr>
        <p:spPr>
          <a:xfrm>
            <a:off x="723901" y="843417"/>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2660088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18"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p:nvPr>
        </p:nvSpPr>
        <p:spPr/>
        <p:txBody>
          <a:bodyPr/>
          <a:lstStyle>
            <a:lvl1pPr>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en-US" dirty="0"/>
              <a:t>Click to edit Master title style</a:t>
            </a:r>
            <a:endParaRPr lang="en-GB" dirty="0"/>
          </a:p>
        </p:txBody>
      </p:sp>
      <p:sp>
        <p:nvSpPr>
          <p:cNvPr id="7" name="Text Placeholder 5">
            <a:extLst>
              <a:ext uri="{FF2B5EF4-FFF2-40B4-BE49-F238E27FC236}">
                <a16:creationId xmlns:a16="http://schemas.microsoft.com/office/drawing/2014/main" id="{502DCD3E-688B-4163-B796-566F5536398E}"/>
              </a:ext>
            </a:extLst>
          </p:cNvPr>
          <p:cNvSpPr>
            <a:spLocks noGrp="1"/>
          </p:cNvSpPr>
          <p:nvPr>
            <p:ph type="body" sz="quarter" idx="17"/>
          </p:nvPr>
        </p:nvSpPr>
        <p:spPr>
          <a:xfrm>
            <a:off x="723901" y="843417"/>
            <a:ext cx="10820400"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113724268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BAB6AC99-4036-4871-B44A-163F75919769}"/>
              </a:ext>
            </a:extLst>
          </p:cNvPr>
          <p:cNvSpPr>
            <a:spLocks noGrp="1"/>
          </p:cNvSpPr>
          <p:nvPr>
            <p:ph type="title"/>
          </p:nvPr>
        </p:nvSpPr>
        <p:spPr>
          <a:xfrm>
            <a:off x="723900" y="230315"/>
            <a:ext cx="5219700" cy="1077218"/>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8806BEB1-554E-441B-8143-1262D1DD2187}"/>
              </a:ext>
            </a:extLst>
          </p:cNvPr>
          <p:cNvSpPr>
            <a:spLocks noGrp="1"/>
          </p:cNvSpPr>
          <p:nvPr>
            <p:ph type="body" sz="quarter" idx="17"/>
          </p:nvPr>
        </p:nvSpPr>
        <p:spPr>
          <a:xfrm>
            <a:off x="723901" y="843417"/>
            <a:ext cx="5219699" cy="246221"/>
          </a:xfrm>
        </p:spPr>
        <p:txBody>
          <a:bodyPr lIns="90000"/>
          <a:lstStyle>
            <a:lvl1pPr>
              <a:defRPr>
                <a:solidFill>
                  <a:schemeClr val="tx1"/>
                </a:solidFill>
              </a:defRPr>
            </a:lvl1pPr>
          </a:lstStyle>
          <a:p>
            <a:pPr lvl="0"/>
            <a:r>
              <a:rPr lang="en-US" dirty="0"/>
              <a:t>Edit Master text styles</a:t>
            </a:r>
          </a:p>
        </p:txBody>
      </p:sp>
      <p:sp>
        <p:nvSpPr>
          <p:cNvPr id="5" name="Picture Placeholder 5">
            <a:extLst>
              <a:ext uri="{FF2B5EF4-FFF2-40B4-BE49-F238E27FC236}">
                <a16:creationId xmlns:a16="http://schemas.microsoft.com/office/drawing/2014/main" id="{0A28A75D-08F0-4C74-9485-2A3A830F979B}"/>
              </a:ext>
            </a:extLst>
          </p:cNvPr>
          <p:cNvSpPr>
            <a:spLocks noGrp="1"/>
          </p:cNvSpPr>
          <p:nvPr>
            <p:ph type="pic" sz="quarter" idx="13" hasCustomPrompt="1"/>
          </p:nvPr>
        </p:nvSpPr>
        <p:spPr bwMode="auto">
          <a:xfrm>
            <a:off x="4639333" y="-21085"/>
            <a:ext cx="7552668" cy="6879085"/>
          </a:xfrm>
          <a:custGeom>
            <a:avLst/>
            <a:gdLst>
              <a:gd name="connsiteX0" fmla="*/ 2971144 w 8527206"/>
              <a:gd name="connsiteY0" fmla="*/ 0 h 6858000"/>
              <a:gd name="connsiteX1" fmla="*/ 7752484 w 8527206"/>
              <a:gd name="connsiteY1" fmla="*/ 0 h 6858000"/>
              <a:gd name="connsiteX2" fmla="*/ 7863964 w 8527206"/>
              <a:gd name="connsiteY2" fmla="*/ 173070 h 6858000"/>
              <a:gd name="connsiteX3" fmla="*/ 8367759 w 8527206"/>
              <a:gd name="connsiteY3" fmla="*/ 1196300 h 6858000"/>
              <a:gd name="connsiteX4" fmla="*/ 8527206 w 8527206"/>
              <a:gd name="connsiteY4" fmla="*/ 1631659 h 6858000"/>
              <a:gd name="connsiteX5" fmla="*/ 8527206 w 8527206"/>
              <a:gd name="connsiteY5" fmla="*/ 6858000 h 6858000"/>
              <a:gd name="connsiteX6" fmla="*/ 1968306 w 8527206"/>
              <a:gd name="connsiteY6" fmla="*/ 6858000 h 6858000"/>
              <a:gd name="connsiteX7" fmla="*/ 1963205 w 8527206"/>
              <a:gd name="connsiteY7" fmla="*/ 6855630 h 6858000"/>
              <a:gd name="connsiteX8" fmla="*/ 1098144 w 8527206"/>
              <a:gd name="connsiteY8" fmla="*/ 6340068 h 6858000"/>
              <a:gd name="connsiteX9" fmla="*/ 430707 w 8527206"/>
              <a:gd name="connsiteY9" fmla="*/ 5690993 h 6858000"/>
              <a:gd name="connsiteX10" fmla="*/ 561 w 8527206"/>
              <a:gd name="connsiteY10" fmla="*/ 4468699 h 6858000"/>
              <a:gd name="connsiteX11" fmla="*/ 47377 w 8527206"/>
              <a:gd name="connsiteY11" fmla="*/ 3944319 h 6858000"/>
              <a:gd name="connsiteX12" fmla="*/ 62248 w 8527206"/>
              <a:gd name="connsiteY12" fmla="*/ 3832572 h 6858000"/>
              <a:gd name="connsiteX13" fmla="*/ 108969 w 8527206"/>
              <a:gd name="connsiteY13" fmla="*/ 3658898 h 6858000"/>
              <a:gd name="connsiteX14" fmla="*/ 139210 w 8527206"/>
              <a:gd name="connsiteY14" fmla="*/ 3591318 h 6858000"/>
              <a:gd name="connsiteX15" fmla="*/ 486668 w 8527206"/>
              <a:gd name="connsiteY15" fmla="*/ 2814496 h 6858000"/>
              <a:gd name="connsiteX16" fmla="*/ 1140836 w 8527206"/>
              <a:gd name="connsiteY16" fmla="*/ 1857357 h 6858000"/>
              <a:gd name="connsiteX17" fmla="*/ 2283959 w 8527206"/>
              <a:gd name="connsiteY17" fmla="*/ 615316 h 6858000"/>
              <a:gd name="connsiteX18" fmla="*/ 2889393 w 8527206"/>
              <a:gd name="connsiteY18" fmla="*/ 66398 h 6858000"/>
              <a:gd name="connsiteX0" fmla="*/ 2971144 w 8548017"/>
              <a:gd name="connsiteY0" fmla="*/ 0 h 6858000"/>
              <a:gd name="connsiteX1" fmla="*/ 7752484 w 8548017"/>
              <a:gd name="connsiteY1" fmla="*/ 0 h 6858000"/>
              <a:gd name="connsiteX2" fmla="*/ 7863964 w 8548017"/>
              <a:gd name="connsiteY2" fmla="*/ 173070 h 6858000"/>
              <a:gd name="connsiteX3" fmla="*/ 8548017 w 8548017"/>
              <a:gd name="connsiteY3" fmla="*/ 1036643 h 6858000"/>
              <a:gd name="connsiteX4" fmla="*/ 8527206 w 8548017"/>
              <a:gd name="connsiteY4" fmla="*/ 1631659 h 6858000"/>
              <a:gd name="connsiteX5" fmla="*/ 8527206 w 8548017"/>
              <a:gd name="connsiteY5" fmla="*/ 6858000 h 6858000"/>
              <a:gd name="connsiteX6" fmla="*/ 1968306 w 8548017"/>
              <a:gd name="connsiteY6" fmla="*/ 6858000 h 6858000"/>
              <a:gd name="connsiteX7" fmla="*/ 1963205 w 8548017"/>
              <a:gd name="connsiteY7" fmla="*/ 6855630 h 6858000"/>
              <a:gd name="connsiteX8" fmla="*/ 1098144 w 8548017"/>
              <a:gd name="connsiteY8" fmla="*/ 6340068 h 6858000"/>
              <a:gd name="connsiteX9" fmla="*/ 430707 w 8548017"/>
              <a:gd name="connsiteY9" fmla="*/ 5690993 h 6858000"/>
              <a:gd name="connsiteX10" fmla="*/ 561 w 8548017"/>
              <a:gd name="connsiteY10" fmla="*/ 4468699 h 6858000"/>
              <a:gd name="connsiteX11" fmla="*/ 47377 w 8548017"/>
              <a:gd name="connsiteY11" fmla="*/ 3944319 h 6858000"/>
              <a:gd name="connsiteX12" fmla="*/ 62248 w 8548017"/>
              <a:gd name="connsiteY12" fmla="*/ 3832572 h 6858000"/>
              <a:gd name="connsiteX13" fmla="*/ 108969 w 8548017"/>
              <a:gd name="connsiteY13" fmla="*/ 3658898 h 6858000"/>
              <a:gd name="connsiteX14" fmla="*/ 139210 w 8548017"/>
              <a:gd name="connsiteY14" fmla="*/ 3591318 h 6858000"/>
              <a:gd name="connsiteX15" fmla="*/ 486668 w 8548017"/>
              <a:gd name="connsiteY15" fmla="*/ 2814496 h 6858000"/>
              <a:gd name="connsiteX16" fmla="*/ 1140836 w 8548017"/>
              <a:gd name="connsiteY16" fmla="*/ 1857357 h 6858000"/>
              <a:gd name="connsiteX17" fmla="*/ 2283959 w 8548017"/>
              <a:gd name="connsiteY17" fmla="*/ 615316 h 6858000"/>
              <a:gd name="connsiteX18" fmla="*/ 2889393 w 8548017"/>
              <a:gd name="connsiteY18" fmla="*/ 66398 h 6858000"/>
              <a:gd name="connsiteX19" fmla="*/ 2971144 w 8548017"/>
              <a:gd name="connsiteY19" fmla="*/ 0 h 6858000"/>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548017"/>
              <a:gd name="connsiteY0" fmla="*/ 73672 h 6931672"/>
              <a:gd name="connsiteX1" fmla="*/ 7752484 w 8548017"/>
              <a:gd name="connsiteY1" fmla="*/ 73672 h 6931672"/>
              <a:gd name="connsiteX2" fmla="*/ 8453900 w 8548017"/>
              <a:gd name="connsiteY2" fmla="*/ 0 h 6931672"/>
              <a:gd name="connsiteX3" fmla="*/ 8548017 w 8548017"/>
              <a:gd name="connsiteY3" fmla="*/ 1110315 h 6931672"/>
              <a:gd name="connsiteX4" fmla="*/ 8527206 w 8548017"/>
              <a:gd name="connsiteY4" fmla="*/ 1705331 h 6931672"/>
              <a:gd name="connsiteX5" fmla="*/ 8527206 w 8548017"/>
              <a:gd name="connsiteY5" fmla="*/ 6931672 h 6931672"/>
              <a:gd name="connsiteX6" fmla="*/ 1968306 w 8548017"/>
              <a:gd name="connsiteY6" fmla="*/ 6931672 h 6931672"/>
              <a:gd name="connsiteX7" fmla="*/ 1963205 w 8548017"/>
              <a:gd name="connsiteY7" fmla="*/ 6929302 h 6931672"/>
              <a:gd name="connsiteX8" fmla="*/ 1098144 w 8548017"/>
              <a:gd name="connsiteY8" fmla="*/ 6413740 h 6931672"/>
              <a:gd name="connsiteX9" fmla="*/ 430707 w 8548017"/>
              <a:gd name="connsiteY9" fmla="*/ 5764665 h 6931672"/>
              <a:gd name="connsiteX10" fmla="*/ 561 w 8548017"/>
              <a:gd name="connsiteY10" fmla="*/ 4542371 h 6931672"/>
              <a:gd name="connsiteX11" fmla="*/ 47377 w 8548017"/>
              <a:gd name="connsiteY11" fmla="*/ 4017991 h 6931672"/>
              <a:gd name="connsiteX12" fmla="*/ 62248 w 8548017"/>
              <a:gd name="connsiteY12" fmla="*/ 3906244 h 6931672"/>
              <a:gd name="connsiteX13" fmla="*/ 108969 w 8548017"/>
              <a:gd name="connsiteY13" fmla="*/ 3732570 h 6931672"/>
              <a:gd name="connsiteX14" fmla="*/ 139210 w 8548017"/>
              <a:gd name="connsiteY14" fmla="*/ 3664990 h 6931672"/>
              <a:gd name="connsiteX15" fmla="*/ 486668 w 8548017"/>
              <a:gd name="connsiteY15" fmla="*/ 2888168 h 6931672"/>
              <a:gd name="connsiteX16" fmla="*/ 1140836 w 8548017"/>
              <a:gd name="connsiteY16" fmla="*/ 1931029 h 6931672"/>
              <a:gd name="connsiteX17" fmla="*/ 2283959 w 8548017"/>
              <a:gd name="connsiteY17" fmla="*/ 688988 h 6931672"/>
              <a:gd name="connsiteX18" fmla="*/ 2889393 w 8548017"/>
              <a:gd name="connsiteY18" fmla="*/ 140070 h 6931672"/>
              <a:gd name="connsiteX19" fmla="*/ 2971144 w 8548017"/>
              <a:gd name="connsiteY19" fmla="*/ 73672 h 6931672"/>
              <a:gd name="connsiteX0" fmla="*/ 2971144 w 8601798"/>
              <a:gd name="connsiteY0" fmla="*/ 1101 h 6859101"/>
              <a:gd name="connsiteX1" fmla="*/ 7752484 w 8601798"/>
              <a:gd name="connsiteY1" fmla="*/ 1101 h 6859101"/>
              <a:gd name="connsiteX2" fmla="*/ 8535835 w 8601798"/>
              <a:gd name="connsiteY2" fmla="*/ 0 h 6859101"/>
              <a:gd name="connsiteX3" fmla="*/ 8548017 w 8601798"/>
              <a:gd name="connsiteY3" fmla="*/ 1037744 h 6859101"/>
              <a:gd name="connsiteX4" fmla="*/ 8527206 w 8601798"/>
              <a:gd name="connsiteY4" fmla="*/ 1632760 h 6859101"/>
              <a:gd name="connsiteX5" fmla="*/ 8527206 w 8601798"/>
              <a:gd name="connsiteY5" fmla="*/ 6859101 h 6859101"/>
              <a:gd name="connsiteX6" fmla="*/ 1968306 w 8601798"/>
              <a:gd name="connsiteY6" fmla="*/ 6859101 h 6859101"/>
              <a:gd name="connsiteX7" fmla="*/ 1963205 w 8601798"/>
              <a:gd name="connsiteY7" fmla="*/ 6856731 h 6859101"/>
              <a:gd name="connsiteX8" fmla="*/ 1098144 w 8601798"/>
              <a:gd name="connsiteY8" fmla="*/ 6341169 h 6859101"/>
              <a:gd name="connsiteX9" fmla="*/ 430707 w 8601798"/>
              <a:gd name="connsiteY9" fmla="*/ 5692094 h 6859101"/>
              <a:gd name="connsiteX10" fmla="*/ 561 w 8601798"/>
              <a:gd name="connsiteY10" fmla="*/ 4469800 h 6859101"/>
              <a:gd name="connsiteX11" fmla="*/ 47377 w 8601798"/>
              <a:gd name="connsiteY11" fmla="*/ 3945420 h 6859101"/>
              <a:gd name="connsiteX12" fmla="*/ 62248 w 8601798"/>
              <a:gd name="connsiteY12" fmla="*/ 3833673 h 6859101"/>
              <a:gd name="connsiteX13" fmla="*/ 108969 w 8601798"/>
              <a:gd name="connsiteY13" fmla="*/ 3659999 h 6859101"/>
              <a:gd name="connsiteX14" fmla="*/ 139210 w 8601798"/>
              <a:gd name="connsiteY14" fmla="*/ 3592419 h 6859101"/>
              <a:gd name="connsiteX15" fmla="*/ 486668 w 8601798"/>
              <a:gd name="connsiteY15" fmla="*/ 2815597 h 6859101"/>
              <a:gd name="connsiteX16" fmla="*/ 1140836 w 8601798"/>
              <a:gd name="connsiteY16" fmla="*/ 1858458 h 6859101"/>
              <a:gd name="connsiteX17" fmla="*/ 2283959 w 8601798"/>
              <a:gd name="connsiteY17" fmla="*/ 616417 h 6859101"/>
              <a:gd name="connsiteX18" fmla="*/ 2889393 w 8601798"/>
              <a:gd name="connsiteY18" fmla="*/ 67499 h 6859101"/>
              <a:gd name="connsiteX19" fmla="*/ 2971144 w 8601798"/>
              <a:gd name="connsiteY19" fmla="*/ 1101 h 6859101"/>
              <a:gd name="connsiteX0" fmla="*/ 2971144 w 8875759"/>
              <a:gd name="connsiteY0" fmla="*/ 1101 h 6859101"/>
              <a:gd name="connsiteX1" fmla="*/ 7752484 w 8875759"/>
              <a:gd name="connsiteY1" fmla="*/ 1101 h 6859101"/>
              <a:gd name="connsiteX2" fmla="*/ 8535835 w 8875759"/>
              <a:gd name="connsiteY2" fmla="*/ 0 h 6859101"/>
              <a:gd name="connsiteX3" fmla="*/ 8875759 w 8875759"/>
              <a:gd name="connsiteY3" fmla="*/ 1139344 h 6859101"/>
              <a:gd name="connsiteX4" fmla="*/ 8527206 w 8875759"/>
              <a:gd name="connsiteY4" fmla="*/ 1632760 h 6859101"/>
              <a:gd name="connsiteX5" fmla="*/ 8527206 w 8875759"/>
              <a:gd name="connsiteY5" fmla="*/ 6859101 h 6859101"/>
              <a:gd name="connsiteX6" fmla="*/ 1968306 w 8875759"/>
              <a:gd name="connsiteY6" fmla="*/ 6859101 h 6859101"/>
              <a:gd name="connsiteX7" fmla="*/ 1963205 w 8875759"/>
              <a:gd name="connsiteY7" fmla="*/ 6856731 h 6859101"/>
              <a:gd name="connsiteX8" fmla="*/ 1098144 w 8875759"/>
              <a:gd name="connsiteY8" fmla="*/ 6341169 h 6859101"/>
              <a:gd name="connsiteX9" fmla="*/ 430707 w 8875759"/>
              <a:gd name="connsiteY9" fmla="*/ 5692094 h 6859101"/>
              <a:gd name="connsiteX10" fmla="*/ 561 w 8875759"/>
              <a:gd name="connsiteY10" fmla="*/ 4469800 h 6859101"/>
              <a:gd name="connsiteX11" fmla="*/ 47377 w 8875759"/>
              <a:gd name="connsiteY11" fmla="*/ 3945420 h 6859101"/>
              <a:gd name="connsiteX12" fmla="*/ 62248 w 8875759"/>
              <a:gd name="connsiteY12" fmla="*/ 3833673 h 6859101"/>
              <a:gd name="connsiteX13" fmla="*/ 108969 w 8875759"/>
              <a:gd name="connsiteY13" fmla="*/ 3659999 h 6859101"/>
              <a:gd name="connsiteX14" fmla="*/ 139210 w 8875759"/>
              <a:gd name="connsiteY14" fmla="*/ 3592419 h 6859101"/>
              <a:gd name="connsiteX15" fmla="*/ 486668 w 8875759"/>
              <a:gd name="connsiteY15" fmla="*/ 2815597 h 6859101"/>
              <a:gd name="connsiteX16" fmla="*/ 1140836 w 8875759"/>
              <a:gd name="connsiteY16" fmla="*/ 1858458 h 6859101"/>
              <a:gd name="connsiteX17" fmla="*/ 2283959 w 8875759"/>
              <a:gd name="connsiteY17" fmla="*/ 616417 h 6859101"/>
              <a:gd name="connsiteX18" fmla="*/ 2889393 w 8875759"/>
              <a:gd name="connsiteY18" fmla="*/ 67499 h 6859101"/>
              <a:gd name="connsiteX19" fmla="*/ 2971144 w 8875759"/>
              <a:gd name="connsiteY19" fmla="*/ 1101 h 6859101"/>
              <a:gd name="connsiteX0" fmla="*/ 2971144 w 8875759"/>
              <a:gd name="connsiteY0" fmla="*/ 0 h 6858000"/>
              <a:gd name="connsiteX1" fmla="*/ 7752484 w 8875759"/>
              <a:gd name="connsiteY1" fmla="*/ 0 h 6858000"/>
              <a:gd name="connsiteX2" fmla="*/ 8781642 w 8875759"/>
              <a:gd name="connsiteY2" fmla="*/ 85984 h 6858000"/>
              <a:gd name="connsiteX3" fmla="*/ 8875759 w 8875759"/>
              <a:gd name="connsiteY3" fmla="*/ 1138243 h 6858000"/>
              <a:gd name="connsiteX4" fmla="*/ 8527206 w 8875759"/>
              <a:gd name="connsiteY4" fmla="*/ 1631659 h 6858000"/>
              <a:gd name="connsiteX5" fmla="*/ 8527206 w 8875759"/>
              <a:gd name="connsiteY5" fmla="*/ 6858000 h 6858000"/>
              <a:gd name="connsiteX6" fmla="*/ 1968306 w 8875759"/>
              <a:gd name="connsiteY6" fmla="*/ 6858000 h 6858000"/>
              <a:gd name="connsiteX7" fmla="*/ 1963205 w 8875759"/>
              <a:gd name="connsiteY7" fmla="*/ 6855630 h 6858000"/>
              <a:gd name="connsiteX8" fmla="*/ 1098144 w 8875759"/>
              <a:gd name="connsiteY8" fmla="*/ 6340068 h 6858000"/>
              <a:gd name="connsiteX9" fmla="*/ 430707 w 8875759"/>
              <a:gd name="connsiteY9" fmla="*/ 5690993 h 6858000"/>
              <a:gd name="connsiteX10" fmla="*/ 561 w 8875759"/>
              <a:gd name="connsiteY10" fmla="*/ 4468699 h 6858000"/>
              <a:gd name="connsiteX11" fmla="*/ 47377 w 8875759"/>
              <a:gd name="connsiteY11" fmla="*/ 3944319 h 6858000"/>
              <a:gd name="connsiteX12" fmla="*/ 62248 w 8875759"/>
              <a:gd name="connsiteY12" fmla="*/ 3832572 h 6858000"/>
              <a:gd name="connsiteX13" fmla="*/ 108969 w 8875759"/>
              <a:gd name="connsiteY13" fmla="*/ 3658898 h 6858000"/>
              <a:gd name="connsiteX14" fmla="*/ 139210 w 8875759"/>
              <a:gd name="connsiteY14" fmla="*/ 3591318 h 6858000"/>
              <a:gd name="connsiteX15" fmla="*/ 486668 w 8875759"/>
              <a:gd name="connsiteY15" fmla="*/ 2814496 h 6858000"/>
              <a:gd name="connsiteX16" fmla="*/ 1140836 w 8875759"/>
              <a:gd name="connsiteY16" fmla="*/ 1857357 h 6858000"/>
              <a:gd name="connsiteX17" fmla="*/ 2283959 w 8875759"/>
              <a:gd name="connsiteY17" fmla="*/ 615316 h 6858000"/>
              <a:gd name="connsiteX18" fmla="*/ 2889393 w 8875759"/>
              <a:gd name="connsiteY18" fmla="*/ 66398 h 6858000"/>
              <a:gd name="connsiteX19" fmla="*/ 2971144 w 8875759"/>
              <a:gd name="connsiteY19" fmla="*/ 0 h 6858000"/>
              <a:gd name="connsiteX0" fmla="*/ 2971144 w 8943533"/>
              <a:gd name="connsiteY0" fmla="*/ 1101 h 6859101"/>
              <a:gd name="connsiteX1" fmla="*/ 7752484 w 8943533"/>
              <a:gd name="connsiteY1" fmla="*/ 1101 h 6859101"/>
              <a:gd name="connsiteX2" fmla="*/ 8879965 w 8943533"/>
              <a:gd name="connsiteY2" fmla="*/ 0 h 6859101"/>
              <a:gd name="connsiteX3" fmla="*/ 8875759 w 8943533"/>
              <a:gd name="connsiteY3" fmla="*/ 1139344 h 6859101"/>
              <a:gd name="connsiteX4" fmla="*/ 8527206 w 8943533"/>
              <a:gd name="connsiteY4" fmla="*/ 1632760 h 6859101"/>
              <a:gd name="connsiteX5" fmla="*/ 8527206 w 8943533"/>
              <a:gd name="connsiteY5" fmla="*/ 6859101 h 6859101"/>
              <a:gd name="connsiteX6" fmla="*/ 1968306 w 8943533"/>
              <a:gd name="connsiteY6" fmla="*/ 6859101 h 6859101"/>
              <a:gd name="connsiteX7" fmla="*/ 1963205 w 8943533"/>
              <a:gd name="connsiteY7" fmla="*/ 6856731 h 6859101"/>
              <a:gd name="connsiteX8" fmla="*/ 1098144 w 8943533"/>
              <a:gd name="connsiteY8" fmla="*/ 6341169 h 6859101"/>
              <a:gd name="connsiteX9" fmla="*/ 430707 w 8943533"/>
              <a:gd name="connsiteY9" fmla="*/ 5692094 h 6859101"/>
              <a:gd name="connsiteX10" fmla="*/ 561 w 8943533"/>
              <a:gd name="connsiteY10" fmla="*/ 4469800 h 6859101"/>
              <a:gd name="connsiteX11" fmla="*/ 47377 w 8943533"/>
              <a:gd name="connsiteY11" fmla="*/ 3945420 h 6859101"/>
              <a:gd name="connsiteX12" fmla="*/ 62248 w 8943533"/>
              <a:gd name="connsiteY12" fmla="*/ 3833673 h 6859101"/>
              <a:gd name="connsiteX13" fmla="*/ 108969 w 8943533"/>
              <a:gd name="connsiteY13" fmla="*/ 3659999 h 6859101"/>
              <a:gd name="connsiteX14" fmla="*/ 139210 w 8943533"/>
              <a:gd name="connsiteY14" fmla="*/ 3592419 h 6859101"/>
              <a:gd name="connsiteX15" fmla="*/ 486668 w 8943533"/>
              <a:gd name="connsiteY15" fmla="*/ 2815597 h 6859101"/>
              <a:gd name="connsiteX16" fmla="*/ 1140836 w 8943533"/>
              <a:gd name="connsiteY16" fmla="*/ 1858458 h 6859101"/>
              <a:gd name="connsiteX17" fmla="*/ 2283959 w 8943533"/>
              <a:gd name="connsiteY17" fmla="*/ 616417 h 6859101"/>
              <a:gd name="connsiteX18" fmla="*/ 2889393 w 8943533"/>
              <a:gd name="connsiteY18" fmla="*/ 67499 h 6859101"/>
              <a:gd name="connsiteX19" fmla="*/ 2971144 w 8943533"/>
              <a:gd name="connsiteY19" fmla="*/ 1101 h 6859101"/>
              <a:gd name="connsiteX0" fmla="*/ 2971144 w 8914877"/>
              <a:gd name="connsiteY0" fmla="*/ 1101 h 6859101"/>
              <a:gd name="connsiteX1" fmla="*/ 7752484 w 8914877"/>
              <a:gd name="connsiteY1" fmla="*/ 1101 h 6859101"/>
              <a:gd name="connsiteX2" fmla="*/ 8879965 w 8914877"/>
              <a:gd name="connsiteY2" fmla="*/ 0 h 6859101"/>
              <a:gd name="connsiteX3" fmla="*/ 8498857 w 8914877"/>
              <a:gd name="connsiteY3" fmla="*/ 616830 h 6859101"/>
              <a:gd name="connsiteX4" fmla="*/ 8527206 w 8914877"/>
              <a:gd name="connsiteY4" fmla="*/ 1632760 h 6859101"/>
              <a:gd name="connsiteX5" fmla="*/ 8527206 w 8914877"/>
              <a:gd name="connsiteY5" fmla="*/ 6859101 h 6859101"/>
              <a:gd name="connsiteX6" fmla="*/ 1968306 w 8914877"/>
              <a:gd name="connsiteY6" fmla="*/ 6859101 h 6859101"/>
              <a:gd name="connsiteX7" fmla="*/ 1963205 w 8914877"/>
              <a:gd name="connsiteY7" fmla="*/ 6856731 h 6859101"/>
              <a:gd name="connsiteX8" fmla="*/ 1098144 w 8914877"/>
              <a:gd name="connsiteY8" fmla="*/ 6341169 h 6859101"/>
              <a:gd name="connsiteX9" fmla="*/ 430707 w 8914877"/>
              <a:gd name="connsiteY9" fmla="*/ 5692094 h 6859101"/>
              <a:gd name="connsiteX10" fmla="*/ 561 w 8914877"/>
              <a:gd name="connsiteY10" fmla="*/ 4469800 h 6859101"/>
              <a:gd name="connsiteX11" fmla="*/ 47377 w 8914877"/>
              <a:gd name="connsiteY11" fmla="*/ 3945420 h 6859101"/>
              <a:gd name="connsiteX12" fmla="*/ 62248 w 8914877"/>
              <a:gd name="connsiteY12" fmla="*/ 3833673 h 6859101"/>
              <a:gd name="connsiteX13" fmla="*/ 108969 w 8914877"/>
              <a:gd name="connsiteY13" fmla="*/ 3659999 h 6859101"/>
              <a:gd name="connsiteX14" fmla="*/ 139210 w 8914877"/>
              <a:gd name="connsiteY14" fmla="*/ 3592419 h 6859101"/>
              <a:gd name="connsiteX15" fmla="*/ 486668 w 8914877"/>
              <a:gd name="connsiteY15" fmla="*/ 2815597 h 6859101"/>
              <a:gd name="connsiteX16" fmla="*/ 1140836 w 8914877"/>
              <a:gd name="connsiteY16" fmla="*/ 1858458 h 6859101"/>
              <a:gd name="connsiteX17" fmla="*/ 2283959 w 8914877"/>
              <a:gd name="connsiteY17" fmla="*/ 616417 h 6859101"/>
              <a:gd name="connsiteX18" fmla="*/ 2889393 w 8914877"/>
              <a:gd name="connsiteY18" fmla="*/ 67499 h 6859101"/>
              <a:gd name="connsiteX19" fmla="*/ 2971144 w 8914877"/>
              <a:gd name="connsiteY19" fmla="*/ 1101 h 6859101"/>
              <a:gd name="connsiteX0" fmla="*/ 2971144 w 8527206"/>
              <a:gd name="connsiteY0" fmla="*/ 0 h 6858000"/>
              <a:gd name="connsiteX1" fmla="*/ 7752484 w 8527206"/>
              <a:gd name="connsiteY1" fmla="*/ 0 h 6858000"/>
              <a:gd name="connsiteX2" fmla="*/ 8498857 w 8527206"/>
              <a:gd name="connsiteY2" fmla="*/ 615729 h 6858000"/>
              <a:gd name="connsiteX3" fmla="*/ 8527206 w 8527206"/>
              <a:gd name="connsiteY3" fmla="*/ 1631659 h 6858000"/>
              <a:gd name="connsiteX4" fmla="*/ 8527206 w 8527206"/>
              <a:gd name="connsiteY4" fmla="*/ 6858000 h 6858000"/>
              <a:gd name="connsiteX5" fmla="*/ 1968306 w 8527206"/>
              <a:gd name="connsiteY5" fmla="*/ 6858000 h 6858000"/>
              <a:gd name="connsiteX6" fmla="*/ 1963205 w 8527206"/>
              <a:gd name="connsiteY6" fmla="*/ 6855630 h 6858000"/>
              <a:gd name="connsiteX7" fmla="*/ 1098144 w 8527206"/>
              <a:gd name="connsiteY7" fmla="*/ 6340068 h 6858000"/>
              <a:gd name="connsiteX8" fmla="*/ 430707 w 8527206"/>
              <a:gd name="connsiteY8" fmla="*/ 5690993 h 6858000"/>
              <a:gd name="connsiteX9" fmla="*/ 561 w 8527206"/>
              <a:gd name="connsiteY9" fmla="*/ 4468699 h 6858000"/>
              <a:gd name="connsiteX10" fmla="*/ 47377 w 8527206"/>
              <a:gd name="connsiteY10" fmla="*/ 3944319 h 6858000"/>
              <a:gd name="connsiteX11" fmla="*/ 62248 w 8527206"/>
              <a:gd name="connsiteY11" fmla="*/ 3832572 h 6858000"/>
              <a:gd name="connsiteX12" fmla="*/ 108969 w 8527206"/>
              <a:gd name="connsiteY12" fmla="*/ 3658898 h 6858000"/>
              <a:gd name="connsiteX13" fmla="*/ 139210 w 8527206"/>
              <a:gd name="connsiteY13" fmla="*/ 3591318 h 6858000"/>
              <a:gd name="connsiteX14" fmla="*/ 486668 w 8527206"/>
              <a:gd name="connsiteY14" fmla="*/ 2814496 h 6858000"/>
              <a:gd name="connsiteX15" fmla="*/ 1140836 w 8527206"/>
              <a:gd name="connsiteY15" fmla="*/ 1857357 h 6858000"/>
              <a:gd name="connsiteX16" fmla="*/ 2283959 w 8527206"/>
              <a:gd name="connsiteY16" fmla="*/ 615316 h 6858000"/>
              <a:gd name="connsiteX17" fmla="*/ 2889393 w 8527206"/>
              <a:gd name="connsiteY17" fmla="*/ 66398 h 6858000"/>
              <a:gd name="connsiteX18" fmla="*/ 2971144 w 8527206"/>
              <a:gd name="connsiteY18" fmla="*/ 0 h 6858000"/>
              <a:gd name="connsiteX0" fmla="*/ 2971144 w 8531631"/>
              <a:gd name="connsiteY0" fmla="*/ 8385 h 6866385"/>
              <a:gd name="connsiteX1" fmla="*/ 7752484 w 8531631"/>
              <a:gd name="connsiteY1" fmla="*/ 8385 h 6866385"/>
              <a:gd name="connsiteX2" fmla="*/ 8531631 w 8531631"/>
              <a:gd name="connsiteY2" fmla="*/ 0 h 6866385"/>
              <a:gd name="connsiteX3" fmla="*/ 8527206 w 8531631"/>
              <a:gd name="connsiteY3" fmla="*/ 1640044 h 6866385"/>
              <a:gd name="connsiteX4" fmla="*/ 8527206 w 8531631"/>
              <a:gd name="connsiteY4" fmla="*/ 6866385 h 6866385"/>
              <a:gd name="connsiteX5" fmla="*/ 1968306 w 8531631"/>
              <a:gd name="connsiteY5" fmla="*/ 6866385 h 6866385"/>
              <a:gd name="connsiteX6" fmla="*/ 1963205 w 8531631"/>
              <a:gd name="connsiteY6" fmla="*/ 6864015 h 6866385"/>
              <a:gd name="connsiteX7" fmla="*/ 1098144 w 8531631"/>
              <a:gd name="connsiteY7" fmla="*/ 6348453 h 6866385"/>
              <a:gd name="connsiteX8" fmla="*/ 430707 w 8531631"/>
              <a:gd name="connsiteY8" fmla="*/ 5699378 h 6866385"/>
              <a:gd name="connsiteX9" fmla="*/ 561 w 8531631"/>
              <a:gd name="connsiteY9" fmla="*/ 4477084 h 6866385"/>
              <a:gd name="connsiteX10" fmla="*/ 47377 w 8531631"/>
              <a:gd name="connsiteY10" fmla="*/ 3952704 h 6866385"/>
              <a:gd name="connsiteX11" fmla="*/ 62248 w 8531631"/>
              <a:gd name="connsiteY11" fmla="*/ 3840957 h 6866385"/>
              <a:gd name="connsiteX12" fmla="*/ 108969 w 8531631"/>
              <a:gd name="connsiteY12" fmla="*/ 3667283 h 6866385"/>
              <a:gd name="connsiteX13" fmla="*/ 139210 w 8531631"/>
              <a:gd name="connsiteY13" fmla="*/ 3599703 h 6866385"/>
              <a:gd name="connsiteX14" fmla="*/ 486668 w 8531631"/>
              <a:gd name="connsiteY14" fmla="*/ 2822881 h 6866385"/>
              <a:gd name="connsiteX15" fmla="*/ 1140836 w 8531631"/>
              <a:gd name="connsiteY15" fmla="*/ 1865742 h 6866385"/>
              <a:gd name="connsiteX16" fmla="*/ 2283959 w 8531631"/>
              <a:gd name="connsiteY16" fmla="*/ 623701 h 6866385"/>
              <a:gd name="connsiteX17" fmla="*/ 2889393 w 8531631"/>
              <a:gd name="connsiteY17" fmla="*/ 74783 h 6866385"/>
              <a:gd name="connsiteX18" fmla="*/ 2971144 w 8531631"/>
              <a:gd name="connsiteY18" fmla="*/ 8385 h 6866385"/>
              <a:gd name="connsiteX0" fmla="*/ 2971144 w 8527206"/>
              <a:gd name="connsiteY0" fmla="*/ 21085 h 6879085"/>
              <a:gd name="connsiteX1" fmla="*/ 7752484 w 8527206"/>
              <a:gd name="connsiteY1" fmla="*/ 21085 h 6879085"/>
              <a:gd name="connsiteX2" fmla="*/ 8517292 w 8527206"/>
              <a:gd name="connsiteY2" fmla="*/ 0 h 6879085"/>
              <a:gd name="connsiteX3" fmla="*/ 8527206 w 8527206"/>
              <a:gd name="connsiteY3" fmla="*/ 1652744 h 6879085"/>
              <a:gd name="connsiteX4" fmla="*/ 8527206 w 8527206"/>
              <a:gd name="connsiteY4" fmla="*/ 6879085 h 6879085"/>
              <a:gd name="connsiteX5" fmla="*/ 1968306 w 8527206"/>
              <a:gd name="connsiteY5" fmla="*/ 6879085 h 6879085"/>
              <a:gd name="connsiteX6" fmla="*/ 1963205 w 8527206"/>
              <a:gd name="connsiteY6" fmla="*/ 6876715 h 6879085"/>
              <a:gd name="connsiteX7" fmla="*/ 1098144 w 8527206"/>
              <a:gd name="connsiteY7" fmla="*/ 6361153 h 6879085"/>
              <a:gd name="connsiteX8" fmla="*/ 430707 w 8527206"/>
              <a:gd name="connsiteY8" fmla="*/ 5712078 h 6879085"/>
              <a:gd name="connsiteX9" fmla="*/ 561 w 8527206"/>
              <a:gd name="connsiteY9" fmla="*/ 4489784 h 6879085"/>
              <a:gd name="connsiteX10" fmla="*/ 47377 w 8527206"/>
              <a:gd name="connsiteY10" fmla="*/ 3965404 h 6879085"/>
              <a:gd name="connsiteX11" fmla="*/ 62248 w 8527206"/>
              <a:gd name="connsiteY11" fmla="*/ 3853657 h 6879085"/>
              <a:gd name="connsiteX12" fmla="*/ 108969 w 8527206"/>
              <a:gd name="connsiteY12" fmla="*/ 3679983 h 6879085"/>
              <a:gd name="connsiteX13" fmla="*/ 139210 w 8527206"/>
              <a:gd name="connsiteY13" fmla="*/ 3612403 h 6879085"/>
              <a:gd name="connsiteX14" fmla="*/ 486668 w 8527206"/>
              <a:gd name="connsiteY14" fmla="*/ 2835581 h 6879085"/>
              <a:gd name="connsiteX15" fmla="*/ 1140836 w 8527206"/>
              <a:gd name="connsiteY15" fmla="*/ 1878442 h 6879085"/>
              <a:gd name="connsiteX16" fmla="*/ 2283959 w 8527206"/>
              <a:gd name="connsiteY16" fmla="*/ 636401 h 6879085"/>
              <a:gd name="connsiteX17" fmla="*/ 2889393 w 8527206"/>
              <a:gd name="connsiteY17" fmla="*/ 87483 h 6879085"/>
              <a:gd name="connsiteX18" fmla="*/ 2971144 w 8527206"/>
              <a:gd name="connsiteY18" fmla="*/ 21085 h 687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8527206" h="6879085">
                <a:moveTo>
                  <a:pt x="2971144" y="21085"/>
                </a:moveTo>
                <a:lnTo>
                  <a:pt x="7752484" y="21085"/>
                </a:lnTo>
                <a:lnTo>
                  <a:pt x="8517292" y="0"/>
                </a:lnTo>
                <a:cubicBezTo>
                  <a:pt x="8520597" y="550915"/>
                  <a:pt x="8523901" y="1101829"/>
                  <a:pt x="8527206" y="1652744"/>
                </a:cubicBezTo>
                <a:lnTo>
                  <a:pt x="8527206" y="6879085"/>
                </a:lnTo>
                <a:lnTo>
                  <a:pt x="1968306" y="6879085"/>
                </a:lnTo>
                <a:lnTo>
                  <a:pt x="1963205" y="6876715"/>
                </a:lnTo>
                <a:cubicBezTo>
                  <a:pt x="1660296" y="6729085"/>
                  <a:pt x="1369305" y="6562034"/>
                  <a:pt x="1098144" y="6361153"/>
                </a:cubicBezTo>
                <a:cubicBezTo>
                  <a:pt x="846763" y="6174731"/>
                  <a:pt x="618854" y="5964164"/>
                  <a:pt x="430707" y="5712078"/>
                </a:cubicBezTo>
                <a:cubicBezTo>
                  <a:pt x="160576" y="5349599"/>
                  <a:pt x="10446" y="4944560"/>
                  <a:pt x="561" y="4489784"/>
                </a:cubicBezTo>
                <a:cubicBezTo>
                  <a:pt x="-3349" y="4313367"/>
                  <a:pt x="13298" y="4138562"/>
                  <a:pt x="47377" y="3965404"/>
                </a:cubicBezTo>
                <a:cubicBezTo>
                  <a:pt x="54591" y="3928616"/>
                  <a:pt x="57532" y="3891117"/>
                  <a:pt x="62248" y="3853657"/>
                </a:cubicBezTo>
                <a:lnTo>
                  <a:pt x="108969" y="3679983"/>
                </a:lnTo>
                <a:cubicBezTo>
                  <a:pt x="119050" y="3657455"/>
                  <a:pt x="131522" y="3636010"/>
                  <a:pt x="139210" y="3612403"/>
                </a:cubicBezTo>
                <a:cubicBezTo>
                  <a:pt x="227692" y="3341611"/>
                  <a:pt x="347049" y="3083914"/>
                  <a:pt x="486668" y="2835581"/>
                </a:cubicBezTo>
                <a:cubicBezTo>
                  <a:pt x="676736" y="2497691"/>
                  <a:pt x="899048" y="2181095"/>
                  <a:pt x="1140836" y="1878442"/>
                </a:cubicBezTo>
                <a:cubicBezTo>
                  <a:pt x="1492243" y="1437311"/>
                  <a:pt x="1878074" y="1027633"/>
                  <a:pt x="2283959" y="636401"/>
                </a:cubicBezTo>
                <a:cubicBezTo>
                  <a:pt x="2480507" y="447118"/>
                  <a:pt x="2681614" y="263303"/>
                  <a:pt x="2889393" y="87483"/>
                </a:cubicBezTo>
                <a:lnTo>
                  <a:pt x="2971144" y="21085"/>
                </a:lnTo>
                <a:close/>
              </a:path>
            </a:pathLst>
          </a:custGeom>
          <a:solidFill>
            <a:schemeClr val="accent6">
              <a:lumMod val="20000"/>
              <a:lumOff val="80000"/>
            </a:schemeClr>
          </a:solid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Tree>
    <p:extLst>
      <p:ext uri="{BB962C8B-B14F-4D97-AF65-F5344CB8AC3E}">
        <p14:creationId xmlns:p14="http://schemas.microsoft.com/office/powerpoint/2010/main" val="313516349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5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0" y="0"/>
            <a:ext cx="4992914"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3" name="Title 1">
            <a:extLst>
              <a:ext uri="{FF2B5EF4-FFF2-40B4-BE49-F238E27FC236}">
                <a16:creationId xmlns:a16="http://schemas.microsoft.com/office/drawing/2014/main" id="{D761995D-0DF1-4E05-86F9-8FDA25736C54}"/>
              </a:ext>
            </a:extLst>
          </p:cNvPr>
          <p:cNvSpPr>
            <a:spLocks noGrp="1"/>
          </p:cNvSpPr>
          <p:nvPr>
            <p:ph type="title"/>
          </p:nvPr>
        </p:nvSpPr>
        <p:spPr>
          <a:xfrm>
            <a:off x="5237427" y="230315"/>
            <a:ext cx="6620744"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6" name="Text Placeholder 5">
            <a:extLst>
              <a:ext uri="{FF2B5EF4-FFF2-40B4-BE49-F238E27FC236}">
                <a16:creationId xmlns:a16="http://schemas.microsoft.com/office/drawing/2014/main" id="{634D9C7A-5BAD-4769-A6FA-F5D17B27ACD4}"/>
              </a:ext>
            </a:extLst>
          </p:cNvPr>
          <p:cNvSpPr>
            <a:spLocks noGrp="1"/>
          </p:cNvSpPr>
          <p:nvPr>
            <p:ph type="body" sz="quarter" idx="17"/>
          </p:nvPr>
        </p:nvSpPr>
        <p:spPr>
          <a:xfrm>
            <a:off x="5237427" y="843417"/>
            <a:ext cx="6620744"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6545053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6_Title Slide">
    <p:spTree>
      <p:nvGrpSpPr>
        <p:cNvPr id="1" name=""/>
        <p:cNvGrpSpPr/>
        <p:nvPr/>
      </p:nvGrpSpPr>
      <p:grpSpPr>
        <a:xfrm>
          <a:off x="0" y="0"/>
          <a:ext cx="0" cy="0"/>
          <a:chOff x="0" y="0"/>
          <a:chExt cx="0" cy="0"/>
        </a:xfrm>
      </p:grpSpPr>
      <p:sp>
        <p:nvSpPr>
          <p:cNvPr id="4" name="Picture Placeholder 3"/>
          <p:cNvSpPr>
            <a:spLocks noGrp="1"/>
          </p:cNvSpPr>
          <p:nvPr>
            <p:ph type="pic" sz="quarter" idx="16" hasCustomPrompt="1"/>
          </p:nvPr>
        </p:nvSpPr>
        <p:spPr>
          <a:xfrm>
            <a:off x="7199086" y="0"/>
            <a:ext cx="4992914" cy="6857999"/>
          </a:xfrm>
          <a:prstGeom prst="rect">
            <a:avLst/>
          </a:prstGeom>
          <a:pattFill prst="pct10">
            <a:fgClr>
              <a:schemeClr val="tx1"/>
            </a:fgClr>
            <a:bgClr>
              <a:schemeClr val="bg1"/>
            </a:bgClr>
          </a:pattFill>
        </p:spPr>
        <p:txBody>
          <a:bodyPr wrap="square" anchor="ctr">
            <a:noAutofit/>
          </a:bodyPr>
          <a:lstStyle>
            <a:lvl1pPr algn="ctr">
              <a:defRPr sz="1600" b="0" i="0">
                <a:latin typeface="Titillium" charset="0"/>
                <a:ea typeface="Titillium" charset="0"/>
                <a:cs typeface="Titillium" charset="0"/>
              </a:defRPr>
            </a:lvl1pPr>
          </a:lstStyle>
          <a:p>
            <a:r>
              <a:rPr lang="en-US" dirty="0"/>
              <a:t>Insert Image</a:t>
            </a:r>
          </a:p>
        </p:txBody>
      </p:sp>
      <p:sp>
        <p:nvSpPr>
          <p:cNvPr id="7" name="Title 1">
            <a:extLst>
              <a:ext uri="{FF2B5EF4-FFF2-40B4-BE49-F238E27FC236}">
                <a16:creationId xmlns:a16="http://schemas.microsoft.com/office/drawing/2014/main" id="{82560FEA-821F-4038-85D3-E058A399FEAA}"/>
              </a:ext>
            </a:extLst>
          </p:cNvPr>
          <p:cNvSpPr>
            <a:spLocks noGrp="1"/>
          </p:cNvSpPr>
          <p:nvPr>
            <p:ph type="title"/>
          </p:nvPr>
        </p:nvSpPr>
        <p:spPr>
          <a:xfrm>
            <a:off x="723900" y="230315"/>
            <a:ext cx="6324600" cy="584775"/>
          </a:xfrm>
        </p:spPr>
        <p:txBody>
          <a:bodyPr>
            <a:spAutoFit/>
          </a:bodyPr>
          <a:lstStyle>
            <a:lvl1pPr>
              <a:defRPr lang="en-GB" dirty="0">
                <a:latin typeface="Open Sans" panose="020B0606030504020204" pitchFamily="34" charset="0"/>
                <a:ea typeface="Open Sans" panose="020B0606030504020204" pitchFamily="34" charset="0"/>
                <a:cs typeface="Open Sans" panose="020B0606030504020204" pitchFamily="34" charset="0"/>
              </a:defRPr>
            </a:lvl1pPr>
          </a:lstStyle>
          <a:p>
            <a:pPr lvl="0"/>
            <a:r>
              <a:rPr lang="en-US" dirty="0"/>
              <a:t>Click to edit Master title style</a:t>
            </a:r>
            <a:endParaRPr lang="en-GB" dirty="0"/>
          </a:p>
        </p:txBody>
      </p:sp>
      <p:sp>
        <p:nvSpPr>
          <p:cNvPr id="9" name="Text Placeholder 5">
            <a:extLst>
              <a:ext uri="{FF2B5EF4-FFF2-40B4-BE49-F238E27FC236}">
                <a16:creationId xmlns:a16="http://schemas.microsoft.com/office/drawing/2014/main" id="{695859B5-3F97-4723-B598-3A1EF775910E}"/>
              </a:ext>
            </a:extLst>
          </p:cNvPr>
          <p:cNvSpPr>
            <a:spLocks noGrp="1"/>
          </p:cNvSpPr>
          <p:nvPr>
            <p:ph type="body" sz="quarter" idx="17"/>
          </p:nvPr>
        </p:nvSpPr>
        <p:spPr>
          <a:xfrm>
            <a:off x="723901" y="843417"/>
            <a:ext cx="6324599" cy="246221"/>
          </a:xfrm>
        </p:spPr>
        <p:txBody>
          <a:bodyPr lIns="90000"/>
          <a:lstStyle>
            <a:lvl1pPr>
              <a:defRPr>
                <a:solidFill>
                  <a:schemeClr val="tx1"/>
                </a:solidFill>
              </a:defRPr>
            </a:lvl1pPr>
          </a:lstStyle>
          <a:p>
            <a:pPr lvl="0"/>
            <a:r>
              <a:rPr lang="en-US" dirty="0"/>
              <a:t>Edit Master text styles</a:t>
            </a:r>
          </a:p>
        </p:txBody>
      </p:sp>
    </p:spTree>
    <p:extLst>
      <p:ext uri="{BB962C8B-B14F-4D97-AF65-F5344CB8AC3E}">
        <p14:creationId xmlns:p14="http://schemas.microsoft.com/office/powerpoint/2010/main" val="313610337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guide id="3" pos="1128">
          <p15:clr>
            <a:srgbClr val="FBAE40"/>
          </p15:clr>
        </p15:guide>
        <p15:guide id="4" pos="6552">
          <p15:clr>
            <a:srgbClr val="FBAE40"/>
          </p15:clr>
        </p15:guide>
        <p15:guide id="5" orient="horz" pos="480">
          <p15:clr>
            <a:srgbClr val="FBAE40"/>
          </p15:clr>
        </p15:guide>
        <p15:guide id="6" orient="horz"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slidemodel2">
    <p:bg>
      <p:bgPr>
        <a:gradFill flip="none" rotWithShape="1">
          <a:gsLst>
            <a:gs pos="55000">
              <a:srgbClr val="1181AE"/>
            </a:gs>
            <a:gs pos="0">
              <a:srgbClr val="1181AE"/>
            </a:gs>
            <a:gs pos="100000">
              <a:srgbClr val="095474"/>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218672" y="2870634"/>
            <a:ext cx="5932223" cy="711081"/>
          </a:xfrm>
        </p:spPr>
        <p:txBody>
          <a:bodyPr>
            <a:normAutofit/>
          </a:bodyPr>
          <a:lstStyle>
            <a:lvl1pPr algn="ctr">
              <a:defRPr sz="3600" b="0">
                <a:solidFill>
                  <a:schemeClr val="bg1"/>
                </a:solidFill>
                <a:effectLst>
                  <a:outerShdw blurRad="38100" dist="38100" dir="2700000" algn="tl">
                    <a:srgbClr val="000000">
                      <a:alpha val="43137"/>
                    </a:srgbClr>
                  </a:outerShdw>
                </a:effectLst>
                <a:latin typeface="+mj-lt"/>
                <a:ea typeface="Open Sans" pitchFamily="34" charset="0"/>
                <a:cs typeface="Open Sans" pitchFamily="34" charset="0"/>
              </a:defRPr>
            </a:lvl1pPr>
          </a:lstStyle>
          <a:p>
            <a:r>
              <a:rPr lang="en-US" dirty="0"/>
              <a:t>SlideModel.com</a:t>
            </a:r>
          </a:p>
        </p:txBody>
      </p:sp>
    </p:spTree>
    <p:extLst>
      <p:ext uri="{BB962C8B-B14F-4D97-AF65-F5344CB8AC3E}">
        <p14:creationId xmlns:p14="http://schemas.microsoft.com/office/powerpoint/2010/main" val="138709039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302" y="1752654"/>
            <a:ext cx="8964248" cy="2331637"/>
          </a:xfrm>
          <a:prstGeom prst="rect">
            <a:avLst/>
          </a:prstGeom>
          <a:solidFill>
            <a:srgbClr val="FFB9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chemeClr val="tx1"/>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chemeClr val="tx1"/>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pic>
        <p:nvPicPr>
          <p:cNvPr id="3" name="Picture 2" descr="A close up of a sign&#10;&#10;Description generated with high confidence">
            <a:extLst>
              <a:ext uri="{FF2B5EF4-FFF2-40B4-BE49-F238E27FC236}">
                <a16:creationId xmlns:a16="http://schemas.microsoft.com/office/drawing/2014/main" id="{707CF559-A3D7-4C0A-B824-E1E104BBBCF2}"/>
              </a:ext>
            </a:extLst>
          </p:cNvPr>
          <p:cNvPicPr>
            <a:picLocks noChangeAspect="1"/>
          </p:cNvPicPr>
          <p:nvPr userDrawn="1"/>
        </p:nvPicPr>
        <p:blipFill>
          <a:blip r:embed="rId3"/>
          <a:stretch>
            <a:fillRect/>
          </a:stretch>
        </p:blipFill>
        <p:spPr>
          <a:xfrm>
            <a:off x="10391655" y="6112970"/>
            <a:ext cx="1655896" cy="627586"/>
          </a:xfrm>
          <a:prstGeom prst="rect">
            <a:avLst/>
          </a:prstGeom>
        </p:spPr>
      </p:pic>
    </p:spTree>
    <p:extLst>
      <p:ext uri="{BB962C8B-B14F-4D97-AF65-F5344CB8AC3E}">
        <p14:creationId xmlns:p14="http://schemas.microsoft.com/office/powerpoint/2010/main" val="36326033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51844551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0213843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Title Slide 3 for internal audiences">
    <p:spTree>
      <p:nvGrpSpPr>
        <p:cNvPr id="1" name=""/>
        <p:cNvGrpSpPr/>
        <p:nvPr/>
      </p:nvGrpSpPr>
      <p:grpSpPr>
        <a:xfrm>
          <a:off x="0" y="0"/>
          <a:ext cx="0" cy="0"/>
          <a:chOff x="0" y="0"/>
          <a:chExt cx="0" cy="0"/>
        </a:xfrm>
      </p:grpSpPr>
      <p:sp>
        <p:nvSpPr>
          <p:cNvPr id="8" name="Rectangle 7"/>
          <p:cNvSpPr/>
          <p:nvPr userDrawn="1"/>
        </p:nvSpPr>
        <p:spPr bwMode="auto">
          <a:xfrm>
            <a:off x="269239" y="2084172"/>
            <a:ext cx="8964248" cy="3586208"/>
          </a:xfrm>
          <a:prstGeom prst="rect">
            <a:avLst/>
          </a:prstGeom>
          <a:solidFill>
            <a:srgbClr val="00D8C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5" name="Title 1"/>
          <p:cNvSpPr>
            <a:spLocks noGrp="1"/>
          </p:cNvSpPr>
          <p:nvPr>
            <p:ph type="title" hasCustomPrompt="1"/>
          </p:nvPr>
        </p:nvSpPr>
        <p:spPr>
          <a:xfrm>
            <a:off x="269302" y="2081644"/>
            <a:ext cx="8964248" cy="1795633"/>
          </a:xfrm>
          <a:noFill/>
        </p:spPr>
        <p:txBody>
          <a:bodyPr lIns="146304" tIns="91440" rIns="146304" bIns="91440" anchor="t" anchorCtr="0"/>
          <a:lstStyle>
            <a:lvl1pPr>
              <a:defRPr sz="5882" spc="-98" baseline="0">
                <a:solidFill>
                  <a:srgbClr val="000000"/>
                </a:solidFill>
              </a:defRPr>
            </a:lvl1pPr>
          </a:lstStyle>
          <a:p>
            <a:r>
              <a:rPr lang="en-US" dirty="0"/>
              <a:t>Presentation title</a:t>
            </a:r>
          </a:p>
        </p:txBody>
      </p:sp>
      <p:sp>
        <p:nvSpPr>
          <p:cNvPr id="16" name="Text Placeholder 4"/>
          <p:cNvSpPr>
            <a:spLocks noGrp="1"/>
          </p:cNvSpPr>
          <p:nvPr>
            <p:ph type="body" sz="quarter" idx="12" hasCustomPrompt="1"/>
          </p:nvPr>
        </p:nvSpPr>
        <p:spPr>
          <a:xfrm>
            <a:off x="269302" y="3877276"/>
            <a:ext cx="8964248" cy="1793105"/>
          </a:xfrm>
          <a:noFill/>
        </p:spPr>
        <p:txBody>
          <a:bodyPr lIns="146304" tIns="109728" rIns="146304" bIns="109728">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327132493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37">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591921533"/>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Slide 4">
    <p:spTree>
      <p:nvGrpSpPr>
        <p:cNvPr id="1" name=""/>
        <p:cNvGrpSpPr/>
        <p:nvPr/>
      </p:nvGrpSpPr>
      <p:grpSpPr>
        <a:xfrm>
          <a:off x="0" y="0"/>
          <a:ext cx="0" cy="0"/>
          <a:chOff x="0" y="0"/>
          <a:chExt cx="0" cy="0"/>
        </a:xfrm>
      </p:grpSpPr>
      <p:pic>
        <p:nvPicPr>
          <p:cNvPr id="7"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2" y="1"/>
            <a:ext cx="12192001" cy="6857999"/>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0"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075969244"/>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2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16" name="Rectangle 15"/>
          <p:cNvSpPr/>
          <p:nvPr userDrawn="1"/>
        </p:nvSpPr>
        <p:spPr>
          <a:xfrm rot="10800000" flipH="1">
            <a:off x="0" y="2084186"/>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615836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34004"/>
            <a:ext cx="12192000" cy="6892004"/>
          </a:xfrm>
          <a:prstGeom prst="rect">
            <a:avLst/>
          </a:prstGeom>
        </p:spPr>
      </p:pic>
      <p:sp>
        <p:nvSpPr>
          <p:cNvPr id="9" name="Rectangle 8"/>
          <p:cNvSpPr/>
          <p:nvPr userDrawn="1"/>
        </p:nvSpPr>
        <p:spPr>
          <a:xfrm rot="10800000" flipH="1" flipV="1">
            <a:off x="0" y="0"/>
            <a:ext cx="11653773" cy="7642748"/>
          </a:xfrm>
          <a:prstGeom prst="rect">
            <a:avLst/>
          </a:prstGeom>
          <a:gradFill flip="none" rotWithShape="1">
            <a:gsLst>
              <a:gs pos="0">
                <a:schemeClr val="bg1">
                  <a:alpha val="22000"/>
                </a:schemeClr>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989792207"/>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5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4004"/>
            <a:ext cx="12192000" cy="6892004"/>
          </a:xfrm>
          <a:prstGeom prst="rect">
            <a:avLst/>
          </a:prstGeom>
        </p:spPr>
      </p:pic>
      <p:sp>
        <p:nvSpPr>
          <p:cNvPr id="20" name="Rectangle 19"/>
          <p:cNvSpPr/>
          <p:nvPr userDrawn="1"/>
        </p:nvSpPr>
        <p:spPr>
          <a:xfrm rot="10800000" flipH="1">
            <a:off x="0" y="2084186"/>
            <a:ext cx="6633849" cy="4773813"/>
          </a:xfrm>
          <a:prstGeom prst="rect">
            <a:avLst/>
          </a:prstGeom>
          <a:gradFill flip="none" rotWithShape="1">
            <a:gsLst>
              <a:gs pos="0">
                <a:schemeClr val="tx1"/>
              </a:gs>
              <a:gs pos="28000">
                <a:schemeClr val="tx1">
                  <a:alpha val="0"/>
                </a:schemeClr>
              </a:gs>
            </a:gsLst>
            <a:lin ang="4380000" scaled="0"/>
            <a:tileRect/>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242136632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6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flipH="1">
            <a:off x="0" y="-34004"/>
            <a:ext cx="12192000" cy="6892004"/>
          </a:xfrm>
          <a:prstGeom prst="rect">
            <a:avLst/>
          </a:prstGeom>
        </p:spPr>
      </p:pic>
      <p:sp>
        <p:nvSpPr>
          <p:cNvPr id="12" name="Rectangle 11"/>
          <p:cNvSpPr/>
          <p:nvPr userDrawn="1"/>
        </p:nvSpPr>
        <p:spPr>
          <a:xfrm rot="10800000" flipH="1" flipV="1">
            <a:off x="0" y="0"/>
            <a:ext cx="12819112" cy="7642748"/>
          </a:xfrm>
          <a:prstGeom prst="rect">
            <a:avLst/>
          </a:prstGeom>
          <a:gradFill>
            <a:gsLst>
              <a:gs pos="0">
                <a:schemeClr val="tx1"/>
              </a:gs>
              <a:gs pos="28000">
                <a:schemeClr val="tx1">
                  <a:alpha val="0"/>
                </a:schemeClr>
              </a:gs>
            </a:gsLst>
            <a:lin ang="438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765" dirty="0"/>
          </a:p>
        </p:txBody>
      </p:sp>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02587285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7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t="-496"/>
          <a:stretch/>
        </p:blipFill>
        <p:spPr>
          <a:xfrm flipH="1">
            <a:off x="-2" y="-34004"/>
            <a:ext cx="12192001"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7"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3"/>
            <a:ext cx="2507472" cy="537212"/>
          </a:xfrm>
          <a:prstGeom prst="rect">
            <a:avLst/>
          </a:prstGeom>
        </p:spPr>
      </p:pic>
    </p:spTree>
    <p:extLst>
      <p:ext uri="{BB962C8B-B14F-4D97-AF65-F5344CB8AC3E}">
        <p14:creationId xmlns:p14="http://schemas.microsoft.com/office/powerpoint/2010/main" val="150557454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4_Title Slide 4">
    <p:spTree>
      <p:nvGrpSpPr>
        <p:cNvPr id="1" name=""/>
        <p:cNvGrpSpPr/>
        <p:nvPr/>
      </p:nvGrpSpPr>
      <p:grpSpPr>
        <a:xfrm>
          <a:off x="0" y="0"/>
          <a:ext cx="0" cy="0"/>
          <a:chOff x="0" y="0"/>
          <a:chExt cx="0" cy="0"/>
        </a:xfrm>
      </p:grpSpPr>
      <p:pic>
        <p:nvPicPr>
          <p:cNvPr id="10" name="Picture Placeholder 8"/>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10362" y="-34004"/>
            <a:ext cx="12191999" cy="6892004"/>
          </a:xfrm>
          <a:prstGeom prst="rect">
            <a:avLst/>
          </a:prstGeom>
        </p:spPr>
      </p:pic>
      <p:sp>
        <p:nvSpPr>
          <p:cNvPr id="18" name="Rectangle 17"/>
          <p:cNvSpPr/>
          <p:nvPr userDrawn="1"/>
        </p:nvSpPr>
        <p:spPr bwMode="gray">
          <a:xfrm>
            <a:off x="269239" y="2084172"/>
            <a:ext cx="7171399" cy="3586208"/>
          </a:xfrm>
          <a:prstGeom prst="rect">
            <a:avLst/>
          </a:prstGeom>
          <a:solidFill>
            <a:schemeClr val="accent4">
              <a:alpha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11" name="Title 1"/>
          <p:cNvSpPr>
            <a:spLocks noGrp="1"/>
          </p:cNvSpPr>
          <p:nvPr>
            <p:ph type="title" hasCustomPrompt="1"/>
          </p:nvPr>
        </p:nvSpPr>
        <p:spPr>
          <a:xfrm>
            <a:off x="269302" y="2081644"/>
            <a:ext cx="7171320" cy="1795633"/>
          </a:xfrm>
          <a:noFill/>
        </p:spPr>
        <p:txBody>
          <a:bodyPr lIns="146304" tIns="91440" rIns="146304" bIns="91440" anchor="t" anchorCtr="0"/>
          <a:lstStyle>
            <a:lvl1pPr>
              <a:defRPr sz="5882" spc="-98" baseline="0">
                <a:gradFill>
                  <a:gsLst>
                    <a:gs pos="5833">
                      <a:srgbClr val="FFFFFF"/>
                    </a:gs>
                    <a:gs pos="18000">
                      <a:srgbClr val="FFFFFF"/>
                    </a:gs>
                  </a:gsLst>
                  <a:lin ang="5400000" scaled="0"/>
                </a:gradFill>
              </a:defRPr>
            </a:lvl1pPr>
          </a:lstStyle>
          <a:p>
            <a:r>
              <a:rPr lang="en-US" dirty="0"/>
              <a:t>Presentation title</a:t>
            </a:r>
          </a:p>
        </p:txBody>
      </p:sp>
      <p:sp>
        <p:nvSpPr>
          <p:cNvPr id="15" name="Text Placeholder 4"/>
          <p:cNvSpPr>
            <a:spLocks noGrp="1"/>
          </p:cNvSpPr>
          <p:nvPr>
            <p:ph type="body" sz="quarter" idx="12" hasCustomPrompt="1"/>
          </p:nvPr>
        </p:nvSpPr>
        <p:spPr>
          <a:xfrm>
            <a:off x="269302" y="3877276"/>
            <a:ext cx="7171320" cy="1793105"/>
          </a:xfrm>
          <a:noFill/>
        </p:spPr>
        <p:txBody>
          <a:bodyPr lIns="146304" tIns="109728" rIns="146304" bIns="109728">
            <a:noAutofit/>
          </a:bodyPr>
          <a:lstStyle>
            <a:lvl1pPr marL="0" indent="0">
              <a:spcBef>
                <a:spcPts val="0"/>
              </a:spcBef>
              <a:buNone/>
              <a:defRPr sz="3529" spc="0" baseline="0">
                <a:gradFill>
                  <a:gsLst>
                    <a:gs pos="0">
                      <a:srgbClr val="FFFFFF"/>
                    </a:gs>
                    <a:gs pos="100000">
                      <a:srgbClr val="FFFFFF"/>
                    </a:gs>
                  </a:gsLst>
                  <a:lin ang="5400000" scaled="0"/>
                </a:gradFill>
                <a:latin typeface="+mj-lt"/>
              </a:defRPr>
            </a:lvl1pPr>
          </a:lstStyle>
          <a:p>
            <a:pPr lvl="0"/>
            <a:r>
              <a:rPr lang="en-US" dirty="0"/>
              <a:t>Speaker Name</a:t>
            </a:r>
          </a:p>
        </p:txBody>
      </p:sp>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invGray">
          <a:xfrm>
            <a:off x="449816" y="471124"/>
            <a:ext cx="2507472" cy="537212"/>
          </a:xfrm>
          <a:prstGeom prst="rect">
            <a:avLst/>
          </a:prstGeom>
        </p:spPr>
      </p:pic>
    </p:spTree>
    <p:extLst>
      <p:ext uri="{BB962C8B-B14F-4D97-AF65-F5344CB8AC3E}">
        <p14:creationId xmlns:p14="http://schemas.microsoft.com/office/powerpoint/2010/main" val="362021990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52561723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tx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88027292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2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9"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90069489"/>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Contents slide layout">
    <p:bg>
      <p:bgPr>
        <a:solidFill>
          <a:srgbClr val="3282BE"/>
        </a:solidFill>
        <a:effectLst/>
      </p:bgPr>
    </p:bg>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198614A6-9389-4B37-BF4B-4183BCC88018}"/>
              </a:ext>
            </a:extLst>
          </p:cNvPr>
          <p:cNvSpPr>
            <a:spLocks noGrp="1"/>
          </p:cNvSpPr>
          <p:nvPr>
            <p:ph type="sldNum" sz="quarter" idx="4"/>
          </p:nvPr>
        </p:nvSpPr>
        <p:spPr>
          <a:xfrm>
            <a:off x="9280508" y="6520009"/>
            <a:ext cx="2901950" cy="371475"/>
          </a:xfrm>
          <a:prstGeom prst="rect">
            <a:avLst/>
          </a:prstGeom>
        </p:spPr>
        <p:txBody>
          <a:bodyPr/>
          <a:lstStyle>
            <a:lvl1pPr algn="r">
              <a:defRPr sz="1200">
                <a:solidFill>
                  <a:schemeClr val="tx1">
                    <a:lumMod val="50000"/>
                    <a:lumOff val="50000"/>
                  </a:schemeClr>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47179718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21323585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82148120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5_Dem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7644"/>
            <a:ext cx="9859116" cy="2696699"/>
          </a:xfrm>
          <a:noFill/>
        </p:spPr>
        <p:txBody>
          <a:bodyPr tIns="91440" bIns="91440" anchor="t" anchorCtr="0"/>
          <a:lstStyle>
            <a:lvl1pPr>
              <a:defRPr sz="7058" spc="-98" baseline="0">
                <a:solidFill>
                  <a:srgbClr val="000000"/>
                </a:solidFill>
              </a:defRPr>
            </a:lvl1pPr>
          </a:lstStyle>
          <a:p>
            <a:r>
              <a:rPr lang="en-US" dirty="0"/>
              <a:t>Demo title</a:t>
            </a:r>
          </a:p>
        </p:txBody>
      </p:sp>
      <p:sp>
        <p:nvSpPr>
          <p:cNvPr id="5" name="Text Placeholder 4"/>
          <p:cNvSpPr>
            <a:spLocks noGrp="1"/>
          </p:cNvSpPr>
          <p:nvPr>
            <p:ph type="body" sz="quarter" idx="12" hasCustomPrompt="1"/>
          </p:nvPr>
        </p:nvSpPr>
        <p:spPr>
          <a:xfrm>
            <a:off x="269240" y="3877271"/>
            <a:ext cx="9860674" cy="1793881"/>
          </a:xfrm>
          <a:noFill/>
        </p:spPr>
        <p:txBody>
          <a:bodyPr lIns="182880" tIns="146304" rIns="182880" bIns="146304">
            <a:noAutofit/>
          </a:bodyPr>
          <a:lstStyle>
            <a:lvl1pPr marL="0" indent="0">
              <a:spcBef>
                <a:spcPts val="0"/>
              </a:spcBef>
              <a:buNone/>
              <a:defRPr sz="3529" spc="0" baseline="0">
                <a:solidFill>
                  <a:srgbClr val="000000"/>
                </a:solidFill>
                <a:latin typeface="+mj-lt"/>
              </a:defRPr>
            </a:lvl1pPr>
          </a:lstStyle>
          <a:p>
            <a:pPr lvl="0"/>
            <a:r>
              <a:rPr lang="en-US" dirty="0"/>
              <a:t>Speaker Name</a:t>
            </a:r>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28571189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auto">
          <a:xfrm>
            <a:off x="269302" y="1187644"/>
            <a:ext cx="9860610" cy="2689632"/>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69240" y="1186356"/>
            <a:ext cx="9859116" cy="2697988"/>
          </a:xfrm>
          <a:noFill/>
        </p:spPr>
        <p:txBody>
          <a:bodyPr tIns="91440" bIns="91440" anchor="t" anchorCtr="0"/>
          <a:lstStyle>
            <a:lvl1pPr>
              <a:defRPr sz="7058" spc="-98" baseline="0">
                <a:gradFill>
                  <a:gsLst>
                    <a:gs pos="5833">
                      <a:srgbClr val="FFFFFF"/>
                    </a:gs>
                    <a:gs pos="18000">
                      <a:srgbClr val="FFFFFF"/>
                    </a:gs>
                  </a:gsLst>
                  <a:lin ang="5400000" scaled="0"/>
                </a:gradFill>
              </a:defRPr>
            </a:lvl1pPr>
          </a:lstStyle>
          <a:p>
            <a:r>
              <a:rPr lang="en-US" dirty="0"/>
              <a:t>Video tit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198811165"/>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tx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80298121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ection Title Accent Color 2">
    <p:bg>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gradFill>
                  <a:gsLst>
                    <a:gs pos="100000">
                      <a:schemeClr val="tx1"/>
                    </a:gs>
                    <a:gs pos="0">
                      <a:schemeClr val="tx1"/>
                    </a:gs>
                  </a:gsLst>
                  <a:lin ang="5400000" scaled="0"/>
                </a:gra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tx1">
                    <a:tint val="75000"/>
                  </a:schemeClr>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chemeClr val="tx1"/>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439936258"/>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tx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4"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48301037"/>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4114285129"/>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3_Section Title Accent Color 3">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chemeClr val="bg1"/>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chemeClr val="bg1"/>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980089126"/>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70315452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_Agenda layout">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32651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Section Title Accent Color 3">
    <p:bg>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796217"/>
          </a:xfrm>
          <a:noFill/>
        </p:spPr>
        <p:txBody>
          <a:bodyPr tIns="91440" bIns="91440" anchor="t" anchorCtr="0"/>
          <a:lstStyle>
            <a:lvl1pPr>
              <a:defRPr sz="8627" spc="-98" baseline="0">
                <a:solidFill>
                  <a:srgbClr val="000000"/>
                </a:solidFill>
              </a:defRPr>
            </a:lvl1pPr>
          </a:lstStyle>
          <a:p>
            <a:r>
              <a:rPr lang="en-US" dirty="0"/>
              <a:t>Section title</a:t>
            </a:r>
          </a:p>
        </p:txBody>
      </p:sp>
      <p:sp>
        <p:nvSpPr>
          <p:cNvPr id="3"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5"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183162559"/>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solidFill>
                  <a:schemeClr val="tx2"/>
                </a:soli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217985257"/>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8"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159712621"/>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5306"/>
          </a:xfrm>
        </p:spPr>
        <p:txBody>
          <a:bodyPr>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lvl1pPr>
              <a:defRPr>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232415096"/>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6556"/>
          </a:xfrm>
        </p:spPr>
        <p:txBody>
          <a:bodyPr>
            <a:spAutoFit/>
          </a:bodyPr>
          <a:lstStyle>
            <a:lvl1pPr>
              <a:defRPr>
                <a:solidFill>
                  <a:srgbClr val="00BCF2"/>
                </a:soli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911580227"/>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00BCF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solidFill>
                  <a:srgbClr val="00BCF2"/>
                </a:soli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06689113"/>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20188"/>
          </a:xfrm>
        </p:spPr>
        <p:txBody>
          <a:bodyPr wrap="square">
            <a:spAutoFit/>
          </a:bodyPr>
          <a:lstStyle>
            <a:lvl1pPr marL="0" indent="0">
              <a:spcBef>
                <a:spcPts val="1200"/>
              </a:spcBef>
              <a:buClr>
                <a:schemeClr val="tx1"/>
              </a:buClr>
              <a:buFont typeface="Wingdings" pitchFamily="2" charset="2"/>
              <a:buNone/>
              <a:defRPr sz="3529"/>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72017853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1"/>
              </a:buClr>
              <a:buFont typeface="Arial" pitchFamily="34" charset="0"/>
              <a:buChar char="•"/>
              <a:defRPr sz="3529"/>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355345391"/>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2486578"/>
          </a:xfrm>
        </p:spPr>
        <p:txBody>
          <a:bodyPr wrap="square">
            <a:spAutoFit/>
          </a:bodyPr>
          <a:lstStyle>
            <a:lvl1pPr marL="281677" indent="-281677">
              <a:spcBef>
                <a:spcPts val="1200"/>
              </a:spcBef>
              <a:buClr>
                <a:schemeClr val="tx2"/>
              </a:buClr>
              <a:buFont typeface="Arial" pitchFamily="34" charset="0"/>
              <a:buChar char="•"/>
              <a:defRPr sz="3529">
                <a:solidFill>
                  <a:srgbClr val="00BCF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2486578"/>
          </a:xfrm>
        </p:spPr>
        <p:txBody>
          <a:bodyPr wrap="square">
            <a:spAutoFit/>
          </a:bodyPr>
          <a:lstStyle>
            <a:lvl1pPr marL="281677" indent="-281677">
              <a:spcBef>
                <a:spcPts val="1200"/>
              </a:spcBef>
              <a:buClr>
                <a:schemeClr val="tx2"/>
              </a:buClr>
              <a:buFont typeface="Arial" pitchFamily="34" charset="0"/>
              <a:buChar char="•"/>
              <a:defRPr sz="3529">
                <a:solidFill>
                  <a:srgbClr val="00BCF2"/>
                </a:soli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7"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1599368587"/>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137">
                <a:solidFill>
                  <a:schemeClr val="bg1">
                    <a:lumMod val="75000"/>
                    <a:lumOff val="25000"/>
                  </a:schemeClr>
                </a:solidFill>
              </a:defRPr>
            </a:lvl1pPr>
          </a:lstStyle>
          <a:p>
            <a:r>
              <a:rPr lang="en-US" dirty="0"/>
              <a:t>Click to edit Master title style</a:t>
            </a:r>
          </a:p>
        </p:txBody>
      </p:sp>
      <p:sp>
        <p:nvSpPr>
          <p:cNvPr id="5"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3023802206"/>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2.xml"/><Relationship Id="rId18" Type="http://schemas.openxmlformats.org/officeDocument/2006/relationships/slideLayout" Target="../slideLayouts/slideLayout27.xml"/><Relationship Id="rId26" Type="http://schemas.openxmlformats.org/officeDocument/2006/relationships/slideLayout" Target="../slideLayouts/slideLayout35.xml"/><Relationship Id="rId39" Type="http://schemas.openxmlformats.org/officeDocument/2006/relationships/slideLayout" Target="../slideLayouts/slideLayout48.xml"/><Relationship Id="rId21" Type="http://schemas.openxmlformats.org/officeDocument/2006/relationships/slideLayout" Target="../slideLayouts/slideLayout30.xml"/><Relationship Id="rId34" Type="http://schemas.openxmlformats.org/officeDocument/2006/relationships/slideLayout" Target="../slideLayouts/slideLayout43.xml"/><Relationship Id="rId42" Type="http://schemas.openxmlformats.org/officeDocument/2006/relationships/slideLayout" Target="../slideLayouts/slideLayout51.xml"/><Relationship Id="rId47" Type="http://schemas.openxmlformats.org/officeDocument/2006/relationships/theme" Target="../theme/theme2.xml"/><Relationship Id="rId7" Type="http://schemas.openxmlformats.org/officeDocument/2006/relationships/slideLayout" Target="../slideLayouts/slideLayout16.xml"/><Relationship Id="rId2" Type="http://schemas.openxmlformats.org/officeDocument/2006/relationships/slideLayout" Target="../slideLayouts/slideLayout11.xml"/><Relationship Id="rId16" Type="http://schemas.openxmlformats.org/officeDocument/2006/relationships/slideLayout" Target="../slideLayouts/slideLayout25.xml"/><Relationship Id="rId29" Type="http://schemas.openxmlformats.org/officeDocument/2006/relationships/slideLayout" Target="../slideLayouts/slideLayout38.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24" Type="http://schemas.openxmlformats.org/officeDocument/2006/relationships/slideLayout" Target="../slideLayouts/slideLayout33.xml"/><Relationship Id="rId32" Type="http://schemas.openxmlformats.org/officeDocument/2006/relationships/slideLayout" Target="../slideLayouts/slideLayout41.xml"/><Relationship Id="rId37" Type="http://schemas.openxmlformats.org/officeDocument/2006/relationships/slideLayout" Target="../slideLayouts/slideLayout46.xml"/><Relationship Id="rId40" Type="http://schemas.openxmlformats.org/officeDocument/2006/relationships/slideLayout" Target="../slideLayouts/slideLayout49.xml"/><Relationship Id="rId45" Type="http://schemas.openxmlformats.org/officeDocument/2006/relationships/slideLayout" Target="../slideLayouts/slideLayout54.xml"/><Relationship Id="rId5" Type="http://schemas.openxmlformats.org/officeDocument/2006/relationships/slideLayout" Target="../slideLayouts/slideLayout14.xml"/><Relationship Id="rId15" Type="http://schemas.openxmlformats.org/officeDocument/2006/relationships/slideLayout" Target="../slideLayouts/slideLayout24.xml"/><Relationship Id="rId23" Type="http://schemas.openxmlformats.org/officeDocument/2006/relationships/slideLayout" Target="../slideLayouts/slideLayout32.xml"/><Relationship Id="rId28" Type="http://schemas.openxmlformats.org/officeDocument/2006/relationships/slideLayout" Target="../slideLayouts/slideLayout37.xml"/><Relationship Id="rId36" Type="http://schemas.openxmlformats.org/officeDocument/2006/relationships/slideLayout" Target="../slideLayouts/slideLayout45.xml"/><Relationship Id="rId10" Type="http://schemas.openxmlformats.org/officeDocument/2006/relationships/slideLayout" Target="../slideLayouts/slideLayout19.xml"/><Relationship Id="rId19" Type="http://schemas.openxmlformats.org/officeDocument/2006/relationships/slideLayout" Target="../slideLayouts/slideLayout28.xml"/><Relationship Id="rId31" Type="http://schemas.openxmlformats.org/officeDocument/2006/relationships/slideLayout" Target="../slideLayouts/slideLayout40.xml"/><Relationship Id="rId44" Type="http://schemas.openxmlformats.org/officeDocument/2006/relationships/slideLayout" Target="../slideLayouts/slideLayout53.xml"/><Relationship Id="rId4" Type="http://schemas.openxmlformats.org/officeDocument/2006/relationships/slideLayout" Target="../slideLayouts/slideLayout13.xml"/><Relationship Id="rId9" Type="http://schemas.openxmlformats.org/officeDocument/2006/relationships/slideLayout" Target="../slideLayouts/slideLayout18.xml"/><Relationship Id="rId14" Type="http://schemas.openxmlformats.org/officeDocument/2006/relationships/slideLayout" Target="../slideLayouts/slideLayout23.xml"/><Relationship Id="rId22" Type="http://schemas.openxmlformats.org/officeDocument/2006/relationships/slideLayout" Target="../slideLayouts/slideLayout31.xml"/><Relationship Id="rId27" Type="http://schemas.openxmlformats.org/officeDocument/2006/relationships/slideLayout" Target="../slideLayouts/slideLayout36.xml"/><Relationship Id="rId30" Type="http://schemas.openxmlformats.org/officeDocument/2006/relationships/slideLayout" Target="../slideLayouts/slideLayout39.xml"/><Relationship Id="rId35" Type="http://schemas.openxmlformats.org/officeDocument/2006/relationships/slideLayout" Target="../slideLayouts/slideLayout44.xml"/><Relationship Id="rId43" Type="http://schemas.openxmlformats.org/officeDocument/2006/relationships/slideLayout" Target="../slideLayouts/slideLayout52.xml"/><Relationship Id="rId8" Type="http://schemas.openxmlformats.org/officeDocument/2006/relationships/slideLayout" Target="../slideLayouts/slideLayout17.xml"/><Relationship Id="rId3" Type="http://schemas.openxmlformats.org/officeDocument/2006/relationships/slideLayout" Target="../slideLayouts/slideLayout12.xml"/><Relationship Id="rId12" Type="http://schemas.openxmlformats.org/officeDocument/2006/relationships/slideLayout" Target="../slideLayouts/slideLayout21.xml"/><Relationship Id="rId17" Type="http://schemas.openxmlformats.org/officeDocument/2006/relationships/slideLayout" Target="../slideLayouts/slideLayout26.xml"/><Relationship Id="rId25" Type="http://schemas.openxmlformats.org/officeDocument/2006/relationships/slideLayout" Target="../slideLayouts/slideLayout34.xml"/><Relationship Id="rId33" Type="http://schemas.openxmlformats.org/officeDocument/2006/relationships/slideLayout" Target="../slideLayouts/slideLayout42.xml"/><Relationship Id="rId38" Type="http://schemas.openxmlformats.org/officeDocument/2006/relationships/slideLayout" Target="../slideLayouts/slideLayout47.xml"/><Relationship Id="rId46" Type="http://schemas.openxmlformats.org/officeDocument/2006/relationships/slideLayout" Target="../slideLayouts/slideLayout55.xml"/><Relationship Id="rId20" Type="http://schemas.openxmlformats.org/officeDocument/2006/relationships/slideLayout" Target="../slideLayouts/slideLayout29.xml"/><Relationship Id="rId41" Type="http://schemas.openxmlformats.org/officeDocument/2006/relationships/slideLayout" Target="../slideLayouts/slideLayout5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3.xml"/><Relationship Id="rId13" Type="http://schemas.openxmlformats.org/officeDocument/2006/relationships/tags" Target="../tags/tag1.xml"/><Relationship Id="rId18" Type="http://schemas.openxmlformats.org/officeDocument/2006/relationships/tags" Target="../tags/tag6.xml"/><Relationship Id="rId26" Type="http://schemas.openxmlformats.org/officeDocument/2006/relationships/tags" Target="../tags/tag14.xml"/><Relationship Id="rId3" Type="http://schemas.openxmlformats.org/officeDocument/2006/relationships/slideLayout" Target="../slideLayouts/slideLayout58.xml"/><Relationship Id="rId21" Type="http://schemas.openxmlformats.org/officeDocument/2006/relationships/tags" Target="../tags/tag9.xml"/><Relationship Id="rId7" Type="http://schemas.openxmlformats.org/officeDocument/2006/relationships/slideLayout" Target="../slideLayouts/slideLayout62.xml"/><Relationship Id="rId12" Type="http://schemas.openxmlformats.org/officeDocument/2006/relationships/vmlDrawing" Target="../drawings/vmlDrawing1.vml"/><Relationship Id="rId17" Type="http://schemas.openxmlformats.org/officeDocument/2006/relationships/tags" Target="../tags/tag5.xml"/><Relationship Id="rId25" Type="http://schemas.openxmlformats.org/officeDocument/2006/relationships/tags" Target="../tags/tag13.xml"/><Relationship Id="rId2" Type="http://schemas.openxmlformats.org/officeDocument/2006/relationships/slideLayout" Target="../slideLayouts/slideLayout57.xml"/><Relationship Id="rId16" Type="http://schemas.openxmlformats.org/officeDocument/2006/relationships/tags" Target="../tags/tag4.xml"/><Relationship Id="rId20" Type="http://schemas.openxmlformats.org/officeDocument/2006/relationships/tags" Target="../tags/tag8.xml"/><Relationship Id="rId29" Type="http://schemas.openxmlformats.org/officeDocument/2006/relationships/tags" Target="../tags/tag1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theme" Target="../theme/theme3.xml"/><Relationship Id="rId24" Type="http://schemas.openxmlformats.org/officeDocument/2006/relationships/tags" Target="../tags/tag12.xml"/><Relationship Id="rId32" Type="http://schemas.openxmlformats.org/officeDocument/2006/relationships/image" Target="../media/image16.emf"/><Relationship Id="rId5" Type="http://schemas.openxmlformats.org/officeDocument/2006/relationships/slideLayout" Target="../slideLayouts/slideLayout60.xml"/><Relationship Id="rId15" Type="http://schemas.openxmlformats.org/officeDocument/2006/relationships/tags" Target="../tags/tag3.xml"/><Relationship Id="rId23" Type="http://schemas.openxmlformats.org/officeDocument/2006/relationships/tags" Target="../tags/tag11.xml"/><Relationship Id="rId28" Type="http://schemas.openxmlformats.org/officeDocument/2006/relationships/tags" Target="../tags/tag16.xml"/><Relationship Id="rId10" Type="http://schemas.openxmlformats.org/officeDocument/2006/relationships/slideLayout" Target="../slideLayouts/slideLayout65.xml"/><Relationship Id="rId19" Type="http://schemas.openxmlformats.org/officeDocument/2006/relationships/tags" Target="../tags/tag7.xml"/><Relationship Id="rId31" Type="http://schemas.openxmlformats.org/officeDocument/2006/relationships/oleObject" Target="../embeddings/oleObject1.bin"/><Relationship Id="rId4" Type="http://schemas.openxmlformats.org/officeDocument/2006/relationships/slideLayout" Target="../slideLayouts/slideLayout59.xml"/><Relationship Id="rId9" Type="http://schemas.openxmlformats.org/officeDocument/2006/relationships/slideLayout" Target="../slideLayouts/slideLayout64.xml"/><Relationship Id="rId14" Type="http://schemas.openxmlformats.org/officeDocument/2006/relationships/tags" Target="../tags/tag2.xml"/><Relationship Id="rId22" Type="http://schemas.openxmlformats.org/officeDocument/2006/relationships/tags" Target="../tags/tag10.xml"/><Relationship Id="rId27" Type="http://schemas.openxmlformats.org/officeDocument/2006/relationships/tags" Target="../tags/tag15.xml"/><Relationship Id="rId30" Type="http://schemas.openxmlformats.org/officeDocument/2006/relationships/tags" Target="../tags/tag18.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9" Type="http://schemas.openxmlformats.org/officeDocument/2006/relationships/slideLayout" Target="../slideLayouts/slideLayout104.xml"/><Relationship Id="rId21" Type="http://schemas.openxmlformats.org/officeDocument/2006/relationships/slideLayout" Target="../slideLayouts/slideLayout86.xml"/><Relationship Id="rId34" Type="http://schemas.openxmlformats.org/officeDocument/2006/relationships/slideLayout" Target="../slideLayouts/slideLayout99.xml"/><Relationship Id="rId42" Type="http://schemas.openxmlformats.org/officeDocument/2006/relationships/slideLayout" Target="../slideLayouts/slideLayout107.xml"/><Relationship Id="rId7" Type="http://schemas.openxmlformats.org/officeDocument/2006/relationships/slideLayout" Target="../slideLayouts/slideLayout72.xml"/><Relationship Id="rId2" Type="http://schemas.openxmlformats.org/officeDocument/2006/relationships/slideLayout" Target="../slideLayouts/slideLayout67.xml"/><Relationship Id="rId16" Type="http://schemas.openxmlformats.org/officeDocument/2006/relationships/slideLayout" Target="../slideLayouts/slideLayout81.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slideLayout" Target="../slideLayouts/slideLayout97.xml"/><Relationship Id="rId37" Type="http://schemas.openxmlformats.org/officeDocument/2006/relationships/slideLayout" Target="../slideLayouts/slideLayout102.xml"/><Relationship Id="rId40" Type="http://schemas.openxmlformats.org/officeDocument/2006/relationships/slideLayout" Target="../slideLayouts/slideLayout105.xml"/><Relationship Id="rId45" Type="http://schemas.openxmlformats.org/officeDocument/2006/relationships/theme" Target="../theme/theme4.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36" Type="http://schemas.openxmlformats.org/officeDocument/2006/relationships/slideLayout" Target="../slideLayouts/slideLayout101.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4" Type="http://schemas.openxmlformats.org/officeDocument/2006/relationships/slideLayout" Target="../slideLayouts/slideLayout109.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 Id="rId35" Type="http://schemas.openxmlformats.org/officeDocument/2006/relationships/slideLayout" Target="../slideLayouts/slideLayout100.xml"/><Relationship Id="rId43" Type="http://schemas.openxmlformats.org/officeDocument/2006/relationships/slideLayout" Target="../slideLayouts/slideLayout108.xml"/><Relationship Id="rId8" Type="http://schemas.openxmlformats.org/officeDocument/2006/relationships/slideLayout" Target="../slideLayouts/slideLayout73.xml"/><Relationship Id="rId3" Type="http://schemas.openxmlformats.org/officeDocument/2006/relationships/slideLayout" Target="../slideLayouts/slideLayout68.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slideLayout" Target="../slideLayouts/slideLayout98.xml"/><Relationship Id="rId38" Type="http://schemas.openxmlformats.org/officeDocument/2006/relationships/slideLayout" Target="../slideLayouts/slideLayout103.xml"/><Relationship Id="rId20" Type="http://schemas.openxmlformats.org/officeDocument/2006/relationships/slideLayout" Target="../slideLayouts/slideLayout85.xml"/><Relationship Id="rId41" Type="http://schemas.openxmlformats.org/officeDocument/2006/relationships/slideLayout" Target="../slideLayouts/slideLayout10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Slide Number Placeholder 1">
            <a:extLst>
              <a:ext uri="{FF2B5EF4-FFF2-40B4-BE49-F238E27FC236}">
                <a16:creationId xmlns:a16="http://schemas.microsoft.com/office/drawing/2014/main" id="{90C1E01A-8131-4FE0-81B4-9AD2F98FB1B4}"/>
              </a:ext>
            </a:extLst>
          </p:cNvPr>
          <p:cNvSpPr>
            <a:spLocks noGrp="1"/>
          </p:cNvSpPr>
          <p:nvPr>
            <p:ph type="sldNum" sz="quarter" idx="4"/>
          </p:nvPr>
        </p:nvSpPr>
        <p:spPr>
          <a:xfrm>
            <a:off x="9280508" y="6520009"/>
            <a:ext cx="2901950" cy="371475"/>
          </a:xfrm>
          <a:prstGeom prst="rect">
            <a:avLst/>
          </a:prstGeom>
        </p:spPr>
        <p:txBody>
          <a:bodyPr/>
          <a:lstStyle>
            <a:lvl1pPr algn="r">
              <a:defRPr sz="1200">
                <a:solidFill>
                  <a:schemeClr val="tx1">
                    <a:lumMod val="50000"/>
                    <a:lumOff val="50000"/>
                  </a:schemeClr>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375178107"/>
      </p:ext>
    </p:extLst>
  </p:cSld>
  <p:clrMap bg1="lt1" tx1="dk1" bg2="lt2" tx2="dk2" accent1="accent1" accent2="accent2" accent3="accent3" accent4="accent4" accent5="accent5" accent6="accent6" hlink="hlink" folHlink="folHlink"/>
  <p:sldLayoutIdLst>
    <p:sldLayoutId id="2147483685" r:id="rId1"/>
    <p:sldLayoutId id="2147483759" r:id="rId2"/>
    <p:sldLayoutId id="2147483822" r:id="rId3"/>
    <p:sldLayoutId id="2147483773" r:id="rId4"/>
    <p:sldLayoutId id="2147483853" r:id="rId5"/>
    <p:sldLayoutId id="2147483854" r:id="rId6"/>
    <p:sldLayoutId id="2147483855" r:id="rId7"/>
    <p:sldLayoutId id="2147483903" r:id="rId8"/>
    <p:sldLayoutId id="2147483904" r:id="rId9"/>
  </p:sldLayoutIdLst>
  <p:hf hdr="0" ftr="0" dt="0"/>
  <p:txStyles>
    <p:titleStyle>
      <a:lvl1pPr algn="l" defTabSz="914423"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5" algn="l" defTabSz="914423" rtl="0" eaLnBrk="1" latinLnBrk="0" hangingPunct="1">
        <a:defRPr sz="1800" kern="1200">
          <a:solidFill>
            <a:schemeClr val="tx1"/>
          </a:solidFill>
          <a:latin typeface="+mn-lt"/>
          <a:ea typeface="+mn-ea"/>
          <a:cs typeface="+mn-cs"/>
        </a:defRPr>
      </a:lvl4pPr>
      <a:lvl5pPr marL="1828845" algn="l" defTabSz="914423" rtl="0" eaLnBrk="1" latinLnBrk="0" hangingPunct="1">
        <a:defRPr sz="1800" kern="1200">
          <a:solidFill>
            <a:schemeClr val="tx1"/>
          </a:solidFill>
          <a:latin typeface="+mn-lt"/>
          <a:ea typeface="+mn-ea"/>
          <a:cs typeface="+mn-cs"/>
        </a:defRPr>
      </a:lvl5pPr>
      <a:lvl6pPr marL="2286058" algn="l" defTabSz="914423" rtl="0" eaLnBrk="1" latinLnBrk="0" hangingPunct="1">
        <a:defRPr sz="1800" kern="1200">
          <a:solidFill>
            <a:schemeClr val="tx1"/>
          </a:solidFill>
          <a:latin typeface="+mn-lt"/>
          <a:ea typeface="+mn-ea"/>
          <a:cs typeface="+mn-cs"/>
        </a:defRPr>
      </a:lvl6pPr>
      <a:lvl7pPr marL="2743268"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2" algn="l" defTabSz="91442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467849284"/>
      </p:ext>
    </p:extLst>
  </p:cSld>
  <p:clrMap bg1="dk1" tx1="lt1" bg2="dk2" tx2="lt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 id="2147483796" r:id="rId19"/>
    <p:sldLayoutId id="2147483797" r:id="rId20"/>
    <p:sldLayoutId id="2147483798" r:id="rId21"/>
    <p:sldLayoutId id="2147483799" r:id="rId22"/>
    <p:sldLayoutId id="2147483800" r:id="rId23"/>
    <p:sldLayoutId id="2147483801" r:id="rId24"/>
    <p:sldLayoutId id="2147483802" r:id="rId25"/>
    <p:sldLayoutId id="2147483803" r:id="rId26"/>
    <p:sldLayoutId id="2147483804" r:id="rId27"/>
    <p:sldLayoutId id="2147483805" r:id="rId28"/>
    <p:sldLayoutId id="2147483806" r:id="rId29"/>
    <p:sldLayoutId id="2147483807" r:id="rId30"/>
    <p:sldLayoutId id="2147483808" r:id="rId31"/>
    <p:sldLayoutId id="2147483809" r:id="rId32"/>
    <p:sldLayoutId id="2147483810" r:id="rId33"/>
    <p:sldLayoutId id="2147483811" r:id="rId34"/>
    <p:sldLayoutId id="2147483812" r:id="rId35"/>
    <p:sldLayoutId id="2147483813" r:id="rId36"/>
    <p:sldLayoutId id="2147483814" r:id="rId37"/>
    <p:sldLayoutId id="2147483815" r:id="rId38"/>
    <p:sldLayoutId id="2147483816" r:id="rId39"/>
    <p:sldLayoutId id="2147483817" r:id="rId40"/>
    <p:sldLayoutId id="2147483818" r:id="rId41"/>
    <p:sldLayoutId id="2147483819" r:id="rId42"/>
    <p:sldLayoutId id="2147483820" r:id="rId43"/>
    <p:sldLayoutId id="2147483821" r:id="rId44"/>
    <p:sldLayoutId id="2147483851" r:id="rId45"/>
    <p:sldLayoutId id="2147483852" r:id="rId46"/>
  </p:sldLayoutIdLst>
  <p:transition>
    <p:fade/>
  </p:transition>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solidFill>
            <a:srgbClr val="00000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13"/>
            </p:custDataLst>
          </p:nvPr>
        </p:nvGraphicFramePr>
        <p:xfrm>
          <a:off x="1" y="0"/>
          <a:ext cx="215979" cy="161974"/>
        </p:xfrm>
        <a:graphic>
          <a:graphicData uri="http://schemas.openxmlformats.org/presentationml/2006/ole">
            <mc:AlternateContent xmlns:mc="http://schemas.openxmlformats.org/markup-compatibility/2006">
              <mc:Choice xmlns:v="urn:schemas-microsoft-com:vml" Requires="v">
                <p:oleObj spid="_x0000_s1070" name="think-cell Slide" r:id="rId31" imgW="270" imgH="270" progId="TCLayout.ActiveDocument.1">
                  <p:embed/>
                </p:oleObj>
              </mc:Choice>
              <mc:Fallback>
                <p:oleObj name="think-cell Slide" r:id="rId31" imgW="270" imgH="270" progId="TCLayout.ActiveDocument.1">
                  <p:embed/>
                  <p:pic>
                    <p:nvPicPr>
                      <p:cNvPr id="2" name="Object 1" hidden="1"/>
                      <p:cNvPicPr/>
                      <p:nvPr/>
                    </p:nvPicPr>
                    <p:blipFill>
                      <a:blip r:embed="rId32"/>
                      <a:stretch>
                        <a:fillRect/>
                      </a:stretch>
                    </p:blipFill>
                    <p:spPr>
                      <a:xfrm>
                        <a:off x="1" y="0"/>
                        <a:ext cx="215979" cy="161974"/>
                      </a:xfrm>
                      <a:prstGeom prst="rect">
                        <a:avLst/>
                      </a:prstGeom>
                    </p:spPr>
                  </p:pic>
                </p:oleObj>
              </mc:Fallback>
            </mc:AlternateContent>
          </a:graphicData>
        </a:graphic>
      </p:graphicFrame>
      <p:sp>
        <p:nvSpPr>
          <p:cNvPr id="6" name="Rectangle 5" hidden="1"/>
          <p:cNvSpPr/>
          <p:nvPr>
            <p:custDataLst>
              <p:tags r:id="rId14"/>
            </p:custDataLst>
          </p:nvPr>
        </p:nvSpPr>
        <p:spPr bwMode="auto">
          <a:xfrm>
            <a:off x="1" y="0"/>
            <a:ext cx="215979" cy="16197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983" dirty="0">
              <a:solidFill>
                <a:srgbClr val="000000"/>
              </a:solidFill>
              <a:sym typeface="Arial" panose="020B0604020202020204" pitchFamily="34" charset="0"/>
            </a:endParaRPr>
          </a:p>
        </p:txBody>
      </p:sp>
      <p:sp>
        <p:nvSpPr>
          <p:cNvPr id="107" name="Slide Number"/>
          <p:cNvSpPr txBox="1">
            <a:spLocks/>
          </p:cNvSpPr>
          <p:nvPr userDrawn="1"/>
        </p:nvSpPr>
        <p:spPr bwMode="auto">
          <a:xfrm>
            <a:off x="11811320" y="6627914"/>
            <a:ext cx="150682"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1000" b="0" baseline="0" smtClean="0">
                <a:solidFill>
                  <a:schemeClr val="tx1"/>
                </a:solidFill>
                <a:latin typeface="+mn-lt"/>
              </a:rPr>
              <a:pPr algn="r"/>
              <a:t>‹#›</a:t>
            </a:fld>
            <a:endParaRPr lang="en-US" sz="1000" b="0" baseline="0" dirty="0">
              <a:solidFill>
                <a:schemeClr val="tx1"/>
              </a:solidFill>
              <a:latin typeface="+mn-lt"/>
            </a:endParaRPr>
          </a:p>
        </p:txBody>
      </p:sp>
      <p:sp>
        <p:nvSpPr>
          <p:cNvPr id="19" name="Title Placeholder 2"/>
          <p:cNvSpPr>
            <a:spLocks noGrp="1" noChangeArrowheads="1"/>
          </p:cNvSpPr>
          <p:nvPr>
            <p:ph type="title"/>
          </p:nvPr>
        </p:nvSpPr>
        <p:spPr bwMode="auto">
          <a:xfrm>
            <a:off x="723900" y="230315"/>
            <a:ext cx="10820400" cy="584775"/>
          </a:xfrm>
          <a:prstGeom prst="rect">
            <a:avLst/>
          </a:prstGeom>
        </p:spPr>
        <p:txBody>
          <a:bodyPr>
            <a:spAutoFit/>
          </a:bodyPr>
          <a:lstStyle/>
          <a:p>
            <a:pPr lvl="0"/>
            <a:r>
              <a:rPr lang="en-US" dirty="0"/>
              <a:t>Click to edit Master title style</a:t>
            </a:r>
            <a:endParaRPr lang="en-US" noProof="0" dirty="0"/>
          </a:p>
        </p:txBody>
      </p:sp>
      <p:sp>
        <p:nvSpPr>
          <p:cNvPr id="3" name="Text Placeholder 2"/>
          <p:cNvSpPr>
            <a:spLocks noGrp="1"/>
          </p:cNvSpPr>
          <p:nvPr>
            <p:ph type="body" idx="1"/>
          </p:nvPr>
        </p:nvSpPr>
        <p:spPr bwMode="auto">
          <a:xfrm>
            <a:off x="1976208" y="2935527"/>
            <a:ext cx="5853024" cy="1231106"/>
          </a:xfrm>
          <a:prstGeom prst="rect">
            <a:avLst/>
          </a:prstGeom>
        </p:spPr>
        <p:txBody>
          <a:bodyPr vert="horz" lIns="0" tIns="0" rIns="0" bIns="0" rtlCol="0">
            <a:spAutoFit/>
          </a:bodyPr>
          <a:lstStyle/>
          <a:p>
            <a:pPr lvl="0" latinLnBrk="0"/>
            <a:r>
              <a:rPr lang="en-US"/>
              <a:t>Edit Master text styles</a:t>
            </a:r>
          </a:p>
          <a:p>
            <a:pPr lvl="1" latinLnBrk="0"/>
            <a:r>
              <a:rPr lang="en-US"/>
              <a:t>Second level</a:t>
            </a:r>
          </a:p>
          <a:p>
            <a:pPr lvl="2" latinLnBrk="0"/>
            <a:r>
              <a:rPr lang="en-US"/>
              <a:t>Third level</a:t>
            </a:r>
          </a:p>
          <a:p>
            <a:pPr lvl="3" latinLnBrk="0"/>
            <a:r>
              <a:rPr lang="en-US"/>
              <a:t>Fourth level</a:t>
            </a:r>
          </a:p>
          <a:p>
            <a:pPr lvl="4" latinLnBrk="0"/>
            <a:r>
              <a:rPr lang="en-US"/>
              <a:t>Fifth level</a:t>
            </a:r>
            <a:endParaRPr lang="en-US" dirty="0"/>
          </a:p>
        </p:txBody>
      </p:sp>
      <p:sp>
        <p:nvSpPr>
          <p:cNvPr id="10" name="1. On-page tracker" hidden="1"/>
          <p:cNvSpPr>
            <a:spLocks noChangeArrowheads="1"/>
          </p:cNvSpPr>
          <p:nvPr/>
        </p:nvSpPr>
        <p:spPr bwMode="auto">
          <a:xfrm>
            <a:off x="233256" y="9525"/>
            <a:ext cx="663727" cy="21544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1400" cap="all" baseline="0" dirty="0">
                <a:solidFill>
                  <a:schemeClr val="accent6"/>
                </a:solidFill>
                <a:latin typeface="+mn-lt"/>
                <a:ea typeface="+mn-ea"/>
              </a:rPr>
              <a:t>Tracker</a:t>
            </a:r>
          </a:p>
        </p:txBody>
      </p:sp>
      <p:sp>
        <p:nvSpPr>
          <p:cNvPr id="11" name="3. Unit of measure" hidden="1"/>
          <p:cNvSpPr txBox="1">
            <a:spLocks noChangeArrowheads="1"/>
          </p:cNvSpPr>
          <p:nvPr/>
        </p:nvSpPr>
        <p:spPr bwMode="auto">
          <a:xfrm>
            <a:off x="233256" y="607133"/>
            <a:ext cx="10287000" cy="24622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dirty="0">
                <a:solidFill>
                  <a:schemeClr val="accent6"/>
                </a:solidFill>
                <a:latin typeface="+mn-lt"/>
                <a:ea typeface="+mn-ea"/>
              </a:rPr>
              <a:t>Unit of measure</a:t>
            </a:r>
          </a:p>
        </p:txBody>
      </p:sp>
      <p:grpSp>
        <p:nvGrpSpPr>
          <p:cNvPr id="4" name="Slide Elements" hidden="1"/>
          <p:cNvGrpSpPr/>
          <p:nvPr userDrawn="1"/>
        </p:nvGrpSpPr>
        <p:grpSpPr bwMode="auto">
          <a:xfrm>
            <a:off x="233256" y="6422205"/>
            <a:ext cx="11539643" cy="359597"/>
            <a:chOff x="119063" y="6278944"/>
            <a:chExt cx="8618537" cy="352439"/>
          </a:xfrm>
        </p:grpSpPr>
        <p:sp>
          <p:nvSpPr>
            <p:cNvPr id="13" name="4. Footnote"/>
            <p:cNvSpPr txBox="1">
              <a:spLocks noChangeArrowheads="1"/>
            </p:cNvSpPr>
            <p:nvPr/>
          </p:nvSpPr>
          <p:spPr bwMode="auto">
            <a:xfrm>
              <a:off x="119063" y="6278944"/>
              <a:ext cx="861853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marL="95250" indent="-95250">
                <a:defRPr/>
              </a:pPr>
              <a:r>
                <a:rPr lang="en-US" sz="1000" baseline="0" dirty="0">
                  <a:solidFill>
                    <a:schemeClr val="tx1"/>
                  </a:solidFill>
                  <a:latin typeface="+mn-lt"/>
                  <a:ea typeface="+mn-ea"/>
                </a:rPr>
                <a:t>1 Footnote</a:t>
              </a:r>
            </a:p>
          </p:txBody>
        </p:sp>
        <p:sp>
          <p:nvSpPr>
            <p:cNvPr id="14" name="5. Source"/>
            <p:cNvSpPr>
              <a:spLocks noChangeArrowheads="1"/>
            </p:cNvSpPr>
            <p:nvPr/>
          </p:nvSpPr>
          <p:spPr bwMode="auto">
            <a:xfrm>
              <a:off x="119064" y="6480558"/>
              <a:ext cx="8251387" cy="1508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p>
              <a:pPr marL="485775" indent="-485775" defTabSz="913800">
                <a:tabLst>
                  <a:tab pos="609600" algn="l"/>
                </a:tabLst>
              </a:pPr>
              <a:r>
                <a:rPr lang="en-US" sz="1000" baseline="0" dirty="0">
                  <a:solidFill>
                    <a:schemeClr val="tx1"/>
                  </a:solidFill>
                  <a:latin typeface="+mn-lt"/>
                  <a:ea typeface="+mn-ea"/>
                </a:rPr>
                <a:t>SOURCE: Source</a:t>
              </a:r>
            </a:p>
          </p:txBody>
        </p:sp>
      </p:grpSp>
      <p:grpSp>
        <p:nvGrpSpPr>
          <p:cNvPr id="15" name="ACET" hidden="1"/>
          <p:cNvGrpSpPr>
            <a:grpSpLocks/>
          </p:cNvGrpSpPr>
          <p:nvPr/>
        </p:nvGrpSpPr>
        <p:grpSpPr bwMode="auto">
          <a:xfrm>
            <a:off x="1976206" y="2350212"/>
            <a:ext cx="5853024" cy="510220"/>
            <a:chOff x="915" y="715"/>
            <a:chExt cx="2686" cy="315"/>
          </a:xfrm>
        </p:grpSpPr>
        <p:cxnSp>
          <p:nvCxnSpPr>
            <p:cNvPr id="16" name="AutoShape 249"/>
            <p:cNvCxnSpPr>
              <a:cxnSpLocks noChangeShapeType="1"/>
              <a:stCxn id="18" idx="4"/>
              <a:endCxn id="18" idx="6"/>
            </p:cNvCxnSpPr>
            <p:nvPr/>
          </p:nvCxnSpPr>
          <p:spPr bwMode="auto">
            <a:xfrm>
              <a:off x="915" y="1030"/>
              <a:ext cx="2686" cy="0"/>
            </a:xfrm>
            <a:prstGeom prst="straightConnector1">
              <a:avLst/>
            </a:prstGeom>
            <a:noFill/>
            <a:ln w="9525">
              <a:solidFill>
                <a:schemeClr val="accent6"/>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auto">
            <a:xfrm>
              <a:off x="915" y="715"/>
              <a:ext cx="2686" cy="315"/>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en-US" sz="1600" b="1" baseline="0" dirty="0">
                  <a:solidFill>
                    <a:srgbClr val="000000"/>
                  </a:solidFill>
                  <a:latin typeface="+mn-lt"/>
                  <a:ea typeface="+mn-ea"/>
                </a:rPr>
                <a:t>Title</a:t>
              </a:r>
            </a:p>
            <a:p>
              <a:r>
                <a:rPr lang="en-US" sz="1600" baseline="0" dirty="0">
                  <a:solidFill>
                    <a:schemeClr val="accent6"/>
                  </a:solidFill>
                  <a:latin typeface="+mn-lt"/>
                  <a:ea typeface="+mn-ea"/>
                </a:rPr>
                <a:t>Unit of measure</a:t>
              </a:r>
            </a:p>
          </p:txBody>
        </p:sp>
      </p:grpSp>
      <p:grpSp>
        <p:nvGrpSpPr>
          <p:cNvPr id="63" name="LegendBoxes" hidden="1"/>
          <p:cNvGrpSpPr>
            <a:grpSpLocks/>
          </p:cNvGrpSpPr>
          <p:nvPr userDrawn="1"/>
        </p:nvGrpSpPr>
        <p:grpSpPr bwMode="auto">
          <a:xfrm>
            <a:off x="9819959" y="304620"/>
            <a:ext cx="703263" cy="996951"/>
            <a:chOff x="4936" y="176"/>
            <a:chExt cx="443" cy="628"/>
          </a:xfrm>
        </p:grpSpPr>
        <p:sp>
          <p:nvSpPr>
            <p:cNvPr id="64" name="Legend1"/>
            <p:cNvSpPr>
              <a:spLocks noChangeArrowheads="1"/>
            </p:cNvSpPr>
            <p:nvPr/>
          </p:nvSpPr>
          <p:spPr bwMode="auto">
            <a:xfrm>
              <a:off x="5096" y="17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66" name="Legend2"/>
            <p:cNvSpPr>
              <a:spLocks noChangeArrowheads="1"/>
            </p:cNvSpPr>
            <p:nvPr/>
          </p:nvSpPr>
          <p:spPr bwMode="auto">
            <a:xfrm>
              <a:off x="5096" y="346"/>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68" name="Legend3"/>
            <p:cNvSpPr>
              <a:spLocks noChangeArrowheads="1"/>
            </p:cNvSpPr>
            <p:nvPr/>
          </p:nvSpPr>
          <p:spPr bwMode="auto">
            <a:xfrm>
              <a:off x="5096" y="517"/>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70" name="Legend4"/>
            <p:cNvSpPr>
              <a:spLocks noChangeArrowheads="1"/>
            </p:cNvSpPr>
            <p:nvPr/>
          </p:nvSpPr>
          <p:spPr bwMode="auto">
            <a:xfrm>
              <a:off x="5096" y="688"/>
              <a:ext cx="283" cy="11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no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grpSp>
        <p:nvGrpSpPr>
          <p:cNvPr id="72" name="LegendLines" hidden="1"/>
          <p:cNvGrpSpPr>
            <a:grpSpLocks/>
          </p:cNvGrpSpPr>
          <p:nvPr userDrawn="1"/>
        </p:nvGrpSpPr>
        <p:grpSpPr bwMode="auto">
          <a:xfrm>
            <a:off x="9511984" y="304620"/>
            <a:ext cx="1011238" cy="730251"/>
            <a:chOff x="4750" y="176"/>
            <a:chExt cx="637"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sz="1944" dirty="0">
                <a:latin typeface="+mn-lt"/>
              </a:endParaRPr>
            </a:p>
          </p:txBody>
        </p:sp>
        <p:sp>
          <p:nvSpPr>
            <p:cNvPr id="76" name="Legend1"/>
            <p:cNvSpPr>
              <a:spLocks noChangeArrowheads="1"/>
            </p:cNvSpPr>
            <p:nvPr/>
          </p:nvSpPr>
          <p:spPr bwMode="auto">
            <a:xfrm>
              <a:off x="5104" y="176"/>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77" name="Legend2"/>
            <p:cNvSpPr>
              <a:spLocks noChangeArrowheads="1"/>
            </p:cNvSpPr>
            <p:nvPr/>
          </p:nvSpPr>
          <p:spPr bwMode="auto">
            <a:xfrm>
              <a:off x="5104" y="344"/>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78" name="Legend3"/>
            <p:cNvSpPr>
              <a:spLocks noChangeArrowheads="1"/>
            </p:cNvSpPr>
            <p:nvPr/>
          </p:nvSpPr>
          <p:spPr bwMode="auto">
            <a:xfrm>
              <a:off x="5104" y="520"/>
              <a:ext cx="283" cy="11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grpSp>
      <p:grpSp>
        <p:nvGrpSpPr>
          <p:cNvPr id="79" name="LegendMoons" hidden="1"/>
          <p:cNvGrpSpPr/>
          <p:nvPr userDrawn="1"/>
        </p:nvGrpSpPr>
        <p:grpSpPr bwMode="auto">
          <a:xfrm>
            <a:off x="9753502" y="304619"/>
            <a:ext cx="769720" cy="1306516"/>
            <a:chOff x="7875175" y="286625"/>
            <a:chExt cx="769720" cy="1306516"/>
          </a:xfrm>
        </p:grpSpPr>
        <p:grpSp>
          <p:nvGrpSpPr>
            <p:cNvPr id="80" name="MoonLegend2"/>
            <p:cNvGrpSpPr>
              <a:grpSpLocks noChangeAspect="1"/>
            </p:cNvGrpSpPr>
            <p:nvPr>
              <p:custDataLst>
                <p:tags r:id="rId16"/>
              </p:custDataLst>
            </p:nvPr>
          </p:nvGrpSpPr>
          <p:grpSpPr bwMode="auto">
            <a:xfrm>
              <a:off x="7875175" y="560866"/>
              <a:ext cx="209550" cy="209551"/>
              <a:chOff x="1694" y="2044"/>
              <a:chExt cx="160" cy="160"/>
            </a:xfrm>
          </p:grpSpPr>
          <p:sp>
            <p:nvSpPr>
              <p:cNvPr id="98" name="Oval 41"/>
              <p:cNvSpPr>
                <a:spLocks noChangeAspect="1" noChangeArrowheads="1"/>
              </p:cNvSpPr>
              <p:nvPr>
                <p:custDataLst>
                  <p:tags r:id="rId29"/>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99" name="Arc 42"/>
              <p:cNvSpPr>
                <a:spLocks noChangeAspect="1"/>
              </p:cNvSpPr>
              <p:nvPr>
                <p:custDataLst>
                  <p:tags r:id="rId30"/>
                </p:custDataLst>
              </p:nvPr>
            </p:nvSpPr>
            <p:spPr bwMode="auto">
              <a:xfrm>
                <a:off x="1694" y="2044"/>
                <a:ext cx="160" cy="160"/>
              </a:xfrm>
              <a:prstGeom prst="arc">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grpSp>
          <p:nvGrpSpPr>
            <p:cNvPr id="81" name="MoonLegend4"/>
            <p:cNvGrpSpPr>
              <a:grpSpLocks noChangeAspect="1"/>
            </p:cNvGrpSpPr>
            <p:nvPr>
              <p:custDataLst>
                <p:tags r:id="rId17"/>
              </p:custDataLst>
            </p:nvPr>
          </p:nvGrpSpPr>
          <p:grpSpPr bwMode="auto">
            <a:xfrm>
              <a:off x="7875175" y="1109348"/>
              <a:ext cx="209550" cy="209551"/>
              <a:chOff x="4495" y="1198"/>
              <a:chExt cx="160" cy="160"/>
            </a:xfrm>
          </p:grpSpPr>
          <p:sp>
            <p:nvSpPr>
              <p:cNvPr id="96" name="Oval 47"/>
              <p:cNvSpPr>
                <a:spLocks noChangeAspect="1" noChangeArrowheads="1"/>
              </p:cNvSpPr>
              <p:nvPr>
                <p:custDataLst>
                  <p:tags r:id="rId27"/>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97" name="Arc 48"/>
              <p:cNvSpPr>
                <a:spLocks noChangeAspect="1"/>
              </p:cNvSpPr>
              <p:nvPr>
                <p:custDataLst>
                  <p:tags r:id="rId28"/>
                </p:custDataLst>
              </p:nvPr>
            </p:nvSpPr>
            <p:spPr bwMode="auto">
              <a:xfrm>
                <a:off x="4495" y="1198"/>
                <a:ext cx="160" cy="160"/>
              </a:xfrm>
              <a:prstGeom prst="arc">
                <a:avLst>
                  <a:gd name="adj1" fmla="val 16200000"/>
                  <a:gd name="adj2" fmla="val 108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grpSp>
          <p:nvGrpSpPr>
            <p:cNvPr id="82" name="MoonLegend5"/>
            <p:cNvGrpSpPr>
              <a:grpSpLocks noChangeAspect="1"/>
            </p:cNvGrpSpPr>
            <p:nvPr>
              <p:custDataLst>
                <p:tags r:id="rId18"/>
              </p:custDataLst>
            </p:nvPr>
          </p:nvGrpSpPr>
          <p:grpSpPr bwMode="auto">
            <a:xfrm>
              <a:off x="7875175" y="1383590"/>
              <a:ext cx="209550" cy="209551"/>
              <a:chOff x="4495" y="1440"/>
              <a:chExt cx="160" cy="160"/>
            </a:xfrm>
          </p:grpSpPr>
          <p:sp>
            <p:nvSpPr>
              <p:cNvPr id="94" name="Oval 50"/>
              <p:cNvSpPr>
                <a:spLocks noChangeAspect="1" noChangeArrowheads="1"/>
              </p:cNvSpPr>
              <p:nvPr>
                <p:custDataLst>
                  <p:tags r:id="rId25"/>
                </p:custDataLst>
              </p:nvPr>
            </p:nvSpPr>
            <p:spPr bwMode="auto">
              <a:xfrm>
                <a:off x="4495" y="1440"/>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95" name="Oval 51"/>
              <p:cNvSpPr>
                <a:spLocks noChangeAspect="1" noChangeArrowheads="1"/>
              </p:cNvSpPr>
              <p:nvPr>
                <p:custDataLst>
                  <p:tags r:id="rId26"/>
                </p:custDataLst>
              </p:nvPr>
            </p:nvSpPr>
            <p:spPr bwMode="auto">
              <a:xfrm>
                <a:off x="4495" y="1440"/>
                <a:ext cx="160" cy="160"/>
              </a:xfrm>
              <a:prstGeom prst="arc">
                <a:avLst>
                  <a:gd name="adj1" fmla="val 16200000"/>
                  <a:gd name="adj2" fmla="val 162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sp>
          <p:nvSpPr>
            <p:cNvPr id="83" name="Legend1"/>
            <p:cNvSpPr>
              <a:spLocks noChangeArrowheads="1"/>
            </p:cNvSpPr>
            <p:nvPr/>
          </p:nvSpPr>
          <p:spPr bwMode="auto">
            <a:xfrm>
              <a:off x="8195850" y="299325"/>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4" name="Legend2"/>
            <p:cNvSpPr>
              <a:spLocks noChangeArrowheads="1"/>
            </p:cNvSpPr>
            <p:nvPr/>
          </p:nvSpPr>
          <p:spPr bwMode="auto">
            <a:xfrm>
              <a:off x="8195850" y="573963"/>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5" name="Legend3"/>
            <p:cNvSpPr>
              <a:spLocks noChangeArrowheads="1"/>
            </p:cNvSpPr>
            <p:nvPr/>
          </p:nvSpPr>
          <p:spPr bwMode="auto">
            <a:xfrm>
              <a:off x="8195850" y="848602"/>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6" name="Legend4"/>
            <p:cNvSpPr>
              <a:spLocks noChangeArrowheads="1"/>
            </p:cNvSpPr>
            <p:nvPr/>
          </p:nvSpPr>
          <p:spPr bwMode="auto">
            <a:xfrm>
              <a:off x="8195850" y="1120065"/>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sp>
          <p:nvSpPr>
            <p:cNvPr id="87" name="Legend5"/>
            <p:cNvSpPr>
              <a:spLocks noChangeArrowheads="1"/>
            </p:cNvSpPr>
            <p:nvPr/>
          </p:nvSpPr>
          <p:spPr bwMode="auto">
            <a:xfrm>
              <a:off x="8195850" y="1396290"/>
              <a:ext cx="449045" cy="184666"/>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619">
                <a:buClr>
                  <a:schemeClr val="tx2"/>
                </a:buClr>
              </a:pPr>
              <a:r>
                <a:rPr lang="en-US" sz="1200" dirty="0">
                  <a:latin typeface="+mn-lt"/>
                </a:rPr>
                <a:t>Legend</a:t>
              </a:r>
            </a:p>
          </p:txBody>
        </p:sp>
        <p:grpSp>
          <p:nvGrpSpPr>
            <p:cNvPr id="88" name="MoonLegend3"/>
            <p:cNvGrpSpPr>
              <a:grpSpLocks noChangeAspect="1"/>
            </p:cNvGrpSpPr>
            <p:nvPr>
              <p:custDataLst>
                <p:tags r:id="rId19"/>
              </p:custDataLst>
            </p:nvPr>
          </p:nvGrpSpPr>
          <p:grpSpPr bwMode="auto">
            <a:xfrm>
              <a:off x="7875175" y="835107"/>
              <a:ext cx="209550" cy="209551"/>
              <a:chOff x="4495" y="1198"/>
              <a:chExt cx="160" cy="160"/>
            </a:xfrm>
          </p:grpSpPr>
          <p:sp>
            <p:nvSpPr>
              <p:cNvPr id="92" name="Oval 47"/>
              <p:cNvSpPr>
                <a:spLocks noChangeAspect="1" noChangeArrowheads="1"/>
              </p:cNvSpPr>
              <p:nvPr>
                <p:custDataLst>
                  <p:tags r:id="rId23"/>
                </p:custDataLst>
              </p:nvPr>
            </p:nvSpPr>
            <p:spPr bwMode="auto">
              <a:xfrm>
                <a:off x="4495" y="1198"/>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93" name="Arc 48"/>
              <p:cNvSpPr>
                <a:spLocks noChangeAspect="1"/>
              </p:cNvSpPr>
              <p:nvPr>
                <p:custDataLst>
                  <p:tags r:id="rId24"/>
                </p:custDataLst>
              </p:nvPr>
            </p:nvSpPr>
            <p:spPr bwMode="auto">
              <a:xfrm>
                <a:off x="4495" y="1198"/>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grpSp>
          <p:nvGrpSpPr>
            <p:cNvPr id="89" name="MoonLegend1"/>
            <p:cNvGrpSpPr>
              <a:grpSpLocks noChangeAspect="1"/>
            </p:cNvGrpSpPr>
            <p:nvPr userDrawn="1">
              <p:custDataLst>
                <p:tags r:id="rId20"/>
              </p:custDataLst>
            </p:nvPr>
          </p:nvGrpSpPr>
          <p:grpSpPr bwMode="auto">
            <a:xfrm>
              <a:off x="7875175" y="286625"/>
              <a:ext cx="209550" cy="209551"/>
              <a:chOff x="1694" y="2044"/>
              <a:chExt cx="160" cy="160"/>
            </a:xfrm>
          </p:grpSpPr>
          <p:sp>
            <p:nvSpPr>
              <p:cNvPr id="90" name="Oval 41"/>
              <p:cNvSpPr>
                <a:spLocks noChangeAspect="1" noChangeArrowheads="1"/>
              </p:cNvSpPr>
              <p:nvPr>
                <p:custDataLst>
                  <p:tags r:id="rId21"/>
                </p:custDataLst>
              </p:nvPr>
            </p:nvSpPr>
            <p:spPr bwMode="auto">
              <a:xfrm>
                <a:off x="1694" y="2044"/>
                <a:ext cx="160" cy="160"/>
              </a:xfrm>
              <a:prstGeom prst="ellipse">
                <a:avLst/>
              </a:prstGeom>
              <a:solidFill>
                <a:schemeClr val="accent1"/>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sp>
            <p:nvSpPr>
              <p:cNvPr id="91" name="Arc 42"/>
              <p:cNvSpPr>
                <a:spLocks noChangeAspect="1"/>
              </p:cNvSpPr>
              <p:nvPr>
                <p:custDataLst>
                  <p:tags r:id="rId22"/>
                </p:custDataLst>
              </p:nvPr>
            </p:nvSpPr>
            <p:spPr bwMode="auto">
              <a:xfrm>
                <a:off x="1694" y="2044"/>
                <a:ext cx="160" cy="160"/>
              </a:xfrm>
              <a:prstGeom prst="arc">
                <a:avLst>
                  <a:gd name="adj1" fmla="val 16200000"/>
                  <a:gd name="adj2" fmla="val 5400000"/>
                </a:avLst>
              </a:prstGeom>
              <a:solidFill>
                <a:schemeClr val="folHlink"/>
              </a:solidFill>
              <a:ln w="9525">
                <a:no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sz="1944" dirty="0">
                  <a:latin typeface="+mn-lt"/>
                </a:endParaRPr>
              </a:p>
            </p:txBody>
          </p:sp>
        </p:grpSp>
      </p:grpSp>
      <p:grpSp>
        <p:nvGrpSpPr>
          <p:cNvPr id="100" name="McKSticker" hidden="1"/>
          <p:cNvGrpSpPr/>
          <p:nvPr userDrawn="1"/>
        </p:nvGrpSpPr>
        <p:grpSpPr bwMode="auto">
          <a:xfrm>
            <a:off x="9638787" y="304619"/>
            <a:ext cx="884435" cy="212366"/>
            <a:chOff x="7856340" y="285750"/>
            <a:chExt cx="884435" cy="212366"/>
          </a:xfrm>
        </p:grpSpPr>
        <p:sp>
          <p:nvSpPr>
            <p:cNvPr id="101" name="StickerRectangle"/>
            <p:cNvSpPr>
              <a:spLocks noChangeArrowheads="1"/>
            </p:cNvSpPr>
            <p:nvPr/>
          </p:nvSpPr>
          <p:spPr bwMode="auto">
            <a:xfrm>
              <a:off x="7856340" y="285750"/>
              <a:ext cx="884435" cy="212366"/>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619">
                <a:buClr>
                  <a:schemeClr val="tx2"/>
                </a:buClr>
              </a:pPr>
              <a:r>
                <a:rPr lang="en-US" sz="1200" dirty="0">
                  <a:solidFill>
                    <a:srgbClr val="808080"/>
                  </a:solidFill>
                  <a:latin typeface="+mn-lt"/>
                </a:rPr>
                <a:t>PRELIMINARY</a:t>
              </a:r>
            </a:p>
          </p:txBody>
        </p:sp>
        <p:cxnSp>
          <p:nvCxnSpPr>
            <p:cNvPr id="102" name="AutoShape 31"/>
            <p:cNvCxnSpPr>
              <a:cxnSpLocks noChangeShapeType="1"/>
              <a:stCxn id="101" idx="2"/>
              <a:endCxn id="101" idx="4"/>
            </p:cNvCxnSpPr>
            <p:nvPr/>
          </p:nvCxnSpPr>
          <p:spPr bwMode="auto">
            <a:xfrm>
              <a:off x="785634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103" name="AutoShape 32"/>
            <p:cNvCxnSpPr>
              <a:cxnSpLocks noChangeShapeType="1"/>
              <a:stCxn id="101" idx="4"/>
              <a:endCxn id="101" idx="6"/>
            </p:cNvCxnSpPr>
            <p:nvPr/>
          </p:nvCxnSpPr>
          <p:spPr bwMode="auto">
            <a:xfrm>
              <a:off x="7856340" y="498116"/>
              <a:ext cx="88443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62" name="Moon" hidden="1"/>
          <p:cNvGrpSpPr/>
          <p:nvPr userDrawn="1">
            <p:custDataLst>
              <p:tags r:id="rId15"/>
            </p:custDataLst>
          </p:nvPr>
        </p:nvGrpSpPr>
        <p:grpSpPr>
          <a:xfrm>
            <a:off x="8515925" y="1214424"/>
            <a:ext cx="254000" cy="254000"/>
            <a:chOff x="762000" y="1270000"/>
            <a:chExt cx="254000" cy="254000"/>
          </a:xfrm>
        </p:grpSpPr>
        <p:sp>
          <p:nvSpPr>
            <p:cNvPr id="106" name="Oval 105"/>
            <p:cNvSpPr/>
            <p:nvPr/>
          </p:nvSpPr>
          <p:spPr>
            <a:xfrm>
              <a:off x="762000" y="1270000"/>
              <a:ext cx="254000" cy="254000"/>
            </a:xfrm>
            <a:prstGeom prst="ellipse">
              <a:avLst/>
            </a:prstGeom>
            <a:solidFill>
              <a:schemeClr val="accent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944" dirty="0">
                <a:solidFill>
                  <a:schemeClr val="tx1"/>
                </a:solidFill>
              </a:endParaRPr>
            </a:p>
          </p:txBody>
        </p:sp>
        <p:sp>
          <p:nvSpPr>
            <p:cNvPr id="109" name="Arc 108"/>
            <p:cNvSpPr/>
            <p:nvPr/>
          </p:nvSpPr>
          <p:spPr>
            <a:xfrm>
              <a:off x="762000" y="1270000"/>
              <a:ext cx="254000" cy="254000"/>
            </a:xfrm>
            <a:prstGeom prst="arc">
              <a:avLst/>
            </a:prstGeom>
            <a:solidFill>
              <a:schemeClr val="accent4"/>
            </a:solidFill>
            <a:ln>
              <a:no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sz="1944" dirty="0"/>
            </a:p>
          </p:txBody>
        </p:sp>
      </p:grpSp>
    </p:spTree>
    <p:extLst>
      <p:ext uri="{BB962C8B-B14F-4D97-AF65-F5344CB8AC3E}">
        <p14:creationId xmlns:p14="http://schemas.microsoft.com/office/powerpoint/2010/main" val="2952381382"/>
      </p:ext>
    </p:extLst>
  </p:cSld>
  <p:clrMap bg1="lt1" tx1="dk1" bg2="lt2" tx2="dk2" accent1="accent1" accent2="accent2" accent3="accent3" accent4="accent4" accent5="accent5" accent6="accent6" hlink="hlink" folHlink="folHlink"/>
  <p:sldLayoutIdLst>
    <p:sldLayoutId id="2147483841" r:id="rId1"/>
    <p:sldLayoutId id="2147483842" r:id="rId2"/>
    <p:sldLayoutId id="2147483843" r:id="rId3"/>
    <p:sldLayoutId id="2147483844" r:id="rId4"/>
    <p:sldLayoutId id="2147483845" r:id="rId5"/>
    <p:sldLayoutId id="2147483846" r:id="rId6"/>
    <p:sldLayoutId id="2147483847" r:id="rId7"/>
    <p:sldLayoutId id="2147483848" r:id="rId8"/>
    <p:sldLayoutId id="2147483849" r:id="rId9"/>
    <p:sldLayoutId id="2147483850" r:id="rId10"/>
  </p:sldLayoutIdLst>
  <p:hf hdr="0" ftr="0" dt="0"/>
  <p:txStyles>
    <p:titleStyle>
      <a:lvl1pPr algn="l" defTabSz="913800" rtl="0" eaLnBrk="1" fontAlgn="base" hangingPunct="1">
        <a:spcBef>
          <a:spcPct val="0"/>
        </a:spcBef>
        <a:spcAft>
          <a:spcPct val="0"/>
        </a:spcAft>
        <a:tabLst>
          <a:tab pos="275436" algn="l"/>
        </a:tabLst>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913800" rtl="0" eaLnBrk="1" fontAlgn="base" hangingPunct="1">
        <a:spcBef>
          <a:spcPct val="0"/>
        </a:spcBef>
        <a:spcAft>
          <a:spcPct val="0"/>
        </a:spcAft>
        <a:defRPr sz="1940" b="1">
          <a:solidFill>
            <a:schemeClr val="tx2"/>
          </a:solidFill>
          <a:latin typeface="Arial" charset="0"/>
        </a:defRPr>
      </a:lvl2pPr>
      <a:lvl3pPr algn="l" defTabSz="913800" rtl="0" eaLnBrk="1" fontAlgn="base" hangingPunct="1">
        <a:spcBef>
          <a:spcPct val="0"/>
        </a:spcBef>
        <a:spcAft>
          <a:spcPct val="0"/>
        </a:spcAft>
        <a:defRPr sz="1940" b="1">
          <a:solidFill>
            <a:schemeClr val="tx2"/>
          </a:solidFill>
          <a:latin typeface="Arial" charset="0"/>
        </a:defRPr>
      </a:lvl3pPr>
      <a:lvl4pPr algn="l" defTabSz="913800" rtl="0" eaLnBrk="1" fontAlgn="base" hangingPunct="1">
        <a:spcBef>
          <a:spcPct val="0"/>
        </a:spcBef>
        <a:spcAft>
          <a:spcPct val="0"/>
        </a:spcAft>
        <a:defRPr sz="1940" b="1">
          <a:solidFill>
            <a:schemeClr val="tx2"/>
          </a:solidFill>
          <a:latin typeface="Arial" charset="0"/>
        </a:defRPr>
      </a:lvl4pPr>
      <a:lvl5pPr algn="l" defTabSz="913800" rtl="0" eaLnBrk="1" fontAlgn="base" hangingPunct="1">
        <a:spcBef>
          <a:spcPct val="0"/>
        </a:spcBef>
        <a:spcAft>
          <a:spcPct val="0"/>
        </a:spcAft>
        <a:defRPr sz="1940" b="1">
          <a:solidFill>
            <a:schemeClr val="tx2"/>
          </a:solidFill>
          <a:latin typeface="Arial" charset="0"/>
        </a:defRPr>
      </a:lvl5pPr>
      <a:lvl6pPr marL="466621" algn="l" defTabSz="913800" rtl="0" eaLnBrk="1" fontAlgn="base" hangingPunct="1">
        <a:spcBef>
          <a:spcPct val="0"/>
        </a:spcBef>
        <a:spcAft>
          <a:spcPct val="0"/>
        </a:spcAft>
        <a:defRPr sz="1940" b="1">
          <a:solidFill>
            <a:schemeClr val="tx2"/>
          </a:solidFill>
          <a:latin typeface="Arial" charset="0"/>
        </a:defRPr>
      </a:lvl6pPr>
      <a:lvl7pPr marL="933242" algn="l" defTabSz="913800" rtl="0" eaLnBrk="1" fontAlgn="base" hangingPunct="1">
        <a:spcBef>
          <a:spcPct val="0"/>
        </a:spcBef>
        <a:spcAft>
          <a:spcPct val="0"/>
        </a:spcAft>
        <a:defRPr sz="1940" b="1">
          <a:solidFill>
            <a:schemeClr val="tx2"/>
          </a:solidFill>
          <a:latin typeface="Arial" charset="0"/>
        </a:defRPr>
      </a:lvl7pPr>
      <a:lvl8pPr marL="1399863" algn="l" defTabSz="913800" rtl="0" eaLnBrk="1" fontAlgn="base" hangingPunct="1">
        <a:spcBef>
          <a:spcPct val="0"/>
        </a:spcBef>
        <a:spcAft>
          <a:spcPct val="0"/>
        </a:spcAft>
        <a:defRPr sz="1940" b="1">
          <a:solidFill>
            <a:schemeClr val="tx2"/>
          </a:solidFill>
          <a:latin typeface="Arial" charset="0"/>
        </a:defRPr>
      </a:lvl8pPr>
      <a:lvl9pPr marL="1866485" algn="l" defTabSz="913800" rtl="0" eaLnBrk="1" fontAlgn="base" hangingPunct="1">
        <a:spcBef>
          <a:spcPct val="0"/>
        </a:spcBef>
        <a:spcAft>
          <a:spcPct val="0"/>
        </a:spcAft>
        <a:defRPr sz="1940" b="1">
          <a:solidFill>
            <a:schemeClr val="tx2"/>
          </a:solidFill>
          <a:latin typeface="Arial" charset="0"/>
        </a:defRPr>
      </a:lvl9pPr>
    </p:titleStyle>
    <p:bodyStyle>
      <a:lvl1pPr marL="0" indent="0" algn="l" defTabSz="913800" rtl="0" eaLnBrk="1" fontAlgn="base" hangingPunct="1">
        <a:spcBef>
          <a:spcPct val="0"/>
        </a:spcBef>
        <a:spcAft>
          <a:spcPct val="0"/>
        </a:spcAft>
        <a:buClr>
          <a:schemeClr val="tx2"/>
        </a:buClr>
        <a:buSzPct val="100000"/>
        <a:defRPr sz="1600" baseline="0">
          <a:solidFill>
            <a:schemeClr val="tx1"/>
          </a:solidFill>
          <a:latin typeface="+mn-lt"/>
          <a:ea typeface="+mn-ea"/>
          <a:cs typeface="+mn-cs"/>
        </a:defRPr>
      </a:lvl1pPr>
      <a:lvl2pPr marL="192082" indent="-196046" algn="l" defTabSz="913800"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337" indent="-267335"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2832" indent="-158781" algn="l" defTabSz="913800"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50033" indent="-128054" algn="l" defTabSz="913800"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5259" indent="-132858" algn="l" defTabSz="913800"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33242" rtl="0" eaLnBrk="1" latinLnBrk="0" hangingPunct="1">
        <a:defRPr sz="1838" kern="1200">
          <a:solidFill>
            <a:schemeClr val="tx1"/>
          </a:solidFill>
          <a:latin typeface="+mn-lt"/>
          <a:ea typeface="+mn-ea"/>
          <a:cs typeface="+mn-cs"/>
        </a:defRPr>
      </a:lvl1pPr>
      <a:lvl2pPr marL="466621" algn="l" defTabSz="933242" rtl="0" eaLnBrk="1" latinLnBrk="0" hangingPunct="1">
        <a:defRPr sz="1838" kern="1200">
          <a:solidFill>
            <a:schemeClr val="tx1"/>
          </a:solidFill>
          <a:latin typeface="+mn-lt"/>
          <a:ea typeface="+mn-ea"/>
          <a:cs typeface="+mn-cs"/>
        </a:defRPr>
      </a:lvl2pPr>
      <a:lvl3pPr marL="933242" algn="l" defTabSz="933242" rtl="0" eaLnBrk="1" latinLnBrk="0" hangingPunct="1">
        <a:defRPr sz="1838" kern="1200">
          <a:solidFill>
            <a:schemeClr val="tx1"/>
          </a:solidFill>
          <a:latin typeface="+mn-lt"/>
          <a:ea typeface="+mn-ea"/>
          <a:cs typeface="+mn-cs"/>
        </a:defRPr>
      </a:lvl3pPr>
      <a:lvl4pPr marL="1399863" algn="l" defTabSz="933242" rtl="0" eaLnBrk="1" latinLnBrk="0" hangingPunct="1">
        <a:defRPr sz="1838" kern="1200">
          <a:solidFill>
            <a:schemeClr val="tx1"/>
          </a:solidFill>
          <a:latin typeface="+mn-lt"/>
          <a:ea typeface="+mn-ea"/>
          <a:cs typeface="+mn-cs"/>
        </a:defRPr>
      </a:lvl4pPr>
      <a:lvl5pPr marL="1866485" algn="l" defTabSz="933242" rtl="0" eaLnBrk="1" latinLnBrk="0" hangingPunct="1">
        <a:defRPr sz="1838" kern="1200">
          <a:solidFill>
            <a:schemeClr val="tx1"/>
          </a:solidFill>
          <a:latin typeface="+mn-lt"/>
          <a:ea typeface="+mn-ea"/>
          <a:cs typeface="+mn-cs"/>
        </a:defRPr>
      </a:lvl5pPr>
      <a:lvl6pPr marL="2333106" algn="l" defTabSz="933242" rtl="0" eaLnBrk="1" latinLnBrk="0" hangingPunct="1">
        <a:defRPr sz="1838" kern="1200">
          <a:solidFill>
            <a:schemeClr val="tx1"/>
          </a:solidFill>
          <a:latin typeface="+mn-lt"/>
          <a:ea typeface="+mn-ea"/>
          <a:cs typeface="+mn-cs"/>
        </a:defRPr>
      </a:lvl6pPr>
      <a:lvl7pPr marL="2799727" algn="l" defTabSz="933242" rtl="0" eaLnBrk="1" latinLnBrk="0" hangingPunct="1">
        <a:defRPr sz="1838" kern="1200">
          <a:solidFill>
            <a:schemeClr val="tx1"/>
          </a:solidFill>
          <a:latin typeface="+mn-lt"/>
          <a:ea typeface="+mn-ea"/>
          <a:cs typeface="+mn-cs"/>
        </a:defRPr>
      </a:lvl7pPr>
      <a:lvl8pPr marL="3266348" algn="l" defTabSz="933242" rtl="0" eaLnBrk="1" latinLnBrk="0" hangingPunct="1">
        <a:defRPr sz="1838" kern="1200">
          <a:solidFill>
            <a:schemeClr val="tx1"/>
          </a:solidFill>
          <a:latin typeface="+mn-lt"/>
          <a:ea typeface="+mn-ea"/>
          <a:cs typeface="+mn-cs"/>
        </a:defRPr>
      </a:lvl8pPr>
      <a:lvl9pPr marL="3732969" algn="l" defTabSz="933242" rtl="0" eaLnBrk="1" latinLnBrk="0" hangingPunct="1">
        <a:defRPr sz="1838"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36">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69241"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3"/>
          </p:nvPr>
        </p:nvSpPr>
        <p:spPr>
          <a:xfrm>
            <a:off x="269302" y="6356803"/>
            <a:ext cx="3859607" cy="364224"/>
          </a:xfrm>
          <a:prstGeom prst="rect">
            <a:avLst/>
          </a:prstGeom>
        </p:spPr>
        <p:txBody>
          <a:bodyPr vert="horz" lIns="91440" tIns="45720" rIns="91440" bIns="45720" rtlCol="0" anchor="ctr"/>
          <a:lstStyle>
            <a:lvl1pPr algn="l">
              <a:defRPr sz="980">
                <a:solidFill>
                  <a:srgbClr val="000000"/>
                </a:solidFill>
              </a:defRPr>
            </a:lvl1pPr>
          </a:lstStyle>
          <a:p>
            <a:endParaRPr lang="en-US" dirty="0"/>
          </a:p>
        </p:txBody>
      </p:sp>
      <p:sp>
        <p:nvSpPr>
          <p:cNvPr id="6" name="Slide Number Placeholder 8"/>
          <p:cNvSpPr>
            <a:spLocks noGrp="1"/>
          </p:cNvSpPr>
          <p:nvPr>
            <p:ph type="sldNum" sz="quarter" idx="4"/>
          </p:nvPr>
        </p:nvSpPr>
        <p:spPr>
          <a:xfrm>
            <a:off x="9143810" y="6356803"/>
            <a:ext cx="2844904" cy="364224"/>
          </a:xfrm>
          <a:prstGeom prst="rect">
            <a:avLst/>
          </a:prstGeom>
        </p:spPr>
        <p:txBody>
          <a:bodyPr vert="horz" lIns="91440" tIns="45720" rIns="91440" bIns="45720" rtlCol="0" anchor="ctr"/>
          <a:lstStyle>
            <a:lvl1pPr algn="r">
              <a:defRPr sz="980">
                <a:solidFill>
                  <a:srgbClr val="000000"/>
                </a:solidFill>
              </a:defRPr>
            </a:lvl1pPr>
          </a:lstStyle>
          <a:p>
            <a:fld id="{7EFC24D6-DB8F-6B44-BA5A-9BEC68C15CAA}" type="slidenum">
              <a:rPr lang="en-US" smtClean="0"/>
              <a:pPr/>
              <a:t>‹#›</a:t>
            </a:fld>
            <a:endParaRPr lang="en-US" dirty="0"/>
          </a:p>
        </p:txBody>
      </p:sp>
    </p:spTree>
    <p:extLst>
      <p:ext uri="{BB962C8B-B14F-4D97-AF65-F5344CB8AC3E}">
        <p14:creationId xmlns:p14="http://schemas.microsoft.com/office/powerpoint/2010/main" val="2366390240"/>
      </p:ext>
    </p:extLst>
  </p:cSld>
  <p:clrMap bg1="dk1" tx1="lt1" bg2="dk2" tx2="lt2" accent1="accent1" accent2="accent2" accent3="accent3" accent4="accent4" accent5="accent5" accent6="accent6" hlink="hlink" folHlink="folHlink"/>
  <p:sldLayoutIdLst>
    <p:sldLayoutId id="2147483857" r:id="rId1"/>
    <p:sldLayoutId id="2147483858" r:id="rId2"/>
    <p:sldLayoutId id="2147483859" r:id="rId3"/>
    <p:sldLayoutId id="2147483860" r:id="rId4"/>
    <p:sldLayoutId id="2147483861" r:id="rId5"/>
    <p:sldLayoutId id="2147483862" r:id="rId6"/>
    <p:sldLayoutId id="2147483863" r:id="rId7"/>
    <p:sldLayoutId id="2147483864" r:id="rId8"/>
    <p:sldLayoutId id="2147483865" r:id="rId9"/>
    <p:sldLayoutId id="2147483866" r:id="rId10"/>
    <p:sldLayoutId id="2147483867" r:id="rId11"/>
    <p:sldLayoutId id="2147483868" r:id="rId12"/>
    <p:sldLayoutId id="2147483869" r:id="rId13"/>
    <p:sldLayoutId id="2147483870" r:id="rId14"/>
    <p:sldLayoutId id="2147483871" r:id="rId15"/>
    <p:sldLayoutId id="2147483872" r:id="rId16"/>
    <p:sldLayoutId id="2147483873" r:id="rId17"/>
    <p:sldLayoutId id="2147483874" r:id="rId18"/>
    <p:sldLayoutId id="2147483875" r:id="rId19"/>
    <p:sldLayoutId id="2147483876" r:id="rId20"/>
    <p:sldLayoutId id="2147483877" r:id="rId21"/>
    <p:sldLayoutId id="2147483878" r:id="rId22"/>
    <p:sldLayoutId id="2147483879" r:id="rId23"/>
    <p:sldLayoutId id="2147483880" r:id="rId24"/>
    <p:sldLayoutId id="2147483881" r:id="rId25"/>
    <p:sldLayoutId id="2147483882" r:id="rId26"/>
    <p:sldLayoutId id="2147483883" r:id="rId27"/>
    <p:sldLayoutId id="2147483884" r:id="rId28"/>
    <p:sldLayoutId id="2147483885" r:id="rId29"/>
    <p:sldLayoutId id="2147483886" r:id="rId30"/>
    <p:sldLayoutId id="2147483887" r:id="rId31"/>
    <p:sldLayoutId id="2147483888" r:id="rId32"/>
    <p:sldLayoutId id="2147483889" r:id="rId33"/>
    <p:sldLayoutId id="2147483890" r:id="rId34"/>
    <p:sldLayoutId id="2147483891" r:id="rId35"/>
    <p:sldLayoutId id="2147483892" r:id="rId36"/>
    <p:sldLayoutId id="2147483893" r:id="rId37"/>
    <p:sldLayoutId id="2147483894" r:id="rId38"/>
    <p:sldLayoutId id="2147483895" r:id="rId39"/>
    <p:sldLayoutId id="2147483896" r:id="rId40"/>
    <p:sldLayoutId id="2147483897" r:id="rId41"/>
    <p:sldLayoutId id="2147483898" r:id="rId42"/>
    <p:sldLayoutId id="2147483899" r:id="rId43"/>
    <p:sldLayoutId id="2147483900" r:id="rId44"/>
  </p:sldLayoutIdLst>
  <p:transition>
    <p:fade/>
  </p:transition>
  <p:hf hdr="0" ftr="0" dt="0"/>
  <p:txStyles>
    <p:titleStyle>
      <a:lvl1pPr algn="l" defTabSz="914367" rtl="0" eaLnBrk="1" latinLnBrk="0" hangingPunct="1">
        <a:lnSpc>
          <a:spcPct val="90000"/>
        </a:lnSpc>
        <a:spcBef>
          <a:spcPct val="0"/>
        </a:spcBef>
        <a:buNone/>
        <a:defRPr lang="en-US" sz="4313" b="0" kern="1200" cap="none" spc="-100" baseline="0" dirty="0" smtClean="0">
          <a:ln w="3175">
            <a:noFill/>
          </a:ln>
          <a:solidFill>
            <a:srgbClr val="000000"/>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8.xml"/><Relationship Id="rId4" Type="http://schemas.openxmlformats.org/officeDocument/2006/relationships/image" Target="../media/image7.jpg"/></Relationships>
</file>

<file path=ppt/slides/_rels/slide10.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7.xml"/><Relationship Id="rId1" Type="http://schemas.openxmlformats.org/officeDocument/2006/relationships/slideLayout" Target="../slideLayouts/slideLayout43.xml"/><Relationship Id="rId4" Type="http://schemas.openxmlformats.org/officeDocument/2006/relationships/chart" Target="../charts/chart6.xml"/></Relationships>
</file>

<file path=ppt/slides/_rels/slide11.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chart" Target="../charts/chart8.xml"/></Relationships>
</file>

<file path=ppt/slides/_rels/slide1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9.xml"/><Relationship Id="rId1" Type="http://schemas.openxmlformats.org/officeDocument/2006/relationships/slideLayout" Target="../slideLayouts/slideLayout5.xml"/><Relationship Id="rId4" Type="http://schemas.openxmlformats.org/officeDocument/2006/relationships/chart" Target="../charts/chart10.xml"/></Relationships>
</file>

<file path=ppt/slides/_rels/slide13.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chart" Target="../charts/chart14.xml"/><Relationship Id="rId5" Type="http://schemas.openxmlformats.org/officeDocument/2006/relationships/chart" Target="../charts/chart13.xml"/><Relationship Id="rId4" Type="http://schemas.openxmlformats.org/officeDocument/2006/relationships/chart" Target="../charts/chart12.xml"/></Relationships>
</file>

<file path=ppt/slides/_rels/slide14.xml.rels><?xml version="1.0" encoding="UTF-8" standalone="yes"?>
<Relationships xmlns="http://schemas.openxmlformats.org/package/2006/relationships"><Relationship Id="rId3" Type="http://schemas.openxmlformats.org/officeDocument/2006/relationships/image" Target="../media/image40.jpg"/><Relationship Id="rId7" Type="http://schemas.openxmlformats.org/officeDocument/2006/relationships/image" Target="../media/image44.png"/><Relationship Id="rId2" Type="http://schemas.openxmlformats.org/officeDocument/2006/relationships/notesSlide" Target="../notesSlides/notesSlide11.xml"/><Relationship Id="rId1" Type="http://schemas.openxmlformats.org/officeDocument/2006/relationships/slideLayout" Target="../slideLayouts/slideLayout43.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image" Target="../media/image41.png"/></Relationships>
</file>

<file path=ppt/slides/_rels/slide15.xml.rels><?xml version="1.0" encoding="UTF-8" standalone="yes"?>
<Relationships xmlns="http://schemas.openxmlformats.org/package/2006/relationships"><Relationship Id="rId3" Type="http://schemas.openxmlformats.org/officeDocument/2006/relationships/chart" Target="../charts/chart15.xml"/><Relationship Id="rId7" Type="http://schemas.openxmlformats.org/officeDocument/2006/relationships/chart" Target="../charts/chart19.xml"/><Relationship Id="rId2" Type="http://schemas.openxmlformats.org/officeDocument/2006/relationships/notesSlide" Target="../notesSlides/notesSlide12.xml"/><Relationship Id="rId1" Type="http://schemas.openxmlformats.org/officeDocument/2006/relationships/slideLayout" Target="../slideLayouts/slideLayout43.xml"/><Relationship Id="rId6" Type="http://schemas.openxmlformats.org/officeDocument/2006/relationships/chart" Target="../charts/chart18.xml"/><Relationship Id="rId5" Type="http://schemas.openxmlformats.org/officeDocument/2006/relationships/chart" Target="../charts/chart17.xml"/><Relationship Id="rId4" Type="http://schemas.openxmlformats.org/officeDocument/2006/relationships/chart" Target="../charts/chart16.xml"/></Relationships>
</file>

<file path=ppt/slides/_rels/slide16.xml.rels><?xml version="1.0" encoding="UTF-8" standalone="yes"?>
<Relationships xmlns="http://schemas.openxmlformats.org/package/2006/relationships"><Relationship Id="rId3" Type="http://schemas.openxmlformats.org/officeDocument/2006/relationships/chart" Target="../charts/chart20.xml"/><Relationship Id="rId2" Type="http://schemas.openxmlformats.org/officeDocument/2006/relationships/image" Target="../media/image45.jpg"/><Relationship Id="rId1" Type="http://schemas.openxmlformats.org/officeDocument/2006/relationships/slideLayout" Target="../slideLayouts/slideLayout43.xml"/></Relationships>
</file>

<file path=ppt/slides/_rels/slide17.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49.png"/><Relationship Id="rId5" Type="http://schemas.openxmlformats.org/officeDocument/2006/relationships/image" Target="../media/image48.png"/><Relationship Id="rId4" Type="http://schemas.openxmlformats.org/officeDocument/2006/relationships/image" Target="../media/image47.png"/></Relationships>
</file>

<file path=ppt/slides/_rels/slide18.xml.rels><?xml version="1.0" encoding="UTF-8" standalone="yes"?>
<Relationships xmlns="http://schemas.openxmlformats.org/package/2006/relationships"><Relationship Id="rId3" Type="http://schemas.openxmlformats.org/officeDocument/2006/relationships/chart" Target="../charts/chart21.xml"/><Relationship Id="rId2" Type="http://schemas.openxmlformats.org/officeDocument/2006/relationships/notesSlide" Target="../notesSlides/notesSlide14.xml"/><Relationship Id="rId1" Type="http://schemas.openxmlformats.org/officeDocument/2006/relationships/slideLayout" Target="../slideLayouts/slideLayout43.xml"/></Relationships>
</file>

<file path=ppt/slides/_rels/slide19.xml.rels><?xml version="1.0" encoding="UTF-8" standalone="yes"?>
<Relationships xmlns="http://schemas.openxmlformats.org/package/2006/relationships"><Relationship Id="rId3" Type="http://schemas.openxmlformats.org/officeDocument/2006/relationships/chart" Target="../charts/chart22.xml"/><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chart" Target="../charts/chart24.xml"/><Relationship Id="rId4" Type="http://schemas.openxmlformats.org/officeDocument/2006/relationships/chart" Target="../charts/chart23.xml"/></Relationships>
</file>

<file path=ppt/slides/_rels/slide2.xml.rels><?xml version="1.0" encoding="UTF-8" standalone="yes"?>
<Relationships xmlns="http://schemas.openxmlformats.org/package/2006/relationships"><Relationship Id="rId117" Type="http://schemas.openxmlformats.org/officeDocument/2006/relationships/tags" Target="../tags/tag137.xml"/><Relationship Id="rId299" Type="http://schemas.openxmlformats.org/officeDocument/2006/relationships/tags" Target="../tags/tag319.xml"/><Relationship Id="rId21" Type="http://schemas.openxmlformats.org/officeDocument/2006/relationships/tags" Target="../tags/tag41.xml"/><Relationship Id="rId63" Type="http://schemas.openxmlformats.org/officeDocument/2006/relationships/tags" Target="../tags/tag83.xml"/><Relationship Id="rId159" Type="http://schemas.openxmlformats.org/officeDocument/2006/relationships/tags" Target="../tags/tag179.xml"/><Relationship Id="rId324" Type="http://schemas.openxmlformats.org/officeDocument/2006/relationships/tags" Target="../tags/tag344.xml"/><Relationship Id="rId366" Type="http://schemas.openxmlformats.org/officeDocument/2006/relationships/tags" Target="../tags/tag386.xml"/><Relationship Id="rId170" Type="http://schemas.openxmlformats.org/officeDocument/2006/relationships/tags" Target="../tags/tag190.xml"/><Relationship Id="rId226" Type="http://schemas.openxmlformats.org/officeDocument/2006/relationships/tags" Target="../tags/tag246.xml"/><Relationship Id="rId268" Type="http://schemas.openxmlformats.org/officeDocument/2006/relationships/tags" Target="../tags/tag288.xml"/><Relationship Id="rId32" Type="http://schemas.openxmlformats.org/officeDocument/2006/relationships/tags" Target="../tags/tag52.xml"/><Relationship Id="rId74" Type="http://schemas.openxmlformats.org/officeDocument/2006/relationships/tags" Target="../tags/tag94.xml"/><Relationship Id="rId128" Type="http://schemas.openxmlformats.org/officeDocument/2006/relationships/tags" Target="../tags/tag148.xml"/><Relationship Id="rId335" Type="http://schemas.openxmlformats.org/officeDocument/2006/relationships/tags" Target="../tags/tag355.xml"/><Relationship Id="rId377" Type="http://schemas.openxmlformats.org/officeDocument/2006/relationships/tags" Target="../tags/tag397.xml"/><Relationship Id="rId5" Type="http://schemas.openxmlformats.org/officeDocument/2006/relationships/tags" Target="../tags/tag25.xml"/><Relationship Id="rId181" Type="http://schemas.openxmlformats.org/officeDocument/2006/relationships/tags" Target="../tags/tag201.xml"/><Relationship Id="rId237" Type="http://schemas.openxmlformats.org/officeDocument/2006/relationships/tags" Target="../tags/tag257.xml"/><Relationship Id="rId279" Type="http://schemas.openxmlformats.org/officeDocument/2006/relationships/tags" Target="../tags/tag299.xml"/><Relationship Id="rId43" Type="http://schemas.openxmlformats.org/officeDocument/2006/relationships/tags" Target="../tags/tag63.xml"/><Relationship Id="rId139" Type="http://schemas.openxmlformats.org/officeDocument/2006/relationships/tags" Target="../tags/tag159.xml"/><Relationship Id="rId290" Type="http://schemas.openxmlformats.org/officeDocument/2006/relationships/tags" Target="../tags/tag310.xml"/><Relationship Id="rId304" Type="http://schemas.openxmlformats.org/officeDocument/2006/relationships/tags" Target="../tags/tag324.xml"/><Relationship Id="rId346" Type="http://schemas.openxmlformats.org/officeDocument/2006/relationships/tags" Target="../tags/tag366.xml"/><Relationship Id="rId85" Type="http://schemas.openxmlformats.org/officeDocument/2006/relationships/tags" Target="../tags/tag105.xml"/><Relationship Id="rId150" Type="http://schemas.openxmlformats.org/officeDocument/2006/relationships/tags" Target="../tags/tag170.xml"/><Relationship Id="rId192" Type="http://schemas.openxmlformats.org/officeDocument/2006/relationships/tags" Target="../tags/tag212.xml"/><Relationship Id="rId206" Type="http://schemas.openxmlformats.org/officeDocument/2006/relationships/tags" Target="../tags/tag226.xml"/><Relationship Id="rId248" Type="http://schemas.openxmlformats.org/officeDocument/2006/relationships/tags" Target="../tags/tag268.xml"/><Relationship Id="rId12" Type="http://schemas.openxmlformats.org/officeDocument/2006/relationships/tags" Target="../tags/tag32.xml"/><Relationship Id="rId108" Type="http://schemas.openxmlformats.org/officeDocument/2006/relationships/tags" Target="../tags/tag128.xml"/><Relationship Id="rId315" Type="http://schemas.openxmlformats.org/officeDocument/2006/relationships/tags" Target="../tags/tag335.xml"/><Relationship Id="rId357" Type="http://schemas.openxmlformats.org/officeDocument/2006/relationships/tags" Target="../tags/tag377.xml"/><Relationship Id="rId54" Type="http://schemas.openxmlformats.org/officeDocument/2006/relationships/tags" Target="../tags/tag74.xml"/><Relationship Id="rId96" Type="http://schemas.openxmlformats.org/officeDocument/2006/relationships/tags" Target="../tags/tag116.xml"/><Relationship Id="rId161" Type="http://schemas.openxmlformats.org/officeDocument/2006/relationships/tags" Target="../tags/tag181.xml"/><Relationship Id="rId217" Type="http://schemas.openxmlformats.org/officeDocument/2006/relationships/tags" Target="../tags/tag237.xml"/><Relationship Id="rId259" Type="http://schemas.openxmlformats.org/officeDocument/2006/relationships/tags" Target="../tags/tag279.xml"/><Relationship Id="rId23" Type="http://schemas.openxmlformats.org/officeDocument/2006/relationships/tags" Target="../tags/tag43.xml"/><Relationship Id="rId119" Type="http://schemas.openxmlformats.org/officeDocument/2006/relationships/tags" Target="../tags/tag139.xml"/><Relationship Id="rId270" Type="http://schemas.openxmlformats.org/officeDocument/2006/relationships/tags" Target="../tags/tag290.xml"/><Relationship Id="rId326" Type="http://schemas.openxmlformats.org/officeDocument/2006/relationships/tags" Target="../tags/tag346.xml"/><Relationship Id="rId65" Type="http://schemas.openxmlformats.org/officeDocument/2006/relationships/tags" Target="../tags/tag85.xml"/><Relationship Id="rId130" Type="http://schemas.openxmlformats.org/officeDocument/2006/relationships/tags" Target="../tags/tag150.xml"/><Relationship Id="rId368" Type="http://schemas.openxmlformats.org/officeDocument/2006/relationships/tags" Target="../tags/tag388.xml"/><Relationship Id="rId172" Type="http://schemas.openxmlformats.org/officeDocument/2006/relationships/tags" Target="../tags/tag192.xml"/><Relationship Id="rId228" Type="http://schemas.openxmlformats.org/officeDocument/2006/relationships/tags" Target="../tags/tag248.xml"/><Relationship Id="rId281" Type="http://schemas.openxmlformats.org/officeDocument/2006/relationships/tags" Target="../tags/tag301.xml"/><Relationship Id="rId337" Type="http://schemas.openxmlformats.org/officeDocument/2006/relationships/tags" Target="../tags/tag357.xml"/><Relationship Id="rId34" Type="http://schemas.openxmlformats.org/officeDocument/2006/relationships/tags" Target="../tags/tag54.xml"/><Relationship Id="rId76" Type="http://schemas.openxmlformats.org/officeDocument/2006/relationships/tags" Target="../tags/tag96.xml"/><Relationship Id="rId141" Type="http://schemas.openxmlformats.org/officeDocument/2006/relationships/tags" Target="../tags/tag161.xml"/><Relationship Id="rId379" Type="http://schemas.openxmlformats.org/officeDocument/2006/relationships/tags" Target="../tags/tag399.xml"/><Relationship Id="rId7" Type="http://schemas.openxmlformats.org/officeDocument/2006/relationships/tags" Target="../tags/tag27.xml"/><Relationship Id="rId183" Type="http://schemas.openxmlformats.org/officeDocument/2006/relationships/tags" Target="../tags/tag203.xml"/><Relationship Id="rId239" Type="http://schemas.openxmlformats.org/officeDocument/2006/relationships/tags" Target="../tags/tag259.xml"/><Relationship Id="rId250" Type="http://schemas.openxmlformats.org/officeDocument/2006/relationships/tags" Target="../tags/tag270.xml"/><Relationship Id="rId292" Type="http://schemas.openxmlformats.org/officeDocument/2006/relationships/tags" Target="../tags/tag312.xml"/><Relationship Id="rId306" Type="http://schemas.openxmlformats.org/officeDocument/2006/relationships/tags" Target="../tags/tag326.xml"/><Relationship Id="rId45" Type="http://schemas.openxmlformats.org/officeDocument/2006/relationships/tags" Target="../tags/tag65.xml"/><Relationship Id="rId87" Type="http://schemas.openxmlformats.org/officeDocument/2006/relationships/tags" Target="../tags/tag107.xml"/><Relationship Id="rId110" Type="http://schemas.openxmlformats.org/officeDocument/2006/relationships/tags" Target="../tags/tag130.xml"/><Relationship Id="rId348" Type="http://schemas.openxmlformats.org/officeDocument/2006/relationships/tags" Target="../tags/tag368.xml"/><Relationship Id="rId152" Type="http://schemas.openxmlformats.org/officeDocument/2006/relationships/tags" Target="../tags/tag172.xml"/><Relationship Id="rId194" Type="http://schemas.openxmlformats.org/officeDocument/2006/relationships/tags" Target="../tags/tag214.xml"/><Relationship Id="rId208" Type="http://schemas.openxmlformats.org/officeDocument/2006/relationships/tags" Target="../tags/tag228.xml"/><Relationship Id="rId261" Type="http://schemas.openxmlformats.org/officeDocument/2006/relationships/tags" Target="../tags/tag281.xml"/><Relationship Id="rId14" Type="http://schemas.openxmlformats.org/officeDocument/2006/relationships/tags" Target="../tags/tag34.xml"/><Relationship Id="rId56" Type="http://schemas.openxmlformats.org/officeDocument/2006/relationships/tags" Target="../tags/tag76.xml"/><Relationship Id="rId317" Type="http://schemas.openxmlformats.org/officeDocument/2006/relationships/tags" Target="../tags/tag337.xml"/><Relationship Id="rId359" Type="http://schemas.openxmlformats.org/officeDocument/2006/relationships/tags" Target="../tags/tag379.xml"/><Relationship Id="rId98" Type="http://schemas.openxmlformats.org/officeDocument/2006/relationships/tags" Target="../tags/tag118.xml"/><Relationship Id="rId121" Type="http://schemas.openxmlformats.org/officeDocument/2006/relationships/tags" Target="../tags/tag141.xml"/><Relationship Id="rId163" Type="http://schemas.openxmlformats.org/officeDocument/2006/relationships/tags" Target="../tags/tag183.xml"/><Relationship Id="rId219" Type="http://schemas.openxmlformats.org/officeDocument/2006/relationships/tags" Target="../tags/tag239.xml"/><Relationship Id="rId370" Type="http://schemas.openxmlformats.org/officeDocument/2006/relationships/tags" Target="../tags/tag390.xml"/><Relationship Id="rId230" Type="http://schemas.openxmlformats.org/officeDocument/2006/relationships/tags" Target="../tags/tag250.xml"/><Relationship Id="rId25" Type="http://schemas.openxmlformats.org/officeDocument/2006/relationships/tags" Target="../tags/tag45.xml"/><Relationship Id="rId67" Type="http://schemas.openxmlformats.org/officeDocument/2006/relationships/tags" Target="../tags/tag87.xml"/><Relationship Id="rId272" Type="http://schemas.openxmlformats.org/officeDocument/2006/relationships/tags" Target="../tags/tag292.xml"/><Relationship Id="rId328" Type="http://schemas.openxmlformats.org/officeDocument/2006/relationships/tags" Target="../tags/tag348.xml"/><Relationship Id="rId132" Type="http://schemas.openxmlformats.org/officeDocument/2006/relationships/tags" Target="../tags/tag152.xml"/><Relationship Id="rId174" Type="http://schemas.openxmlformats.org/officeDocument/2006/relationships/tags" Target="../tags/tag194.xml"/><Relationship Id="rId381" Type="http://schemas.openxmlformats.org/officeDocument/2006/relationships/tags" Target="../tags/tag401.xml"/><Relationship Id="rId241" Type="http://schemas.openxmlformats.org/officeDocument/2006/relationships/tags" Target="../tags/tag261.xml"/><Relationship Id="rId36" Type="http://schemas.openxmlformats.org/officeDocument/2006/relationships/tags" Target="../tags/tag56.xml"/><Relationship Id="rId283" Type="http://schemas.openxmlformats.org/officeDocument/2006/relationships/tags" Target="../tags/tag303.xml"/><Relationship Id="rId339" Type="http://schemas.openxmlformats.org/officeDocument/2006/relationships/tags" Target="../tags/tag359.xml"/><Relationship Id="rId78" Type="http://schemas.openxmlformats.org/officeDocument/2006/relationships/tags" Target="../tags/tag98.xml"/><Relationship Id="rId101" Type="http://schemas.openxmlformats.org/officeDocument/2006/relationships/tags" Target="../tags/tag121.xml"/><Relationship Id="rId143" Type="http://schemas.openxmlformats.org/officeDocument/2006/relationships/tags" Target="../tags/tag163.xml"/><Relationship Id="rId185" Type="http://schemas.openxmlformats.org/officeDocument/2006/relationships/tags" Target="../tags/tag205.xml"/><Relationship Id="rId350" Type="http://schemas.openxmlformats.org/officeDocument/2006/relationships/tags" Target="../tags/tag370.xml"/><Relationship Id="rId9" Type="http://schemas.openxmlformats.org/officeDocument/2006/relationships/tags" Target="../tags/tag29.xml"/><Relationship Id="rId210" Type="http://schemas.openxmlformats.org/officeDocument/2006/relationships/tags" Target="../tags/tag230.xml"/><Relationship Id="rId26" Type="http://schemas.openxmlformats.org/officeDocument/2006/relationships/tags" Target="../tags/tag46.xml"/><Relationship Id="rId231" Type="http://schemas.openxmlformats.org/officeDocument/2006/relationships/tags" Target="../tags/tag251.xml"/><Relationship Id="rId252" Type="http://schemas.openxmlformats.org/officeDocument/2006/relationships/tags" Target="../tags/tag272.xml"/><Relationship Id="rId273" Type="http://schemas.openxmlformats.org/officeDocument/2006/relationships/tags" Target="../tags/tag293.xml"/><Relationship Id="rId294" Type="http://schemas.openxmlformats.org/officeDocument/2006/relationships/tags" Target="../tags/tag314.xml"/><Relationship Id="rId308" Type="http://schemas.openxmlformats.org/officeDocument/2006/relationships/tags" Target="../tags/tag328.xml"/><Relationship Id="rId329" Type="http://schemas.openxmlformats.org/officeDocument/2006/relationships/tags" Target="../tags/tag349.xml"/><Relationship Id="rId47" Type="http://schemas.openxmlformats.org/officeDocument/2006/relationships/tags" Target="../tags/tag67.xml"/><Relationship Id="rId68" Type="http://schemas.openxmlformats.org/officeDocument/2006/relationships/tags" Target="../tags/tag88.xml"/><Relationship Id="rId89" Type="http://schemas.openxmlformats.org/officeDocument/2006/relationships/tags" Target="../tags/tag109.xml"/><Relationship Id="rId112" Type="http://schemas.openxmlformats.org/officeDocument/2006/relationships/tags" Target="../tags/tag132.xml"/><Relationship Id="rId133" Type="http://schemas.openxmlformats.org/officeDocument/2006/relationships/tags" Target="../tags/tag153.xml"/><Relationship Id="rId154" Type="http://schemas.openxmlformats.org/officeDocument/2006/relationships/tags" Target="../tags/tag174.xml"/><Relationship Id="rId175" Type="http://schemas.openxmlformats.org/officeDocument/2006/relationships/tags" Target="../tags/tag195.xml"/><Relationship Id="rId340" Type="http://schemas.openxmlformats.org/officeDocument/2006/relationships/tags" Target="../tags/tag360.xml"/><Relationship Id="rId361" Type="http://schemas.openxmlformats.org/officeDocument/2006/relationships/tags" Target="../tags/tag381.xml"/><Relationship Id="rId196" Type="http://schemas.openxmlformats.org/officeDocument/2006/relationships/tags" Target="../tags/tag216.xml"/><Relationship Id="rId200" Type="http://schemas.openxmlformats.org/officeDocument/2006/relationships/tags" Target="../tags/tag220.xml"/><Relationship Id="rId382" Type="http://schemas.openxmlformats.org/officeDocument/2006/relationships/slideLayout" Target="../slideLayouts/slideLayout2.xml"/><Relationship Id="rId16" Type="http://schemas.openxmlformats.org/officeDocument/2006/relationships/tags" Target="../tags/tag36.xml"/><Relationship Id="rId221" Type="http://schemas.openxmlformats.org/officeDocument/2006/relationships/tags" Target="../tags/tag241.xml"/><Relationship Id="rId242" Type="http://schemas.openxmlformats.org/officeDocument/2006/relationships/tags" Target="../tags/tag262.xml"/><Relationship Id="rId263" Type="http://schemas.openxmlformats.org/officeDocument/2006/relationships/tags" Target="../tags/tag283.xml"/><Relationship Id="rId284" Type="http://schemas.openxmlformats.org/officeDocument/2006/relationships/tags" Target="../tags/tag304.xml"/><Relationship Id="rId319" Type="http://schemas.openxmlformats.org/officeDocument/2006/relationships/tags" Target="../tags/tag339.xml"/><Relationship Id="rId37" Type="http://schemas.openxmlformats.org/officeDocument/2006/relationships/tags" Target="../tags/tag57.xml"/><Relationship Id="rId58" Type="http://schemas.openxmlformats.org/officeDocument/2006/relationships/tags" Target="../tags/tag78.xml"/><Relationship Id="rId79" Type="http://schemas.openxmlformats.org/officeDocument/2006/relationships/tags" Target="../tags/tag99.xml"/><Relationship Id="rId102" Type="http://schemas.openxmlformats.org/officeDocument/2006/relationships/tags" Target="../tags/tag122.xml"/><Relationship Id="rId123" Type="http://schemas.openxmlformats.org/officeDocument/2006/relationships/tags" Target="../tags/tag143.xml"/><Relationship Id="rId144" Type="http://schemas.openxmlformats.org/officeDocument/2006/relationships/tags" Target="../tags/tag164.xml"/><Relationship Id="rId330" Type="http://schemas.openxmlformats.org/officeDocument/2006/relationships/tags" Target="../tags/tag350.xml"/><Relationship Id="rId90" Type="http://schemas.openxmlformats.org/officeDocument/2006/relationships/tags" Target="../tags/tag110.xml"/><Relationship Id="rId165" Type="http://schemas.openxmlformats.org/officeDocument/2006/relationships/tags" Target="../tags/tag185.xml"/><Relationship Id="rId186" Type="http://schemas.openxmlformats.org/officeDocument/2006/relationships/tags" Target="../tags/tag206.xml"/><Relationship Id="rId351" Type="http://schemas.openxmlformats.org/officeDocument/2006/relationships/tags" Target="../tags/tag371.xml"/><Relationship Id="rId372" Type="http://schemas.openxmlformats.org/officeDocument/2006/relationships/tags" Target="../tags/tag392.xml"/><Relationship Id="rId211" Type="http://schemas.openxmlformats.org/officeDocument/2006/relationships/tags" Target="../tags/tag231.xml"/><Relationship Id="rId232" Type="http://schemas.openxmlformats.org/officeDocument/2006/relationships/tags" Target="../tags/tag252.xml"/><Relationship Id="rId253" Type="http://schemas.openxmlformats.org/officeDocument/2006/relationships/tags" Target="../tags/tag273.xml"/><Relationship Id="rId274" Type="http://schemas.openxmlformats.org/officeDocument/2006/relationships/tags" Target="../tags/tag294.xml"/><Relationship Id="rId295" Type="http://schemas.openxmlformats.org/officeDocument/2006/relationships/tags" Target="../tags/tag315.xml"/><Relationship Id="rId309" Type="http://schemas.openxmlformats.org/officeDocument/2006/relationships/tags" Target="../tags/tag329.xml"/><Relationship Id="rId27" Type="http://schemas.openxmlformats.org/officeDocument/2006/relationships/tags" Target="../tags/tag47.xml"/><Relationship Id="rId48" Type="http://schemas.openxmlformats.org/officeDocument/2006/relationships/tags" Target="../tags/tag68.xml"/><Relationship Id="rId69" Type="http://schemas.openxmlformats.org/officeDocument/2006/relationships/tags" Target="../tags/tag89.xml"/><Relationship Id="rId113" Type="http://schemas.openxmlformats.org/officeDocument/2006/relationships/tags" Target="../tags/tag133.xml"/><Relationship Id="rId134" Type="http://schemas.openxmlformats.org/officeDocument/2006/relationships/tags" Target="../tags/tag154.xml"/><Relationship Id="rId320" Type="http://schemas.openxmlformats.org/officeDocument/2006/relationships/tags" Target="../tags/tag340.xml"/><Relationship Id="rId80" Type="http://schemas.openxmlformats.org/officeDocument/2006/relationships/tags" Target="../tags/tag100.xml"/><Relationship Id="rId155" Type="http://schemas.openxmlformats.org/officeDocument/2006/relationships/tags" Target="../tags/tag175.xml"/><Relationship Id="rId176" Type="http://schemas.openxmlformats.org/officeDocument/2006/relationships/tags" Target="../tags/tag196.xml"/><Relationship Id="rId197" Type="http://schemas.openxmlformats.org/officeDocument/2006/relationships/tags" Target="../tags/tag217.xml"/><Relationship Id="rId341" Type="http://schemas.openxmlformats.org/officeDocument/2006/relationships/tags" Target="../tags/tag361.xml"/><Relationship Id="rId362" Type="http://schemas.openxmlformats.org/officeDocument/2006/relationships/tags" Target="../tags/tag382.xml"/><Relationship Id="rId383" Type="http://schemas.openxmlformats.org/officeDocument/2006/relationships/image" Target="../media/image21.png"/><Relationship Id="rId201" Type="http://schemas.openxmlformats.org/officeDocument/2006/relationships/tags" Target="../tags/tag221.xml"/><Relationship Id="rId222" Type="http://schemas.openxmlformats.org/officeDocument/2006/relationships/tags" Target="../tags/tag242.xml"/><Relationship Id="rId243" Type="http://schemas.openxmlformats.org/officeDocument/2006/relationships/tags" Target="../tags/tag263.xml"/><Relationship Id="rId264" Type="http://schemas.openxmlformats.org/officeDocument/2006/relationships/tags" Target="../tags/tag284.xml"/><Relationship Id="rId285" Type="http://schemas.openxmlformats.org/officeDocument/2006/relationships/tags" Target="../tags/tag305.xml"/><Relationship Id="rId17" Type="http://schemas.openxmlformats.org/officeDocument/2006/relationships/tags" Target="../tags/tag37.xml"/><Relationship Id="rId38" Type="http://schemas.openxmlformats.org/officeDocument/2006/relationships/tags" Target="../tags/tag58.xml"/><Relationship Id="rId59" Type="http://schemas.openxmlformats.org/officeDocument/2006/relationships/tags" Target="../tags/tag79.xml"/><Relationship Id="rId103" Type="http://schemas.openxmlformats.org/officeDocument/2006/relationships/tags" Target="../tags/tag123.xml"/><Relationship Id="rId124" Type="http://schemas.openxmlformats.org/officeDocument/2006/relationships/tags" Target="../tags/tag144.xml"/><Relationship Id="rId310" Type="http://schemas.openxmlformats.org/officeDocument/2006/relationships/tags" Target="../tags/tag330.xml"/><Relationship Id="rId70" Type="http://schemas.openxmlformats.org/officeDocument/2006/relationships/tags" Target="../tags/tag90.xml"/><Relationship Id="rId91" Type="http://schemas.openxmlformats.org/officeDocument/2006/relationships/tags" Target="../tags/tag111.xml"/><Relationship Id="rId145" Type="http://schemas.openxmlformats.org/officeDocument/2006/relationships/tags" Target="../tags/tag165.xml"/><Relationship Id="rId166" Type="http://schemas.openxmlformats.org/officeDocument/2006/relationships/tags" Target="../tags/tag186.xml"/><Relationship Id="rId187" Type="http://schemas.openxmlformats.org/officeDocument/2006/relationships/tags" Target="../tags/tag207.xml"/><Relationship Id="rId331" Type="http://schemas.openxmlformats.org/officeDocument/2006/relationships/tags" Target="../tags/tag351.xml"/><Relationship Id="rId352" Type="http://schemas.openxmlformats.org/officeDocument/2006/relationships/tags" Target="../tags/tag372.xml"/><Relationship Id="rId373" Type="http://schemas.openxmlformats.org/officeDocument/2006/relationships/tags" Target="../tags/tag393.xml"/><Relationship Id="rId1" Type="http://schemas.openxmlformats.org/officeDocument/2006/relationships/tags" Target="../tags/tag21.xml"/><Relationship Id="rId212" Type="http://schemas.openxmlformats.org/officeDocument/2006/relationships/tags" Target="../tags/tag232.xml"/><Relationship Id="rId233" Type="http://schemas.openxmlformats.org/officeDocument/2006/relationships/tags" Target="../tags/tag253.xml"/><Relationship Id="rId254" Type="http://schemas.openxmlformats.org/officeDocument/2006/relationships/tags" Target="../tags/tag274.xml"/><Relationship Id="rId28" Type="http://schemas.openxmlformats.org/officeDocument/2006/relationships/tags" Target="../tags/tag48.xml"/><Relationship Id="rId49" Type="http://schemas.openxmlformats.org/officeDocument/2006/relationships/tags" Target="../tags/tag69.xml"/><Relationship Id="rId114" Type="http://schemas.openxmlformats.org/officeDocument/2006/relationships/tags" Target="../tags/tag134.xml"/><Relationship Id="rId275" Type="http://schemas.openxmlformats.org/officeDocument/2006/relationships/tags" Target="../tags/tag295.xml"/><Relationship Id="rId296" Type="http://schemas.openxmlformats.org/officeDocument/2006/relationships/tags" Target="../tags/tag316.xml"/><Relationship Id="rId300" Type="http://schemas.openxmlformats.org/officeDocument/2006/relationships/tags" Target="../tags/tag320.xml"/><Relationship Id="rId60" Type="http://schemas.openxmlformats.org/officeDocument/2006/relationships/tags" Target="../tags/tag80.xml"/><Relationship Id="rId81" Type="http://schemas.openxmlformats.org/officeDocument/2006/relationships/tags" Target="../tags/tag101.xml"/><Relationship Id="rId135" Type="http://schemas.openxmlformats.org/officeDocument/2006/relationships/tags" Target="../tags/tag155.xml"/><Relationship Id="rId156" Type="http://schemas.openxmlformats.org/officeDocument/2006/relationships/tags" Target="../tags/tag176.xml"/><Relationship Id="rId177" Type="http://schemas.openxmlformats.org/officeDocument/2006/relationships/tags" Target="../tags/tag197.xml"/><Relationship Id="rId198" Type="http://schemas.openxmlformats.org/officeDocument/2006/relationships/tags" Target="../tags/tag218.xml"/><Relationship Id="rId321" Type="http://schemas.openxmlformats.org/officeDocument/2006/relationships/tags" Target="../tags/tag341.xml"/><Relationship Id="rId342" Type="http://schemas.openxmlformats.org/officeDocument/2006/relationships/tags" Target="../tags/tag362.xml"/><Relationship Id="rId363" Type="http://schemas.openxmlformats.org/officeDocument/2006/relationships/tags" Target="../tags/tag383.xml"/><Relationship Id="rId202" Type="http://schemas.openxmlformats.org/officeDocument/2006/relationships/tags" Target="../tags/tag222.xml"/><Relationship Id="rId223" Type="http://schemas.openxmlformats.org/officeDocument/2006/relationships/tags" Target="../tags/tag243.xml"/><Relationship Id="rId244" Type="http://schemas.openxmlformats.org/officeDocument/2006/relationships/tags" Target="../tags/tag264.xml"/><Relationship Id="rId18" Type="http://schemas.openxmlformats.org/officeDocument/2006/relationships/tags" Target="../tags/tag38.xml"/><Relationship Id="rId39" Type="http://schemas.openxmlformats.org/officeDocument/2006/relationships/tags" Target="../tags/tag59.xml"/><Relationship Id="rId265" Type="http://schemas.openxmlformats.org/officeDocument/2006/relationships/tags" Target="../tags/tag285.xml"/><Relationship Id="rId286" Type="http://schemas.openxmlformats.org/officeDocument/2006/relationships/tags" Target="../tags/tag306.xml"/><Relationship Id="rId50" Type="http://schemas.openxmlformats.org/officeDocument/2006/relationships/tags" Target="../tags/tag70.xml"/><Relationship Id="rId104" Type="http://schemas.openxmlformats.org/officeDocument/2006/relationships/tags" Target="../tags/tag124.xml"/><Relationship Id="rId125" Type="http://schemas.openxmlformats.org/officeDocument/2006/relationships/tags" Target="../tags/tag145.xml"/><Relationship Id="rId146" Type="http://schemas.openxmlformats.org/officeDocument/2006/relationships/tags" Target="../tags/tag166.xml"/><Relationship Id="rId167" Type="http://schemas.openxmlformats.org/officeDocument/2006/relationships/tags" Target="../tags/tag187.xml"/><Relationship Id="rId188" Type="http://schemas.openxmlformats.org/officeDocument/2006/relationships/tags" Target="../tags/tag208.xml"/><Relationship Id="rId311" Type="http://schemas.openxmlformats.org/officeDocument/2006/relationships/tags" Target="../tags/tag331.xml"/><Relationship Id="rId332" Type="http://schemas.openxmlformats.org/officeDocument/2006/relationships/tags" Target="../tags/tag352.xml"/><Relationship Id="rId353" Type="http://schemas.openxmlformats.org/officeDocument/2006/relationships/tags" Target="../tags/tag373.xml"/><Relationship Id="rId374" Type="http://schemas.openxmlformats.org/officeDocument/2006/relationships/tags" Target="../tags/tag394.xml"/><Relationship Id="rId71" Type="http://schemas.openxmlformats.org/officeDocument/2006/relationships/tags" Target="../tags/tag91.xml"/><Relationship Id="rId92" Type="http://schemas.openxmlformats.org/officeDocument/2006/relationships/tags" Target="../tags/tag112.xml"/><Relationship Id="rId213" Type="http://schemas.openxmlformats.org/officeDocument/2006/relationships/tags" Target="../tags/tag233.xml"/><Relationship Id="rId234" Type="http://schemas.openxmlformats.org/officeDocument/2006/relationships/tags" Target="../tags/tag254.xml"/><Relationship Id="rId2" Type="http://schemas.openxmlformats.org/officeDocument/2006/relationships/tags" Target="../tags/tag22.xml"/><Relationship Id="rId29" Type="http://schemas.openxmlformats.org/officeDocument/2006/relationships/tags" Target="../tags/tag49.xml"/><Relationship Id="rId255" Type="http://schemas.openxmlformats.org/officeDocument/2006/relationships/tags" Target="../tags/tag275.xml"/><Relationship Id="rId276" Type="http://schemas.openxmlformats.org/officeDocument/2006/relationships/tags" Target="../tags/tag296.xml"/><Relationship Id="rId297" Type="http://schemas.openxmlformats.org/officeDocument/2006/relationships/tags" Target="../tags/tag317.xml"/><Relationship Id="rId40" Type="http://schemas.openxmlformats.org/officeDocument/2006/relationships/tags" Target="../tags/tag60.xml"/><Relationship Id="rId115" Type="http://schemas.openxmlformats.org/officeDocument/2006/relationships/tags" Target="../tags/tag135.xml"/><Relationship Id="rId136" Type="http://schemas.openxmlformats.org/officeDocument/2006/relationships/tags" Target="../tags/tag156.xml"/><Relationship Id="rId157" Type="http://schemas.openxmlformats.org/officeDocument/2006/relationships/tags" Target="../tags/tag177.xml"/><Relationship Id="rId178" Type="http://schemas.openxmlformats.org/officeDocument/2006/relationships/tags" Target="../tags/tag198.xml"/><Relationship Id="rId301" Type="http://schemas.openxmlformats.org/officeDocument/2006/relationships/tags" Target="../tags/tag321.xml"/><Relationship Id="rId322" Type="http://schemas.openxmlformats.org/officeDocument/2006/relationships/tags" Target="../tags/tag342.xml"/><Relationship Id="rId343" Type="http://schemas.openxmlformats.org/officeDocument/2006/relationships/tags" Target="../tags/tag363.xml"/><Relationship Id="rId364" Type="http://schemas.openxmlformats.org/officeDocument/2006/relationships/tags" Target="../tags/tag384.xml"/><Relationship Id="rId61" Type="http://schemas.openxmlformats.org/officeDocument/2006/relationships/tags" Target="../tags/tag81.xml"/><Relationship Id="rId82" Type="http://schemas.openxmlformats.org/officeDocument/2006/relationships/tags" Target="../tags/tag102.xml"/><Relationship Id="rId199" Type="http://schemas.openxmlformats.org/officeDocument/2006/relationships/tags" Target="../tags/tag219.xml"/><Relationship Id="rId203" Type="http://schemas.openxmlformats.org/officeDocument/2006/relationships/tags" Target="../tags/tag223.xml"/><Relationship Id="rId19" Type="http://schemas.openxmlformats.org/officeDocument/2006/relationships/tags" Target="../tags/tag39.xml"/><Relationship Id="rId224" Type="http://schemas.openxmlformats.org/officeDocument/2006/relationships/tags" Target="../tags/tag244.xml"/><Relationship Id="rId245" Type="http://schemas.openxmlformats.org/officeDocument/2006/relationships/tags" Target="../tags/tag265.xml"/><Relationship Id="rId266" Type="http://schemas.openxmlformats.org/officeDocument/2006/relationships/tags" Target="../tags/tag286.xml"/><Relationship Id="rId287" Type="http://schemas.openxmlformats.org/officeDocument/2006/relationships/tags" Target="../tags/tag307.xml"/><Relationship Id="rId30" Type="http://schemas.openxmlformats.org/officeDocument/2006/relationships/tags" Target="../tags/tag50.xml"/><Relationship Id="rId105" Type="http://schemas.openxmlformats.org/officeDocument/2006/relationships/tags" Target="../tags/tag125.xml"/><Relationship Id="rId126" Type="http://schemas.openxmlformats.org/officeDocument/2006/relationships/tags" Target="../tags/tag146.xml"/><Relationship Id="rId147" Type="http://schemas.openxmlformats.org/officeDocument/2006/relationships/tags" Target="../tags/tag167.xml"/><Relationship Id="rId168" Type="http://schemas.openxmlformats.org/officeDocument/2006/relationships/tags" Target="../tags/tag188.xml"/><Relationship Id="rId312" Type="http://schemas.openxmlformats.org/officeDocument/2006/relationships/tags" Target="../tags/tag332.xml"/><Relationship Id="rId333" Type="http://schemas.openxmlformats.org/officeDocument/2006/relationships/tags" Target="../tags/tag353.xml"/><Relationship Id="rId354" Type="http://schemas.openxmlformats.org/officeDocument/2006/relationships/tags" Target="../tags/tag374.xml"/><Relationship Id="rId51" Type="http://schemas.openxmlformats.org/officeDocument/2006/relationships/tags" Target="../tags/tag71.xml"/><Relationship Id="rId72" Type="http://schemas.openxmlformats.org/officeDocument/2006/relationships/tags" Target="../tags/tag92.xml"/><Relationship Id="rId93" Type="http://schemas.openxmlformats.org/officeDocument/2006/relationships/tags" Target="../tags/tag113.xml"/><Relationship Id="rId189" Type="http://schemas.openxmlformats.org/officeDocument/2006/relationships/tags" Target="../tags/tag209.xml"/><Relationship Id="rId375" Type="http://schemas.openxmlformats.org/officeDocument/2006/relationships/tags" Target="../tags/tag395.xml"/><Relationship Id="rId3" Type="http://schemas.openxmlformats.org/officeDocument/2006/relationships/tags" Target="../tags/tag23.xml"/><Relationship Id="rId214" Type="http://schemas.openxmlformats.org/officeDocument/2006/relationships/tags" Target="../tags/tag234.xml"/><Relationship Id="rId235" Type="http://schemas.openxmlformats.org/officeDocument/2006/relationships/tags" Target="../tags/tag255.xml"/><Relationship Id="rId256" Type="http://schemas.openxmlformats.org/officeDocument/2006/relationships/tags" Target="../tags/tag276.xml"/><Relationship Id="rId277" Type="http://schemas.openxmlformats.org/officeDocument/2006/relationships/tags" Target="../tags/tag297.xml"/><Relationship Id="rId298" Type="http://schemas.openxmlformats.org/officeDocument/2006/relationships/tags" Target="../tags/tag318.xml"/><Relationship Id="rId116" Type="http://schemas.openxmlformats.org/officeDocument/2006/relationships/tags" Target="../tags/tag136.xml"/><Relationship Id="rId137" Type="http://schemas.openxmlformats.org/officeDocument/2006/relationships/tags" Target="../tags/tag157.xml"/><Relationship Id="rId158" Type="http://schemas.openxmlformats.org/officeDocument/2006/relationships/tags" Target="../tags/tag178.xml"/><Relationship Id="rId302" Type="http://schemas.openxmlformats.org/officeDocument/2006/relationships/tags" Target="../tags/tag322.xml"/><Relationship Id="rId323" Type="http://schemas.openxmlformats.org/officeDocument/2006/relationships/tags" Target="../tags/tag343.xml"/><Relationship Id="rId344" Type="http://schemas.openxmlformats.org/officeDocument/2006/relationships/tags" Target="../tags/tag364.xml"/><Relationship Id="rId20" Type="http://schemas.openxmlformats.org/officeDocument/2006/relationships/tags" Target="../tags/tag40.xml"/><Relationship Id="rId41" Type="http://schemas.openxmlformats.org/officeDocument/2006/relationships/tags" Target="../tags/tag61.xml"/><Relationship Id="rId62" Type="http://schemas.openxmlformats.org/officeDocument/2006/relationships/tags" Target="../tags/tag82.xml"/><Relationship Id="rId83" Type="http://schemas.openxmlformats.org/officeDocument/2006/relationships/tags" Target="../tags/tag103.xml"/><Relationship Id="rId179" Type="http://schemas.openxmlformats.org/officeDocument/2006/relationships/tags" Target="../tags/tag199.xml"/><Relationship Id="rId365" Type="http://schemas.openxmlformats.org/officeDocument/2006/relationships/tags" Target="../tags/tag385.xml"/><Relationship Id="rId190" Type="http://schemas.openxmlformats.org/officeDocument/2006/relationships/tags" Target="../tags/tag210.xml"/><Relationship Id="rId204" Type="http://schemas.openxmlformats.org/officeDocument/2006/relationships/tags" Target="../tags/tag224.xml"/><Relationship Id="rId225" Type="http://schemas.openxmlformats.org/officeDocument/2006/relationships/tags" Target="../tags/tag245.xml"/><Relationship Id="rId246" Type="http://schemas.openxmlformats.org/officeDocument/2006/relationships/tags" Target="../tags/tag266.xml"/><Relationship Id="rId267" Type="http://schemas.openxmlformats.org/officeDocument/2006/relationships/tags" Target="../tags/tag287.xml"/><Relationship Id="rId288" Type="http://schemas.openxmlformats.org/officeDocument/2006/relationships/tags" Target="../tags/tag308.xml"/><Relationship Id="rId106" Type="http://schemas.openxmlformats.org/officeDocument/2006/relationships/tags" Target="../tags/tag126.xml"/><Relationship Id="rId127" Type="http://schemas.openxmlformats.org/officeDocument/2006/relationships/tags" Target="../tags/tag147.xml"/><Relationship Id="rId313" Type="http://schemas.openxmlformats.org/officeDocument/2006/relationships/tags" Target="../tags/tag333.xml"/><Relationship Id="rId10" Type="http://schemas.openxmlformats.org/officeDocument/2006/relationships/tags" Target="../tags/tag30.xml"/><Relationship Id="rId31" Type="http://schemas.openxmlformats.org/officeDocument/2006/relationships/tags" Target="../tags/tag51.xml"/><Relationship Id="rId52" Type="http://schemas.openxmlformats.org/officeDocument/2006/relationships/tags" Target="../tags/tag72.xml"/><Relationship Id="rId73" Type="http://schemas.openxmlformats.org/officeDocument/2006/relationships/tags" Target="../tags/tag93.xml"/><Relationship Id="rId94" Type="http://schemas.openxmlformats.org/officeDocument/2006/relationships/tags" Target="../tags/tag114.xml"/><Relationship Id="rId148" Type="http://schemas.openxmlformats.org/officeDocument/2006/relationships/tags" Target="../tags/tag168.xml"/><Relationship Id="rId169" Type="http://schemas.openxmlformats.org/officeDocument/2006/relationships/tags" Target="../tags/tag189.xml"/><Relationship Id="rId334" Type="http://schemas.openxmlformats.org/officeDocument/2006/relationships/tags" Target="../tags/tag354.xml"/><Relationship Id="rId355" Type="http://schemas.openxmlformats.org/officeDocument/2006/relationships/tags" Target="../tags/tag375.xml"/><Relationship Id="rId376" Type="http://schemas.openxmlformats.org/officeDocument/2006/relationships/tags" Target="../tags/tag396.xml"/><Relationship Id="rId4" Type="http://schemas.openxmlformats.org/officeDocument/2006/relationships/tags" Target="../tags/tag24.xml"/><Relationship Id="rId180" Type="http://schemas.openxmlformats.org/officeDocument/2006/relationships/tags" Target="../tags/tag200.xml"/><Relationship Id="rId215" Type="http://schemas.openxmlformats.org/officeDocument/2006/relationships/tags" Target="../tags/tag235.xml"/><Relationship Id="rId236" Type="http://schemas.openxmlformats.org/officeDocument/2006/relationships/tags" Target="../tags/tag256.xml"/><Relationship Id="rId257" Type="http://schemas.openxmlformats.org/officeDocument/2006/relationships/tags" Target="../tags/tag277.xml"/><Relationship Id="rId278" Type="http://schemas.openxmlformats.org/officeDocument/2006/relationships/tags" Target="../tags/tag298.xml"/><Relationship Id="rId303" Type="http://schemas.openxmlformats.org/officeDocument/2006/relationships/tags" Target="../tags/tag323.xml"/><Relationship Id="rId42" Type="http://schemas.openxmlformats.org/officeDocument/2006/relationships/tags" Target="../tags/tag62.xml"/><Relationship Id="rId84" Type="http://schemas.openxmlformats.org/officeDocument/2006/relationships/tags" Target="../tags/tag104.xml"/><Relationship Id="rId138" Type="http://schemas.openxmlformats.org/officeDocument/2006/relationships/tags" Target="../tags/tag158.xml"/><Relationship Id="rId345" Type="http://schemas.openxmlformats.org/officeDocument/2006/relationships/tags" Target="../tags/tag365.xml"/><Relationship Id="rId191" Type="http://schemas.openxmlformats.org/officeDocument/2006/relationships/tags" Target="../tags/tag211.xml"/><Relationship Id="rId205" Type="http://schemas.openxmlformats.org/officeDocument/2006/relationships/tags" Target="../tags/tag225.xml"/><Relationship Id="rId247" Type="http://schemas.openxmlformats.org/officeDocument/2006/relationships/tags" Target="../tags/tag267.xml"/><Relationship Id="rId107" Type="http://schemas.openxmlformats.org/officeDocument/2006/relationships/tags" Target="../tags/tag127.xml"/><Relationship Id="rId289" Type="http://schemas.openxmlformats.org/officeDocument/2006/relationships/tags" Target="../tags/tag309.xml"/><Relationship Id="rId11" Type="http://schemas.openxmlformats.org/officeDocument/2006/relationships/tags" Target="../tags/tag31.xml"/><Relationship Id="rId53" Type="http://schemas.openxmlformats.org/officeDocument/2006/relationships/tags" Target="../tags/tag73.xml"/><Relationship Id="rId149" Type="http://schemas.openxmlformats.org/officeDocument/2006/relationships/tags" Target="../tags/tag169.xml"/><Relationship Id="rId314" Type="http://schemas.openxmlformats.org/officeDocument/2006/relationships/tags" Target="../tags/tag334.xml"/><Relationship Id="rId356" Type="http://schemas.openxmlformats.org/officeDocument/2006/relationships/tags" Target="../tags/tag376.xml"/><Relationship Id="rId95" Type="http://schemas.openxmlformats.org/officeDocument/2006/relationships/tags" Target="../tags/tag115.xml"/><Relationship Id="rId160" Type="http://schemas.openxmlformats.org/officeDocument/2006/relationships/tags" Target="../tags/tag180.xml"/><Relationship Id="rId216" Type="http://schemas.openxmlformats.org/officeDocument/2006/relationships/tags" Target="../tags/tag236.xml"/><Relationship Id="rId258" Type="http://schemas.openxmlformats.org/officeDocument/2006/relationships/tags" Target="../tags/tag278.xml"/><Relationship Id="rId22" Type="http://schemas.openxmlformats.org/officeDocument/2006/relationships/tags" Target="../tags/tag42.xml"/><Relationship Id="rId64" Type="http://schemas.openxmlformats.org/officeDocument/2006/relationships/tags" Target="../tags/tag84.xml"/><Relationship Id="rId118" Type="http://schemas.openxmlformats.org/officeDocument/2006/relationships/tags" Target="../tags/tag138.xml"/><Relationship Id="rId325" Type="http://schemas.openxmlformats.org/officeDocument/2006/relationships/tags" Target="../tags/tag345.xml"/><Relationship Id="rId367" Type="http://schemas.openxmlformats.org/officeDocument/2006/relationships/tags" Target="../tags/tag387.xml"/><Relationship Id="rId171" Type="http://schemas.openxmlformats.org/officeDocument/2006/relationships/tags" Target="../tags/tag191.xml"/><Relationship Id="rId227" Type="http://schemas.openxmlformats.org/officeDocument/2006/relationships/tags" Target="../tags/tag247.xml"/><Relationship Id="rId269" Type="http://schemas.openxmlformats.org/officeDocument/2006/relationships/tags" Target="../tags/tag289.xml"/><Relationship Id="rId33" Type="http://schemas.openxmlformats.org/officeDocument/2006/relationships/tags" Target="../tags/tag53.xml"/><Relationship Id="rId129" Type="http://schemas.openxmlformats.org/officeDocument/2006/relationships/tags" Target="../tags/tag149.xml"/><Relationship Id="rId280" Type="http://schemas.openxmlformats.org/officeDocument/2006/relationships/tags" Target="../tags/tag300.xml"/><Relationship Id="rId336" Type="http://schemas.openxmlformats.org/officeDocument/2006/relationships/tags" Target="../tags/tag356.xml"/><Relationship Id="rId75" Type="http://schemas.openxmlformats.org/officeDocument/2006/relationships/tags" Target="../tags/tag95.xml"/><Relationship Id="rId140" Type="http://schemas.openxmlformats.org/officeDocument/2006/relationships/tags" Target="../tags/tag160.xml"/><Relationship Id="rId182" Type="http://schemas.openxmlformats.org/officeDocument/2006/relationships/tags" Target="../tags/tag202.xml"/><Relationship Id="rId378" Type="http://schemas.openxmlformats.org/officeDocument/2006/relationships/tags" Target="../tags/tag398.xml"/><Relationship Id="rId6" Type="http://schemas.openxmlformats.org/officeDocument/2006/relationships/tags" Target="../tags/tag26.xml"/><Relationship Id="rId238" Type="http://schemas.openxmlformats.org/officeDocument/2006/relationships/tags" Target="../tags/tag258.xml"/><Relationship Id="rId291" Type="http://schemas.openxmlformats.org/officeDocument/2006/relationships/tags" Target="../tags/tag311.xml"/><Relationship Id="rId305" Type="http://schemas.openxmlformats.org/officeDocument/2006/relationships/tags" Target="../tags/tag325.xml"/><Relationship Id="rId347" Type="http://schemas.openxmlformats.org/officeDocument/2006/relationships/tags" Target="../tags/tag367.xml"/><Relationship Id="rId44" Type="http://schemas.openxmlformats.org/officeDocument/2006/relationships/tags" Target="../tags/tag64.xml"/><Relationship Id="rId86" Type="http://schemas.openxmlformats.org/officeDocument/2006/relationships/tags" Target="../tags/tag106.xml"/><Relationship Id="rId151" Type="http://schemas.openxmlformats.org/officeDocument/2006/relationships/tags" Target="../tags/tag171.xml"/><Relationship Id="rId193" Type="http://schemas.openxmlformats.org/officeDocument/2006/relationships/tags" Target="../tags/tag213.xml"/><Relationship Id="rId207" Type="http://schemas.openxmlformats.org/officeDocument/2006/relationships/tags" Target="../tags/tag227.xml"/><Relationship Id="rId249" Type="http://schemas.openxmlformats.org/officeDocument/2006/relationships/tags" Target="../tags/tag269.xml"/><Relationship Id="rId13" Type="http://schemas.openxmlformats.org/officeDocument/2006/relationships/tags" Target="../tags/tag33.xml"/><Relationship Id="rId109" Type="http://schemas.openxmlformats.org/officeDocument/2006/relationships/tags" Target="../tags/tag129.xml"/><Relationship Id="rId260" Type="http://schemas.openxmlformats.org/officeDocument/2006/relationships/tags" Target="../tags/tag280.xml"/><Relationship Id="rId316" Type="http://schemas.openxmlformats.org/officeDocument/2006/relationships/tags" Target="../tags/tag336.xml"/><Relationship Id="rId55" Type="http://schemas.openxmlformats.org/officeDocument/2006/relationships/tags" Target="../tags/tag75.xml"/><Relationship Id="rId97" Type="http://schemas.openxmlformats.org/officeDocument/2006/relationships/tags" Target="../tags/tag117.xml"/><Relationship Id="rId120" Type="http://schemas.openxmlformats.org/officeDocument/2006/relationships/tags" Target="../tags/tag140.xml"/><Relationship Id="rId358" Type="http://schemas.openxmlformats.org/officeDocument/2006/relationships/tags" Target="../tags/tag378.xml"/><Relationship Id="rId162" Type="http://schemas.openxmlformats.org/officeDocument/2006/relationships/tags" Target="../tags/tag182.xml"/><Relationship Id="rId218" Type="http://schemas.openxmlformats.org/officeDocument/2006/relationships/tags" Target="../tags/tag238.xml"/><Relationship Id="rId271" Type="http://schemas.openxmlformats.org/officeDocument/2006/relationships/tags" Target="../tags/tag291.xml"/><Relationship Id="rId24" Type="http://schemas.openxmlformats.org/officeDocument/2006/relationships/tags" Target="../tags/tag44.xml"/><Relationship Id="rId66" Type="http://schemas.openxmlformats.org/officeDocument/2006/relationships/tags" Target="../tags/tag86.xml"/><Relationship Id="rId131" Type="http://schemas.openxmlformats.org/officeDocument/2006/relationships/tags" Target="../tags/tag151.xml"/><Relationship Id="rId327" Type="http://schemas.openxmlformats.org/officeDocument/2006/relationships/tags" Target="../tags/tag347.xml"/><Relationship Id="rId369" Type="http://schemas.openxmlformats.org/officeDocument/2006/relationships/tags" Target="../tags/tag389.xml"/><Relationship Id="rId173" Type="http://schemas.openxmlformats.org/officeDocument/2006/relationships/tags" Target="../tags/tag193.xml"/><Relationship Id="rId229" Type="http://schemas.openxmlformats.org/officeDocument/2006/relationships/tags" Target="../tags/tag249.xml"/><Relationship Id="rId380" Type="http://schemas.openxmlformats.org/officeDocument/2006/relationships/tags" Target="../tags/tag400.xml"/><Relationship Id="rId240" Type="http://schemas.openxmlformats.org/officeDocument/2006/relationships/tags" Target="../tags/tag260.xml"/><Relationship Id="rId35" Type="http://schemas.openxmlformats.org/officeDocument/2006/relationships/tags" Target="../tags/tag55.xml"/><Relationship Id="rId77" Type="http://schemas.openxmlformats.org/officeDocument/2006/relationships/tags" Target="../tags/tag97.xml"/><Relationship Id="rId100" Type="http://schemas.openxmlformats.org/officeDocument/2006/relationships/tags" Target="../tags/tag120.xml"/><Relationship Id="rId282" Type="http://schemas.openxmlformats.org/officeDocument/2006/relationships/tags" Target="../tags/tag302.xml"/><Relationship Id="rId338" Type="http://schemas.openxmlformats.org/officeDocument/2006/relationships/tags" Target="../tags/tag358.xml"/><Relationship Id="rId8" Type="http://schemas.openxmlformats.org/officeDocument/2006/relationships/tags" Target="../tags/tag28.xml"/><Relationship Id="rId142" Type="http://schemas.openxmlformats.org/officeDocument/2006/relationships/tags" Target="../tags/tag162.xml"/><Relationship Id="rId184" Type="http://schemas.openxmlformats.org/officeDocument/2006/relationships/tags" Target="../tags/tag204.xml"/><Relationship Id="rId251" Type="http://schemas.openxmlformats.org/officeDocument/2006/relationships/tags" Target="../tags/tag271.xml"/><Relationship Id="rId46" Type="http://schemas.openxmlformats.org/officeDocument/2006/relationships/tags" Target="../tags/tag66.xml"/><Relationship Id="rId293" Type="http://schemas.openxmlformats.org/officeDocument/2006/relationships/tags" Target="../tags/tag313.xml"/><Relationship Id="rId307" Type="http://schemas.openxmlformats.org/officeDocument/2006/relationships/tags" Target="../tags/tag327.xml"/><Relationship Id="rId349" Type="http://schemas.openxmlformats.org/officeDocument/2006/relationships/tags" Target="../tags/tag369.xml"/><Relationship Id="rId88" Type="http://schemas.openxmlformats.org/officeDocument/2006/relationships/tags" Target="../tags/tag108.xml"/><Relationship Id="rId111" Type="http://schemas.openxmlformats.org/officeDocument/2006/relationships/tags" Target="../tags/tag131.xml"/><Relationship Id="rId153" Type="http://schemas.openxmlformats.org/officeDocument/2006/relationships/tags" Target="../tags/tag173.xml"/><Relationship Id="rId195" Type="http://schemas.openxmlformats.org/officeDocument/2006/relationships/tags" Target="../tags/tag215.xml"/><Relationship Id="rId209" Type="http://schemas.openxmlformats.org/officeDocument/2006/relationships/tags" Target="../tags/tag229.xml"/><Relationship Id="rId360" Type="http://schemas.openxmlformats.org/officeDocument/2006/relationships/tags" Target="../tags/tag380.xml"/><Relationship Id="rId220" Type="http://schemas.openxmlformats.org/officeDocument/2006/relationships/tags" Target="../tags/tag240.xml"/><Relationship Id="rId15" Type="http://schemas.openxmlformats.org/officeDocument/2006/relationships/tags" Target="../tags/tag35.xml"/><Relationship Id="rId57" Type="http://schemas.openxmlformats.org/officeDocument/2006/relationships/tags" Target="../tags/tag77.xml"/><Relationship Id="rId262" Type="http://schemas.openxmlformats.org/officeDocument/2006/relationships/tags" Target="../tags/tag282.xml"/><Relationship Id="rId318" Type="http://schemas.openxmlformats.org/officeDocument/2006/relationships/tags" Target="../tags/tag338.xml"/><Relationship Id="rId99" Type="http://schemas.openxmlformats.org/officeDocument/2006/relationships/tags" Target="../tags/tag119.xml"/><Relationship Id="rId122" Type="http://schemas.openxmlformats.org/officeDocument/2006/relationships/tags" Target="../tags/tag142.xml"/><Relationship Id="rId164" Type="http://schemas.openxmlformats.org/officeDocument/2006/relationships/tags" Target="../tags/tag184.xml"/><Relationship Id="rId371" Type="http://schemas.openxmlformats.org/officeDocument/2006/relationships/tags" Target="../tags/tag391.xml"/></Relationships>
</file>

<file path=ppt/slides/_rels/slide20.xml.rels><?xml version="1.0" encoding="UTF-8" standalone="yes"?>
<Relationships xmlns="http://schemas.openxmlformats.org/package/2006/relationships"><Relationship Id="rId3" Type="http://schemas.openxmlformats.org/officeDocument/2006/relationships/chart" Target="../charts/chart25.xml"/><Relationship Id="rId2" Type="http://schemas.openxmlformats.org/officeDocument/2006/relationships/notesSlide" Target="../notesSlides/notesSlide16.xml"/><Relationship Id="rId1" Type="http://schemas.openxmlformats.org/officeDocument/2006/relationships/slideLayout" Target="../slideLayouts/slideLayout5.xml"/><Relationship Id="rId4" Type="http://schemas.openxmlformats.org/officeDocument/2006/relationships/chart" Target="../charts/chart26.xml"/></Relationships>
</file>

<file path=ppt/slides/_rels/slide21.xml.rels><?xml version="1.0" encoding="UTF-8" standalone="yes"?>
<Relationships xmlns="http://schemas.openxmlformats.org/package/2006/relationships"><Relationship Id="rId3" Type="http://schemas.openxmlformats.org/officeDocument/2006/relationships/chart" Target="../charts/chart27.xml"/><Relationship Id="rId2" Type="http://schemas.openxmlformats.org/officeDocument/2006/relationships/notesSlide" Target="../notesSlides/notesSlide17.xml"/><Relationship Id="rId1" Type="http://schemas.openxmlformats.org/officeDocument/2006/relationships/slideLayout" Target="../slideLayouts/slideLayout5.xml"/><Relationship Id="rId4" Type="http://schemas.openxmlformats.org/officeDocument/2006/relationships/chart" Target="../charts/chart28.xml"/></Relationships>
</file>

<file path=ppt/slides/_rels/slide22.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chart" Target="../charts/chart30.xml"/></Relationships>
</file>

<file path=ppt/slides/_rels/slide23.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notesSlide" Target="../notesSlides/notesSlide19.xml"/><Relationship Id="rId1" Type="http://schemas.openxmlformats.org/officeDocument/2006/relationships/slideLayout" Target="../slideLayouts/slideLayout4.xml"/><Relationship Id="rId4" Type="http://schemas.openxmlformats.org/officeDocument/2006/relationships/image" Target="../media/image51.png"/></Relationships>
</file>

<file path=ppt/slides/_rels/slide24.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0.xml"/><Relationship Id="rId1" Type="http://schemas.openxmlformats.org/officeDocument/2006/relationships/slideLayout" Target="../slideLayouts/slideLayout6.xml"/><Relationship Id="rId4" Type="http://schemas.openxmlformats.org/officeDocument/2006/relationships/chart" Target="../charts/chart32.xml"/></Relationships>
</file>

<file path=ppt/slides/_rels/slide25.xml.rels><?xml version="1.0" encoding="UTF-8" standalone="yes"?>
<Relationships xmlns="http://schemas.openxmlformats.org/package/2006/relationships"><Relationship Id="rId3" Type="http://schemas.openxmlformats.org/officeDocument/2006/relationships/chart" Target="../charts/chart33.xml"/><Relationship Id="rId2" Type="http://schemas.openxmlformats.org/officeDocument/2006/relationships/notesSlide" Target="../notesSlides/notesSlide21.xml"/><Relationship Id="rId1" Type="http://schemas.openxmlformats.org/officeDocument/2006/relationships/slideLayout" Target="../slideLayouts/slideLayout54.xml"/><Relationship Id="rId5" Type="http://schemas.openxmlformats.org/officeDocument/2006/relationships/chart" Target="../charts/chart35.xml"/><Relationship Id="rId4" Type="http://schemas.openxmlformats.org/officeDocument/2006/relationships/chart" Target="../charts/chart34.xml"/></Relationships>
</file>

<file path=ppt/slides/_rels/slide26.xml.rels><?xml version="1.0" encoding="UTF-8" standalone="yes"?>
<Relationships xmlns="http://schemas.openxmlformats.org/package/2006/relationships"><Relationship Id="rId2" Type="http://schemas.openxmlformats.org/officeDocument/2006/relationships/image" Target="../media/image54.jpg"/><Relationship Id="rId1" Type="http://schemas.openxmlformats.org/officeDocument/2006/relationships/slideLayout" Target="../slideLayouts/slideLayout1.xml"/></Relationships>
</file>

<file path=ppt/slides/_rels/slide27.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2.xml"/><Relationship Id="rId1" Type="http://schemas.openxmlformats.org/officeDocument/2006/relationships/slideLayout" Target="../slideLayouts/slideLayout44.xml"/></Relationships>
</file>

<file path=ppt/slides/_rels/slide28.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3.xml"/><Relationship Id="rId1" Type="http://schemas.openxmlformats.org/officeDocument/2006/relationships/slideLayout" Target="../slideLayouts/slideLayout7.xml"/></Relationships>
</file>

<file path=ppt/slides/_rels/slide29.xml.rels><?xml version="1.0" encoding="UTF-8" standalone="yes"?>
<Relationships xmlns="http://schemas.openxmlformats.org/package/2006/relationships"><Relationship Id="rId3" Type="http://schemas.openxmlformats.org/officeDocument/2006/relationships/chart" Target="../charts/chart37.xml"/><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4.xml"/></Relationships>
</file>

<file path=ppt/slides/_rels/slide30.xml.rels><?xml version="1.0" encoding="UTF-8" standalone="yes"?>
<Relationships xmlns="http://schemas.openxmlformats.org/package/2006/relationships"><Relationship Id="rId3" Type="http://schemas.openxmlformats.org/officeDocument/2006/relationships/chart" Target="../charts/chart38.xml"/><Relationship Id="rId2" Type="http://schemas.openxmlformats.org/officeDocument/2006/relationships/notesSlide" Target="../notesSlides/notesSlide25.xml"/><Relationship Id="rId1" Type="http://schemas.openxmlformats.org/officeDocument/2006/relationships/slideLayout" Target="../slideLayouts/slideLayout4.xml"/><Relationship Id="rId5" Type="http://schemas.openxmlformats.org/officeDocument/2006/relationships/chart" Target="../charts/chart40.xml"/><Relationship Id="rId4" Type="http://schemas.openxmlformats.org/officeDocument/2006/relationships/chart" Target="../charts/chart39.xml"/></Relationships>
</file>

<file path=ppt/slides/_rels/slide31.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chart" Target="../charts/chart41.xml"/><Relationship Id="rId7" Type="http://schemas.openxmlformats.org/officeDocument/2006/relationships/chart" Target="../charts/chart45.xml"/><Relationship Id="rId12" Type="http://schemas.openxmlformats.org/officeDocument/2006/relationships/image" Target="../media/image60.png"/><Relationship Id="rId2" Type="http://schemas.openxmlformats.org/officeDocument/2006/relationships/notesSlide" Target="../notesSlides/notesSlide26.xml"/><Relationship Id="rId1" Type="http://schemas.openxmlformats.org/officeDocument/2006/relationships/slideLayout" Target="../slideLayouts/slideLayout55.xml"/><Relationship Id="rId6" Type="http://schemas.openxmlformats.org/officeDocument/2006/relationships/chart" Target="../charts/chart44.xml"/><Relationship Id="rId11" Type="http://schemas.openxmlformats.org/officeDocument/2006/relationships/image" Target="../media/image59.png"/><Relationship Id="rId5" Type="http://schemas.openxmlformats.org/officeDocument/2006/relationships/chart" Target="../charts/chart43.xml"/><Relationship Id="rId10" Type="http://schemas.openxmlformats.org/officeDocument/2006/relationships/image" Target="../media/image58.png"/><Relationship Id="rId4" Type="http://schemas.openxmlformats.org/officeDocument/2006/relationships/chart" Target="../charts/chart42.xml"/><Relationship Id="rId9"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chart" Target="../charts/chart46.xml"/><Relationship Id="rId2" Type="http://schemas.openxmlformats.org/officeDocument/2006/relationships/notesSlide" Target="../notesSlides/notesSlide27.xml"/><Relationship Id="rId1" Type="http://schemas.openxmlformats.org/officeDocument/2006/relationships/slideLayout" Target="../slideLayouts/slideLayout5.xml"/><Relationship Id="rId4" Type="http://schemas.openxmlformats.org/officeDocument/2006/relationships/chart" Target="../charts/chart47.xml"/></Relationships>
</file>

<file path=ppt/slides/_rels/slide33.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chart" Target="../charts/chart49.xml"/><Relationship Id="rId1" Type="http://schemas.openxmlformats.org/officeDocument/2006/relationships/slideLayout" Target="../slideLayouts/slideLayout6.xml"/></Relationships>
</file>

<file path=ppt/slides/_rels/slide35.xml.rels><?xml version="1.0" encoding="UTF-8" standalone="yes"?>
<Relationships xmlns="http://schemas.openxmlformats.org/package/2006/relationships"><Relationship Id="rId2" Type="http://schemas.openxmlformats.org/officeDocument/2006/relationships/image" Target="../media/image61.jpg"/><Relationship Id="rId1" Type="http://schemas.openxmlformats.org/officeDocument/2006/relationships/slideLayout" Target="../slideLayouts/slideLayout1.xml"/></Relationships>
</file>

<file path=ppt/slides/_rels/slide36.xml.rels><?xml version="1.0" encoding="UTF-8" standalone="yes"?>
<Relationships xmlns="http://schemas.openxmlformats.org/package/2006/relationships"><Relationship Id="rId2" Type="http://schemas.openxmlformats.org/officeDocument/2006/relationships/chart" Target="../charts/chart50.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38.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39.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28.xml"/><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2" Type="http://schemas.openxmlformats.org/officeDocument/2006/relationships/chart" Target="../charts/chart51.xml"/><Relationship Id="rId1" Type="http://schemas.openxmlformats.org/officeDocument/2006/relationships/slideLayout" Target="../slideLayouts/slideLayout44.xml"/></Relationships>
</file>

<file path=ppt/slides/_rels/slide42.xml.rels><?xml version="1.0" encoding="UTF-8" standalone="yes"?>
<Relationships xmlns="http://schemas.openxmlformats.org/package/2006/relationships"><Relationship Id="rId3" Type="http://schemas.openxmlformats.org/officeDocument/2006/relationships/chart" Target="../charts/chart52.xml"/><Relationship Id="rId2" Type="http://schemas.openxmlformats.org/officeDocument/2006/relationships/notesSlide" Target="../notesSlides/notesSlide29.xml"/><Relationship Id="rId1" Type="http://schemas.openxmlformats.org/officeDocument/2006/relationships/slideLayout" Target="../slideLayouts/slideLayout44.xml"/></Relationships>
</file>

<file path=ppt/slides/_rels/slide43.xml.rels><?xml version="1.0" encoding="UTF-8" standalone="yes"?>
<Relationships xmlns="http://schemas.openxmlformats.org/package/2006/relationships"><Relationship Id="rId2" Type="http://schemas.openxmlformats.org/officeDocument/2006/relationships/image" Target="../media/image63.jpg"/><Relationship Id="rId1" Type="http://schemas.openxmlformats.org/officeDocument/2006/relationships/slideLayout" Target="../slideLayouts/slideLayout1.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47.xml.rels><?xml version="1.0" encoding="UTF-8" standalone="yes"?>
<Relationships xmlns="http://schemas.openxmlformats.org/package/2006/relationships"><Relationship Id="rId3" Type="http://schemas.openxmlformats.org/officeDocument/2006/relationships/chart" Target="../charts/chart53.xml"/><Relationship Id="rId2" Type="http://schemas.openxmlformats.org/officeDocument/2006/relationships/notesSlide" Target="../notesSlides/notesSlide30.xml"/><Relationship Id="rId1" Type="http://schemas.openxmlformats.org/officeDocument/2006/relationships/slideLayout" Target="../slideLayouts/slideLayout43.xml"/><Relationship Id="rId4" Type="http://schemas.openxmlformats.org/officeDocument/2006/relationships/chart" Target="../charts/chart54.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49.xml.rels><?xml version="1.0" encoding="UTF-8" standalone="yes"?>
<Relationships xmlns="http://schemas.openxmlformats.org/package/2006/relationships"><Relationship Id="rId3" Type="http://schemas.openxmlformats.org/officeDocument/2006/relationships/chart" Target="../charts/chart55.xml"/><Relationship Id="rId2" Type="http://schemas.openxmlformats.org/officeDocument/2006/relationships/notesSlide" Target="../notesSlides/notesSlide32.xml"/><Relationship Id="rId1" Type="http://schemas.openxmlformats.org/officeDocument/2006/relationships/slideLayout" Target="../slideLayouts/slideLayout43.xml"/><Relationship Id="rId4" Type="http://schemas.openxmlformats.org/officeDocument/2006/relationships/chart" Target="../charts/chart56.xml"/></Relationships>
</file>

<file path=ppt/slides/_rels/slide5.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22.jp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0.xml.rels><?xml version="1.0" encoding="UTF-8" standalone="yes"?>
<Relationships xmlns="http://schemas.openxmlformats.org/package/2006/relationships"><Relationship Id="rId3" Type="http://schemas.openxmlformats.org/officeDocument/2006/relationships/chart" Target="../charts/chart57.xml"/><Relationship Id="rId2" Type="http://schemas.openxmlformats.org/officeDocument/2006/relationships/notesSlide" Target="../notesSlides/notesSlide33.xml"/><Relationship Id="rId1" Type="http://schemas.openxmlformats.org/officeDocument/2006/relationships/slideLayout" Target="../slideLayouts/slideLayout43.xml"/><Relationship Id="rId4" Type="http://schemas.openxmlformats.org/officeDocument/2006/relationships/chart" Target="../charts/chart58.xml"/></Relationships>
</file>

<file path=ppt/slides/_rels/slide6.xml.rels><?xml version="1.0" encoding="UTF-8" standalone="yes"?>
<Relationships xmlns="http://schemas.openxmlformats.org/package/2006/relationships"><Relationship Id="rId2" Type="http://schemas.openxmlformats.org/officeDocument/2006/relationships/image" Target="../media/image39.jpg"/><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6.xml"/><Relationship Id="rId1" Type="http://schemas.openxmlformats.org/officeDocument/2006/relationships/slideLayout" Target="../slideLayouts/slideLayout43.xml"/><Relationship Id="rId4" Type="http://schemas.openxmlformats.org/officeDocument/2006/relationships/chart" Target="../charts/char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0" name="TextBox 319">
            <a:extLst>
              <a:ext uri="{FF2B5EF4-FFF2-40B4-BE49-F238E27FC236}">
                <a16:creationId xmlns:a16="http://schemas.microsoft.com/office/drawing/2014/main" id="{0CE41AB9-E744-4B9B-B743-581B88692C9B}"/>
              </a:ext>
            </a:extLst>
          </p:cNvPr>
          <p:cNvSpPr txBox="1"/>
          <p:nvPr/>
        </p:nvSpPr>
        <p:spPr>
          <a:xfrm>
            <a:off x="7287836" y="854480"/>
            <a:ext cx="4595762" cy="1754326"/>
          </a:xfrm>
          <a:prstGeom prst="rect">
            <a:avLst/>
          </a:prstGeom>
          <a:noFill/>
        </p:spPr>
        <p:txBody>
          <a:bodyPr wrap="square" rtlCol="0" anchor="ctr">
            <a:spAutoFit/>
          </a:bodyPr>
          <a:lstStyle/>
          <a:p>
            <a:pPr algn="r"/>
            <a:r>
              <a:rPr lang="en-GB" altLang="ko-KR" sz="4400" dirty="0">
                <a:solidFill>
                  <a:schemeClr val="bg1"/>
                </a:solidFill>
                <a:latin typeface="+mj-lt"/>
                <a:cs typeface="Arial" pitchFamily="34" charset="0"/>
              </a:rPr>
              <a:t>Civility, Safety &amp; Interaction Online</a:t>
            </a:r>
          </a:p>
          <a:p>
            <a:pPr algn="r"/>
            <a:r>
              <a:rPr lang="en-GB" altLang="ko-KR" sz="2000" dirty="0">
                <a:solidFill>
                  <a:schemeClr val="bg1"/>
                </a:solidFill>
                <a:latin typeface="+mj-lt"/>
                <a:cs typeface="Arial" pitchFamily="34" charset="0"/>
              </a:rPr>
              <a:t>February 2020</a:t>
            </a:r>
            <a:endParaRPr lang="ko-KR" altLang="en-US" sz="2000" dirty="0">
              <a:solidFill>
                <a:schemeClr val="bg1"/>
              </a:solidFill>
              <a:latin typeface="+mj-lt"/>
              <a:cs typeface="Arial" pitchFamily="34" charset="0"/>
            </a:endParaRPr>
          </a:p>
        </p:txBody>
      </p:sp>
      <p:grpSp>
        <p:nvGrpSpPr>
          <p:cNvPr id="4" name="Group 3">
            <a:extLst>
              <a:ext uri="{FF2B5EF4-FFF2-40B4-BE49-F238E27FC236}">
                <a16:creationId xmlns:a16="http://schemas.microsoft.com/office/drawing/2014/main" id="{AF71FA36-7EC0-457B-8782-0EC894371525}"/>
              </a:ext>
            </a:extLst>
          </p:cNvPr>
          <p:cNvGrpSpPr>
            <a:grpSpLocks noChangeAspect="1"/>
          </p:cNvGrpSpPr>
          <p:nvPr/>
        </p:nvGrpSpPr>
        <p:grpSpPr>
          <a:xfrm>
            <a:off x="577409" y="928034"/>
            <a:ext cx="6583680" cy="4665320"/>
            <a:chOff x="809508" y="642894"/>
            <a:chExt cx="7765420" cy="5502729"/>
          </a:xfrm>
        </p:grpSpPr>
        <p:sp>
          <p:nvSpPr>
            <p:cNvPr id="318" name="Rounded Rectangular Callout 47">
              <a:extLst>
                <a:ext uri="{FF2B5EF4-FFF2-40B4-BE49-F238E27FC236}">
                  <a16:creationId xmlns:a16="http://schemas.microsoft.com/office/drawing/2014/main" id="{E9935875-3F8D-4260-A0E6-C23810BDE695}"/>
                </a:ext>
              </a:extLst>
            </p:cNvPr>
            <p:cNvSpPr/>
            <p:nvPr/>
          </p:nvSpPr>
          <p:spPr>
            <a:xfrm rot="10800000" flipH="1" flipV="1">
              <a:off x="5566452" y="997317"/>
              <a:ext cx="662176" cy="453109"/>
            </a:xfrm>
            <a:prstGeom prst="wedgeRoundRectCallout">
              <a:avLst>
                <a:gd name="adj1" fmla="val 35051"/>
                <a:gd name="adj2" fmla="val 107180"/>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grpSp>
          <p:nvGrpSpPr>
            <p:cNvPr id="67" name="Group 66">
              <a:extLst>
                <a:ext uri="{FF2B5EF4-FFF2-40B4-BE49-F238E27FC236}">
                  <a16:creationId xmlns:a16="http://schemas.microsoft.com/office/drawing/2014/main" id="{5F8FF933-4249-4124-9171-197E36FDD137}"/>
                </a:ext>
              </a:extLst>
            </p:cNvPr>
            <p:cNvGrpSpPr/>
            <p:nvPr/>
          </p:nvGrpSpPr>
          <p:grpSpPr>
            <a:xfrm>
              <a:off x="1659509" y="757492"/>
              <a:ext cx="1639473" cy="1639473"/>
              <a:chOff x="1257636" y="1511387"/>
              <a:chExt cx="1639473" cy="1639473"/>
            </a:xfrm>
          </p:grpSpPr>
          <p:sp>
            <p:nvSpPr>
              <p:cNvPr id="27" name="Oval 26">
                <a:extLst>
                  <a:ext uri="{FF2B5EF4-FFF2-40B4-BE49-F238E27FC236}">
                    <a16:creationId xmlns:a16="http://schemas.microsoft.com/office/drawing/2014/main" id="{9C4F562F-99A5-422F-833E-2D8E6B4620A8}"/>
                  </a:ext>
                </a:extLst>
              </p:cNvPr>
              <p:cNvSpPr/>
              <p:nvPr/>
            </p:nvSpPr>
            <p:spPr>
              <a:xfrm>
                <a:off x="1257636" y="1511387"/>
                <a:ext cx="1639473" cy="1639473"/>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2" name="Group 31">
                <a:extLst>
                  <a:ext uri="{FF2B5EF4-FFF2-40B4-BE49-F238E27FC236}">
                    <a16:creationId xmlns:a16="http://schemas.microsoft.com/office/drawing/2014/main" id="{66A835C1-4714-42A4-8B8B-85C3A65B97E7}"/>
                  </a:ext>
                </a:extLst>
              </p:cNvPr>
              <p:cNvGrpSpPr/>
              <p:nvPr/>
            </p:nvGrpSpPr>
            <p:grpSpPr>
              <a:xfrm>
                <a:off x="1544161" y="1702055"/>
                <a:ext cx="1066422" cy="1258136"/>
                <a:chOff x="2188248" y="2034620"/>
                <a:chExt cx="1577994" cy="1861674"/>
              </a:xfrm>
            </p:grpSpPr>
            <p:sp>
              <p:nvSpPr>
                <p:cNvPr id="11" name="Freeform: Shape 10">
                  <a:extLst>
                    <a:ext uri="{FF2B5EF4-FFF2-40B4-BE49-F238E27FC236}">
                      <a16:creationId xmlns:a16="http://schemas.microsoft.com/office/drawing/2014/main" id="{C946542E-E843-4E62-834E-2AF4BF021106}"/>
                    </a:ext>
                  </a:extLst>
                </p:cNvPr>
                <p:cNvSpPr/>
                <p:nvPr/>
              </p:nvSpPr>
              <p:spPr>
                <a:xfrm>
                  <a:off x="2188248" y="2423101"/>
                  <a:ext cx="1577994" cy="1470514"/>
                </a:xfrm>
                <a:custGeom>
                  <a:avLst/>
                  <a:gdLst>
                    <a:gd name="connsiteX0" fmla="*/ 1606188 w 1891355"/>
                    <a:gd name="connsiteY0" fmla="*/ 1318422 h 1762532"/>
                    <a:gd name="connsiteX1" fmla="*/ 1514841 w 1891355"/>
                    <a:gd name="connsiteY1" fmla="*/ 1295585 h 1762532"/>
                    <a:gd name="connsiteX2" fmla="*/ 1140669 w 1891355"/>
                    <a:gd name="connsiteY2" fmla="*/ 1112891 h 1762532"/>
                    <a:gd name="connsiteX3" fmla="*/ 1135984 w 1891355"/>
                    <a:gd name="connsiteY3" fmla="*/ 942493 h 1762532"/>
                    <a:gd name="connsiteX4" fmla="*/ 1302283 w 1891355"/>
                    <a:gd name="connsiteY4" fmla="*/ 845876 h 1762532"/>
                    <a:gd name="connsiteX5" fmla="*/ 1391874 w 1891355"/>
                    <a:gd name="connsiteY5" fmla="*/ 748673 h 1762532"/>
                    <a:gd name="connsiteX6" fmla="*/ 1408269 w 1891355"/>
                    <a:gd name="connsiteY6" fmla="*/ 715882 h 1762532"/>
                    <a:gd name="connsiteX7" fmla="*/ 1444574 w 1891355"/>
                    <a:gd name="connsiteY7" fmla="*/ 596428 h 1762532"/>
                    <a:gd name="connsiteX8" fmla="*/ 1474437 w 1891355"/>
                    <a:gd name="connsiteY8" fmla="*/ 563051 h 1762532"/>
                    <a:gd name="connsiteX9" fmla="*/ 1534165 w 1891355"/>
                    <a:gd name="connsiteY9" fmla="*/ 515621 h 1762532"/>
                    <a:gd name="connsiteX10" fmla="*/ 1567541 w 1891355"/>
                    <a:gd name="connsiteY10" fmla="*/ 467019 h 1762532"/>
                    <a:gd name="connsiteX11" fmla="*/ 1588621 w 1891355"/>
                    <a:gd name="connsiteY11" fmla="*/ 424859 h 1762532"/>
                    <a:gd name="connsiteX12" fmla="*/ 1605017 w 1891355"/>
                    <a:gd name="connsiteY12" fmla="*/ 355177 h 1762532"/>
                    <a:gd name="connsiteX13" fmla="*/ 1605017 w 1891355"/>
                    <a:gd name="connsiteY13" fmla="*/ 332926 h 1762532"/>
                    <a:gd name="connsiteX14" fmla="*/ 1572811 w 1891355"/>
                    <a:gd name="connsiteY14" fmla="*/ 326485 h 1762532"/>
                    <a:gd name="connsiteX15" fmla="*/ 1497860 w 1891355"/>
                    <a:gd name="connsiteY15" fmla="*/ 385626 h 1762532"/>
                    <a:gd name="connsiteX16" fmla="*/ 1439890 w 1891355"/>
                    <a:gd name="connsiteY16" fmla="*/ 409049 h 1762532"/>
                    <a:gd name="connsiteX17" fmla="*/ 1412368 w 1891355"/>
                    <a:gd name="connsiteY17" fmla="*/ 387383 h 1762532"/>
                    <a:gd name="connsiteX18" fmla="*/ 1387189 w 1891355"/>
                    <a:gd name="connsiteY18" fmla="*/ 270271 h 1762532"/>
                    <a:gd name="connsiteX19" fmla="*/ 1241970 w 1891355"/>
                    <a:gd name="connsiteY19" fmla="*/ 125638 h 1762532"/>
                    <a:gd name="connsiteX20" fmla="*/ 1078600 w 1891355"/>
                    <a:gd name="connsiteY20" fmla="*/ 104558 h 1762532"/>
                    <a:gd name="connsiteX21" fmla="*/ 929868 w 1891355"/>
                    <a:gd name="connsiteY21" fmla="*/ 94604 h 1762532"/>
                    <a:gd name="connsiteX22" fmla="*/ 692716 w 1891355"/>
                    <a:gd name="connsiteY22" fmla="*/ 6770 h 1762532"/>
                    <a:gd name="connsiteX23" fmla="*/ 640016 w 1891355"/>
                    <a:gd name="connsiteY23" fmla="*/ 11454 h 1762532"/>
                    <a:gd name="connsiteX24" fmla="*/ 512950 w 1891355"/>
                    <a:gd name="connsiteY24" fmla="*/ 155502 h 1762532"/>
                    <a:gd name="connsiteX25" fmla="*/ 391153 w 1891355"/>
                    <a:gd name="connsiteY25" fmla="*/ 270271 h 1762532"/>
                    <a:gd name="connsiteX26" fmla="*/ 327328 w 1891355"/>
                    <a:gd name="connsiteY26" fmla="*/ 270271 h 1762532"/>
                    <a:gd name="connsiteX27" fmla="*/ 302734 w 1891355"/>
                    <a:gd name="connsiteY27" fmla="*/ 277298 h 1762532"/>
                    <a:gd name="connsiteX28" fmla="*/ 291023 w 1891355"/>
                    <a:gd name="connsiteY28" fmla="*/ 307161 h 1762532"/>
                    <a:gd name="connsiteX29" fmla="*/ 303319 w 1891355"/>
                    <a:gd name="connsiteY29" fmla="*/ 424273 h 1762532"/>
                    <a:gd name="connsiteX30" fmla="*/ 426873 w 1891355"/>
                    <a:gd name="connsiteY30" fmla="*/ 566564 h 1762532"/>
                    <a:gd name="connsiteX31" fmla="*/ 443268 w 1891355"/>
                    <a:gd name="connsiteY31" fmla="*/ 589987 h 1762532"/>
                    <a:gd name="connsiteX32" fmla="*/ 465519 w 1891355"/>
                    <a:gd name="connsiteY32" fmla="*/ 669622 h 1762532"/>
                    <a:gd name="connsiteX33" fmla="*/ 520562 w 1891355"/>
                    <a:gd name="connsiteY33" fmla="*/ 780293 h 1762532"/>
                    <a:gd name="connsiteX34" fmla="*/ 720238 w 1891355"/>
                    <a:gd name="connsiteY34" fmla="*/ 925512 h 1762532"/>
                    <a:gd name="connsiteX35" fmla="*/ 751272 w 1891355"/>
                    <a:gd name="connsiteY35" fmla="*/ 972357 h 1762532"/>
                    <a:gd name="connsiteX36" fmla="*/ 743074 w 1891355"/>
                    <a:gd name="connsiteY36" fmla="*/ 1156222 h 1762532"/>
                    <a:gd name="connsiteX37" fmla="*/ 679248 w 1891355"/>
                    <a:gd name="connsiteY37" fmla="*/ 1222390 h 1762532"/>
                    <a:gd name="connsiteX38" fmla="*/ 415161 w 1891355"/>
                    <a:gd name="connsiteY38" fmla="*/ 1305539 h 1762532"/>
                    <a:gd name="connsiteX39" fmla="*/ 348408 w 1891355"/>
                    <a:gd name="connsiteY39" fmla="*/ 1324863 h 1762532"/>
                    <a:gd name="connsiteX40" fmla="*/ 330841 w 1891355"/>
                    <a:gd name="connsiteY40" fmla="*/ 1328376 h 1762532"/>
                    <a:gd name="connsiteX41" fmla="*/ 0 w 1891355"/>
                    <a:gd name="connsiteY41" fmla="*/ 1692008 h 1762532"/>
                    <a:gd name="connsiteX42" fmla="*/ 0 w 1891355"/>
                    <a:gd name="connsiteY42" fmla="*/ 1767546 h 1762532"/>
                    <a:gd name="connsiteX43" fmla="*/ 1891355 w 1891355"/>
                    <a:gd name="connsiteY43" fmla="*/ 1767546 h 1762532"/>
                    <a:gd name="connsiteX44" fmla="*/ 1891355 w 1891355"/>
                    <a:gd name="connsiteY44" fmla="*/ 1634038 h 1762532"/>
                    <a:gd name="connsiteX45" fmla="*/ 1606188 w 1891355"/>
                    <a:gd name="connsiteY45" fmla="*/ 1318422 h 17625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1891355" h="1762532">
                      <a:moveTo>
                        <a:pt x="1606188" y="1318422"/>
                      </a:moveTo>
                      <a:cubicBezTo>
                        <a:pt x="1606188" y="1318422"/>
                        <a:pt x="1540606" y="1303783"/>
                        <a:pt x="1514841" y="1295585"/>
                      </a:cubicBezTo>
                      <a:cubicBezTo>
                        <a:pt x="1489662" y="1287973"/>
                        <a:pt x="1144182" y="1258109"/>
                        <a:pt x="1140669" y="1112891"/>
                      </a:cubicBezTo>
                      <a:cubicBezTo>
                        <a:pt x="1140669" y="1095909"/>
                        <a:pt x="1135984" y="962987"/>
                        <a:pt x="1135984" y="942493"/>
                      </a:cubicBezTo>
                      <a:cubicBezTo>
                        <a:pt x="1196297" y="918485"/>
                        <a:pt x="1247826" y="879253"/>
                        <a:pt x="1302283" y="845876"/>
                      </a:cubicBezTo>
                      <a:cubicBezTo>
                        <a:pt x="1316922" y="834164"/>
                        <a:pt x="1378991" y="771510"/>
                        <a:pt x="1391874" y="748673"/>
                      </a:cubicBezTo>
                      <a:cubicBezTo>
                        <a:pt x="1397144" y="737547"/>
                        <a:pt x="1402414" y="727007"/>
                        <a:pt x="1408269" y="715882"/>
                      </a:cubicBezTo>
                      <a:cubicBezTo>
                        <a:pt x="1424665" y="677235"/>
                        <a:pt x="1435791" y="636831"/>
                        <a:pt x="1444574" y="596428"/>
                      </a:cubicBezTo>
                      <a:cubicBezTo>
                        <a:pt x="1448673" y="579446"/>
                        <a:pt x="1456871" y="567150"/>
                        <a:pt x="1474437" y="563051"/>
                      </a:cubicBezTo>
                      <a:cubicBezTo>
                        <a:pt x="1496689" y="550168"/>
                        <a:pt x="1516598" y="534359"/>
                        <a:pt x="1534165" y="515621"/>
                      </a:cubicBezTo>
                      <a:cubicBezTo>
                        <a:pt x="1547047" y="500396"/>
                        <a:pt x="1558758" y="485171"/>
                        <a:pt x="1567541" y="467019"/>
                      </a:cubicBezTo>
                      <a:cubicBezTo>
                        <a:pt x="1574568" y="452966"/>
                        <a:pt x="1581595" y="438912"/>
                        <a:pt x="1588621" y="424859"/>
                      </a:cubicBezTo>
                      <a:cubicBezTo>
                        <a:pt x="1600918" y="403193"/>
                        <a:pt x="1599747" y="378600"/>
                        <a:pt x="1605017" y="355177"/>
                      </a:cubicBezTo>
                      <a:cubicBezTo>
                        <a:pt x="1606774" y="347565"/>
                        <a:pt x="1606774" y="340538"/>
                        <a:pt x="1605017" y="332926"/>
                      </a:cubicBezTo>
                      <a:cubicBezTo>
                        <a:pt x="1595648" y="307747"/>
                        <a:pt x="1592135" y="307161"/>
                        <a:pt x="1572811" y="326485"/>
                      </a:cubicBezTo>
                      <a:cubicBezTo>
                        <a:pt x="1549975" y="348736"/>
                        <a:pt x="1524796" y="368645"/>
                        <a:pt x="1497860" y="385626"/>
                      </a:cubicBezTo>
                      <a:cubicBezTo>
                        <a:pt x="1479708" y="396752"/>
                        <a:pt x="1461555" y="406121"/>
                        <a:pt x="1439890" y="409049"/>
                      </a:cubicBezTo>
                      <a:cubicBezTo>
                        <a:pt x="1423494" y="410805"/>
                        <a:pt x="1414125" y="406121"/>
                        <a:pt x="1412368" y="387383"/>
                      </a:cubicBezTo>
                      <a:cubicBezTo>
                        <a:pt x="1408855" y="347565"/>
                        <a:pt x="1400657" y="308333"/>
                        <a:pt x="1387189" y="270271"/>
                      </a:cubicBezTo>
                      <a:cubicBezTo>
                        <a:pt x="1362010" y="198833"/>
                        <a:pt x="1312238" y="151988"/>
                        <a:pt x="1241970" y="125638"/>
                      </a:cubicBezTo>
                      <a:cubicBezTo>
                        <a:pt x="1189270" y="105729"/>
                        <a:pt x="1134228" y="103973"/>
                        <a:pt x="1078600" y="104558"/>
                      </a:cubicBezTo>
                      <a:cubicBezTo>
                        <a:pt x="1028827" y="105143"/>
                        <a:pt x="979055" y="106900"/>
                        <a:pt x="929868" y="94604"/>
                      </a:cubicBezTo>
                      <a:cubicBezTo>
                        <a:pt x="847304" y="74109"/>
                        <a:pt x="767668" y="46588"/>
                        <a:pt x="692716" y="6770"/>
                      </a:cubicBezTo>
                      <a:cubicBezTo>
                        <a:pt x="673393" y="-3185"/>
                        <a:pt x="657583" y="-2599"/>
                        <a:pt x="640016" y="11454"/>
                      </a:cubicBezTo>
                      <a:cubicBezTo>
                        <a:pt x="588487" y="51858"/>
                        <a:pt x="544570" y="98117"/>
                        <a:pt x="512950" y="155502"/>
                      </a:cubicBezTo>
                      <a:cubicBezTo>
                        <a:pt x="484843" y="207031"/>
                        <a:pt x="444439" y="245678"/>
                        <a:pt x="391153" y="270271"/>
                      </a:cubicBezTo>
                      <a:cubicBezTo>
                        <a:pt x="370073" y="280226"/>
                        <a:pt x="348993" y="284910"/>
                        <a:pt x="327328" y="270271"/>
                      </a:cubicBezTo>
                      <a:cubicBezTo>
                        <a:pt x="316202" y="262659"/>
                        <a:pt x="308590" y="267343"/>
                        <a:pt x="302734" y="277298"/>
                      </a:cubicBezTo>
                      <a:cubicBezTo>
                        <a:pt x="297464" y="286667"/>
                        <a:pt x="293951" y="296621"/>
                        <a:pt x="291023" y="307161"/>
                      </a:cubicBezTo>
                      <a:cubicBezTo>
                        <a:pt x="279312" y="347565"/>
                        <a:pt x="286924" y="386798"/>
                        <a:pt x="303319" y="424273"/>
                      </a:cubicBezTo>
                      <a:cubicBezTo>
                        <a:pt x="329670" y="484000"/>
                        <a:pt x="362461" y="539043"/>
                        <a:pt x="426873" y="566564"/>
                      </a:cubicBezTo>
                      <a:cubicBezTo>
                        <a:pt x="437413" y="571249"/>
                        <a:pt x="440926" y="580032"/>
                        <a:pt x="443268" y="589987"/>
                      </a:cubicBezTo>
                      <a:cubicBezTo>
                        <a:pt x="450295" y="616922"/>
                        <a:pt x="457907" y="643272"/>
                        <a:pt x="465519" y="669622"/>
                      </a:cubicBezTo>
                      <a:cubicBezTo>
                        <a:pt x="477231" y="710026"/>
                        <a:pt x="494797" y="747502"/>
                        <a:pt x="520562" y="780293"/>
                      </a:cubicBezTo>
                      <a:cubicBezTo>
                        <a:pt x="573262" y="847047"/>
                        <a:pt x="644700" y="889793"/>
                        <a:pt x="720238" y="925512"/>
                      </a:cubicBezTo>
                      <a:cubicBezTo>
                        <a:pt x="742489" y="936052"/>
                        <a:pt x="750101" y="947763"/>
                        <a:pt x="751272" y="972357"/>
                      </a:cubicBezTo>
                      <a:cubicBezTo>
                        <a:pt x="752443" y="1008661"/>
                        <a:pt x="747173" y="1131043"/>
                        <a:pt x="743074" y="1156222"/>
                      </a:cubicBezTo>
                      <a:cubicBezTo>
                        <a:pt x="737804" y="1193112"/>
                        <a:pt x="713797" y="1211850"/>
                        <a:pt x="679248" y="1222390"/>
                      </a:cubicBezTo>
                      <a:cubicBezTo>
                        <a:pt x="590829" y="1248740"/>
                        <a:pt x="502995" y="1277433"/>
                        <a:pt x="415161" y="1305539"/>
                      </a:cubicBezTo>
                      <a:cubicBezTo>
                        <a:pt x="410477" y="1311395"/>
                        <a:pt x="363047" y="1318422"/>
                        <a:pt x="348408" y="1324863"/>
                      </a:cubicBezTo>
                      <a:cubicBezTo>
                        <a:pt x="342552" y="1327205"/>
                        <a:pt x="336696" y="1327205"/>
                        <a:pt x="330841" y="1328376"/>
                      </a:cubicBezTo>
                      <a:cubicBezTo>
                        <a:pt x="133507" y="1364681"/>
                        <a:pt x="0" y="1497017"/>
                        <a:pt x="0" y="1692008"/>
                      </a:cubicBezTo>
                      <a:lnTo>
                        <a:pt x="0" y="1767546"/>
                      </a:lnTo>
                      <a:lnTo>
                        <a:pt x="1891355" y="1767546"/>
                      </a:lnTo>
                      <a:lnTo>
                        <a:pt x="1891355" y="1634038"/>
                      </a:lnTo>
                      <a:cubicBezTo>
                        <a:pt x="1891355" y="1468325"/>
                        <a:pt x="1777757" y="1370537"/>
                        <a:pt x="1606188" y="1318422"/>
                      </a:cubicBezTo>
                      <a:close/>
                    </a:path>
                  </a:pathLst>
                </a:custGeom>
                <a:solidFill>
                  <a:srgbClr val="F8DFC9"/>
                </a:solidFill>
                <a:ln w="5853" cap="flat">
                  <a:noFill/>
                  <a:prstDash val="solid"/>
                  <a:miter/>
                </a:ln>
              </p:spPr>
              <p:txBody>
                <a:bodyPr rtlCol="0" anchor="ctr"/>
                <a:lstStyle/>
                <a:p>
                  <a:endParaRPr lang="en-US" dirty="0"/>
                </a:p>
              </p:txBody>
            </p:sp>
            <p:sp>
              <p:nvSpPr>
                <p:cNvPr id="12" name="Freeform: Shape 11">
                  <a:extLst>
                    <a:ext uri="{FF2B5EF4-FFF2-40B4-BE49-F238E27FC236}">
                      <a16:creationId xmlns:a16="http://schemas.microsoft.com/office/drawing/2014/main" id="{89C9859F-5083-4812-B667-5F18FE448E31}"/>
                    </a:ext>
                  </a:extLst>
                </p:cNvPr>
                <p:cNvSpPr/>
                <p:nvPr/>
              </p:nvSpPr>
              <p:spPr>
                <a:xfrm>
                  <a:off x="2266426" y="3490803"/>
                  <a:ext cx="1426546" cy="405491"/>
                </a:xfrm>
                <a:custGeom>
                  <a:avLst/>
                  <a:gdLst>
                    <a:gd name="connsiteX0" fmla="*/ 320872 w 1709832"/>
                    <a:gd name="connsiteY0" fmla="*/ 26395 h 486013"/>
                    <a:gd name="connsiteX1" fmla="*/ 443840 w 1709832"/>
                    <a:gd name="connsiteY1" fmla="*/ 196207 h 486013"/>
                    <a:gd name="connsiteX2" fmla="*/ 685675 w 1709832"/>
                    <a:gd name="connsiteY2" fmla="*/ 291068 h 486013"/>
                    <a:gd name="connsiteX3" fmla="*/ 1091468 w 1709832"/>
                    <a:gd name="connsiteY3" fmla="*/ 296338 h 486013"/>
                    <a:gd name="connsiteX4" fmla="*/ 1346186 w 1709832"/>
                    <a:gd name="connsiteY4" fmla="*/ 157560 h 486013"/>
                    <a:gd name="connsiteX5" fmla="*/ 1430506 w 1709832"/>
                    <a:gd name="connsiteY5" fmla="*/ 45 h 486013"/>
                    <a:gd name="connsiteX6" fmla="*/ 1710404 w 1709832"/>
                    <a:gd name="connsiteY6" fmla="*/ 127111 h 486013"/>
                    <a:gd name="connsiteX7" fmla="*/ 1685810 w 1709832"/>
                    <a:gd name="connsiteY7" fmla="*/ 250079 h 486013"/>
                    <a:gd name="connsiteX8" fmla="*/ 1582166 w 1709832"/>
                    <a:gd name="connsiteY8" fmla="*/ 487816 h 486013"/>
                    <a:gd name="connsiteX9" fmla="*/ 357762 w 1709832"/>
                    <a:gd name="connsiteY9" fmla="*/ 486645 h 486013"/>
                    <a:gd name="connsiteX10" fmla="*/ 96018 w 1709832"/>
                    <a:gd name="connsiteY10" fmla="*/ 487816 h 486013"/>
                    <a:gd name="connsiteX11" fmla="*/ 37462 w 1709832"/>
                    <a:gd name="connsiteY11" fmla="*/ 299266 h 486013"/>
                    <a:gd name="connsiteX12" fmla="*/ 571 w 1709832"/>
                    <a:gd name="connsiteY12" fmla="*/ 134724 h 486013"/>
                    <a:gd name="connsiteX13" fmla="*/ 276370 w 1709832"/>
                    <a:gd name="connsiteY13" fmla="*/ 8243 h 486013"/>
                    <a:gd name="connsiteX14" fmla="*/ 320872 w 1709832"/>
                    <a:gd name="connsiteY14" fmla="*/ 26395 h 486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09832" h="486013">
                      <a:moveTo>
                        <a:pt x="320872" y="26395"/>
                      </a:moveTo>
                      <a:cubicBezTo>
                        <a:pt x="341367" y="97833"/>
                        <a:pt x="385284" y="152876"/>
                        <a:pt x="443840" y="196207"/>
                      </a:cubicBezTo>
                      <a:cubicBezTo>
                        <a:pt x="515863" y="248908"/>
                        <a:pt x="599598" y="273501"/>
                        <a:pt x="685675" y="291068"/>
                      </a:cubicBezTo>
                      <a:cubicBezTo>
                        <a:pt x="817426" y="318589"/>
                        <a:pt x="960303" y="327958"/>
                        <a:pt x="1091468" y="296338"/>
                      </a:cubicBezTo>
                      <a:cubicBezTo>
                        <a:pt x="1196869" y="260033"/>
                        <a:pt x="1285873" y="231926"/>
                        <a:pt x="1346186" y="157560"/>
                      </a:cubicBezTo>
                      <a:cubicBezTo>
                        <a:pt x="1352042" y="150534"/>
                        <a:pt x="1418210" y="2387"/>
                        <a:pt x="1430506" y="45"/>
                      </a:cubicBezTo>
                      <a:cubicBezTo>
                        <a:pt x="1443389" y="-2297"/>
                        <a:pt x="1694008" y="87293"/>
                        <a:pt x="1710404" y="127111"/>
                      </a:cubicBezTo>
                      <a:cubicBezTo>
                        <a:pt x="1726799" y="149948"/>
                        <a:pt x="1693423" y="224314"/>
                        <a:pt x="1685810" y="250079"/>
                      </a:cubicBezTo>
                      <a:cubicBezTo>
                        <a:pt x="1661217" y="335570"/>
                        <a:pt x="1592706" y="484302"/>
                        <a:pt x="1582166" y="487816"/>
                      </a:cubicBezTo>
                      <a:cubicBezTo>
                        <a:pt x="1572797" y="487816"/>
                        <a:pt x="752429" y="486645"/>
                        <a:pt x="357762" y="486645"/>
                      </a:cubicBezTo>
                      <a:cubicBezTo>
                        <a:pt x="279298" y="486645"/>
                        <a:pt x="174482" y="487816"/>
                        <a:pt x="96018" y="487816"/>
                      </a:cubicBezTo>
                      <a:cubicBezTo>
                        <a:pt x="87234" y="484302"/>
                        <a:pt x="67325" y="371289"/>
                        <a:pt x="37462" y="299266"/>
                      </a:cubicBezTo>
                      <a:cubicBezTo>
                        <a:pt x="21066" y="250664"/>
                        <a:pt x="-4113" y="188009"/>
                        <a:pt x="571" y="134724"/>
                      </a:cubicBezTo>
                      <a:cubicBezTo>
                        <a:pt x="1743" y="123012"/>
                        <a:pt x="268758" y="11170"/>
                        <a:pt x="276370" y="8243"/>
                      </a:cubicBezTo>
                      <a:cubicBezTo>
                        <a:pt x="309161" y="-2883"/>
                        <a:pt x="309161" y="-2883"/>
                        <a:pt x="320872" y="26395"/>
                      </a:cubicBezTo>
                      <a:close/>
                    </a:path>
                  </a:pathLst>
                </a:custGeom>
                <a:solidFill>
                  <a:schemeClr val="accent2"/>
                </a:solidFill>
                <a:ln w="5853" cap="flat">
                  <a:noFill/>
                  <a:prstDash val="solid"/>
                  <a:miter/>
                </a:ln>
              </p:spPr>
              <p:txBody>
                <a:bodyPr rtlCol="0" anchor="ctr"/>
                <a:lstStyle/>
                <a:p>
                  <a:endParaRPr lang="en-US" dirty="0"/>
                </a:p>
              </p:txBody>
            </p:sp>
            <p:sp>
              <p:nvSpPr>
                <p:cNvPr id="13" name="Freeform: Shape 12">
                  <a:extLst>
                    <a:ext uri="{FF2B5EF4-FFF2-40B4-BE49-F238E27FC236}">
                      <a16:creationId xmlns:a16="http://schemas.microsoft.com/office/drawing/2014/main" id="{2B70F760-C41D-48AD-8E01-11627CC0D16C}"/>
                    </a:ext>
                  </a:extLst>
                </p:cNvPr>
                <p:cNvSpPr/>
                <p:nvPr/>
              </p:nvSpPr>
              <p:spPr>
                <a:xfrm>
                  <a:off x="2407798" y="2034620"/>
                  <a:ext cx="1167618" cy="1685473"/>
                </a:xfrm>
                <a:custGeom>
                  <a:avLst/>
                  <a:gdLst>
                    <a:gd name="connsiteX0" fmla="*/ 1269844 w 1399485"/>
                    <a:gd name="connsiteY0" fmla="*/ 256325 h 2020178"/>
                    <a:gd name="connsiteX1" fmla="*/ 998145 w 1399485"/>
                    <a:gd name="connsiteY1" fmla="*/ 65433 h 2020178"/>
                    <a:gd name="connsiteX2" fmla="*/ 550778 w 1399485"/>
                    <a:gd name="connsiteY2" fmla="*/ 9804 h 2020178"/>
                    <a:gd name="connsiteX3" fmla="*/ 44855 w 1399485"/>
                    <a:gd name="connsiteY3" fmla="*/ 463027 h 2020178"/>
                    <a:gd name="connsiteX4" fmla="*/ 22604 w 1399485"/>
                    <a:gd name="connsiteY4" fmla="*/ 989445 h 2020178"/>
                    <a:gd name="connsiteX5" fmla="*/ 488123 w 1399485"/>
                    <a:gd name="connsiteY5" fmla="*/ 1539285 h 2020178"/>
                    <a:gd name="connsiteX6" fmla="*/ 492807 w 1399485"/>
                    <a:gd name="connsiteY6" fmla="*/ 1417488 h 2020178"/>
                    <a:gd name="connsiteX7" fmla="*/ 478168 w 1399485"/>
                    <a:gd name="connsiteY7" fmla="*/ 1395237 h 2020178"/>
                    <a:gd name="connsiteX8" fmla="*/ 368669 w 1399485"/>
                    <a:gd name="connsiteY8" fmla="*/ 1337267 h 2020178"/>
                    <a:gd name="connsiteX9" fmla="*/ 214082 w 1399485"/>
                    <a:gd name="connsiteY9" fmla="*/ 1155158 h 2020178"/>
                    <a:gd name="connsiteX10" fmla="*/ 189488 w 1399485"/>
                    <a:gd name="connsiteY10" fmla="*/ 1071423 h 2020178"/>
                    <a:gd name="connsiteX11" fmla="*/ 147913 w 1399485"/>
                    <a:gd name="connsiteY11" fmla="*/ 1019308 h 2020178"/>
                    <a:gd name="connsiteX12" fmla="*/ 116293 w 1399485"/>
                    <a:gd name="connsiteY12" fmla="*/ 997057 h 2020178"/>
                    <a:gd name="connsiteX13" fmla="*/ 32558 w 1399485"/>
                    <a:gd name="connsiteY13" fmla="*/ 854181 h 2020178"/>
                    <a:gd name="connsiteX14" fmla="*/ 50125 w 1399485"/>
                    <a:gd name="connsiteY14" fmla="*/ 734141 h 2020178"/>
                    <a:gd name="connsiteX15" fmla="*/ 144400 w 1399485"/>
                    <a:gd name="connsiteY15" fmla="*/ 759320 h 2020178"/>
                    <a:gd name="connsiteX16" fmla="*/ 252143 w 1399485"/>
                    <a:gd name="connsiteY16" fmla="*/ 626984 h 2020178"/>
                    <a:gd name="connsiteX17" fmla="*/ 388578 w 1399485"/>
                    <a:gd name="connsiteY17" fmla="*/ 475910 h 2020178"/>
                    <a:gd name="connsiteX18" fmla="*/ 413172 w 1399485"/>
                    <a:gd name="connsiteY18" fmla="*/ 473567 h 2020178"/>
                    <a:gd name="connsiteX19" fmla="*/ 481682 w 1399485"/>
                    <a:gd name="connsiteY19" fmla="*/ 505773 h 2020178"/>
                    <a:gd name="connsiteX20" fmla="*/ 792614 w 1399485"/>
                    <a:gd name="connsiteY20" fmla="*/ 578968 h 2020178"/>
                    <a:gd name="connsiteX21" fmla="*/ 893915 w 1399485"/>
                    <a:gd name="connsiteY21" fmla="*/ 587166 h 2020178"/>
                    <a:gd name="connsiteX22" fmla="*/ 1094177 w 1399485"/>
                    <a:gd name="connsiteY22" fmla="*/ 729457 h 2020178"/>
                    <a:gd name="connsiteX23" fmla="*/ 1141021 w 1399485"/>
                    <a:gd name="connsiteY23" fmla="*/ 850667 h 2020178"/>
                    <a:gd name="connsiteX24" fmla="*/ 1176155 w 1399485"/>
                    <a:gd name="connsiteY24" fmla="*/ 894584 h 2020178"/>
                    <a:gd name="connsiteX25" fmla="*/ 1240566 w 1399485"/>
                    <a:gd name="connsiteY25" fmla="*/ 862379 h 2020178"/>
                    <a:gd name="connsiteX26" fmla="*/ 1318446 w 1399485"/>
                    <a:gd name="connsiteY26" fmla="*/ 782157 h 2020178"/>
                    <a:gd name="connsiteX27" fmla="*/ 1210703 w 1399485"/>
                    <a:gd name="connsiteY27" fmla="*/ 1022236 h 2020178"/>
                    <a:gd name="connsiteX28" fmla="*/ 1174398 w 1399485"/>
                    <a:gd name="connsiteY28" fmla="*/ 1059712 h 2020178"/>
                    <a:gd name="connsiteX29" fmla="*/ 1138094 w 1399485"/>
                    <a:gd name="connsiteY29" fmla="*/ 1180337 h 2020178"/>
                    <a:gd name="connsiteX30" fmla="*/ 869322 w 1399485"/>
                    <a:gd name="connsiteY30" fmla="*/ 1402264 h 2020178"/>
                    <a:gd name="connsiteX31" fmla="*/ 865223 w 1399485"/>
                    <a:gd name="connsiteY31" fmla="*/ 1606624 h 2020178"/>
                    <a:gd name="connsiteX32" fmla="*/ 944274 w 1399485"/>
                    <a:gd name="connsiteY32" fmla="*/ 1689773 h 2020178"/>
                    <a:gd name="connsiteX33" fmla="*/ 958913 w 1399485"/>
                    <a:gd name="connsiteY33" fmla="*/ 1764139 h 2020178"/>
                    <a:gd name="connsiteX34" fmla="*/ 917923 w 1399485"/>
                    <a:gd name="connsiteY34" fmla="*/ 1826208 h 2020178"/>
                    <a:gd name="connsiteX35" fmla="*/ 934319 w 1399485"/>
                    <a:gd name="connsiteY35" fmla="*/ 1898232 h 2020178"/>
                    <a:gd name="connsiteX36" fmla="*/ 905627 w 1399485"/>
                    <a:gd name="connsiteY36" fmla="*/ 1993093 h 2020178"/>
                    <a:gd name="connsiteX37" fmla="*/ 878106 w 1399485"/>
                    <a:gd name="connsiteY37" fmla="*/ 2015930 h 2020178"/>
                    <a:gd name="connsiteX38" fmla="*/ 917338 w 1399485"/>
                    <a:gd name="connsiteY38" fmla="*/ 2021785 h 2020178"/>
                    <a:gd name="connsiteX39" fmla="*/ 1035621 w 1399485"/>
                    <a:gd name="connsiteY39" fmla="*/ 2015344 h 2020178"/>
                    <a:gd name="connsiteX40" fmla="*/ 1172642 w 1399485"/>
                    <a:gd name="connsiteY40" fmla="*/ 1892377 h 2020178"/>
                    <a:gd name="connsiteX41" fmla="*/ 1183182 w 1399485"/>
                    <a:gd name="connsiteY41" fmla="*/ 1806299 h 2020178"/>
                    <a:gd name="connsiteX42" fmla="*/ 1167957 w 1399485"/>
                    <a:gd name="connsiteY42" fmla="*/ 1757113 h 2020178"/>
                    <a:gd name="connsiteX43" fmla="*/ 1169714 w 1399485"/>
                    <a:gd name="connsiteY43" fmla="*/ 1560950 h 2020178"/>
                    <a:gd name="connsiteX44" fmla="*/ 1162687 w 1399485"/>
                    <a:gd name="connsiteY44" fmla="*/ 1529330 h 2020178"/>
                    <a:gd name="connsiteX45" fmla="*/ 1218315 w 1399485"/>
                    <a:gd name="connsiteY45" fmla="*/ 1480143 h 2020178"/>
                    <a:gd name="connsiteX46" fmla="*/ 1232954 w 1399485"/>
                    <a:gd name="connsiteY46" fmla="*/ 1343708 h 2020178"/>
                    <a:gd name="connsiteX47" fmla="*/ 1222414 w 1399485"/>
                    <a:gd name="connsiteY47" fmla="*/ 1261729 h 2020178"/>
                    <a:gd name="connsiteX48" fmla="*/ 1338940 w 1399485"/>
                    <a:gd name="connsiteY48" fmla="*/ 1036875 h 2020178"/>
                    <a:gd name="connsiteX49" fmla="*/ 1386371 w 1399485"/>
                    <a:gd name="connsiteY49" fmla="*/ 767518 h 2020178"/>
                    <a:gd name="connsiteX50" fmla="*/ 1384028 w 1399485"/>
                    <a:gd name="connsiteY50" fmla="*/ 683197 h 2020178"/>
                    <a:gd name="connsiteX51" fmla="*/ 1399838 w 1399485"/>
                    <a:gd name="connsiteY51" fmla="*/ 607075 h 2020178"/>
                    <a:gd name="connsiteX52" fmla="*/ 1269844 w 1399485"/>
                    <a:gd name="connsiteY52" fmla="*/ 256325 h 20201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Lst>
                  <a:rect l="l" t="t" r="r" b="b"/>
                  <a:pathLst>
                    <a:path w="1399485" h="2020178">
                      <a:moveTo>
                        <a:pt x="1269844" y="256325"/>
                      </a:moveTo>
                      <a:cubicBezTo>
                        <a:pt x="1194307" y="170248"/>
                        <a:pt x="1095933" y="118719"/>
                        <a:pt x="998145" y="65433"/>
                      </a:cubicBezTo>
                      <a:cubicBezTo>
                        <a:pt x="856440" y="-11861"/>
                        <a:pt x="703023" y="-6006"/>
                        <a:pt x="550778" y="9804"/>
                      </a:cubicBezTo>
                      <a:cubicBezTo>
                        <a:pt x="358129" y="29714"/>
                        <a:pt x="103997" y="215921"/>
                        <a:pt x="44855" y="463027"/>
                      </a:cubicBezTo>
                      <a:cubicBezTo>
                        <a:pt x="2695" y="639280"/>
                        <a:pt x="-19557" y="812606"/>
                        <a:pt x="22604" y="989445"/>
                      </a:cubicBezTo>
                      <a:cubicBezTo>
                        <a:pt x="84673" y="1250018"/>
                        <a:pt x="487538" y="1542798"/>
                        <a:pt x="488123" y="1539285"/>
                      </a:cubicBezTo>
                      <a:cubicBezTo>
                        <a:pt x="492222" y="1498881"/>
                        <a:pt x="492807" y="1458478"/>
                        <a:pt x="492807" y="1417488"/>
                      </a:cubicBezTo>
                      <a:cubicBezTo>
                        <a:pt x="492807" y="1405777"/>
                        <a:pt x="489880" y="1399922"/>
                        <a:pt x="478168" y="1395237"/>
                      </a:cubicBezTo>
                      <a:cubicBezTo>
                        <a:pt x="440107" y="1379427"/>
                        <a:pt x="403217" y="1359518"/>
                        <a:pt x="368669" y="1337267"/>
                      </a:cubicBezTo>
                      <a:cubicBezTo>
                        <a:pt x="298988" y="1292179"/>
                        <a:pt x="241017" y="1236551"/>
                        <a:pt x="214082" y="1155158"/>
                      </a:cubicBezTo>
                      <a:cubicBezTo>
                        <a:pt x="205298" y="1127637"/>
                        <a:pt x="195344" y="1100115"/>
                        <a:pt x="189488" y="1071423"/>
                      </a:cubicBezTo>
                      <a:cubicBezTo>
                        <a:pt x="184218" y="1046244"/>
                        <a:pt x="177191" y="1025749"/>
                        <a:pt x="147913" y="1019308"/>
                      </a:cubicBezTo>
                      <a:cubicBezTo>
                        <a:pt x="135031" y="1016380"/>
                        <a:pt x="125662" y="1005840"/>
                        <a:pt x="116293" y="997057"/>
                      </a:cubicBezTo>
                      <a:cubicBezTo>
                        <a:pt x="75304" y="957239"/>
                        <a:pt x="46026" y="909809"/>
                        <a:pt x="32558" y="854181"/>
                      </a:cubicBezTo>
                      <a:cubicBezTo>
                        <a:pt x="22604" y="813191"/>
                        <a:pt x="24946" y="772202"/>
                        <a:pt x="50125" y="734141"/>
                      </a:cubicBezTo>
                      <a:cubicBezTo>
                        <a:pt x="72376" y="758735"/>
                        <a:pt x="118050" y="771031"/>
                        <a:pt x="144400" y="759320"/>
                      </a:cubicBezTo>
                      <a:cubicBezTo>
                        <a:pt x="200028" y="734141"/>
                        <a:pt x="222865" y="680855"/>
                        <a:pt x="252143" y="626984"/>
                      </a:cubicBezTo>
                      <a:cubicBezTo>
                        <a:pt x="285520" y="566085"/>
                        <a:pt x="332950" y="517484"/>
                        <a:pt x="388578" y="475910"/>
                      </a:cubicBezTo>
                      <a:cubicBezTo>
                        <a:pt x="396776" y="469468"/>
                        <a:pt x="403217" y="468297"/>
                        <a:pt x="413172" y="473567"/>
                      </a:cubicBezTo>
                      <a:cubicBezTo>
                        <a:pt x="435423" y="485278"/>
                        <a:pt x="458845" y="495818"/>
                        <a:pt x="481682" y="505773"/>
                      </a:cubicBezTo>
                      <a:cubicBezTo>
                        <a:pt x="581227" y="547933"/>
                        <a:pt x="682529" y="583067"/>
                        <a:pt x="792614" y="578968"/>
                      </a:cubicBezTo>
                      <a:cubicBezTo>
                        <a:pt x="834189" y="577797"/>
                        <a:pt x="852926" y="579553"/>
                        <a:pt x="893915" y="587166"/>
                      </a:cubicBezTo>
                      <a:cubicBezTo>
                        <a:pt x="994046" y="605318"/>
                        <a:pt x="1060214" y="660946"/>
                        <a:pt x="1094177" y="729457"/>
                      </a:cubicBezTo>
                      <a:cubicBezTo>
                        <a:pt x="1109987" y="761077"/>
                        <a:pt x="1140436" y="814948"/>
                        <a:pt x="1141021" y="850667"/>
                      </a:cubicBezTo>
                      <a:cubicBezTo>
                        <a:pt x="1141021" y="872333"/>
                        <a:pt x="1156831" y="899854"/>
                        <a:pt x="1176155" y="894584"/>
                      </a:cubicBezTo>
                      <a:cubicBezTo>
                        <a:pt x="1212460" y="884630"/>
                        <a:pt x="1220072" y="874675"/>
                        <a:pt x="1240566" y="862379"/>
                      </a:cubicBezTo>
                      <a:cubicBezTo>
                        <a:pt x="1275114" y="841884"/>
                        <a:pt x="1290339" y="812020"/>
                        <a:pt x="1318446" y="782157"/>
                      </a:cubicBezTo>
                      <a:cubicBezTo>
                        <a:pt x="1340697" y="923862"/>
                        <a:pt x="1248179" y="1019308"/>
                        <a:pt x="1210703" y="1022236"/>
                      </a:cubicBezTo>
                      <a:cubicBezTo>
                        <a:pt x="1187866" y="1023993"/>
                        <a:pt x="1178497" y="1038046"/>
                        <a:pt x="1174398" y="1059712"/>
                      </a:cubicBezTo>
                      <a:cubicBezTo>
                        <a:pt x="1166786" y="1101287"/>
                        <a:pt x="1153318" y="1141104"/>
                        <a:pt x="1138094" y="1180337"/>
                      </a:cubicBezTo>
                      <a:cubicBezTo>
                        <a:pt x="1097690" y="1240650"/>
                        <a:pt x="981749" y="1363031"/>
                        <a:pt x="869322" y="1402264"/>
                      </a:cubicBezTo>
                      <a:cubicBezTo>
                        <a:pt x="869322" y="1403435"/>
                        <a:pt x="868736" y="1587886"/>
                        <a:pt x="865223" y="1606624"/>
                      </a:cubicBezTo>
                      <a:cubicBezTo>
                        <a:pt x="871664" y="1656982"/>
                        <a:pt x="944274" y="1689773"/>
                        <a:pt x="944274" y="1689773"/>
                      </a:cubicBezTo>
                      <a:cubicBezTo>
                        <a:pt x="962426" y="1707340"/>
                        <a:pt x="961840" y="1758284"/>
                        <a:pt x="958913" y="1764139"/>
                      </a:cubicBezTo>
                      <a:cubicBezTo>
                        <a:pt x="947787" y="1789318"/>
                        <a:pt x="923779" y="1793417"/>
                        <a:pt x="917923" y="1826208"/>
                      </a:cubicBezTo>
                      <a:cubicBezTo>
                        <a:pt x="912653" y="1854315"/>
                        <a:pt x="926707" y="1870711"/>
                        <a:pt x="934319" y="1898232"/>
                      </a:cubicBezTo>
                      <a:cubicBezTo>
                        <a:pt x="945445" y="1936879"/>
                        <a:pt x="933148" y="1967328"/>
                        <a:pt x="905627" y="1993093"/>
                      </a:cubicBezTo>
                      <a:cubicBezTo>
                        <a:pt x="898014" y="2000705"/>
                        <a:pt x="888646" y="2007146"/>
                        <a:pt x="878106" y="2015930"/>
                      </a:cubicBezTo>
                      <a:cubicBezTo>
                        <a:pt x="893330" y="2018272"/>
                        <a:pt x="905041" y="2020028"/>
                        <a:pt x="917338" y="2021785"/>
                      </a:cubicBezTo>
                      <a:cubicBezTo>
                        <a:pt x="957156" y="2028226"/>
                        <a:pt x="996974" y="2025884"/>
                        <a:pt x="1035621" y="2015344"/>
                      </a:cubicBezTo>
                      <a:cubicBezTo>
                        <a:pt x="1107644" y="1995435"/>
                        <a:pt x="1135752" y="1980796"/>
                        <a:pt x="1172642" y="1892377"/>
                      </a:cubicBezTo>
                      <a:cubicBezTo>
                        <a:pt x="1183182" y="1866026"/>
                        <a:pt x="1188452" y="1822109"/>
                        <a:pt x="1183182" y="1806299"/>
                      </a:cubicBezTo>
                      <a:cubicBezTo>
                        <a:pt x="1176741" y="1786976"/>
                        <a:pt x="1165029" y="1772923"/>
                        <a:pt x="1167957" y="1757113"/>
                      </a:cubicBezTo>
                      <a:cubicBezTo>
                        <a:pt x="1209532" y="1686260"/>
                        <a:pt x="1211288" y="1628875"/>
                        <a:pt x="1169714" y="1560950"/>
                      </a:cubicBezTo>
                      <a:cubicBezTo>
                        <a:pt x="1163858" y="1550996"/>
                        <a:pt x="1157417" y="1534014"/>
                        <a:pt x="1162687" y="1529330"/>
                      </a:cubicBezTo>
                      <a:cubicBezTo>
                        <a:pt x="1182596" y="1510592"/>
                        <a:pt x="1206604" y="1505908"/>
                        <a:pt x="1218315" y="1480143"/>
                      </a:cubicBezTo>
                      <a:cubicBezTo>
                        <a:pt x="1235882" y="1451451"/>
                        <a:pt x="1261061" y="1399922"/>
                        <a:pt x="1232954" y="1343708"/>
                      </a:cubicBezTo>
                      <a:cubicBezTo>
                        <a:pt x="1208361" y="1306818"/>
                        <a:pt x="1213045" y="1269342"/>
                        <a:pt x="1222414" y="1261729"/>
                      </a:cubicBezTo>
                      <a:cubicBezTo>
                        <a:pt x="1239981" y="1247091"/>
                        <a:pt x="1332499" y="1052685"/>
                        <a:pt x="1338940" y="1036875"/>
                      </a:cubicBezTo>
                      <a:cubicBezTo>
                        <a:pt x="1377587" y="942600"/>
                        <a:pt x="1391055" y="869405"/>
                        <a:pt x="1386371" y="767518"/>
                      </a:cubicBezTo>
                      <a:cubicBezTo>
                        <a:pt x="1385785" y="748780"/>
                        <a:pt x="1377002" y="700764"/>
                        <a:pt x="1384028" y="683197"/>
                      </a:cubicBezTo>
                      <a:cubicBezTo>
                        <a:pt x="1393397" y="659190"/>
                        <a:pt x="1398082" y="633425"/>
                        <a:pt x="1399838" y="607075"/>
                      </a:cubicBezTo>
                      <a:cubicBezTo>
                        <a:pt x="1410378" y="471225"/>
                        <a:pt x="1358849" y="357041"/>
                        <a:pt x="1269844" y="256325"/>
                      </a:cubicBezTo>
                      <a:close/>
                    </a:path>
                  </a:pathLst>
                </a:custGeom>
                <a:solidFill>
                  <a:srgbClr val="C00000"/>
                </a:solidFill>
                <a:ln w="5853" cap="flat">
                  <a:noFill/>
                  <a:prstDash val="solid"/>
                  <a:miter/>
                </a:ln>
              </p:spPr>
              <p:txBody>
                <a:bodyPr rtlCol="0" anchor="ctr"/>
                <a:lstStyle/>
                <a:p>
                  <a:endParaRPr lang="en-US" dirty="0"/>
                </a:p>
              </p:txBody>
            </p:sp>
          </p:grpSp>
        </p:grpSp>
        <p:grpSp>
          <p:nvGrpSpPr>
            <p:cNvPr id="72" name="Group 71">
              <a:extLst>
                <a:ext uri="{FF2B5EF4-FFF2-40B4-BE49-F238E27FC236}">
                  <a16:creationId xmlns:a16="http://schemas.microsoft.com/office/drawing/2014/main" id="{D1B6FB0A-E17C-4D36-ABE6-8D179C72E3BB}"/>
                </a:ext>
              </a:extLst>
            </p:cNvPr>
            <p:cNvGrpSpPr/>
            <p:nvPr/>
          </p:nvGrpSpPr>
          <p:grpSpPr>
            <a:xfrm>
              <a:off x="3070261" y="3335303"/>
              <a:ext cx="1333109" cy="1333109"/>
              <a:chOff x="3703659" y="3630450"/>
              <a:chExt cx="1741367" cy="1741367"/>
            </a:xfrm>
          </p:grpSpPr>
          <p:sp>
            <p:nvSpPr>
              <p:cNvPr id="55" name="Oval 54">
                <a:extLst>
                  <a:ext uri="{FF2B5EF4-FFF2-40B4-BE49-F238E27FC236}">
                    <a16:creationId xmlns:a16="http://schemas.microsoft.com/office/drawing/2014/main" id="{E23FD0A8-FDF1-40E9-B12F-2A2B7E8817D0}"/>
                  </a:ext>
                </a:extLst>
              </p:cNvPr>
              <p:cNvSpPr/>
              <p:nvPr/>
            </p:nvSpPr>
            <p:spPr>
              <a:xfrm>
                <a:off x="3703659" y="3630450"/>
                <a:ext cx="1741367" cy="17413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34" name="Group 33">
                <a:extLst>
                  <a:ext uri="{FF2B5EF4-FFF2-40B4-BE49-F238E27FC236}">
                    <a16:creationId xmlns:a16="http://schemas.microsoft.com/office/drawing/2014/main" id="{69A192D3-E736-497F-B462-8F9EB1623AEF}"/>
                  </a:ext>
                </a:extLst>
              </p:cNvPr>
              <p:cNvGrpSpPr/>
              <p:nvPr/>
            </p:nvGrpSpPr>
            <p:grpSpPr>
              <a:xfrm>
                <a:off x="4063837" y="3838658"/>
                <a:ext cx="1021011" cy="1324950"/>
                <a:chOff x="2392394" y="4513768"/>
                <a:chExt cx="1651276" cy="2142834"/>
              </a:xfrm>
            </p:grpSpPr>
            <p:sp>
              <p:nvSpPr>
                <p:cNvPr id="35" name="Freeform: Shape 34">
                  <a:extLst>
                    <a:ext uri="{FF2B5EF4-FFF2-40B4-BE49-F238E27FC236}">
                      <a16:creationId xmlns:a16="http://schemas.microsoft.com/office/drawing/2014/main" id="{318C3EEB-8E10-4626-AA5F-8641ADF9EF59}"/>
                    </a:ext>
                  </a:extLst>
                </p:cNvPr>
                <p:cNvSpPr/>
                <p:nvPr/>
              </p:nvSpPr>
              <p:spPr>
                <a:xfrm>
                  <a:off x="2640881" y="4513768"/>
                  <a:ext cx="1159407" cy="884194"/>
                </a:xfrm>
                <a:custGeom>
                  <a:avLst/>
                  <a:gdLst>
                    <a:gd name="connsiteX0" fmla="*/ 27626 w 1159406"/>
                    <a:gd name="connsiteY0" fmla="*/ 830596 h 884194"/>
                    <a:gd name="connsiteX1" fmla="*/ 33482 w 1159406"/>
                    <a:gd name="connsiteY1" fmla="*/ 458181 h 884194"/>
                    <a:gd name="connsiteX2" fmla="*/ 337973 w 1159406"/>
                    <a:gd name="connsiteY2" fmla="*/ 124412 h 884194"/>
                    <a:gd name="connsiteX3" fmla="*/ 364908 w 1159406"/>
                    <a:gd name="connsiteY3" fmla="*/ 102746 h 884194"/>
                    <a:gd name="connsiteX4" fmla="*/ 774800 w 1159406"/>
                    <a:gd name="connsiteY4" fmla="*/ 94548 h 884194"/>
                    <a:gd name="connsiteX5" fmla="*/ 802907 w 1159406"/>
                    <a:gd name="connsiteY5" fmla="*/ 115043 h 884194"/>
                    <a:gd name="connsiteX6" fmla="*/ 1157755 w 1159406"/>
                    <a:gd name="connsiteY6" fmla="*/ 575878 h 884194"/>
                    <a:gd name="connsiteX7" fmla="*/ 1125550 w 1159406"/>
                    <a:gd name="connsiteY7" fmla="*/ 854018 h 884194"/>
                    <a:gd name="connsiteX8" fmla="*/ 1111496 w 1159406"/>
                    <a:gd name="connsiteY8" fmla="*/ 866315 h 884194"/>
                    <a:gd name="connsiteX9" fmla="*/ 1091587 w 1159406"/>
                    <a:gd name="connsiteY9" fmla="*/ 887981 h 884194"/>
                    <a:gd name="connsiteX10" fmla="*/ 1062895 w 1159406"/>
                    <a:gd name="connsiteY10" fmla="*/ 870414 h 884194"/>
                    <a:gd name="connsiteX11" fmla="*/ 1031860 w 1159406"/>
                    <a:gd name="connsiteY11" fmla="*/ 767941 h 884194"/>
                    <a:gd name="connsiteX12" fmla="*/ 1031860 w 1159406"/>
                    <a:gd name="connsiteY12" fmla="*/ 753302 h 884194"/>
                    <a:gd name="connsiteX13" fmla="*/ 1013122 w 1159406"/>
                    <a:gd name="connsiteY13" fmla="*/ 738078 h 884194"/>
                    <a:gd name="connsiteX14" fmla="*/ 756647 w 1159406"/>
                    <a:gd name="connsiteY14" fmla="*/ 783166 h 884194"/>
                    <a:gd name="connsiteX15" fmla="*/ 617284 w 1159406"/>
                    <a:gd name="connsiteY15" fmla="*/ 790192 h 884194"/>
                    <a:gd name="connsiteX16" fmla="*/ 210906 w 1159406"/>
                    <a:gd name="connsiteY16" fmla="*/ 756816 h 884194"/>
                    <a:gd name="connsiteX17" fmla="*/ 125415 w 1159406"/>
                    <a:gd name="connsiteY17" fmla="*/ 736907 h 884194"/>
                    <a:gd name="connsiteX18" fmla="*/ 111361 w 1159406"/>
                    <a:gd name="connsiteY18" fmla="*/ 749203 h 884194"/>
                    <a:gd name="connsiteX19" fmla="*/ 69201 w 1159406"/>
                    <a:gd name="connsiteY19" fmla="*/ 876270 h 884194"/>
                    <a:gd name="connsiteX20" fmla="*/ 31725 w 1159406"/>
                    <a:gd name="connsiteY20" fmla="*/ 869829 h 884194"/>
                    <a:gd name="connsiteX21" fmla="*/ 27626 w 1159406"/>
                    <a:gd name="connsiteY21" fmla="*/ 830596 h 8841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159406" h="884194">
                      <a:moveTo>
                        <a:pt x="27626" y="830596"/>
                      </a:moveTo>
                      <a:cubicBezTo>
                        <a:pt x="-9849" y="705872"/>
                        <a:pt x="-10435" y="581148"/>
                        <a:pt x="33482" y="458181"/>
                      </a:cubicBezTo>
                      <a:cubicBezTo>
                        <a:pt x="88525" y="305350"/>
                        <a:pt x="190997" y="194093"/>
                        <a:pt x="337973" y="124412"/>
                      </a:cubicBezTo>
                      <a:cubicBezTo>
                        <a:pt x="349098" y="119142"/>
                        <a:pt x="357296" y="112115"/>
                        <a:pt x="364908" y="102746"/>
                      </a:cubicBezTo>
                      <a:cubicBezTo>
                        <a:pt x="467381" y="-30761"/>
                        <a:pt x="667057" y="-34860"/>
                        <a:pt x="774800" y="94548"/>
                      </a:cubicBezTo>
                      <a:cubicBezTo>
                        <a:pt x="782998" y="103917"/>
                        <a:pt x="791781" y="110359"/>
                        <a:pt x="802907" y="115043"/>
                      </a:cubicBezTo>
                      <a:cubicBezTo>
                        <a:pt x="1004924" y="204048"/>
                        <a:pt x="1123793" y="358050"/>
                        <a:pt x="1157755" y="575878"/>
                      </a:cubicBezTo>
                      <a:cubicBezTo>
                        <a:pt x="1172394" y="670739"/>
                        <a:pt x="1161269" y="764428"/>
                        <a:pt x="1125550" y="854018"/>
                      </a:cubicBezTo>
                      <a:cubicBezTo>
                        <a:pt x="1117352" y="854018"/>
                        <a:pt x="1113838" y="858703"/>
                        <a:pt x="1111496" y="866315"/>
                      </a:cubicBezTo>
                      <a:cubicBezTo>
                        <a:pt x="1108568" y="876270"/>
                        <a:pt x="1104470" y="886810"/>
                        <a:pt x="1091587" y="887981"/>
                      </a:cubicBezTo>
                      <a:cubicBezTo>
                        <a:pt x="1078119" y="889152"/>
                        <a:pt x="1069336" y="880954"/>
                        <a:pt x="1062895" y="870414"/>
                      </a:cubicBezTo>
                      <a:cubicBezTo>
                        <a:pt x="1044742" y="838794"/>
                        <a:pt x="1029518" y="806002"/>
                        <a:pt x="1031860" y="767941"/>
                      </a:cubicBezTo>
                      <a:cubicBezTo>
                        <a:pt x="1031860" y="763257"/>
                        <a:pt x="1031275" y="757987"/>
                        <a:pt x="1031860" y="753302"/>
                      </a:cubicBezTo>
                      <a:cubicBezTo>
                        <a:pt x="1033617" y="738078"/>
                        <a:pt x="1028347" y="733979"/>
                        <a:pt x="1013122" y="738078"/>
                      </a:cubicBezTo>
                      <a:cubicBezTo>
                        <a:pt x="928802" y="760329"/>
                        <a:pt x="843310" y="774968"/>
                        <a:pt x="756647" y="783166"/>
                      </a:cubicBezTo>
                      <a:cubicBezTo>
                        <a:pt x="710388" y="787850"/>
                        <a:pt x="663544" y="789021"/>
                        <a:pt x="617284" y="790192"/>
                      </a:cubicBezTo>
                      <a:cubicBezTo>
                        <a:pt x="480264" y="793120"/>
                        <a:pt x="344999" y="783751"/>
                        <a:pt x="210906" y="756816"/>
                      </a:cubicBezTo>
                      <a:cubicBezTo>
                        <a:pt x="182214" y="750960"/>
                        <a:pt x="153522" y="745105"/>
                        <a:pt x="125415" y="736907"/>
                      </a:cubicBezTo>
                      <a:cubicBezTo>
                        <a:pt x="113118" y="733393"/>
                        <a:pt x="108434" y="735735"/>
                        <a:pt x="111361" y="749203"/>
                      </a:cubicBezTo>
                      <a:cubicBezTo>
                        <a:pt x="120730" y="798976"/>
                        <a:pt x="95551" y="838208"/>
                        <a:pt x="69201" y="876270"/>
                      </a:cubicBezTo>
                      <a:cubicBezTo>
                        <a:pt x="56319" y="894422"/>
                        <a:pt x="40509" y="890323"/>
                        <a:pt x="31725" y="869829"/>
                      </a:cubicBezTo>
                      <a:cubicBezTo>
                        <a:pt x="25284" y="856946"/>
                        <a:pt x="32311" y="843478"/>
                        <a:pt x="27626" y="830596"/>
                      </a:cubicBezTo>
                      <a:close/>
                    </a:path>
                  </a:pathLst>
                </a:custGeom>
                <a:solidFill>
                  <a:schemeClr val="tx1">
                    <a:lumMod val="95000"/>
                    <a:lumOff val="5000"/>
                  </a:schemeClr>
                </a:solidFill>
                <a:ln w="5853" cap="flat">
                  <a:noFill/>
                  <a:prstDash val="solid"/>
                  <a:miter/>
                </a:ln>
              </p:spPr>
              <p:txBody>
                <a:bodyPr rtlCol="0" anchor="ctr"/>
                <a:lstStyle/>
                <a:p>
                  <a:endParaRPr lang="en-US" dirty="0"/>
                </a:p>
              </p:txBody>
            </p:sp>
            <p:sp>
              <p:nvSpPr>
                <p:cNvPr id="36" name="Freeform: Shape 35">
                  <a:extLst>
                    <a:ext uri="{FF2B5EF4-FFF2-40B4-BE49-F238E27FC236}">
                      <a16:creationId xmlns:a16="http://schemas.microsoft.com/office/drawing/2014/main" id="{1DADF4F1-F221-43D8-A2C1-CFB2C525984C}"/>
                    </a:ext>
                  </a:extLst>
                </p:cNvPr>
                <p:cNvSpPr/>
                <p:nvPr/>
              </p:nvSpPr>
              <p:spPr>
                <a:xfrm>
                  <a:off x="2392394" y="6346256"/>
                  <a:ext cx="1651276" cy="310346"/>
                </a:xfrm>
                <a:custGeom>
                  <a:avLst/>
                  <a:gdLst>
                    <a:gd name="connsiteX0" fmla="*/ 329985 w 1651276"/>
                    <a:gd name="connsiteY0" fmla="*/ 91933 h 310346"/>
                    <a:gd name="connsiteX1" fmla="*/ 488672 w 1651276"/>
                    <a:gd name="connsiteY1" fmla="*/ 141120 h 310346"/>
                    <a:gd name="connsiteX2" fmla="*/ 708842 w 1651276"/>
                    <a:gd name="connsiteY2" fmla="*/ 193234 h 310346"/>
                    <a:gd name="connsiteX3" fmla="*/ 936624 w 1651276"/>
                    <a:gd name="connsiteY3" fmla="*/ 205531 h 310346"/>
                    <a:gd name="connsiteX4" fmla="*/ 1142156 w 1651276"/>
                    <a:gd name="connsiteY4" fmla="*/ 176839 h 310346"/>
                    <a:gd name="connsiteX5" fmla="*/ 1402144 w 1651276"/>
                    <a:gd name="connsiteY5" fmla="*/ 41575 h 310346"/>
                    <a:gd name="connsiteX6" fmla="*/ 1492905 w 1651276"/>
                    <a:gd name="connsiteY6" fmla="*/ 0 h 310346"/>
                    <a:gd name="connsiteX7" fmla="*/ 1653934 w 1651276"/>
                    <a:gd name="connsiteY7" fmla="*/ 252376 h 310346"/>
                    <a:gd name="connsiteX8" fmla="*/ 1653934 w 1651276"/>
                    <a:gd name="connsiteY8" fmla="*/ 312689 h 310346"/>
                    <a:gd name="connsiteX9" fmla="*/ 29594 w 1651276"/>
                    <a:gd name="connsiteY9" fmla="*/ 312689 h 310346"/>
                    <a:gd name="connsiteX10" fmla="*/ 316 w 1651276"/>
                    <a:gd name="connsiteY10" fmla="*/ 283411 h 310346"/>
                    <a:gd name="connsiteX11" fmla="*/ 87564 w 1651276"/>
                    <a:gd name="connsiteY11" fmla="*/ 61484 h 310346"/>
                    <a:gd name="connsiteX12" fmla="*/ 120941 w 1651276"/>
                    <a:gd name="connsiteY12" fmla="*/ 24008 h 310346"/>
                    <a:gd name="connsiteX13" fmla="*/ 156660 w 1651276"/>
                    <a:gd name="connsiteY13" fmla="*/ 35134 h 310346"/>
                    <a:gd name="connsiteX14" fmla="*/ 185352 w 1651276"/>
                    <a:gd name="connsiteY14" fmla="*/ 125895 h 310346"/>
                    <a:gd name="connsiteX15" fmla="*/ 249764 w 1651276"/>
                    <a:gd name="connsiteY15" fmla="*/ 221342 h 310346"/>
                    <a:gd name="connsiteX16" fmla="*/ 305392 w 1651276"/>
                    <a:gd name="connsiteY16" fmla="*/ 102473 h 310346"/>
                    <a:gd name="connsiteX17" fmla="*/ 329985 w 1651276"/>
                    <a:gd name="connsiteY17" fmla="*/ 91933 h 3103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651276" h="310346">
                      <a:moveTo>
                        <a:pt x="329985" y="91933"/>
                      </a:moveTo>
                      <a:cubicBezTo>
                        <a:pt x="382686" y="108328"/>
                        <a:pt x="435386" y="125310"/>
                        <a:pt x="488672" y="141120"/>
                      </a:cubicBezTo>
                      <a:cubicBezTo>
                        <a:pt x="561281" y="162200"/>
                        <a:pt x="633890" y="181523"/>
                        <a:pt x="708842" y="193234"/>
                      </a:cubicBezTo>
                      <a:cubicBezTo>
                        <a:pt x="784379" y="204946"/>
                        <a:pt x="859331" y="212558"/>
                        <a:pt x="936624" y="205531"/>
                      </a:cubicBezTo>
                      <a:cubicBezTo>
                        <a:pt x="1005720" y="199090"/>
                        <a:pt x="1074231" y="193234"/>
                        <a:pt x="1142156" y="176839"/>
                      </a:cubicBezTo>
                      <a:cubicBezTo>
                        <a:pt x="1239944" y="152831"/>
                        <a:pt x="1324850" y="104815"/>
                        <a:pt x="1402144" y="41575"/>
                      </a:cubicBezTo>
                      <a:cubicBezTo>
                        <a:pt x="1428494" y="19909"/>
                        <a:pt x="1456601" y="1171"/>
                        <a:pt x="1492905" y="0"/>
                      </a:cubicBezTo>
                      <a:cubicBezTo>
                        <a:pt x="1592450" y="39233"/>
                        <a:pt x="1658619" y="143462"/>
                        <a:pt x="1653934" y="252376"/>
                      </a:cubicBezTo>
                      <a:cubicBezTo>
                        <a:pt x="1653934" y="252962"/>
                        <a:pt x="1655691" y="295122"/>
                        <a:pt x="1653934" y="312689"/>
                      </a:cubicBezTo>
                      <a:cubicBezTo>
                        <a:pt x="1132787" y="312689"/>
                        <a:pt x="550741" y="312689"/>
                        <a:pt x="29594" y="312689"/>
                      </a:cubicBezTo>
                      <a:cubicBezTo>
                        <a:pt x="-270" y="312689"/>
                        <a:pt x="-855" y="312689"/>
                        <a:pt x="316" y="283411"/>
                      </a:cubicBezTo>
                      <a:cubicBezTo>
                        <a:pt x="4415" y="199675"/>
                        <a:pt x="40134" y="128238"/>
                        <a:pt x="87564" y="61484"/>
                      </a:cubicBezTo>
                      <a:cubicBezTo>
                        <a:pt x="96933" y="48016"/>
                        <a:pt x="107473" y="34548"/>
                        <a:pt x="120941" y="24008"/>
                      </a:cubicBezTo>
                      <a:cubicBezTo>
                        <a:pt x="134994" y="21666"/>
                        <a:pt x="146705" y="26350"/>
                        <a:pt x="156660" y="35134"/>
                      </a:cubicBezTo>
                      <a:cubicBezTo>
                        <a:pt x="168371" y="64997"/>
                        <a:pt x="171884" y="97203"/>
                        <a:pt x="185352" y="125895"/>
                      </a:cubicBezTo>
                      <a:cubicBezTo>
                        <a:pt x="201162" y="159858"/>
                        <a:pt x="221071" y="190892"/>
                        <a:pt x="249764" y="221342"/>
                      </a:cubicBezTo>
                      <a:cubicBezTo>
                        <a:pt x="246836" y="169227"/>
                        <a:pt x="270844" y="132922"/>
                        <a:pt x="305392" y="102473"/>
                      </a:cubicBezTo>
                      <a:cubicBezTo>
                        <a:pt x="311833" y="97203"/>
                        <a:pt x="318274" y="89005"/>
                        <a:pt x="329985" y="91933"/>
                      </a:cubicBezTo>
                      <a:close/>
                    </a:path>
                  </a:pathLst>
                </a:custGeom>
                <a:solidFill>
                  <a:schemeClr val="accent2"/>
                </a:solidFill>
                <a:ln w="5853" cap="flat">
                  <a:noFill/>
                  <a:prstDash val="solid"/>
                  <a:miter/>
                </a:ln>
              </p:spPr>
              <p:txBody>
                <a:bodyPr rtlCol="0" anchor="ctr"/>
                <a:lstStyle/>
                <a:p>
                  <a:endParaRPr lang="en-US" dirty="0"/>
                </a:p>
              </p:txBody>
            </p:sp>
            <p:sp>
              <p:nvSpPr>
                <p:cNvPr id="37" name="Freeform: Shape 36">
                  <a:extLst>
                    <a:ext uri="{FF2B5EF4-FFF2-40B4-BE49-F238E27FC236}">
                      <a16:creationId xmlns:a16="http://schemas.microsoft.com/office/drawing/2014/main" id="{CE47A5BB-76C7-4649-826E-7814D91773F8}"/>
                    </a:ext>
                  </a:extLst>
                </p:cNvPr>
                <p:cNvSpPr/>
                <p:nvPr/>
              </p:nvSpPr>
              <p:spPr>
                <a:xfrm>
                  <a:off x="2523004" y="5844481"/>
                  <a:ext cx="626548" cy="731949"/>
                </a:xfrm>
                <a:custGeom>
                  <a:avLst/>
                  <a:gdLst>
                    <a:gd name="connsiteX0" fmla="*/ 199375 w 626548"/>
                    <a:gd name="connsiteY0" fmla="*/ 593707 h 731948"/>
                    <a:gd name="connsiteX1" fmla="*/ 125009 w 626548"/>
                    <a:gd name="connsiteY1" fmla="*/ 737169 h 731948"/>
                    <a:gd name="connsiteX2" fmla="*/ 6726 w 626548"/>
                    <a:gd name="connsiteY2" fmla="*/ 526953 h 731948"/>
                    <a:gd name="connsiteX3" fmla="*/ 148432 w 626548"/>
                    <a:gd name="connsiteY3" fmla="*/ 239444 h 731948"/>
                    <a:gd name="connsiteX4" fmla="*/ 265543 w 626548"/>
                    <a:gd name="connsiteY4" fmla="*/ 156294 h 731948"/>
                    <a:gd name="connsiteX5" fmla="*/ 379142 w 626548"/>
                    <a:gd name="connsiteY5" fmla="*/ 536 h 731948"/>
                    <a:gd name="connsiteX6" fmla="*/ 390268 w 626548"/>
                    <a:gd name="connsiteY6" fmla="*/ 4049 h 731948"/>
                    <a:gd name="connsiteX7" fmla="*/ 599898 w 626548"/>
                    <a:gd name="connsiteY7" fmla="*/ 108279 h 731948"/>
                    <a:gd name="connsiteX8" fmla="*/ 626833 w 626548"/>
                    <a:gd name="connsiteY8" fmla="*/ 139313 h 731948"/>
                    <a:gd name="connsiteX9" fmla="*/ 630347 w 626548"/>
                    <a:gd name="connsiteY9" fmla="*/ 172105 h 731948"/>
                    <a:gd name="connsiteX10" fmla="*/ 630347 w 626548"/>
                    <a:gd name="connsiteY10" fmla="*/ 247056 h 731948"/>
                    <a:gd name="connsiteX11" fmla="*/ 478101 w 626548"/>
                    <a:gd name="connsiteY11" fmla="*/ 485379 h 731948"/>
                    <a:gd name="connsiteX12" fmla="*/ 309460 w 626548"/>
                    <a:gd name="connsiteY12" fmla="*/ 552132 h 731948"/>
                    <a:gd name="connsiteX13" fmla="*/ 199375 w 626548"/>
                    <a:gd name="connsiteY13" fmla="*/ 593707 h 731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626548" h="731948">
                      <a:moveTo>
                        <a:pt x="199375" y="593707"/>
                      </a:moveTo>
                      <a:cubicBezTo>
                        <a:pt x="144918" y="626499"/>
                        <a:pt x="120910" y="671586"/>
                        <a:pt x="125009" y="737169"/>
                      </a:cubicBezTo>
                      <a:cubicBezTo>
                        <a:pt x="66453" y="680955"/>
                        <a:pt x="19609" y="602490"/>
                        <a:pt x="6726" y="526953"/>
                      </a:cubicBezTo>
                      <a:cubicBezTo>
                        <a:pt x="-886" y="514071"/>
                        <a:pt x="-31335" y="317909"/>
                        <a:pt x="148432" y="239444"/>
                      </a:cubicBezTo>
                      <a:cubicBezTo>
                        <a:pt x="206988" y="209580"/>
                        <a:pt x="226311" y="183816"/>
                        <a:pt x="265543" y="156294"/>
                      </a:cubicBezTo>
                      <a:cubicBezTo>
                        <a:pt x="321757" y="117648"/>
                        <a:pt x="363332" y="68461"/>
                        <a:pt x="379142" y="536"/>
                      </a:cubicBezTo>
                      <a:cubicBezTo>
                        <a:pt x="383826" y="-1221"/>
                        <a:pt x="386754" y="1707"/>
                        <a:pt x="390268" y="4049"/>
                      </a:cubicBezTo>
                      <a:cubicBezTo>
                        <a:pt x="453508" y="51480"/>
                        <a:pt x="524946" y="83685"/>
                        <a:pt x="599898" y="108279"/>
                      </a:cubicBezTo>
                      <a:cubicBezTo>
                        <a:pt x="616293" y="113549"/>
                        <a:pt x="628590" y="118819"/>
                        <a:pt x="626833" y="139313"/>
                      </a:cubicBezTo>
                      <a:cubicBezTo>
                        <a:pt x="626248" y="143412"/>
                        <a:pt x="630347" y="170933"/>
                        <a:pt x="630347" y="172105"/>
                      </a:cubicBezTo>
                      <a:cubicBezTo>
                        <a:pt x="632103" y="197283"/>
                        <a:pt x="632689" y="221877"/>
                        <a:pt x="630347" y="247056"/>
                      </a:cubicBezTo>
                      <a:cubicBezTo>
                        <a:pt x="622149" y="353628"/>
                        <a:pt x="560080" y="426237"/>
                        <a:pt x="478101" y="485379"/>
                      </a:cubicBezTo>
                      <a:cubicBezTo>
                        <a:pt x="427743" y="522269"/>
                        <a:pt x="368602" y="537493"/>
                        <a:pt x="309460" y="552132"/>
                      </a:cubicBezTo>
                      <a:cubicBezTo>
                        <a:pt x="270813" y="560916"/>
                        <a:pt x="232752" y="570870"/>
                        <a:pt x="199375" y="593707"/>
                      </a:cubicBezTo>
                      <a:close/>
                    </a:path>
                  </a:pathLst>
                </a:custGeom>
                <a:solidFill>
                  <a:schemeClr val="tx1">
                    <a:lumMod val="95000"/>
                    <a:lumOff val="5000"/>
                  </a:schemeClr>
                </a:solidFill>
                <a:ln w="5853" cap="flat">
                  <a:noFill/>
                  <a:prstDash val="solid"/>
                  <a:miter/>
                </a:ln>
              </p:spPr>
              <p:txBody>
                <a:bodyPr rtlCol="0" anchor="ctr"/>
                <a:lstStyle/>
                <a:p>
                  <a:endParaRPr lang="en-US" dirty="0"/>
                </a:p>
              </p:txBody>
            </p:sp>
            <p:sp>
              <p:nvSpPr>
                <p:cNvPr id="38" name="Freeform: Shape 37">
                  <a:extLst>
                    <a:ext uri="{FF2B5EF4-FFF2-40B4-BE49-F238E27FC236}">
                      <a16:creationId xmlns:a16="http://schemas.microsoft.com/office/drawing/2014/main" id="{C287E894-2CD1-4298-99F1-E276A0320A1A}"/>
                    </a:ext>
                  </a:extLst>
                </p:cNvPr>
                <p:cNvSpPr/>
                <p:nvPr/>
              </p:nvSpPr>
              <p:spPr>
                <a:xfrm>
                  <a:off x="2646451" y="5237207"/>
                  <a:ext cx="1235529" cy="1317508"/>
                </a:xfrm>
                <a:custGeom>
                  <a:avLst/>
                  <a:gdLst>
                    <a:gd name="connsiteX0" fmla="*/ 796165 w 1235529"/>
                    <a:gd name="connsiteY0" fmla="*/ 950362 h 1317507"/>
                    <a:gd name="connsiteX1" fmla="*/ 739366 w 1235529"/>
                    <a:gd name="connsiteY1" fmla="*/ 886536 h 1317507"/>
                    <a:gd name="connsiteX2" fmla="*/ 727655 w 1235529"/>
                    <a:gd name="connsiteY2" fmla="*/ 723165 h 1317507"/>
                    <a:gd name="connsiteX3" fmla="*/ 727655 w 1235529"/>
                    <a:gd name="connsiteY3" fmla="*/ 690960 h 1317507"/>
                    <a:gd name="connsiteX4" fmla="*/ 727655 w 1235529"/>
                    <a:gd name="connsiteY4" fmla="*/ 690960 h 1317507"/>
                    <a:gd name="connsiteX5" fmla="*/ 803778 w 1235529"/>
                    <a:gd name="connsiteY5" fmla="*/ 652312 h 1317507"/>
                    <a:gd name="connsiteX6" fmla="*/ 956609 w 1235529"/>
                    <a:gd name="connsiteY6" fmla="*/ 509436 h 1317507"/>
                    <a:gd name="connsiteX7" fmla="*/ 994670 w 1235529"/>
                    <a:gd name="connsiteY7" fmla="*/ 395252 h 1317507"/>
                    <a:gd name="connsiteX8" fmla="*/ 1005796 w 1235529"/>
                    <a:gd name="connsiteY8" fmla="*/ 377686 h 1317507"/>
                    <a:gd name="connsiteX9" fmla="*/ 1077819 w 1235529"/>
                    <a:gd name="connsiteY9" fmla="*/ 324985 h 1317507"/>
                    <a:gd name="connsiteX10" fmla="*/ 1119394 w 1235529"/>
                    <a:gd name="connsiteY10" fmla="*/ 130580 h 1317507"/>
                    <a:gd name="connsiteX11" fmla="*/ 1105341 w 1235529"/>
                    <a:gd name="connsiteY11" fmla="*/ 117697 h 1317507"/>
                    <a:gd name="connsiteX12" fmla="*/ 1099485 w 1235529"/>
                    <a:gd name="connsiteY12" fmla="*/ 144047 h 1317507"/>
                    <a:gd name="connsiteX13" fmla="*/ 1067279 w 1235529"/>
                    <a:gd name="connsiteY13" fmla="*/ 150489 h 1317507"/>
                    <a:gd name="connsiteX14" fmla="*/ 1044443 w 1235529"/>
                    <a:gd name="connsiteY14" fmla="*/ 108914 h 1317507"/>
                    <a:gd name="connsiteX15" fmla="*/ 1034488 w 1235529"/>
                    <a:gd name="connsiteY15" fmla="*/ 1171 h 1317507"/>
                    <a:gd name="connsiteX16" fmla="*/ 564284 w 1235529"/>
                    <a:gd name="connsiteY16" fmla="*/ 62069 h 1317507"/>
                    <a:gd name="connsiteX17" fmla="*/ 91738 w 1235529"/>
                    <a:gd name="connsiteY17" fmla="*/ 0 h 1317507"/>
                    <a:gd name="connsiteX18" fmla="*/ 58361 w 1235529"/>
                    <a:gd name="connsiteY18" fmla="*/ 150489 h 1317507"/>
                    <a:gd name="connsiteX19" fmla="*/ 41966 w 1235529"/>
                    <a:gd name="connsiteY19" fmla="*/ 161029 h 1317507"/>
                    <a:gd name="connsiteX20" fmla="*/ 30840 w 1235529"/>
                    <a:gd name="connsiteY20" fmla="*/ 144633 h 1317507"/>
                    <a:gd name="connsiteX21" fmla="*/ 22057 w 1235529"/>
                    <a:gd name="connsiteY21" fmla="*/ 106572 h 1317507"/>
                    <a:gd name="connsiteX22" fmla="*/ 19714 w 1235529"/>
                    <a:gd name="connsiteY22" fmla="*/ 122967 h 1317507"/>
                    <a:gd name="connsiteX23" fmla="*/ 26155 w 1235529"/>
                    <a:gd name="connsiteY23" fmla="*/ 281068 h 1317507"/>
                    <a:gd name="connsiteX24" fmla="*/ 111062 w 1235529"/>
                    <a:gd name="connsiteY24" fmla="*/ 371830 h 1317507"/>
                    <a:gd name="connsiteX25" fmla="*/ 142682 w 1235529"/>
                    <a:gd name="connsiteY25" fmla="*/ 411062 h 1317507"/>
                    <a:gd name="connsiteX26" fmla="*/ 252181 w 1235529"/>
                    <a:gd name="connsiteY26" fmla="*/ 601369 h 1317507"/>
                    <a:gd name="connsiteX27" fmla="*/ 285558 w 1235529"/>
                    <a:gd name="connsiteY27" fmla="*/ 631233 h 1317507"/>
                    <a:gd name="connsiteX28" fmla="*/ 461811 w 1235529"/>
                    <a:gd name="connsiteY28" fmla="*/ 715553 h 1317507"/>
                    <a:gd name="connsiteX29" fmla="*/ 499873 w 1235529"/>
                    <a:gd name="connsiteY29" fmla="*/ 751272 h 1317507"/>
                    <a:gd name="connsiteX30" fmla="*/ 501629 w 1235529"/>
                    <a:gd name="connsiteY30" fmla="*/ 850817 h 1317507"/>
                    <a:gd name="connsiteX31" fmla="*/ 406183 w 1235529"/>
                    <a:gd name="connsiteY31" fmla="*/ 1042295 h 1317507"/>
                    <a:gd name="connsiteX32" fmla="*/ 190112 w 1235529"/>
                    <a:gd name="connsiteY32" fmla="*/ 1151795 h 1317507"/>
                    <a:gd name="connsiteX33" fmla="*/ 97008 w 1235529"/>
                    <a:gd name="connsiteY33" fmla="*/ 1181658 h 1317507"/>
                    <a:gd name="connsiteX34" fmla="*/ 74757 w 1235529"/>
                    <a:gd name="connsiteY34" fmla="*/ 1203324 h 1317507"/>
                    <a:gd name="connsiteX35" fmla="*/ 92324 w 1235529"/>
                    <a:gd name="connsiteY35" fmla="*/ 1213278 h 1317507"/>
                    <a:gd name="connsiteX36" fmla="*/ 359339 w 1235529"/>
                    <a:gd name="connsiteY36" fmla="*/ 1288230 h 1317507"/>
                    <a:gd name="connsiteX37" fmla="*/ 642164 w 1235529"/>
                    <a:gd name="connsiteY37" fmla="*/ 1322192 h 1317507"/>
                    <a:gd name="connsiteX38" fmla="*/ 739952 w 1235529"/>
                    <a:gd name="connsiteY38" fmla="*/ 1314580 h 1317507"/>
                    <a:gd name="connsiteX39" fmla="*/ 1147501 w 1235529"/>
                    <a:gd name="connsiteY39" fmla="*/ 1157064 h 1317507"/>
                    <a:gd name="connsiteX40" fmla="*/ 1225380 w 1235529"/>
                    <a:gd name="connsiteY40" fmla="*/ 1115490 h 1317507"/>
                    <a:gd name="connsiteX41" fmla="*/ 1237677 w 1235529"/>
                    <a:gd name="connsiteY41" fmla="*/ 1108463 h 1317507"/>
                    <a:gd name="connsiteX42" fmla="*/ 796165 w 1235529"/>
                    <a:gd name="connsiteY42" fmla="*/ 950362 h 13175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1235529" h="1317507">
                      <a:moveTo>
                        <a:pt x="796165" y="950362"/>
                      </a:moveTo>
                      <a:cubicBezTo>
                        <a:pt x="762789" y="940408"/>
                        <a:pt x="744051" y="920499"/>
                        <a:pt x="739366" y="886536"/>
                      </a:cubicBezTo>
                      <a:cubicBezTo>
                        <a:pt x="732925" y="842619"/>
                        <a:pt x="727655" y="723165"/>
                        <a:pt x="727655" y="723165"/>
                      </a:cubicBezTo>
                      <a:cubicBezTo>
                        <a:pt x="727655" y="712625"/>
                        <a:pt x="727655" y="701500"/>
                        <a:pt x="727655" y="690960"/>
                      </a:cubicBezTo>
                      <a:cubicBezTo>
                        <a:pt x="727655" y="690960"/>
                        <a:pt x="727655" y="690960"/>
                        <a:pt x="727655" y="690960"/>
                      </a:cubicBezTo>
                      <a:cubicBezTo>
                        <a:pt x="752834" y="678077"/>
                        <a:pt x="779184" y="666366"/>
                        <a:pt x="803778" y="652312"/>
                      </a:cubicBezTo>
                      <a:cubicBezTo>
                        <a:pt x="865847" y="617179"/>
                        <a:pt x="922646" y="575019"/>
                        <a:pt x="956609" y="509436"/>
                      </a:cubicBezTo>
                      <a:cubicBezTo>
                        <a:pt x="975347" y="473132"/>
                        <a:pt x="983544" y="433899"/>
                        <a:pt x="994670" y="395252"/>
                      </a:cubicBezTo>
                      <a:cubicBezTo>
                        <a:pt x="996427" y="388226"/>
                        <a:pt x="995841" y="379442"/>
                        <a:pt x="1005796" y="377686"/>
                      </a:cubicBezTo>
                      <a:cubicBezTo>
                        <a:pt x="1038001" y="371244"/>
                        <a:pt x="1059667" y="349579"/>
                        <a:pt x="1077819" y="324985"/>
                      </a:cubicBezTo>
                      <a:cubicBezTo>
                        <a:pt x="1121736" y="267015"/>
                        <a:pt x="1151014" y="204946"/>
                        <a:pt x="1119394" y="130580"/>
                      </a:cubicBezTo>
                      <a:cubicBezTo>
                        <a:pt x="1113539" y="127652"/>
                        <a:pt x="1114710" y="117112"/>
                        <a:pt x="1105341" y="117697"/>
                      </a:cubicBezTo>
                      <a:cubicBezTo>
                        <a:pt x="1102998" y="127066"/>
                        <a:pt x="1101827" y="135850"/>
                        <a:pt x="1099485" y="144047"/>
                      </a:cubicBezTo>
                      <a:cubicBezTo>
                        <a:pt x="1093044" y="165128"/>
                        <a:pt x="1081333" y="167470"/>
                        <a:pt x="1067279" y="150489"/>
                      </a:cubicBezTo>
                      <a:cubicBezTo>
                        <a:pt x="1056739" y="138192"/>
                        <a:pt x="1050884" y="123553"/>
                        <a:pt x="1044443" y="108914"/>
                      </a:cubicBezTo>
                      <a:cubicBezTo>
                        <a:pt x="1029804" y="74951"/>
                        <a:pt x="1030975" y="39233"/>
                        <a:pt x="1034488" y="1171"/>
                      </a:cubicBezTo>
                      <a:cubicBezTo>
                        <a:pt x="878729" y="43331"/>
                        <a:pt x="722971" y="62655"/>
                        <a:pt x="564284" y="62069"/>
                      </a:cubicBezTo>
                      <a:cubicBezTo>
                        <a:pt x="405598" y="60898"/>
                        <a:pt x="249253" y="42746"/>
                        <a:pt x="91738" y="0"/>
                      </a:cubicBezTo>
                      <a:cubicBezTo>
                        <a:pt x="118088" y="61484"/>
                        <a:pt x="85882" y="105401"/>
                        <a:pt x="58361" y="150489"/>
                      </a:cubicBezTo>
                      <a:cubicBezTo>
                        <a:pt x="54848" y="156344"/>
                        <a:pt x="50163" y="162785"/>
                        <a:pt x="41966" y="161029"/>
                      </a:cubicBezTo>
                      <a:cubicBezTo>
                        <a:pt x="33768" y="159272"/>
                        <a:pt x="33182" y="151074"/>
                        <a:pt x="30840" y="144633"/>
                      </a:cubicBezTo>
                      <a:cubicBezTo>
                        <a:pt x="26155" y="132336"/>
                        <a:pt x="29083" y="118283"/>
                        <a:pt x="22057" y="106572"/>
                      </a:cubicBezTo>
                      <a:cubicBezTo>
                        <a:pt x="20885" y="111842"/>
                        <a:pt x="23228" y="117697"/>
                        <a:pt x="19714" y="122967"/>
                      </a:cubicBezTo>
                      <a:cubicBezTo>
                        <a:pt x="-13077" y="176839"/>
                        <a:pt x="-780" y="229539"/>
                        <a:pt x="26155" y="281068"/>
                      </a:cubicBezTo>
                      <a:cubicBezTo>
                        <a:pt x="46064" y="318544"/>
                        <a:pt x="70072" y="355434"/>
                        <a:pt x="111062" y="371830"/>
                      </a:cubicBezTo>
                      <a:cubicBezTo>
                        <a:pt x="132142" y="380028"/>
                        <a:pt x="138583" y="391739"/>
                        <a:pt x="142682" y="411062"/>
                      </a:cubicBezTo>
                      <a:cubicBezTo>
                        <a:pt x="159077" y="486014"/>
                        <a:pt x="188941" y="553353"/>
                        <a:pt x="252181" y="601369"/>
                      </a:cubicBezTo>
                      <a:cubicBezTo>
                        <a:pt x="253352" y="602540"/>
                        <a:pt x="275018" y="624206"/>
                        <a:pt x="285558" y="631233"/>
                      </a:cubicBezTo>
                      <a:cubicBezTo>
                        <a:pt x="340015" y="668123"/>
                        <a:pt x="399742" y="694473"/>
                        <a:pt x="461811" y="715553"/>
                      </a:cubicBezTo>
                      <a:cubicBezTo>
                        <a:pt x="480549" y="721994"/>
                        <a:pt x="496945" y="728435"/>
                        <a:pt x="499873" y="751272"/>
                      </a:cubicBezTo>
                      <a:cubicBezTo>
                        <a:pt x="500458" y="754200"/>
                        <a:pt x="505143" y="826809"/>
                        <a:pt x="501629" y="850817"/>
                      </a:cubicBezTo>
                      <a:cubicBezTo>
                        <a:pt x="495774" y="927525"/>
                        <a:pt x="458298" y="989009"/>
                        <a:pt x="406183" y="1042295"/>
                      </a:cubicBezTo>
                      <a:cubicBezTo>
                        <a:pt x="346456" y="1103193"/>
                        <a:pt x="271505" y="1133642"/>
                        <a:pt x="190112" y="1151795"/>
                      </a:cubicBezTo>
                      <a:cubicBezTo>
                        <a:pt x="157906" y="1158821"/>
                        <a:pt x="126872" y="1168190"/>
                        <a:pt x="97008" y="1181658"/>
                      </a:cubicBezTo>
                      <a:cubicBezTo>
                        <a:pt x="87054" y="1185757"/>
                        <a:pt x="75342" y="1189270"/>
                        <a:pt x="74757" y="1203324"/>
                      </a:cubicBezTo>
                      <a:cubicBezTo>
                        <a:pt x="78856" y="1209765"/>
                        <a:pt x="85882" y="1211521"/>
                        <a:pt x="92324" y="1213278"/>
                      </a:cubicBezTo>
                      <a:cubicBezTo>
                        <a:pt x="181329" y="1239043"/>
                        <a:pt x="269162" y="1267149"/>
                        <a:pt x="359339" y="1288230"/>
                      </a:cubicBezTo>
                      <a:cubicBezTo>
                        <a:pt x="452442" y="1309895"/>
                        <a:pt x="546132" y="1325120"/>
                        <a:pt x="642164" y="1322192"/>
                      </a:cubicBezTo>
                      <a:cubicBezTo>
                        <a:pt x="674955" y="1321021"/>
                        <a:pt x="707161" y="1316337"/>
                        <a:pt x="739952" y="1314580"/>
                      </a:cubicBezTo>
                      <a:cubicBezTo>
                        <a:pt x="892197" y="1304040"/>
                        <a:pt x="1029218" y="1255438"/>
                        <a:pt x="1147501" y="1157064"/>
                      </a:cubicBezTo>
                      <a:cubicBezTo>
                        <a:pt x="1170338" y="1137741"/>
                        <a:pt x="1194346" y="1119589"/>
                        <a:pt x="1225380" y="1115490"/>
                      </a:cubicBezTo>
                      <a:cubicBezTo>
                        <a:pt x="1230065" y="1114904"/>
                        <a:pt x="1234749" y="1112562"/>
                        <a:pt x="1237677" y="1108463"/>
                      </a:cubicBezTo>
                      <a:cubicBezTo>
                        <a:pt x="1217182" y="1089725"/>
                        <a:pt x="919718" y="988423"/>
                        <a:pt x="796165" y="950362"/>
                      </a:cubicBezTo>
                      <a:close/>
                    </a:path>
                  </a:pathLst>
                </a:custGeom>
                <a:solidFill>
                  <a:srgbClr val="C09679"/>
                </a:solidFill>
                <a:ln w="5853" cap="flat">
                  <a:noFill/>
                  <a:prstDash val="solid"/>
                  <a:miter/>
                </a:ln>
              </p:spPr>
              <p:txBody>
                <a:bodyPr rtlCol="0" anchor="ctr"/>
                <a:lstStyle/>
                <a:p>
                  <a:endParaRPr lang="en-US" dirty="0"/>
                </a:p>
              </p:txBody>
            </p:sp>
            <p:sp>
              <p:nvSpPr>
                <p:cNvPr id="39" name="Freeform: Shape 38">
                  <a:extLst>
                    <a:ext uri="{FF2B5EF4-FFF2-40B4-BE49-F238E27FC236}">
                      <a16:creationId xmlns:a16="http://schemas.microsoft.com/office/drawing/2014/main" id="{FBFDDAC6-16CE-44E2-8C54-CBB7E8B76410}"/>
                    </a:ext>
                  </a:extLst>
                </p:cNvPr>
                <p:cNvSpPr/>
                <p:nvPr/>
              </p:nvSpPr>
              <p:spPr>
                <a:xfrm>
                  <a:off x="3152765" y="6016001"/>
                  <a:ext cx="5856" cy="70267"/>
                </a:xfrm>
                <a:custGeom>
                  <a:avLst/>
                  <a:gdLst>
                    <a:gd name="connsiteX0" fmla="*/ 0 w 0"/>
                    <a:gd name="connsiteY0" fmla="*/ 74951 h 70267"/>
                    <a:gd name="connsiteX1" fmla="*/ 0 w 0"/>
                    <a:gd name="connsiteY1" fmla="*/ 0 h 70267"/>
                    <a:gd name="connsiteX2" fmla="*/ 0 w 0"/>
                    <a:gd name="connsiteY2" fmla="*/ 74951 h 70267"/>
                  </a:gdLst>
                  <a:ahLst/>
                  <a:cxnLst>
                    <a:cxn ang="0">
                      <a:pos x="connsiteX0" y="connsiteY0"/>
                    </a:cxn>
                    <a:cxn ang="0">
                      <a:pos x="connsiteX1" y="connsiteY1"/>
                    </a:cxn>
                    <a:cxn ang="0">
                      <a:pos x="connsiteX2" y="connsiteY2"/>
                    </a:cxn>
                  </a:cxnLst>
                  <a:rect l="l" t="t" r="r" b="b"/>
                  <a:pathLst>
                    <a:path h="70267">
                      <a:moveTo>
                        <a:pt x="0" y="74951"/>
                      </a:moveTo>
                      <a:cubicBezTo>
                        <a:pt x="0" y="49773"/>
                        <a:pt x="0" y="25179"/>
                        <a:pt x="0" y="0"/>
                      </a:cubicBezTo>
                      <a:cubicBezTo>
                        <a:pt x="5856" y="25179"/>
                        <a:pt x="5856" y="50358"/>
                        <a:pt x="0" y="74951"/>
                      </a:cubicBezTo>
                      <a:close/>
                    </a:path>
                  </a:pathLst>
                </a:custGeom>
                <a:solidFill>
                  <a:srgbClr val="C09679"/>
                </a:solidFill>
                <a:ln w="5853" cap="flat">
                  <a:noFill/>
                  <a:prstDash val="solid"/>
                  <a:miter/>
                </a:ln>
              </p:spPr>
              <p:txBody>
                <a:bodyPr rtlCol="0" anchor="ctr"/>
                <a:lstStyle/>
                <a:p>
                  <a:endParaRPr lang="en-US" dirty="0"/>
                </a:p>
              </p:txBody>
            </p:sp>
          </p:grpSp>
        </p:grpSp>
        <p:grpSp>
          <p:nvGrpSpPr>
            <p:cNvPr id="74" name="Group 73">
              <a:extLst>
                <a:ext uri="{FF2B5EF4-FFF2-40B4-BE49-F238E27FC236}">
                  <a16:creationId xmlns:a16="http://schemas.microsoft.com/office/drawing/2014/main" id="{50299081-A429-4C75-A2DD-FE3E03AA10F9}"/>
                </a:ext>
              </a:extLst>
            </p:cNvPr>
            <p:cNvGrpSpPr/>
            <p:nvPr/>
          </p:nvGrpSpPr>
          <p:grpSpPr>
            <a:xfrm>
              <a:off x="7604319" y="2374675"/>
              <a:ext cx="952751" cy="952751"/>
              <a:chOff x="8891613" y="4163826"/>
              <a:chExt cx="1741367" cy="1741367"/>
            </a:xfrm>
          </p:grpSpPr>
          <p:sp>
            <p:nvSpPr>
              <p:cNvPr id="56" name="Oval 55">
                <a:extLst>
                  <a:ext uri="{FF2B5EF4-FFF2-40B4-BE49-F238E27FC236}">
                    <a16:creationId xmlns:a16="http://schemas.microsoft.com/office/drawing/2014/main" id="{3FFD9CC7-2DBD-41A8-80F7-43EE19E29C9C}"/>
                  </a:ext>
                </a:extLst>
              </p:cNvPr>
              <p:cNvSpPr/>
              <p:nvPr/>
            </p:nvSpPr>
            <p:spPr>
              <a:xfrm>
                <a:off x="8891613" y="4163826"/>
                <a:ext cx="1741367" cy="17413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0" name="Group 39">
                <a:extLst>
                  <a:ext uri="{FF2B5EF4-FFF2-40B4-BE49-F238E27FC236}">
                    <a16:creationId xmlns:a16="http://schemas.microsoft.com/office/drawing/2014/main" id="{5309C8CF-5AB3-42EC-9A0F-B0691E0BB4E1}"/>
                  </a:ext>
                </a:extLst>
              </p:cNvPr>
              <p:cNvGrpSpPr/>
              <p:nvPr/>
            </p:nvGrpSpPr>
            <p:grpSpPr>
              <a:xfrm>
                <a:off x="9213048" y="4407749"/>
                <a:ext cx="1098496" cy="1253521"/>
                <a:chOff x="10255665" y="4623530"/>
                <a:chExt cx="1780099" cy="2031315"/>
              </a:xfrm>
            </p:grpSpPr>
            <p:sp>
              <p:nvSpPr>
                <p:cNvPr id="41" name="Freeform: Shape 40">
                  <a:extLst>
                    <a:ext uri="{FF2B5EF4-FFF2-40B4-BE49-F238E27FC236}">
                      <a16:creationId xmlns:a16="http://schemas.microsoft.com/office/drawing/2014/main" id="{4529A006-8875-4403-B2A7-826F3041FA9A}"/>
                    </a:ext>
                  </a:extLst>
                </p:cNvPr>
                <p:cNvSpPr/>
                <p:nvPr/>
              </p:nvSpPr>
              <p:spPr>
                <a:xfrm>
                  <a:off x="10527907" y="5069090"/>
                  <a:ext cx="1235529" cy="1469753"/>
                </a:xfrm>
                <a:custGeom>
                  <a:avLst/>
                  <a:gdLst>
                    <a:gd name="connsiteX0" fmla="*/ 1210323 w 1235529"/>
                    <a:gd name="connsiteY0" fmla="*/ 283472 h 1469752"/>
                    <a:gd name="connsiteX1" fmla="*/ 1094383 w 1235529"/>
                    <a:gd name="connsiteY1" fmla="*/ 460897 h 1469752"/>
                    <a:gd name="connsiteX2" fmla="*/ 1096725 w 1235529"/>
                    <a:gd name="connsiteY2" fmla="*/ 316849 h 1469752"/>
                    <a:gd name="connsiteX3" fmla="*/ 914030 w 1235529"/>
                    <a:gd name="connsiteY3" fmla="*/ 106048 h 1469752"/>
                    <a:gd name="connsiteX4" fmla="*/ 446754 w 1235529"/>
                    <a:gd name="connsiteY4" fmla="*/ 34610 h 1469752"/>
                    <a:gd name="connsiteX5" fmla="*/ 353651 w 1235529"/>
                    <a:gd name="connsiteY5" fmla="*/ 8260 h 1469752"/>
                    <a:gd name="connsiteX6" fmla="*/ 326129 w 1235529"/>
                    <a:gd name="connsiteY6" fmla="*/ 5917 h 1469752"/>
                    <a:gd name="connsiteX7" fmla="*/ 196135 w 1235529"/>
                    <a:gd name="connsiteY7" fmla="*/ 108390 h 1469752"/>
                    <a:gd name="connsiteX8" fmla="*/ 120013 w 1235529"/>
                    <a:gd name="connsiteY8" fmla="*/ 192711 h 1469752"/>
                    <a:gd name="connsiteX9" fmla="*/ 94833 w 1235529"/>
                    <a:gd name="connsiteY9" fmla="*/ 310408 h 1469752"/>
                    <a:gd name="connsiteX10" fmla="*/ 111815 w 1235529"/>
                    <a:gd name="connsiteY10" fmla="*/ 404097 h 1469752"/>
                    <a:gd name="connsiteX11" fmla="*/ 19296 w 1235529"/>
                    <a:gd name="connsiteY11" fmla="*/ 294012 h 1469752"/>
                    <a:gd name="connsiteX12" fmla="*/ 3486 w 1235529"/>
                    <a:gd name="connsiteY12" fmla="*/ 328560 h 1469752"/>
                    <a:gd name="connsiteX13" fmla="*/ 118841 w 1235529"/>
                    <a:gd name="connsiteY13" fmla="*/ 537605 h 1469752"/>
                    <a:gd name="connsiteX14" fmla="*/ 157488 w 1235529"/>
                    <a:gd name="connsiteY14" fmla="*/ 582693 h 1469752"/>
                    <a:gd name="connsiteX15" fmla="*/ 169200 w 1235529"/>
                    <a:gd name="connsiteY15" fmla="*/ 619583 h 1469752"/>
                    <a:gd name="connsiteX16" fmla="*/ 277528 w 1235529"/>
                    <a:gd name="connsiteY16" fmla="*/ 769486 h 1469752"/>
                    <a:gd name="connsiteX17" fmla="*/ 438557 w 1235529"/>
                    <a:gd name="connsiteY17" fmla="*/ 856149 h 1469752"/>
                    <a:gd name="connsiteX18" fmla="*/ 433872 w 1235529"/>
                    <a:gd name="connsiteY18" fmla="*/ 1021862 h 1469752"/>
                    <a:gd name="connsiteX19" fmla="*/ 356579 w 1235529"/>
                    <a:gd name="connsiteY19" fmla="*/ 1120822 h 1469752"/>
                    <a:gd name="connsiteX20" fmla="*/ 110058 w 1235529"/>
                    <a:gd name="connsiteY20" fmla="*/ 1192260 h 1469752"/>
                    <a:gd name="connsiteX21" fmla="*/ 247664 w 1235529"/>
                    <a:gd name="connsiteY21" fmla="*/ 1336307 h 1469752"/>
                    <a:gd name="connsiteX22" fmla="*/ 757100 w 1235529"/>
                    <a:gd name="connsiteY22" fmla="*/ 1454590 h 1469752"/>
                    <a:gd name="connsiteX23" fmla="*/ 1135372 w 1235529"/>
                    <a:gd name="connsiteY23" fmla="*/ 1193431 h 1469752"/>
                    <a:gd name="connsiteX24" fmla="*/ 862501 w 1235529"/>
                    <a:gd name="connsiteY24" fmla="*/ 1114966 h 1469752"/>
                    <a:gd name="connsiteX25" fmla="*/ 807459 w 1235529"/>
                    <a:gd name="connsiteY25" fmla="*/ 1052897 h 1469752"/>
                    <a:gd name="connsiteX26" fmla="*/ 798089 w 1235529"/>
                    <a:gd name="connsiteY26" fmla="*/ 856149 h 1469752"/>
                    <a:gd name="connsiteX27" fmla="*/ 798089 w 1235529"/>
                    <a:gd name="connsiteY27" fmla="*/ 856149 h 1469752"/>
                    <a:gd name="connsiteX28" fmla="*/ 850790 w 1235529"/>
                    <a:gd name="connsiteY28" fmla="*/ 833312 h 1469752"/>
                    <a:gd name="connsiteX29" fmla="*/ 1077987 w 1235529"/>
                    <a:gd name="connsiteY29" fmla="*/ 586792 h 1469752"/>
                    <a:gd name="connsiteX30" fmla="*/ 1121318 w 1235529"/>
                    <a:gd name="connsiteY30" fmla="*/ 534677 h 1469752"/>
                    <a:gd name="connsiteX31" fmla="*/ 1232575 w 1235529"/>
                    <a:gd name="connsiteY31" fmla="*/ 387116 h 1469752"/>
                    <a:gd name="connsiteX32" fmla="*/ 1210323 w 1235529"/>
                    <a:gd name="connsiteY32" fmla="*/ 283472 h 1469752"/>
                    <a:gd name="connsiteX33" fmla="*/ 788721 w 1235529"/>
                    <a:gd name="connsiteY33" fmla="*/ 886012 h 1469752"/>
                    <a:gd name="connsiteX34" fmla="*/ 789306 w 1235529"/>
                    <a:gd name="connsiteY34" fmla="*/ 887183 h 1469752"/>
                    <a:gd name="connsiteX35" fmla="*/ 788135 w 1235529"/>
                    <a:gd name="connsiteY35" fmla="*/ 888940 h 1469752"/>
                    <a:gd name="connsiteX36" fmla="*/ 788721 w 1235529"/>
                    <a:gd name="connsiteY36" fmla="*/ 886012 h 14697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1235529" h="1469752">
                      <a:moveTo>
                        <a:pt x="1210323" y="283472"/>
                      </a:moveTo>
                      <a:cubicBezTo>
                        <a:pt x="1179874" y="348469"/>
                        <a:pt x="1142398" y="405854"/>
                        <a:pt x="1094383" y="460897"/>
                      </a:cubicBezTo>
                      <a:cubicBezTo>
                        <a:pt x="1100238" y="409953"/>
                        <a:pt x="1101409" y="363108"/>
                        <a:pt x="1096725" y="316849"/>
                      </a:cubicBezTo>
                      <a:cubicBezTo>
                        <a:pt x="1082672" y="176315"/>
                        <a:pt x="991324" y="152892"/>
                        <a:pt x="914030" y="106048"/>
                      </a:cubicBezTo>
                      <a:cubicBezTo>
                        <a:pt x="774082" y="8260"/>
                        <a:pt x="618323" y="3575"/>
                        <a:pt x="446754" y="34610"/>
                      </a:cubicBezTo>
                      <a:cubicBezTo>
                        <a:pt x="410450" y="41051"/>
                        <a:pt x="379415" y="33439"/>
                        <a:pt x="353651" y="8260"/>
                      </a:cubicBezTo>
                      <a:cubicBezTo>
                        <a:pt x="343696" y="-1695"/>
                        <a:pt x="337255" y="-2866"/>
                        <a:pt x="326129" y="5917"/>
                      </a:cubicBezTo>
                      <a:cubicBezTo>
                        <a:pt x="283384" y="40465"/>
                        <a:pt x="238881" y="73256"/>
                        <a:pt x="196135" y="108390"/>
                      </a:cubicBezTo>
                      <a:cubicBezTo>
                        <a:pt x="166857" y="132398"/>
                        <a:pt x="136994" y="157577"/>
                        <a:pt x="120013" y="192711"/>
                      </a:cubicBezTo>
                      <a:cubicBezTo>
                        <a:pt x="101860" y="215547"/>
                        <a:pt x="91320" y="278788"/>
                        <a:pt x="94833" y="310408"/>
                      </a:cubicBezTo>
                      <a:cubicBezTo>
                        <a:pt x="99518" y="343199"/>
                        <a:pt x="105374" y="370720"/>
                        <a:pt x="111815" y="404097"/>
                      </a:cubicBezTo>
                      <a:cubicBezTo>
                        <a:pt x="64384" y="377747"/>
                        <a:pt x="38620" y="339686"/>
                        <a:pt x="19296" y="294012"/>
                      </a:cubicBezTo>
                      <a:cubicBezTo>
                        <a:pt x="9342" y="305138"/>
                        <a:pt x="6414" y="316849"/>
                        <a:pt x="3486" y="328560"/>
                      </a:cubicBezTo>
                      <a:cubicBezTo>
                        <a:pt x="-17594" y="407611"/>
                        <a:pt x="61457" y="517696"/>
                        <a:pt x="118841" y="537605"/>
                      </a:cubicBezTo>
                      <a:cubicBezTo>
                        <a:pt x="144020" y="546388"/>
                        <a:pt x="152804" y="559856"/>
                        <a:pt x="157488" y="582693"/>
                      </a:cubicBezTo>
                      <a:cubicBezTo>
                        <a:pt x="159830" y="595575"/>
                        <a:pt x="165686" y="607286"/>
                        <a:pt x="169200" y="619583"/>
                      </a:cubicBezTo>
                      <a:cubicBezTo>
                        <a:pt x="187352" y="682238"/>
                        <a:pt x="224828" y="730839"/>
                        <a:pt x="277528" y="769486"/>
                      </a:cubicBezTo>
                      <a:cubicBezTo>
                        <a:pt x="327301" y="805791"/>
                        <a:pt x="382343" y="832727"/>
                        <a:pt x="438557" y="856149"/>
                      </a:cubicBezTo>
                      <a:cubicBezTo>
                        <a:pt x="442655" y="877229"/>
                        <a:pt x="435629" y="1004881"/>
                        <a:pt x="433872" y="1021862"/>
                      </a:cubicBezTo>
                      <a:cubicBezTo>
                        <a:pt x="427431" y="1072220"/>
                        <a:pt x="426846" y="1103255"/>
                        <a:pt x="356579" y="1120822"/>
                      </a:cubicBezTo>
                      <a:cubicBezTo>
                        <a:pt x="274014" y="1141902"/>
                        <a:pt x="192036" y="1168252"/>
                        <a:pt x="110058" y="1192260"/>
                      </a:cubicBezTo>
                      <a:cubicBezTo>
                        <a:pt x="151633" y="1244374"/>
                        <a:pt x="194378" y="1295318"/>
                        <a:pt x="247664" y="1336307"/>
                      </a:cubicBezTo>
                      <a:cubicBezTo>
                        <a:pt x="399324" y="1454590"/>
                        <a:pt x="568551" y="1499678"/>
                        <a:pt x="757100" y="1454590"/>
                      </a:cubicBezTo>
                      <a:cubicBezTo>
                        <a:pt x="915787" y="1416529"/>
                        <a:pt x="1038169" y="1322254"/>
                        <a:pt x="1135372" y="1193431"/>
                      </a:cubicBezTo>
                      <a:cubicBezTo>
                        <a:pt x="1044610" y="1167081"/>
                        <a:pt x="953849" y="1140145"/>
                        <a:pt x="862501" y="1114966"/>
                      </a:cubicBezTo>
                      <a:cubicBezTo>
                        <a:pt x="829710" y="1105597"/>
                        <a:pt x="812728" y="1085688"/>
                        <a:pt x="807459" y="1052897"/>
                      </a:cubicBezTo>
                      <a:cubicBezTo>
                        <a:pt x="801017" y="1015421"/>
                        <a:pt x="798089" y="883670"/>
                        <a:pt x="798089" y="856149"/>
                      </a:cubicBezTo>
                      <a:lnTo>
                        <a:pt x="798089" y="856149"/>
                      </a:lnTo>
                      <a:cubicBezTo>
                        <a:pt x="815656" y="848537"/>
                        <a:pt x="833223" y="841510"/>
                        <a:pt x="850790" y="833312"/>
                      </a:cubicBezTo>
                      <a:cubicBezTo>
                        <a:pt x="960290" y="782368"/>
                        <a:pt x="1051637" y="714444"/>
                        <a:pt x="1077987" y="586792"/>
                      </a:cubicBezTo>
                      <a:cubicBezTo>
                        <a:pt x="1083257" y="561027"/>
                        <a:pt x="1095554" y="547559"/>
                        <a:pt x="1121318" y="534677"/>
                      </a:cubicBezTo>
                      <a:cubicBezTo>
                        <a:pt x="1181631" y="505399"/>
                        <a:pt x="1215593" y="450942"/>
                        <a:pt x="1232575" y="387116"/>
                      </a:cubicBezTo>
                      <a:cubicBezTo>
                        <a:pt x="1240773" y="351397"/>
                        <a:pt x="1235502" y="316263"/>
                        <a:pt x="1210323" y="283472"/>
                      </a:cubicBezTo>
                      <a:close/>
                      <a:moveTo>
                        <a:pt x="788721" y="886012"/>
                      </a:moveTo>
                      <a:cubicBezTo>
                        <a:pt x="788721" y="886598"/>
                        <a:pt x="789306" y="886598"/>
                        <a:pt x="789306" y="887183"/>
                      </a:cubicBezTo>
                      <a:cubicBezTo>
                        <a:pt x="789306" y="887769"/>
                        <a:pt x="788721" y="888355"/>
                        <a:pt x="788135" y="888940"/>
                      </a:cubicBezTo>
                      <a:cubicBezTo>
                        <a:pt x="788135" y="887183"/>
                        <a:pt x="788135" y="886598"/>
                        <a:pt x="788721" y="886012"/>
                      </a:cubicBezTo>
                      <a:close/>
                    </a:path>
                  </a:pathLst>
                </a:custGeom>
                <a:solidFill>
                  <a:srgbClr val="F8DFC9"/>
                </a:solidFill>
                <a:ln w="5853"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769444CF-80A3-4327-BB32-0A7229EC14F0}"/>
                    </a:ext>
                  </a:extLst>
                </p:cNvPr>
                <p:cNvSpPr/>
                <p:nvPr/>
              </p:nvSpPr>
              <p:spPr>
                <a:xfrm>
                  <a:off x="10447882" y="4623530"/>
                  <a:ext cx="1370208" cy="1674699"/>
                </a:xfrm>
                <a:custGeom>
                  <a:avLst/>
                  <a:gdLst>
                    <a:gd name="connsiteX0" fmla="*/ 37838 w 1370207"/>
                    <a:gd name="connsiteY0" fmla="*/ 1675881 h 1674698"/>
                    <a:gd name="connsiteX1" fmla="*/ 13245 w 1370207"/>
                    <a:gd name="connsiteY1" fmla="*/ 1452783 h 1674698"/>
                    <a:gd name="connsiteX2" fmla="*/ 60675 w 1370207"/>
                    <a:gd name="connsiteY2" fmla="*/ 1167616 h 1674698"/>
                    <a:gd name="connsiteX3" fmla="*/ 36082 w 1370207"/>
                    <a:gd name="connsiteY3" fmla="*/ 907042 h 1674698"/>
                    <a:gd name="connsiteX4" fmla="*/ 20857 w 1370207"/>
                    <a:gd name="connsiteY4" fmla="*/ 678674 h 1674698"/>
                    <a:gd name="connsiteX5" fmla="*/ 75314 w 1370207"/>
                    <a:gd name="connsiteY5" fmla="*/ 383553 h 1674698"/>
                    <a:gd name="connsiteX6" fmla="*/ 378048 w 1370207"/>
                    <a:gd name="connsiteY6" fmla="*/ 66765 h 1674698"/>
                    <a:gd name="connsiteX7" fmla="*/ 1088331 w 1370207"/>
                    <a:gd name="connsiteY7" fmla="*/ 116538 h 1674698"/>
                    <a:gd name="connsiteX8" fmla="*/ 1327239 w 1370207"/>
                    <a:gd name="connsiteY8" fmla="*/ 439181 h 1674698"/>
                    <a:gd name="connsiteX9" fmla="*/ 1342463 w 1370207"/>
                    <a:gd name="connsiteY9" fmla="*/ 516475 h 1674698"/>
                    <a:gd name="connsiteX10" fmla="*/ 1358273 w 1370207"/>
                    <a:gd name="connsiteY10" fmla="*/ 664621 h 1674698"/>
                    <a:gd name="connsiteX11" fmla="*/ 1346562 w 1370207"/>
                    <a:gd name="connsiteY11" fmla="*/ 891232 h 1674698"/>
                    <a:gd name="connsiteX12" fmla="*/ 1324311 w 1370207"/>
                    <a:gd name="connsiteY12" fmla="*/ 1147122 h 1674698"/>
                    <a:gd name="connsiteX13" fmla="*/ 1357688 w 1370207"/>
                    <a:gd name="connsiteY13" fmla="*/ 1415893 h 1674698"/>
                    <a:gd name="connsiteX14" fmla="*/ 1364129 w 1370207"/>
                    <a:gd name="connsiteY14" fmla="*/ 1602101 h 1674698"/>
                    <a:gd name="connsiteX15" fmla="*/ 1333680 w 1370207"/>
                    <a:gd name="connsiteY15" fmla="*/ 1653630 h 1674698"/>
                    <a:gd name="connsiteX16" fmla="*/ 1271611 w 1370207"/>
                    <a:gd name="connsiteY16" fmla="*/ 1650702 h 1674698"/>
                    <a:gd name="connsiteX17" fmla="*/ 1215397 w 1370207"/>
                    <a:gd name="connsiteY17" fmla="*/ 1646603 h 1674698"/>
                    <a:gd name="connsiteX18" fmla="*/ 934329 w 1370207"/>
                    <a:gd name="connsiteY18" fmla="*/ 1566967 h 1674698"/>
                    <a:gd name="connsiteX19" fmla="*/ 881043 w 1370207"/>
                    <a:gd name="connsiteY19" fmla="*/ 1503727 h 1674698"/>
                    <a:gd name="connsiteX20" fmla="*/ 870503 w 1370207"/>
                    <a:gd name="connsiteY20" fmla="*/ 1384859 h 1674698"/>
                    <a:gd name="connsiteX21" fmla="*/ 872259 w 1370207"/>
                    <a:gd name="connsiteY21" fmla="*/ 1309322 h 1674698"/>
                    <a:gd name="connsiteX22" fmla="*/ 898024 w 1370207"/>
                    <a:gd name="connsiteY22" fmla="*/ 1288242 h 1674698"/>
                    <a:gd name="connsiteX23" fmla="*/ 1043828 w 1370207"/>
                    <a:gd name="connsiteY23" fmla="*/ 1205092 h 1674698"/>
                    <a:gd name="connsiteX24" fmla="*/ 1136347 w 1370207"/>
                    <a:gd name="connsiteY24" fmla="*/ 1076269 h 1674698"/>
                    <a:gd name="connsiteX25" fmla="*/ 1157427 w 1370207"/>
                    <a:gd name="connsiteY25" fmla="*/ 1010686 h 1674698"/>
                    <a:gd name="connsiteX26" fmla="*/ 1182606 w 1370207"/>
                    <a:gd name="connsiteY26" fmla="*/ 983165 h 1674698"/>
                    <a:gd name="connsiteX27" fmla="*/ 1307915 w 1370207"/>
                    <a:gd name="connsiteY27" fmla="*/ 815695 h 1674698"/>
                    <a:gd name="connsiteX28" fmla="*/ 1292106 w 1370207"/>
                    <a:gd name="connsiteY28" fmla="*/ 746014 h 1674698"/>
                    <a:gd name="connsiteX29" fmla="*/ 1264584 w 1370207"/>
                    <a:gd name="connsiteY29" fmla="*/ 791687 h 1674698"/>
                    <a:gd name="connsiteX30" fmla="*/ 1191975 w 1370207"/>
                    <a:gd name="connsiteY30" fmla="*/ 895331 h 1674698"/>
                    <a:gd name="connsiteX31" fmla="*/ 1173822 w 1370207"/>
                    <a:gd name="connsiteY31" fmla="*/ 906457 h 1674698"/>
                    <a:gd name="connsiteX32" fmla="*/ 1170894 w 1370207"/>
                    <a:gd name="connsiteY32" fmla="*/ 887719 h 1674698"/>
                    <a:gd name="connsiteX33" fmla="*/ 1166210 w 1370207"/>
                    <a:gd name="connsiteY33" fmla="*/ 729618 h 1674698"/>
                    <a:gd name="connsiteX34" fmla="*/ 947797 w 1370207"/>
                    <a:gd name="connsiteY34" fmla="*/ 553950 h 1674698"/>
                    <a:gd name="connsiteX35" fmla="*/ 635694 w 1370207"/>
                    <a:gd name="connsiteY35" fmla="*/ 489539 h 1674698"/>
                    <a:gd name="connsiteX36" fmla="*/ 524438 w 1370207"/>
                    <a:gd name="connsiteY36" fmla="*/ 495395 h 1674698"/>
                    <a:gd name="connsiteX37" fmla="*/ 434262 w 1370207"/>
                    <a:gd name="connsiteY37" fmla="*/ 463774 h 1674698"/>
                    <a:gd name="connsiteX38" fmla="*/ 403812 w 1370207"/>
                    <a:gd name="connsiteY38" fmla="*/ 462018 h 1674698"/>
                    <a:gd name="connsiteX39" fmla="*/ 238685 w 1370207"/>
                    <a:gd name="connsiteY39" fmla="*/ 616020 h 1674698"/>
                    <a:gd name="connsiteX40" fmla="*/ 201794 w 1370207"/>
                    <a:gd name="connsiteY40" fmla="*/ 682188 h 1674698"/>
                    <a:gd name="connsiteX41" fmla="*/ 180129 w 1370207"/>
                    <a:gd name="connsiteY41" fmla="*/ 794615 h 1674698"/>
                    <a:gd name="connsiteX42" fmla="*/ 194768 w 1370207"/>
                    <a:gd name="connsiteY42" fmla="*/ 863126 h 1674698"/>
                    <a:gd name="connsiteX43" fmla="*/ 96394 w 1370207"/>
                    <a:gd name="connsiteY43" fmla="*/ 758311 h 1674698"/>
                    <a:gd name="connsiteX44" fmla="*/ 92295 w 1370207"/>
                    <a:gd name="connsiteY44" fmla="*/ 847315 h 1674698"/>
                    <a:gd name="connsiteX45" fmla="*/ 181300 w 1370207"/>
                    <a:gd name="connsiteY45" fmla="*/ 970283 h 1674698"/>
                    <a:gd name="connsiteX46" fmla="*/ 195353 w 1370207"/>
                    <a:gd name="connsiteY46" fmla="*/ 977895 h 1674698"/>
                    <a:gd name="connsiteX47" fmla="*/ 243370 w 1370207"/>
                    <a:gd name="connsiteY47" fmla="*/ 1033523 h 1674698"/>
                    <a:gd name="connsiteX48" fmla="*/ 292556 w 1370207"/>
                    <a:gd name="connsiteY48" fmla="*/ 1147122 h 1674698"/>
                    <a:gd name="connsiteX49" fmla="*/ 436018 w 1370207"/>
                    <a:gd name="connsiteY49" fmla="*/ 1260134 h 1674698"/>
                    <a:gd name="connsiteX50" fmla="*/ 493988 w 1370207"/>
                    <a:gd name="connsiteY50" fmla="*/ 1287656 h 1674698"/>
                    <a:gd name="connsiteX51" fmla="*/ 521510 w 1370207"/>
                    <a:gd name="connsiteY51" fmla="*/ 1310493 h 1674698"/>
                    <a:gd name="connsiteX52" fmla="*/ 523266 w 1370207"/>
                    <a:gd name="connsiteY52" fmla="*/ 1416479 h 1674698"/>
                    <a:gd name="connsiteX53" fmla="*/ 515068 w 1370207"/>
                    <a:gd name="connsiteY53" fmla="*/ 1499043 h 1674698"/>
                    <a:gd name="connsiteX54" fmla="*/ 452999 w 1370207"/>
                    <a:gd name="connsiteY54" fmla="*/ 1570481 h 1674698"/>
                    <a:gd name="connsiteX55" fmla="*/ 189498 w 1370207"/>
                    <a:gd name="connsiteY55" fmla="*/ 1646018 h 1674698"/>
                    <a:gd name="connsiteX56" fmla="*/ 56576 w 1370207"/>
                    <a:gd name="connsiteY56" fmla="*/ 1676467 h 1674698"/>
                    <a:gd name="connsiteX57" fmla="*/ 37838 w 1370207"/>
                    <a:gd name="connsiteY57" fmla="*/ 1675881 h 16746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1370207" h="1674698">
                      <a:moveTo>
                        <a:pt x="37838" y="1675881"/>
                      </a:moveTo>
                      <a:cubicBezTo>
                        <a:pt x="-10763" y="1605614"/>
                        <a:pt x="-4908" y="1529492"/>
                        <a:pt x="13245" y="1452783"/>
                      </a:cubicBezTo>
                      <a:cubicBezTo>
                        <a:pt x="35496" y="1359094"/>
                        <a:pt x="57747" y="1264819"/>
                        <a:pt x="60675" y="1167616"/>
                      </a:cubicBezTo>
                      <a:cubicBezTo>
                        <a:pt x="63017" y="1079782"/>
                        <a:pt x="49549" y="993120"/>
                        <a:pt x="36082" y="907042"/>
                      </a:cubicBezTo>
                      <a:cubicBezTo>
                        <a:pt x="24370" y="831506"/>
                        <a:pt x="6218" y="754797"/>
                        <a:pt x="20857" y="678674"/>
                      </a:cubicBezTo>
                      <a:cubicBezTo>
                        <a:pt x="40180" y="580301"/>
                        <a:pt x="39009" y="478413"/>
                        <a:pt x="75314" y="383553"/>
                      </a:cubicBezTo>
                      <a:cubicBezTo>
                        <a:pt x="131527" y="234821"/>
                        <a:pt x="231658" y="128249"/>
                        <a:pt x="378048" y="66765"/>
                      </a:cubicBezTo>
                      <a:cubicBezTo>
                        <a:pt x="622811" y="-35708"/>
                        <a:pt x="862305" y="-21069"/>
                        <a:pt x="1088331" y="116538"/>
                      </a:cubicBezTo>
                      <a:cubicBezTo>
                        <a:pt x="1208956" y="189733"/>
                        <a:pt x="1290349" y="299818"/>
                        <a:pt x="1327239" y="439181"/>
                      </a:cubicBezTo>
                      <a:cubicBezTo>
                        <a:pt x="1334265" y="464360"/>
                        <a:pt x="1341878" y="490710"/>
                        <a:pt x="1342463" y="516475"/>
                      </a:cubicBezTo>
                      <a:cubicBezTo>
                        <a:pt x="1343049" y="566247"/>
                        <a:pt x="1349490" y="615434"/>
                        <a:pt x="1358273" y="664621"/>
                      </a:cubicBezTo>
                      <a:cubicBezTo>
                        <a:pt x="1371741" y="740744"/>
                        <a:pt x="1358859" y="815695"/>
                        <a:pt x="1346562" y="891232"/>
                      </a:cubicBezTo>
                      <a:cubicBezTo>
                        <a:pt x="1332509" y="976138"/>
                        <a:pt x="1324897" y="1061044"/>
                        <a:pt x="1324311" y="1147122"/>
                      </a:cubicBezTo>
                      <a:cubicBezTo>
                        <a:pt x="1323726" y="1237883"/>
                        <a:pt x="1338950" y="1326888"/>
                        <a:pt x="1357688" y="1415893"/>
                      </a:cubicBezTo>
                      <a:cubicBezTo>
                        <a:pt x="1370571" y="1477377"/>
                        <a:pt x="1382282" y="1539446"/>
                        <a:pt x="1364129" y="1602101"/>
                      </a:cubicBezTo>
                      <a:cubicBezTo>
                        <a:pt x="1358859" y="1619668"/>
                        <a:pt x="1340121" y="1636649"/>
                        <a:pt x="1333680" y="1653630"/>
                      </a:cubicBezTo>
                      <a:cubicBezTo>
                        <a:pt x="1312600" y="1662414"/>
                        <a:pt x="1292106" y="1651874"/>
                        <a:pt x="1271611" y="1650702"/>
                      </a:cubicBezTo>
                      <a:cubicBezTo>
                        <a:pt x="1252873" y="1649531"/>
                        <a:pt x="1234135" y="1647189"/>
                        <a:pt x="1215397" y="1646603"/>
                      </a:cubicBezTo>
                      <a:cubicBezTo>
                        <a:pt x="1121122" y="1621424"/>
                        <a:pt x="1028019" y="1593903"/>
                        <a:pt x="934329" y="1566967"/>
                      </a:cubicBezTo>
                      <a:cubicBezTo>
                        <a:pt x="903294" y="1557599"/>
                        <a:pt x="886313" y="1534762"/>
                        <a:pt x="881043" y="1503727"/>
                      </a:cubicBezTo>
                      <a:cubicBezTo>
                        <a:pt x="874602" y="1464495"/>
                        <a:pt x="870503" y="1424677"/>
                        <a:pt x="870503" y="1384859"/>
                      </a:cubicBezTo>
                      <a:cubicBezTo>
                        <a:pt x="870503" y="1359679"/>
                        <a:pt x="868746" y="1334500"/>
                        <a:pt x="872259" y="1309322"/>
                      </a:cubicBezTo>
                      <a:cubicBezTo>
                        <a:pt x="876359" y="1297025"/>
                        <a:pt x="887484" y="1293511"/>
                        <a:pt x="898024" y="1288242"/>
                      </a:cubicBezTo>
                      <a:cubicBezTo>
                        <a:pt x="948968" y="1264819"/>
                        <a:pt x="999326" y="1240226"/>
                        <a:pt x="1043828" y="1205092"/>
                      </a:cubicBezTo>
                      <a:cubicBezTo>
                        <a:pt x="1087160" y="1171130"/>
                        <a:pt x="1119366" y="1129555"/>
                        <a:pt x="1136347" y="1076269"/>
                      </a:cubicBezTo>
                      <a:cubicBezTo>
                        <a:pt x="1143373" y="1054603"/>
                        <a:pt x="1151571" y="1032938"/>
                        <a:pt x="1157427" y="1010686"/>
                      </a:cubicBezTo>
                      <a:cubicBezTo>
                        <a:pt x="1160940" y="997219"/>
                        <a:pt x="1169138" y="989021"/>
                        <a:pt x="1182606" y="983165"/>
                      </a:cubicBezTo>
                      <a:cubicBezTo>
                        <a:pt x="1256387" y="951545"/>
                        <a:pt x="1292106" y="890647"/>
                        <a:pt x="1307915" y="815695"/>
                      </a:cubicBezTo>
                      <a:cubicBezTo>
                        <a:pt x="1312600" y="792273"/>
                        <a:pt x="1306744" y="768851"/>
                        <a:pt x="1292106" y="746014"/>
                      </a:cubicBezTo>
                      <a:cubicBezTo>
                        <a:pt x="1279223" y="760653"/>
                        <a:pt x="1273367" y="777634"/>
                        <a:pt x="1264584" y="791687"/>
                      </a:cubicBezTo>
                      <a:cubicBezTo>
                        <a:pt x="1241748" y="827407"/>
                        <a:pt x="1218911" y="863126"/>
                        <a:pt x="1191975" y="895331"/>
                      </a:cubicBezTo>
                      <a:cubicBezTo>
                        <a:pt x="1187290" y="901187"/>
                        <a:pt x="1182020" y="909970"/>
                        <a:pt x="1173822" y="906457"/>
                      </a:cubicBezTo>
                      <a:cubicBezTo>
                        <a:pt x="1166796" y="903529"/>
                        <a:pt x="1170309" y="894160"/>
                        <a:pt x="1170894" y="887719"/>
                      </a:cubicBezTo>
                      <a:cubicBezTo>
                        <a:pt x="1173237" y="835019"/>
                        <a:pt x="1175579" y="782318"/>
                        <a:pt x="1166210" y="729618"/>
                      </a:cubicBezTo>
                      <a:cubicBezTo>
                        <a:pt x="1152157" y="666963"/>
                        <a:pt x="987029" y="575616"/>
                        <a:pt x="947797" y="553950"/>
                      </a:cubicBezTo>
                      <a:cubicBezTo>
                        <a:pt x="827757" y="487782"/>
                        <a:pt x="772129" y="469630"/>
                        <a:pt x="635694" y="489539"/>
                      </a:cubicBezTo>
                      <a:cubicBezTo>
                        <a:pt x="621055" y="491881"/>
                        <a:pt x="552544" y="500079"/>
                        <a:pt x="524438" y="495395"/>
                      </a:cubicBezTo>
                      <a:cubicBezTo>
                        <a:pt x="492232" y="490124"/>
                        <a:pt x="460026" y="482512"/>
                        <a:pt x="434262" y="463774"/>
                      </a:cubicBezTo>
                      <a:cubicBezTo>
                        <a:pt x="424307" y="456162"/>
                        <a:pt x="415523" y="452649"/>
                        <a:pt x="403812" y="462018"/>
                      </a:cubicBezTo>
                      <a:cubicBezTo>
                        <a:pt x="348184" y="507691"/>
                        <a:pt x="289628" y="564490"/>
                        <a:pt x="238685" y="616020"/>
                      </a:cubicBezTo>
                      <a:cubicBezTo>
                        <a:pt x="225217" y="629488"/>
                        <a:pt x="204722" y="681017"/>
                        <a:pt x="201794" y="682188"/>
                      </a:cubicBezTo>
                      <a:cubicBezTo>
                        <a:pt x="172516" y="733717"/>
                        <a:pt x="176030" y="775292"/>
                        <a:pt x="180129" y="794615"/>
                      </a:cubicBezTo>
                      <a:cubicBezTo>
                        <a:pt x="183057" y="817452"/>
                        <a:pt x="194768" y="846145"/>
                        <a:pt x="194768" y="863126"/>
                      </a:cubicBezTo>
                      <a:cubicBezTo>
                        <a:pt x="194768" y="872495"/>
                        <a:pt x="122744" y="807497"/>
                        <a:pt x="96394" y="758311"/>
                      </a:cubicBezTo>
                      <a:cubicBezTo>
                        <a:pt x="79998" y="787589"/>
                        <a:pt x="82341" y="818037"/>
                        <a:pt x="92295" y="847315"/>
                      </a:cubicBezTo>
                      <a:cubicBezTo>
                        <a:pt x="108691" y="897088"/>
                        <a:pt x="139140" y="938077"/>
                        <a:pt x="181300" y="970283"/>
                      </a:cubicBezTo>
                      <a:cubicBezTo>
                        <a:pt x="185399" y="973796"/>
                        <a:pt x="190083" y="977310"/>
                        <a:pt x="195353" y="977895"/>
                      </a:cubicBezTo>
                      <a:cubicBezTo>
                        <a:pt x="228144" y="982580"/>
                        <a:pt x="236342" y="1006002"/>
                        <a:pt x="243370" y="1033523"/>
                      </a:cubicBezTo>
                      <a:cubicBezTo>
                        <a:pt x="253324" y="1073927"/>
                        <a:pt x="268548" y="1112574"/>
                        <a:pt x="292556" y="1147122"/>
                      </a:cubicBezTo>
                      <a:cubicBezTo>
                        <a:pt x="328861" y="1199237"/>
                        <a:pt x="382732" y="1229686"/>
                        <a:pt x="436018" y="1260134"/>
                      </a:cubicBezTo>
                      <a:cubicBezTo>
                        <a:pt x="454756" y="1270675"/>
                        <a:pt x="474079" y="1280044"/>
                        <a:pt x="493988" y="1287656"/>
                      </a:cubicBezTo>
                      <a:cubicBezTo>
                        <a:pt x="505114" y="1292340"/>
                        <a:pt x="517411" y="1297025"/>
                        <a:pt x="521510" y="1310493"/>
                      </a:cubicBezTo>
                      <a:cubicBezTo>
                        <a:pt x="524438" y="1345626"/>
                        <a:pt x="522095" y="1381345"/>
                        <a:pt x="523266" y="1416479"/>
                      </a:cubicBezTo>
                      <a:cubicBezTo>
                        <a:pt x="519753" y="1444000"/>
                        <a:pt x="519168" y="1471521"/>
                        <a:pt x="515068" y="1499043"/>
                      </a:cubicBezTo>
                      <a:cubicBezTo>
                        <a:pt x="509799" y="1536518"/>
                        <a:pt x="489304" y="1560526"/>
                        <a:pt x="452999" y="1570481"/>
                      </a:cubicBezTo>
                      <a:cubicBezTo>
                        <a:pt x="365165" y="1595074"/>
                        <a:pt x="277917" y="1622010"/>
                        <a:pt x="189498" y="1646018"/>
                      </a:cubicBezTo>
                      <a:cubicBezTo>
                        <a:pt x="143825" y="1650702"/>
                        <a:pt x="98736" y="1658315"/>
                        <a:pt x="56576" y="1676467"/>
                      </a:cubicBezTo>
                      <a:cubicBezTo>
                        <a:pt x="51306" y="1677052"/>
                        <a:pt x="44279" y="1679980"/>
                        <a:pt x="37838" y="1675881"/>
                      </a:cubicBezTo>
                      <a:close/>
                    </a:path>
                  </a:pathLst>
                </a:custGeom>
                <a:solidFill>
                  <a:srgbClr val="C09200"/>
                </a:solidFill>
                <a:ln w="5853" cap="flat">
                  <a:noFill/>
                  <a:prstDash val="solid"/>
                  <a:miter/>
                </a:ln>
              </p:spPr>
              <p:txBody>
                <a:bodyPr rtlCol="0" anchor="ctr"/>
                <a:lstStyle/>
                <a:p>
                  <a:r>
                    <a:rPr lang="en-US" dirty="0"/>
                    <a:t>	</a:t>
                  </a:r>
                </a:p>
              </p:txBody>
            </p:sp>
            <p:sp>
              <p:nvSpPr>
                <p:cNvPr id="43" name="Freeform: Shape 42">
                  <a:extLst>
                    <a:ext uri="{FF2B5EF4-FFF2-40B4-BE49-F238E27FC236}">
                      <a16:creationId xmlns:a16="http://schemas.microsoft.com/office/drawing/2014/main" id="{03D63CA4-465C-4193-95CE-BFFF4CE0868A}"/>
                    </a:ext>
                  </a:extLst>
                </p:cNvPr>
                <p:cNvSpPr/>
                <p:nvPr/>
              </p:nvSpPr>
              <p:spPr>
                <a:xfrm>
                  <a:off x="10255665" y="6262521"/>
                  <a:ext cx="1780099" cy="392324"/>
                </a:xfrm>
                <a:custGeom>
                  <a:avLst/>
                  <a:gdLst>
                    <a:gd name="connsiteX0" fmla="*/ 1407028 w 1780099"/>
                    <a:gd name="connsiteY0" fmla="*/ 1171 h 392324"/>
                    <a:gd name="connsiteX1" fmla="*/ 1525897 w 1780099"/>
                    <a:gd name="connsiteY1" fmla="*/ 13468 h 392324"/>
                    <a:gd name="connsiteX2" fmla="*/ 1717375 w 1780099"/>
                    <a:gd name="connsiteY2" fmla="*/ 140534 h 392324"/>
                    <a:gd name="connsiteX3" fmla="*/ 1781201 w 1780099"/>
                    <a:gd name="connsiteY3" fmla="*/ 381785 h 392324"/>
                    <a:gd name="connsiteX4" fmla="*/ 1764219 w 1780099"/>
                    <a:gd name="connsiteY4" fmla="*/ 397009 h 392324"/>
                    <a:gd name="connsiteX5" fmla="*/ 1747824 w 1780099"/>
                    <a:gd name="connsiteY5" fmla="*/ 397009 h 392324"/>
                    <a:gd name="connsiteX6" fmla="*/ 26281 w 1780099"/>
                    <a:gd name="connsiteY6" fmla="*/ 397009 h 392324"/>
                    <a:gd name="connsiteX7" fmla="*/ 1687 w 1780099"/>
                    <a:gd name="connsiteY7" fmla="*/ 367731 h 392324"/>
                    <a:gd name="connsiteX8" fmla="*/ 229469 w 1780099"/>
                    <a:gd name="connsiteY8" fmla="*/ 36890 h 392324"/>
                    <a:gd name="connsiteX9" fmla="*/ 381715 w 1780099"/>
                    <a:gd name="connsiteY9" fmla="*/ 0 h 392324"/>
                    <a:gd name="connsiteX10" fmla="*/ 408065 w 1780099"/>
                    <a:gd name="connsiteY10" fmla="*/ 22837 h 392324"/>
                    <a:gd name="connsiteX11" fmla="*/ 723681 w 1780099"/>
                    <a:gd name="connsiteY11" fmla="*/ 247106 h 392324"/>
                    <a:gd name="connsiteX12" fmla="*/ 1176904 w 1780099"/>
                    <a:gd name="connsiteY12" fmla="*/ 197333 h 392324"/>
                    <a:gd name="connsiteX13" fmla="*/ 1384192 w 1780099"/>
                    <a:gd name="connsiteY13" fmla="*/ 21080 h 392324"/>
                    <a:gd name="connsiteX14" fmla="*/ 1407028 w 1780099"/>
                    <a:gd name="connsiteY14" fmla="*/ 1171 h 3923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80099" h="392324">
                      <a:moveTo>
                        <a:pt x="1407028" y="1171"/>
                      </a:moveTo>
                      <a:cubicBezTo>
                        <a:pt x="1447432" y="-585"/>
                        <a:pt x="1486665" y="5856"/>
                        <a:pt x="1525897" y="13468"/>
                      </a:cubicBezTo>
                      <a:cubicBezTo>
                        <a:pt x="1603191" y="35134"/>
                        <a:pt x="1669944" y="74366"/>
                        <a:pt x="1717375" y="140534"/>
                      </a:cubicBezTo>
                      <a:cubicBezTo>
                        <a:pt x="1769489" y="212558"/>
                        <a:pt x="1787642" y="293951"/>
                        <a:pt x="1781201" y="381785"/>
                      </a:cubicBezTo>
                      <a:cubicBezTo>
                        <a:pt x="1780615" y="394081"/>
                        <a:pt x="1775930" y="398180"/>
                        <a:pt x="1764219" y="397009"/>
                      </a:cubicBezTo>
                      <a:cubicBezTo>
                        <a:pt x="1758950" y="396423"/>
                        <a:pt x="1753680" y="397009"/>
                        <a:pt x="1747824" y="397009"/>
                      </a:cubicBezTo>
                      <a:cubicBezTo>
                        <a:pt x="1173976" y="397009"/>
                        <a:pt x="600128" y="397009"/>
                        <a:pt x="26281" y="397009"/>
                      </a:cubicBezTo>
                      <a:cubicBezTo>
                        <a:pt x="-2412" y="397009"/>
                        <a:pt x="-1826" y="397009"/>
                        <a:pt x="1687" y="367731"/>
                      </a:cubicBezTo>
                      <a:cubicBezTo>
                        <a:pt x="18083" y="216071"/>
                        <a:pt x="92448" y="105401"/>
                        <a:pt x="229469" y="36890"/>
                      </a:cubicBezTo>
                      <a:cubicBezTo>
                        <a:pt x="278071" y="15810"/>
                        <a:pt x="328429" y="1757"/>
                        <a:pt x="381715" y="0"/>
                      </a:cubicBezTo>
                      <a:cubicBezTo>
                        <a:pt x="396939" y="0"/>
                        <a:pt x="401038" y="13468"/>
                        <a:pt x="408065" y="22837"/>
                      </a:cubicBezTo>
                      <a:cubicBezTo>
                        <a:pt x="490628" y="129409"/>
                        <a:pt x="594858" y="207873"/>
                        <a:pt x="723681" y="247106"/>
                      </a:cubicBezTo>
                      <a:cubicBezTo>
                        <a:pt x="881197" y="295122"/>
                        <a:pt x="1032857" y="278141"/>
                        <a:pt x="1176904" y="197333"/>
                      </a:cubicBezTo>
                      <a:cubicBezTo>
                        <a:pt x="1257711" y="152245"/>
                        <a:pt x="1325050" y="91933"/>
                        <a:pt x="1384192" y="21080"/>
                      </a:cubicBezTo>
                      <a:cubicBezTo>
                        <a:pt x="1391219" y="12882"/>
                        <a:pt x="1396489" y="4099"/>
                        <a:pt x="1407028" y="1171"/>
                      </a:cubicBezTo>
                      <a:close/>
                    </a:path>
                  </a:pathLst>
                </a:custGeom>
                <a:solidFill>
                  <a:schemeClr val="accent2"/>
                </a:solidFill>
                <a:ln w="5853"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0ED18EC0-CEA0-464A-947A-63269152E570}"/>
                    </a:ext>
                  </a:extLst>
                </p:cNvPr>
                <p:cNvSpPr/>
                <p:nvPr/>
              </p:nvSpPr>
              <p:spPr>
                <a:xfrm>
                  <a:off x="10603708" y="5246212"/>
                  <a:ext cx="1036439" cy="339624"/>
                </a:xfrm>
                <a:custGeom>
                  <a:avLst/>
                  <a:gdLst>
                    <a:gd name="connsiteX0" fmla="*/ 1019752 w 1036439"/>
                    <a:gd name="connsiteY0" fmla="*/ 20859 h 339624"/>
                    <a:gd name="connsiteX1" fmla="*/ 899713 w 1036439"/>
                    <a:gd name="connsiteY1" fmla="*/ 3292 h 339624"/>
                    <a:gd name="connsiteX2" fmla="*/ 776160 w 1036439"/>
                    <a:gd name="connsiteY2" fmla="*/ 364 h 339624"/>
                    <a:gd name="connsiteX3" fmla="*/ 625671 w 1036439"/>
                    <a:gd name="connsiteY3" fmla="*/ 26129 h 339624"/>
                    <a:gd name="connsiteX4" fmla="*/ 571800 w 1036439"/>
                    <a:gd name="connsiteY4" fmla="*/ 80586 h 339624"/>
                    <a:gd name="connsiteX5" fmla="*/ 466985 w 1036439"/>
                    <a:gd name="connsiteY5" fmla="*/ 80586 h 339624"/>
                    <a:gd name="connsiteX6" fmla="*/ 413114 w 1036439"/>
                    <a:gd name="connsiteY6" fmla="*/ 26129 h 339624"/>
                    <a:gd name="connsiteX7" fmla="*/ 262624 w 1036439"/>
                    <a:gd name="connsiteY7" fmla="*/ 364 h 339624"/>
                    <a:gd name="connsiteX8" fmla="*/ 45382 w 1036439"/>
                    <a:gd name="connsiteY8" fmla="*/ 16760 h 339624"/>
                    <a:gd name="connsiteX9" fmla="*/ 18447 w 1036439"/>
                    <a:gd name="connsiteY9" fmla="*/ 21444 h 339624"/>
                    <a:gd name="connsiteX10" fmla="*/ 2051 w 1036439"/>
                    <a:gd name="connsiteY10" fmla="*/ 47209 h 339624"/>
                    <a:gd name="connsiteX11" fmla="*/ 23717 w 1036439"/>
                    <a:gd name="connsiteY11" fmla="*/ 99909 h 339624"/>
                    <a:gd name="connsiteX12" fmla="*/ 45968 w 1036439"/>
                    <a:gd name="connsiteY12" fmla="*/ 172518 h 339624"/>
                    <a:gd name="connsiteX13" fmla="*/ 150783 w 1036439"/>
                    <a:gd name="connsiteY13" fmla="*/ 318322 h 339624"/>
                    <a:gd name="connsiteX14" fmla="*/ 322352 w 1036439"/>
                    <a:gd name="connsiteY14" fmla="*/ 336475 h 339624"/>
                    <a:gd name="connsiteX15" fmla="*/ 477525 w 1036439"/>
                    <a:gd name="connsiteY15" fmla="*/ 161393 h 339624"/>
                    <a:gd name="connsiteX16" fmla="*/ 563602 w 1036439"/>
                    <a:gd name="connsiteY16" fmla="*/ 156708 h 339624"/>
                    <a:gd name="connsiteX17" fmla="*/ 708821 w 1036439"/>
                    <a:gd name="connsiteY17" fmla="*/ 335304 h 339624"/>
                    <a:gd name="connsiteX18" fmla="*/ 844085 w 1036439"/>
                    <a:gd name="connsiteY18" fmla="*/ 333547 h 339624"/>
                    <a:gd name="connsiteX19" fmla="*/ 996330 w 1036439"/>
                    <a:gd name="connsiteY19" fmla="*/ 161978 h 339624"/>
                    <a:gd name="connsiteX20" fmla="*/ 1013311 w 1036439"/>
                    <a:gd name="connsiteY20" fmla="*/ 108692 h 339624"/>
                    <a:gd name="connsiteX21" fmla="*/ 1038490 w 1036439"/>
                    <a:gd name="connsiteY21" fmla="*/ 47209 h 339624"/>
                    <a:gd name="connsiteX22" fmla="*/ 1019752 w 1036439"/>
                    <a:gd name="connsiteY22" fmla="*/ 20859 h 339624"/>
                    <a:gd name="connsiteX23" fmla="*/ 440049 w 1036439"/>
                    <a:gd name="connsiteY23" fmla="*/ 166077 h 339624"/>
                    <a:gd name="connsiteX24" fmla="*/ 294830 w 1036439"/>
                    <a:gd name="connsiteY24" fmla="*/ 315395 h 339624"/>
                    <a:gd name="connsiteX25" fmla="*/ 201141 w 1036439"/>
                    <a:gd name="connsiteY25" fmla="*/ 311881 h 339624"/>
                    <a:gd name="connsiteX26" fmla="*/ 91642 w 1036439"/>
                    <a:gd name="connsiteY26" fmla="*/ 222291 h 339624"/>
                    <a:gd name="connsiteX27" fmla="*/ 72318 w 1036439"/>
                    <a:gd name="connsiteY27" fmla="*/ 112206 h 339624"/>
                    <a:gd name="connsiteX28" fmla="*/ 154296 w 1036439"/>
                    <a:gd name="connsiteY28" fmla="*/ 39596 h 339624"/>
                    <a:gd name="connsiteX29" fmla="*/ 230419 w 1036439"/>
                    <a:gd name="connsiteY29" fmla="*/ 39596 h 339624"/>
                    <a:gd name="connsiteX30" fmla="*/ 351630 w 1036439"/>
                    <a:gd name="connsiteY30" fmla="*/ 47794 h 339624"/>
                    <a:gd name="connsiteX31" fmla="*/ 440049 w 1036439"/>
                    <a:gd name="connsiteY31" fmla="*/ 166077 h 339624"/>
                    <a:gd name="connsiteX32" fmla="*/ 949485 w 1036439"/>
                    <a:gd name="connsiteY32" fmla="*/ 215264 h 339624"/>
                    <a:gd name="connsiteX33" fmla="*/ 767377 w 1036439"/>
                    <a:gd name="connsiteY33" fmla="*/ 317152 h 339624"/>
                    <a:gd name="connsiteX34" fmla="*/ 656121 w 1036439"/>
                    <a:gd name="connsiteY34" fmla="*/ 284360 h 339624"/>
                    <a:gd name="connsiteX35" fmla="*/ 615717 w 1036439"/>
                    <a:gd name="connsiteY35" fmla="*/ 87027 h 339624"/>
                    <a:gd name="connsiteX36" fmla="*/ 650850 w 1036439"/>
                    <a:gd name="connsiteY36" fmla="*/ 58920 h 339624"/>
                    <a:gd name="connsiteX37" fmla="*/ 735756 w 1036439"/>
                    <a:gd name="connsiteY37" fmla="*/ 40182 h 339624"/>
                    <a:gd name="connsiteX38" fmla="*/ 883317 w 1036439"/>
                    <a:gd name="connsiteY38" fmla="*/ 40182 h 339624"/>
                    <a:gd name="connsiteX39" fmla="*/ 966467 w 1036439"/>
                    <a:gd name="connsiteY39" fmla="*/ 128016 h 339624"/>
                    <a:gd name="connsiteX40" fmla="*/ 949485 w 1036439"/>
                    <a:gd name="connsiteY40" fmla="*/ 215264 h 33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1036439" h="339624">
                      <a:moveTo>
                        <a:pt x="1019752" y="20859"/>
                      </a:moveTo>
                      <a:cubicBezTo>
                        <a:pt x="979349" y="15589"/>
                        <a:pt x="939531" y="9147"/>
                        <a:pt x="899713" y="3292"/>
                      </a:cubicBezTo>
                      <a:cubicBezTo>
                        <a:pt x="858724" y="2121"/>
                        <a:pt x="817149" y="-807"/>
                        <a:pt x="776160" y="364"/>
                      </a:cubicBezTo>
                      <a:cubicBezTo>
                        <a:pt x="724631" y="950"/>
                        <a:pt x="673687" y="5048"/>
                        <a:pt x="625671" y="26129"/>
                      </a:cubicBezTo>
                      <a:cubicBezTo>
                        <a:pt x="600492" y="37254"/>
                        <a:pt x="577070" y="50722"/>
                        <a:pt x="571800" y="80586"/>
                      </a:cubicBezTo>
                      <a:cubicBezTo>
                        <a:pt x="570043" y="89369"/>
                        <a:pt x="468742" y="88784"/>
                        <a:pt x="466985" y="80586"/>
                      </a:cubicBezTo>
                      <a:cubicBezTo>
                        <a:pt x="461129" y="50722"/>
                        <a:pt x="438292" y="37254"/>
                        <a:pt x="413114" y="26129"/>
                      </a:cubicBezTo>
                      <a:cubicBezTo>
                        <a:pt x="365097" y="5048"/>
                        <a:pt x="313569" y="1535"/>
                        <a:pt x="262624" y="364"/>
                      </a:cubicBezTo>
                      <a:cubicBezTo>
                        <a:pt x="189430" y="-1978"/>
                        <a:pt x="117406" y="7391"/>
                        <a:pt x="45382" y="16760"/>
                      </a:cubicBezTo>
                      <a:cubicBezTo>
                        <a:pt x="36599" y="18517"/>
                        <a:pt x="27230" y="20859"/>
                        <a:pt x="18447" y="21444"/>
                      </a:cubicBezTo>
                      <a:cubicBezTo>
                        <a:pt x="1465" y="23201"/>
                        <a:pt x="-3219" y="29642"/>
                        <a:pt x="2051" y="47209"/>
                      </a:cubicBezTo>
                      <a:cubicBezTo>
                        <a:pt x="9663" y="75901"/>
                        <a:pt x="15519" y="89954"/>
                        <a:pt x="23717" y="99909"/>
                      </a:cubicBezTo>
                      <a:cubicBezTo>
                        <a:pt x="43040" y="123917"/>
                        <a:pt x="43040" y="149096"/>
                        <a:pt x="45968" y="172518"/>
                      </a:cubicBezTo>
                      <a:cubicBezTo>
                        <a:pt x="54751" y="240443"/>
                        <a:pt x="87543" y="290216"/>
                        <a:pt x="150783" y="318322"/>
                      </a:cubicBezTo>
                      <a:cubicBezTo>
                        <a:pt x="205826" y="342331"/>
                        <a:pt x="263796" y="346430"/>
                        <a:pt x="322352" y="336475"/>
                      </a:cubicBezTo>
                      <a:cubicBezTo>
                        <a:pt x="417798" y="320079"/>
                        <a:pt x="471669" y="258596"/>
                        <a:pt x="477525" y="161393"/>
                      </a:cubicBezTo>
                      <a:cubicBezTo>
                        <a:pt x="479867" y="127430"/>
                        <a:pt x="563602" y="134457"/>
                        <a:pt x="563602" y="156708"/>
                      </a:cubicBezTo>
                      <a:cubicBezTo>
                        <a:pt x="564187" y="249812"/>
                        <a:pt x="620402" y="317152"/>
                        <a:pt x="708821" y="335304"/>
                      </a:cubicBezTo>
                      <a:cubicBezTo>
                        <a:pt x="753909" y="344673"/>
                        <a:pt x="798997" y="343502"/>
                        <a:pt x="844085" y="333547"/>
                      </a:cubicBezTo>
                      <a:cubicBezTo>
                        <a:pt x="937189" y="313053"/>
                        <a:pt x="984619" y="258010"/>
                        <a:pt x="996330" y="161978"/>
                      </a:cubicBezTo>
                      <a:cubicBezTo>
                        <a:pt x="998673" y="143826"/>
                        <a:pt x="997501" y="123331"/>
                        <a:pt x="1013311" y="108692"/>
                      </a:cubicBezTo>
                      <a:cubicBezTo>
                        <a:pt x="1033806" y="92882"/>
                        <a:pt x="1030293" y="67703"/>
                        <a:pt x="1038490" y="47209"/>
                      </a:cubicBezTo>
                      <a:cubicBezTo>
                        <a:pt x="1044346" y="27300"/>
                        <a:pt x="1035562" y="23201"/>
                        <a:pt x="1019752" y="20859"/>
                      </a:cubicBezTo>
                      <a:close/>
                      <a:moveTo>
                        <a:pt x="440049" y="166077"/>
                      </a:moveTo>
                      <a:cubicBezTo>
                        <a:pt x="435950" y="251569"/>
                        <a:pt x="379736" y="308954"/>
                        <a:pt x="294830" y="315395"/>
                      </a:cubicBezTo>
                      <a:cubicBezTo>
                        <a:pt x="263211" y="317737"/>
                        <a:pt x="232176" y="318322"/>
                        <a:pt x="201141" y="311881"/>
                      </a:cubicBezTo>
                      <a:cubicBezTo>
                        <a:pt x="149027" y="300756"/>
                        <a:pt x="112722" y="270892"/>
                        <a:pt x="91642" y="222291"/>
                      </a:cubicBezTo>
                      <a:cubicBezTo>
                        <a:pt x="76417" y="187157"/>
                        <a:pt x="69976" y="150267"/>
                        <a:pt x="72318" y="112206"/>
                      </a:cubicBezTo>
                      <a:cubicBezTo>
                        <a:pt x="74075" y="74145"/>
                        <a:pt x="110379" y="41939"/>
                        <a:pt x="154296" y="39596"/>
                      </a:cubicBezTo>
                      <a:cubicBezTo>
                        <a:pt x="179475" y="38425"/>
                        <a:pt x="204655" y="39596"/>
                        <a:pt x="230419" y="39596"/>
                      </a:cubicBezTo>
                      <a:cubicBezTo>
                        <a:pt x="270822" y="37840"/>
                        <a:pt x="311812" y="37840"/>
                        <a:pt x="351630" y="47794"/>
                      </a:cubicBezTo>
                      <a:cubicBezTo>
                        <a:pt x="416627" y="63604"/>
                        <a:pt x="443562" y="98738"/>
                        <a:pt x="440049" y="166077"/>
                      </a:cubicBezTo>
                      <a:close/>
                      <a:moveTo>
                        <a:pt x="949485" y="215264"/>
                      </a:moveTo>
                      <a:cubicBezTo>
                        <a:pt x="922550" y="284946"/>
                        <a:pt x="868678" y="317152"/>
                        <a:pt x="767377" y="317152"/>
                      </a:cubicBezTo>
                      <a:cubicBezTo>
                        <a:pt x="734586" y="317737"/>
                        <a:pt x="693010" y="310710"/>
                        <a:pt x="656121" y="284360"/>
                      </a:cubicBezTo>
                      <a:cubicBezTo>
                        <a:pt x="598735" y="243371"/>
                        <a:pt x="579412" y="148510"/>
                        <a:pt x="615717" y="87027"/>
                      </a:cubicBezTo>
                      <a:cubicBezTo>
                        <a:pt x="623915" y="72973"/>
                        <a:pt x="636211" y="64775"/>
                        <a:pt x="650850" y="58920"/>
                      </a:cubicBezTo>
                      <a:cubicBezTo>
                        <a:pt x="677786" y="47794"/>
                        <a:pt x="706478" y="41939"/>
                        <a:pt x="735756" y="40182"/>
                      </a:cubicBezTo>
                      <a:cubicBezTo>
                        <a:pt x="784943" y="36669"/>
                        <a:pt x="834131" y="37254"/>
                        <a:pt x="883317" y="40182"/>
                      </a:cubicBezTo>
                      <a:cubicBezTo>
                        <a:pt x="934261" y="43110"/>
                        <a:pt x="967052" y="77658"/>
                        <a:pt x="966467" y="128016"/>
                      </a:cubicBezTo>
                      <a:cubicBezTo>
                        <a:pt x="965881" y="158465"/>
                        <a:pt x="960026" y="187157"/>
                        <a:pt x="949485" y="215264"/>
                      </a:cubicBezTo>
                      <a:close/>
                    </a:path>
                  </a:pathLst>
                </a:custGeom>
                <a:solidFill>
                  <a:schemeClr val="accent2"/>
                </a:solidFill>
                <a:ln w="5853" cap="flat">
                  <a:noFill/>
                  <a:prstDash val="solid"/>
                  <a:miter/>
                </a:ln>
              </p:spPr>
              <p:txBody>
                <a:bodyPr rtlCol="0" anchor="ctr"/>
                <a:lstStyle/>
                <a:p>
                  <a:endParaRPr lang="en-US" dirty="0"/>
                </a:p>
              </p:txBody>
            </p:sp>
          </p:grpSp>
        </p:grpSp>
        <p:grpSp>
          <p:nvGrpSpPr>
            <p:cNvPr id="73" name="Group 72">
              <a:extLst>
                <a:ext uri="{FF2B5EF4-FFF2-40B4-BE49-F238E27FC236}">
                  <a16:creationId xmlns:a16="http://schemas.microsoft.com/office/drawing/2014/main" id="{08695FAA-D295-47FC-B239-897948929260}"/>
                </a:ext>
              </a:extLst>
            </p:cNvPr>
            <p:cNvGrpSpPr/>
            <p:nvPr/>
          </p:nvGrpSpPr>
          <p:grpSpPr>
            <a:xfrm>
              <a:off x="4503002" y="2327579"/>
              <a:ext cx="1232184" cy="1232184"/>
              <a:chOff x="7542250" y="1837207"/>
              <a:chExt cx="1468221" cy="1468221"/>
            </a:xfrm>
          </p:grpSpPr>
          <p:sp>
            <p:nvSpPr>
              <p:cNvPr id="3" name="Oval 2">
                <a:extLst>
                  <a:ext uri="{FF2B5EF4-FFF2-40B4-BE49-F238E27FC236}">
                    <a16:creationId xmlns:a16="http://schemas.microsoft.com/office/drawing/2014/main" id="{95282217-D7B3-49FE-A24C-E9CBBE3ECE19}"/>
                  </a:ext>
                </a:extLst>
              </p:cNvPr>
              <p:cNvSpPr/>
              <p:nvPr/>
            </p:nvSpPr>
            <p:spPr>
              <a:xfrm>
                <a:off x="7542250" y="1837207"/>
                <a:ext cx="1468221" cy="1468221"/>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45" name="Group 44">
                <a:extLst>
                  <a:ext uri="{FF2B5EF4-FFF2-40B4-BE49-F238E27FC236}">
                    <a16:creationId xmlns:a16="http://schemas.microsoft.com/office/drawing/2014/main" id="{485AE733-A4E0-4DEF-A857-E0657C99BCD3}"/>
                  </a:ext>
                </a:extLst>
              </p:cNvPr>
              <p:cNvGrpSpPr/>
              <p:nvPr/>
            </p:nvGrpSpPr>
            <p:grpSpPr>
              <a:xfrm>
                <a:off x="7792152" y="2049096"/>
                <a:ext cx="968417" cy="1044442"/>
                <a:chOff x="7505528" y="4464029"/>
                <a:chExt cx="2031890" cy="2191402"/>
              </a:xfrm>
            </p:grpSpPr>
            <p:sp>
              <p:nvSpPr>
                <p:cNvPr id="46" name="Freeform: Shape 45">
                  <a:extLst>
                    <a:ext uri="{FF2B5EF4-FFF2-40B4-BE49-F238E27FC236}">
                      <a16:creationId xmlns:a16="http://schemas.microsoft.com/office/drawing/2014/main" id="{C0478CA1-CA13-4E1C-9922-09B9905FE569}"/>
                    </a:ext>
                  </a:extLst>
                </p:cNvPr>
                <p:cNvSpPr/>
                <p:nvPr/>
              </p:nvSpPr>
              <p:spPr>
                <a:xfrm>
                  <a:off x="7929965" y="4622475"/>
                  <a:ext cx="1182829" cy="1879644"/>
                </a:xfrm>
                <a:custGeom>
                  <a:avLst/>
                  <a:gdLst>
                    <a:gd name="connsiteX0" fmla="*/ 1174422 w 1182829"/>
                    <a:gd name="connsiteY0" fmla="*/ 672117 h 1879644"/>
                    <a:gd name="connsiteX1" fmla="*/ 1112352 w 1182829"/>
                    <a:gd name="connsiteY1" fmla="*/ 617074 h 1879644"/>
                    <a:gd name="connsiteX2" fmla="*/ 1101812 w 1182829"/>
                    <a:gd name="connsiteY2" fmla="*/ 599508 h 1879644"/>
                    <a:gd name="connsiteX3" fmla="*/ 1054968 w 1182829"/>
                    <a:gd name="connsiteY3" fmla="*/ 302044 h 1879644"/>
                    <a:gd name="connsiteX4" fmla="*/ 943712 w 1182829"/>
                    <a:gd name="connsiteY4" fmla="*/ 123448 h 1879644"/>
                    <a:gd name="connsiteX5" fmla="*/ 809033 w 1182829"/>
                    <a:gd name="connsiteY5" fmla="*/ 37371 h 1879644"/>
                    <a:gd name="connsiteX6" fmla="*/ 441887 w 1182829"/>
                    <a:gd name="connsiteY6" fmla="*/ 23903 h 1879644"/>
                    <a:gd name="connsiteX7" fmla="*/ 219375 w 1182829"/>
                    <a:gd name="connsiteY7" fmla="*/ 134574 h 1879644"/>
                    <a:gd name="connsiteX8" fmla="*/ 129785 w 1182829"/>
                    <a:gd name="connsiteY8" fmla="*/ 285063 h 1879644"/>
                    <a:gd name="connsiteX9" fmla="*/ 84696 w 1182829"/>
                    <a:gd name="connsiteY9" fmla="*/ 613561 h 1879644"/>
                    <a:gd name="connsiteX10" fmla="*/ 5060 w 1182829"/>
                    <a:gd name="connsiteY10" fmla="*/ 687927 h 1879644"/>
                    <a:gd name="connsiteX11" fmla="*/ 125686 w 1182829"/>
                    <a:gd name="connsiteY11" fmla="*/ 953185 h 1879644"/>
                    <a:gd name="connsiteX12" fmla="*/ 135054 w 1182829"/>
                    <a:gd name="connsiteY12" fmla="*/ 961969 h 1879644"/>
                    <a:gd name="connsiteX13" fmla="*/ 163161 w 1182829"/>
                    <a:gd name="connsiteY13" fmla="*/ 1058000 h 1879644"/>
                    <a:gd name="connsiteX14" fmla="*/ 315406 w 1182829"/>
                    <a:gd name="connsiteY14" fmla="*/ 1238353 h 1879644"/>
                    <a:gd name="connsiteX15" fmla="*/ 373377 w 1182829"/>
                    <a:gd name="connsiteY15" fmla="*/ 1282855 h 1879644"/>
                    <a:gd name="connsiteX16" fmla="*/ 364008 w 1182829"/>
                    <a:gd name="connsiteY16" fmla="*/ 1419876 h 1879644"/>
                    <a:gd name="connsiteX17" fmla="*/ 304281 w 1182829"/>
                    <a:gd name="connsiteY17" fmla="*/ 1492485 h 1879644"/>
                    <a:gd name="connsiteX18" fmla="*/ 257436 w 1182829"/>
                    <a:gd name="connsiteY18" fmla="*/ 1510052 h 1879644"/>
                    <a:gd name="connsiteX19" fmla="*/ 371620 w 1182829"/>
                    <a:gd name="connsiteY19" fmla="*/ 1686891 h 1879644"/>
                    <a:gd name="connsiteX20" fmla="*/ 541432 w 1182829"/>
                    <a:gd name="connsiteY20" fmla="*/ 1861387 h 1879644"/>
                    <a:gd name="connsiteX21" fmla="*/ 648004 w 1182829"/>
                    <a:gd name="connsiteY21" fmla="*/ 1868414 h 1879644"/>
                    <a:gd name="connsiteX22" fmla="*/ 725883 w 1182829"/>
                    <a:gd name="connsiteY22" fmla="*/ 1809858 h 1879644"/>
                    <a:gd name="connsiteX23" fmla="*/ 927316 w 1182829"/>
                    <a:gd name="connsiteY23" fmla="*/ 1510637 h 1879644"/>
                    <a:gd name="connsiteX24" fmla="*/ 886326 w 1182829"/>
                    <a:gd name="connsiteY24" fmla="*/ 1495999 h 1879644"/>
                    <a:gd name="connsiteX25" fmla="*/ 817816 w 1182829"/>
                    <a:gd name="connsiteY25" fmla="*/ 1410507 h 1879644"/>
                    <a:gd name="connsiteX26" fmla="*/ 817231 w 1182829"/>
                    <a:gd name="connsiteY26" fmla="*/ 1288125 h 1879644"/>
                    <a:gd name="connsiteX27" fmla="*/ 1029788 w 1182829"/>
                    <a:gd name="connsiteY27" fmla="*/ 1000615 h 1879644"/>
                    <a:gd name="connsiteX28" fmla="*/ 1037986 w 1182829"/>
                    <a:gd name="connsiteY28" fmla="*/ 968995 h 1879644"/>
                    <a:gd name="connsiteX29" fmla="*/ 1050283 w 1182829"/>
                    <a:gd name="connsiteY29" fmla="*/ 954942 h 1879644"/>
                    <a:gd name="connsiteX30" fmla="*/ 1107083 w 1182829"/>
                    <a:gd name="connsiteY30" fmla="*/ 918637 h 1879644"/>
                    <a:gd name="connsiteX31" fmla="*/ 1179691 w 1182829"/>
                    <a:gd name="connsiteY31" fmla="*/ 776346 h 1879644"/>
                    <a:gd name="connsiteX32" fmla="*/ 1174422 w 1182829"/>
                    <a:gd name="connsiteY32" fmla="*/ 672117 h 18796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182829" h="1879644">
                      <a:moveTo>
                        <a:pt x="1174422" y="672117"/>
                      </a:moveTo>
                      <a:cubicBezTo>
                        <a:pt x="1163296" y="644010"/>
                        <a:pt x="1145729" y="620588"/>
                        <a:pt x="1112352" y="617074"/>
                      </a:cubicBezTo>
                      <a:cubicBezTo>
                        <a:pt x="1097713" y="615903"/>
                        <a:pt x="1102983" y="606534"/>
                        <a:pt x="1101812" y="599508"/>
                      </a:cubicBezTo>
                      <a:cubicBezTo>
                        <a:pt x="1091858" y="600093"/>
                        <a:pt x="1074877" y="360014"/>
                        <a:pt x="1054968" y="302044"/>
                      </a:cubicBezTo>
                      <a:cubicBezTo>
                        <a:pt x="1037401" y="251100"/>
                        <a:pt x="965377" y="149213"/>
                        <a:pt x="943712" y="123448"/>
                      </a:cubicBezTo>
                      <a:cubicBezTo>
                        <a:pt x="915604" y="89486"/>
                        <a:pt x="850022" y="53767"/>
                        <a:pt x="809033" y="37371"/>
                      </a:cubicBezTo>
                      <a:cubicBezTo>
                        <a:pt x="686066" y="-11816"/>
                        <a:pt x="567197" y="-8303"/>
                        <a:pt x="441887" y="23903"/>
                      </a:cubicBezTo>
                      <a:cubicBezTo>
                        <a:pt x="371620" y="42056"/>
                        <a:pt x="285543" y="77775"/>
                        <a:pt x="219375" y="134574"/>
                      </a:cubicBezTo>
                      <a:cubicBezTo>
                        <a:pt x="197709" y="152726"/>
                        <a:pt x="140325" y="258127"/>
                        <a:pt x="129785" y="285063"/>
                      </a:cubicBezTo>
                      <a:cubicBezTo>
                        <a:pt x="110461" y="333664"/>
                        <a:pt x="80597" y="612976"/>
                        <a:pt x="84696" y="613561"/>
                      </a:cubicBezTo>
                      <a:cubicBezTo>
                        <a:pt x="40779" y="619417"/>
                        <a:pt x="16186" y="646352"/>
                        <a:pt x="5060" y="687927"/>
                      </a:cubicBezTo>
                      <a:cubicBezTo>
                        <a:pt x="-18362" y="778103"/>
                        <a:pt x="42536" y="912196"/>
                        <a:pt x="125686" y="953185"/>
                      </a:cubicBezTo>
                      <a:cubicBezTo>
                        <a:pt x="129785" y="955528"/>
                        <a:pt x="134469" y="956698"/>
                        <a:pt x="135054" y="961969"/>
                      </a:cubicBezTo>
                      <a:cubicBezTo>
                        <a:pt x="137982" y="978950"/>
                        <a:pt x="158477" y="1051559"/>
                        <a:pt x="163161" y="1058000"/>
                      </a:cubicBezTo>
                      <a:cubicBezTo>
                        <a:pt x="197124" y="1130610"/>
                        <a:pt x="252166" y="1187994"/>
                        <a:pt x="315406" y="1238353"/>
                      </a:cubicBezTo>
                      <a:cubicBezTo>
                        <a:pt x="334730" y="1253577"/>
                        <a:pt x="355810" y="1265874"/>
                        <a:pt x="373377" y="1282855"/>
                      </a:cubicBezTo>
                      <a:cubicBezTo>
                        <a:pt x="370449" y="1328528"/>
                        <a:pt x="371620" y="1374202"/>
                        <a:pt x="364008" y="1419876"/>
                      </a:cubicBezTo>
                      <a:cubicBezTo>
                        <a:pt x="357567" y="1456766"/>
                        <a:pt x="341171" y="1483116"/>
                        <a:pt x="304281" y="1492485"/>
                      </a:cubicBezTo>
                      <a:cubicBezTo>
                        <a:pt x="288471" y="1496584"/>
                        <a:pt x="272661" y="1504196"/>
                        <a:pt x="257436" y="1510052"/>
                      </a:cubicBezTo>
                      <a:cubicBezTo>
                        <a:pt x="289642" y="1573292"/>
                        <a:pt x="328289" y="1631848"/>
                        <a:pt x="371620" y="1686891"/>
                      </a:cubicBezTo>
                      <a:cubicBezTo>
                        <a:pt x="421978" y="1751302"/>
                        <a:pt x="474679" y="1813957"/>
                        <a:pt x="541432" y="1861387"/>
                      </a:cubicBezTo>
                      <a:cubicBezTo>
                        <a:pt x="575980" y="1885395"/>
                        <a:pt x="610528" y="1888323"/>
                        <a:pt x="648004" y="1868414"/>
                      </a:cubicBezTo>
                      <a:cubicBezTo>
                        <a:pt x="677282" y="1853189"/>
                        <a:pt x="703047" y="1833866"/>
                        <a:pt x="725883" y="1809858"/>
                      </a:cubicBezTo>
                      <a:cubicBezTo>
                        <a:pt x="811375" y="1723195"/>
                        <a:pt x="871102" y="1618380"/>
                        <a:pt x="927316" y="1510637"/>
                      </a:cubicBezTo>
                      <a:cubicBezTo>
                        <a:pt x="913848" y="1505367"/>
                        <a:pt x="900380" y="1499512"/>
                        <a:pt x="886326" y="1495999"/>
                      </a:cubicBezTo>
                      <a:cubicBezTo>
                        <a:pt x="842995" y="1484873"/>
                        <a:pt x="823672" y="1454424"/>
                        <a:pt x="817816" y="1410507"/>
                      </a:cubicBezTo>
                      <a:cubicBezTo>
                        <a:pt x="813132" y="1370689"/>
                        <a:pt x="815474" y="1289296"/>
                        <a:pt x="817231" y="1288125"/>
                      </a:cubicBezTo>
                      <a:cubicBezTo>
                        <a:pt x="926145" y="1219615"/>
                        <a:pt x="1004610" y="1129438"/>
                        <a:pt x="1029788" y="1000615"/>
                      </a:cubicBezTo>
                      <a:cubicBezTo>
                        <a:pt x="1033888" y="990661"/>
                        <a:pt x="1035059" y="979535"/>
                        <a:pt x="1037986" y="968995"/>
                      </a:cubicBezTo>
                      <a:cubicBezTo>
                        <a:pt x="1040329" y="961969"/>
                        <a:pt x="1040914" y="956113"/>
                        <a:pt x="1050283" y="954942"/>
                      </a:cubicBezTo>
                      <a:cubicBezTo>
                        <a:pt x="1074877" y="952014"/>
                        <a:pt x="1091858" y="936204"/>
                        <a:pt x="1107083" y="918637"/>
                      </a:cubicBezTo>
                      <a:cubicBezTo>
                        <a:pt x="1142802" y="877648"/>
                        <a:pt x="1167980" y="830218"/>
                        <a:pt x="1179691" y="776346"/>
                      </a:cubicBezTo>
                      <a:cubicBezTo>
                        <a:pt x="1187889" y="741213"/>
                        <a:pt x="1188475" y="706079"/>
                        <a:pt x="1174422" y="672117"/>
                      </a:cubicBezTo>
                      <a:close/>
                    </a:path>
                  </a:pathLst>
                </a:custGeom>
                <a:solidFill>
                  <a:srgbClr val="998675"/>
                </a:solidFill>
                <a:ln w="5853"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EDAFA3BA-301D-4104-817A-53A4C41A57B9}"/>
                    </a:ext>
                  </a:extLst>
                </p:cNvPr>
                <p:cNvSpPr/>
                <p:nvPr/>
              </p:nvSpPr>
              <p:spPr>
                <a:xfrm>
                  <a:off x="7505528" y="6134284"/>
                  <a:ext cx="2031890" cy="521147"/>
                </a:xfrm>
                <a:custGeom>
                  <a:avLst/>
                  <a:gdLst>
                    <a:gd name="connsiteX0" fmla="*/ 1352337 w 2031889"/>
                    <a:gd name="connsiteY0" fmla="*/ 0 h 521147"/>
                    <a:gd name="connsiteX1" fmla="*/ 1485260 w 2031889"/>
                    <a:gd name="connsiteY1" fmla="*/ 42160 h 521147"/>
                    <a:gd name="connsiteX2" fmla="*/ 1774526 w 2031889"/>
                    <a:gd name="connsiteY2" fmla="*/ 137606 h 521147"/>
                    <a:gd name="connsiteX3" fmla="*/ 2026316 w 2031889"/>
                    <a:gd name="connsiteY3" fmla="*/ 463177 h 521147"/>
                    <a:gd name="connsiteX4" fmla="*/ 2032757 w 2031889"/>
                    <a:gd name="connsiteY4" fmla="*/ 510022 h 521147"/>
                    <a:gd name="connsiteX5" fmla="*/ 2018704 w 2031889"/>
                    <a:gd name="connsiteY5" fmla="*/ 525832 h 521147"/>
                    <a:gd name="connsiteX6" fmla="*/ 2006993 w 2031889"/>
                    <a:gd name="connsiteY6" fmla="*/ 525832 h 521147"/>
                    <a:gd name="connsiteX7" fmla="*/ 26632 w 2031889"/>
                    <a:gd name="connsiteY7" fmla="*/ 525832 h 521147"/>
                    <a:gd name="connsiteX8" fmla="*/ 2038 w 2031889"/>
                    <a:gd name="connsiteY8" fmla="*/ 495968 h 521147"/>
                    <a:gd name="connsiteX9" fmla="*/ 84017 w 2031889"/>
                    <a:gd name="connsiteY9" fmla="*/ 273456 h 521147"/>
                    <a:gd name="connsiteX10" fmla="*/ 280765 w 2031889"/>
                    <a:gd name="connsiteY10" fmla="*/ 128823 h 521147"/>
                    <a:gd name="connsiteX11" fmla="*/ 655523 w 2031889"/>
                    <a:gd name="connsiteY11" fmla="*/ 6441 h 521147"/>
                    <a:gd name="connsiteX12" fmla="*/ 681873 w 2031889"/>
                    <a:gd name="connsiteY12" fmla="*/ 0 h 521147"/>
                    <a:gd name="connsiteX13" fmla="*/ 722276 w 2031889"/>
                    <a:gd name="connsiteY13" fmla="*/ 59141 h 521147"/>
                    <a:gd name="connsiteX14" fmla="*/ 953572 w 2031889"/>
                    <a:gd name="connsiteY14" fmla="*/ 329670 h 521147"/>
                    <a:gd name="connsiteX15" fmla="*/ 1085323 w 2031889"/>
                    <a:gd name="connsiteY15" fmla="*/ 339038 h 521147"/>
                    <a:gd name="connsiteX16" fmla="*/ 1214731 w 2031889"/>
                    <a:gd name="connsiteY16" fmla="*/ 212558 h 521147"/>
                    <a:gd name="connsiteX17" fmla="*/ 1332429 w 2031889"/>
                    <a:gd name="connsiteY17" fmla="*/ 23422 h 521147"/>
                    <a:gd name="connsiteX18" fmla="*/ 1352337 w 2031889"/>
                    <a:gd name="connsiteY18" fmla="*/ 0 h 5211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031889" h="521147">
                      <a:moveTo>
                        <a:pt x="1352337" y="0"/>
                      </a:moveTo>
                      <a:cubicBezTo>
                        <a:pt x="1398011" y="10540"/>
                        <a:pt x="1441343" y="28107"/>
                        <a:pt x="1485260" y="42160"/>
                      </a:cubicBezTo>
                      <a:cubicBezTo>
                        <a:pt x="1581877" y="73780"/>
                        <a:pt x="1679665" y="101302"/>
                        <a:pt x="1774526" y="137606"/>
                      </a:cubicBezTo>
                      <a:cubicBezTo>
                        <a:pt x="1920330" y="193234"/>
                        <a:pt x="1998795" y="308589"/>
                        <a:pt x="2026316" y="463177"/>
                      </a:cubicBezTo>
                      <a:cubicBezTo>
                        <a:pt x="2029244" y="478401"/>
                        <a:pt x="2029244" y="494797"/>
                        <a:pt x="2032757" y="510022"/>
                      </a:cubicBezTo>
                      <a:cubicBezTo>
                        <a:pt x="2036270" y="524661"/>
                        <a:pt x="2029829" y="526418"/>
                        <a:pt x="2018704" y="525832"/>
                      </a:cubicBezTo>
                      <a:cubicBezTo>
                        <a:pt x="2014605" y="525832"/>
                        <a:pt x="2011091" y="525832"/>
                        <a:pt x="2006993" y="525832"/>
                      </a:cubicBezTo>
                      <a:cubicBezTo>
                        <a:pt x="1347068" y="525832"/>
                        <a:pt x="686557" y="525832"/>
                        <a:pt x="26632" y="525832"/>
                      </a:cubicBezTo>
                      <a:cubicBezTo>
                        <a:pt x="-2646" y="525832"/>
                        <a:pt x="-2060" y="525832"/>
                        <a:pt x="2038" y="495968"/>
                      </a:cubicBezTo>
                      <a:cubicBezTo>
                        <a:pt x="13164" y="415161"/>
                        <a:pt x="36587" y="339624"/>
                        <a:pt x="84017" y="273456"/>
                      </a:cubicBezTo>
                      <a:cubicBezTo>
                        <a:pt x="134375" y="203189"/>
                        <a:pt x="199372" y="153416"/>
                        <a:pt x="280765" y="128823"/>
                      </a:cubicBezTo>
                      <a:cubicBezTo>
                        <a:pt x="406660" y="90762"/>
                        <a:pt x="530213" y="46845"/>
                        <a:pt x="655523" y="6441"/>
                      </a:cubicBezTo>
                      <a:cubicBezTo>
                        <a:pt x="664306" y="3513"/>
                        <a:pt x="673089" y="2342"/>
                        <a:pt x="681873" y="0"/>
                      </a:cubicBezTo>
                      <a:cubicBezTo>
                        <a:pt x="702367" y="14639"/>
                        <a:pt x="709394" y="39232"/>
                        <a:pt x="722276" y="59141"/>
                      </a:cubicBezTo>
                      <a:cubicBezTo>
                        <a:pt x="787859" y="159858"/>
                        <a:pt x="859882" y="254718"/>
                        <a:pt x="953572" y="329670"/>
                      </a:cubicBezTo>
                      <a:cubicBezTo>
                        <a:pt x="996318" y="364217"/>
                        <a:pt x="1039063" y="368316"/>
                        <a:pt x="1085323" y="339038"/>
                      </a:cubicBezTo>
                      <a:cubicBezTo>
                        <a:pt x="1137437" y="306247"/>
                        <a:pt x="1177841" y="261159"/>
                        <a:pt x="1214731" y="212558"/>
                      </a:cubicBezTo>
                      <a:cubicBezTo>
                        <a:pt x="1259234" y="153416"/>
                        <a:pt x="1298466" y="90176"/>
                        <a:pt x="1332429" y="23422"/>
                      </a:cubicBezTo>
                      <a:cubicBezTo>
                        <a:pt x="1337698" y="13468"/>
                        <a:pt x="1342383" y="4099"/>
                        <a:pt x="1352337" y="0"/>
                      </a:cubicBezTo>
                      <a:close/>
                    </a:path>
                  </a:pathLst>
                </a:custGeom>
                <a:solidFill>
                  <a:schemeClr val="accent2"/>
                </a:solidFill>
                <a:ln w="5853"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47FC3BCA-09C8-4DD2-8E93-1BFD1B0BCF04}"/>
                    </a:ext>
                  </a:extLst>
                </p:cNvPr>
                <p:cNvSpPr/>
                <p:nvPr/>
              </p:nvSpPr>
              <p:spPr>
                <a:xfrm>
                  <a:off x="7984359" y="4464029"/>
                  <a:ext cx="1059862" cy="1100851"/>
                </a:xfrm>
                <a:custGeom>
                  <a:avLst/>
                  <a:gdLst>
                    <a:gd name="connsiteX0" fmla="*/ 1048004 w 1059861"/>
                    <a:gd name="connsiteY0" fmla="*/ 757953 h 1100850"/>
                    <a:gd name="connsiteX1" fmla="*/ 960755 w 1059861"/>
                    <a:gd name="connsiteY1" fmla="*/ 1048976 h 1100850"/>
                    <a:gd name="connsiteX2" fmla="*/ 959584 w 1059861"/>
                    <a:gd name="connsiteY2" fmla="*/ 972268 h 1100850"/>
                    <a:gd name="connsiteX3" fmla="*/ 984178 w 1059861"/>
                    <a:gd name="connsiteY3" fmla="*/ 727505 h 1100850"/>
                    <a:gd name="connsiteX4" fmla="*/ 949044 w 1059861"/>
                    <a:gd name="connsiteY4" fmla="*/ 534270 h 1100850"/>
                    <a:gd name="connsiteX5" fmla="*/ 927379 w 1059861"/>
                    <a:gd name="connsiteY5" fmla="*/ 478642 h 1100850"/>
                    <a:gd name="connsiteX6" fmla="*/ 868823 w 1059861"/>
                    <a:gd name="connsiteY6" fmla="*/ 418329 h 1100850"/>
                    <a:gd name="connsiteX7" fmla="*/ 648653 w 1059861"/>
                    <a:gd name="connsiteY7" fmla="*/ 365043 h 1100850"/>
                    <a:gd name="connsiteX8" fmla="*/ 348261 w 1059861"/>
                    <a:gd name="connsiteY8" fmla="*/ 373827 h 1100850"/>
                    <a:gd name="connsiteX9" fmla="*/ 195430 w 1059861"/>
                    <a:gd name="connsiteY9" fmla="*/ 421843 h 1100850"/>
                    <a:gd name="connsiteX10" fmla="*/ 155026 w 1059861"/>
                    <a:gd name="connsiteY10" fmla="*/ 464003 h 1100850"/>
                    <a:gd name="connsiteX11" fmla="*/ 91786 w 1059861"/>
                    <a:gd name="connsiteY11" fmla="*/ 672462 h 1100850"/>
                    <a:gd name="connsiteX12" fmla="*/ 96470 w 1059861"/>
                    <a:gd name="connsiteY12" fmla="*/ 824122 h 1100850"/>
                    <a:gd name="connsiteX13" fmla="*/ 105254 w 1059861"/>
                    <a:gd name="connsiteY13" fmla="*/ 1102262 h 1100850"/>
                    <a:gd name="connsiteX14" fmla="*/ 30888 w 1059861"/>
                    <a:gd name="connsiteY14" fmla="*/ 770836 h 1100850"/>
                    <a:gd name="connsiteX15" fmla="*/ 1024 w 1059861"/>
                    <a:gd name="connsiteY15" fmla="*/ 550666 h 1100850"/>
                    <a:gd name="connsiteX16" fmla="*/ 9222 w 1059861"/>
                    <a:gd name="connsiteY16" fmla="*/ 403690 h 1100850"/>
                    <a:gd name="connsiteX17" fmla="*/ 127505 w 1059861"/>
                    <a:gd name="connsiteY17" fmla="*/ 161854 h 1100850"/>
                    <a:gd name="connsiteX18" fmla="*/ 299074 w 1059861"/>
                    <a:gd name="connsiteY18" fmla="*/ 47085 h 1100850"/>
                    <a:gd name="connsiteX19" fmla="*/ 810852 w 1059861"/>
                    <a:gd name="connsiteY19" fmla="*/ 55868 h 1100850"/>
                    <a:gd name="connsiteX20" fmla="*/ 1032194 w 1059861"/>
                    <a:gd name="connsiteY20" fmla="*/ 321127 h 1100850"/>
                    <a:gd name="connsiteX21" fmla="*/ 1048004 w 1059861"/>
                    <a:gd name="connsiteY21" fmla="*/ 757953 h 1100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59861" h="1100850">
                      <a:moveTo>
                        <a:pt x="1048004" y="757953"/>
                      </a:moveTo>
                      <a:cubicBezTo>
                        <a:pt x="1028095" y="857498"/>
                        <a:pt x="991790" y="952359"/>
                        <a:pt x="960755" y="1048976"/>
                      </a:cubicBezTo>
                      <a:cubicBezTo>
                        <a:pt x="956071" y="1023212"/>
                        <a:pt x="956657" y="998033"/>
                        <a:pt x="959584" y="972268"/>
                      </a:cubicBezTo>
                      <a:cubicBezTo>
                        <a:pt x="967782" y="890875"/>
                        <a:pt x="975394" y="808897"/>
                        <a:pt x="984178" y="727505"/>
                      </a:cubicBezTo>
                      <a:cubicBezTo>
                        <a:pt x="991790" y="659580"/>
                        <a:pt x="970710" y="596925"/>
                        <a:pt x="949044" y="534270"/>
                      </a:cubicBezTo>
                      <a:cubicBezTo>
                        <a:pt x="942603" y="515532"/>
                        <a:pt x="932649" y="497380"/>
                        <a:pt x="927379" y="478642"/>
                      </a:cubicBezTo>
                      <a:cubicBezTo>
                        <a:pt x="918595" y="447607"/>
                        <a:pt x="896929" y="431212"/>
                        <a:pt x="868823" y="418329"/>
                      </a:cubicBezTo>
                      <a:cubicBezTo>
                        <a:pt x="798556" y="386123"/>
                        <a:pt x="724189" y="372656"/>
                        <a:pt x="648653" y="365043"/>
                      </a:cubicBezTo>
                      <a:cubicBezTo>
                        <a:pt x="548522" y="355089"/>
                        <a:pt x="447806" y="356845"/>
                        <a:pt x="348261" y="373827"/>
                      </a:cubicBezTo>
                      <a:cubicBezTo>
                        <a:pt x="294975" y="383196"/>
                        <a:pt x="243446" y="396078"/>
                        <a:pt x="195430" y="421843"/>
                      </a:cubicBezTo>
                      <a:cubicBezTo>
                        <a:pt x="177277" y="431797"/>
                        <a:pt x="163224" y="444094"/>
                        <a:pt x="155026" y="464003"/>
                      </a:cubicBezTo>
                      <a:cubicBezTo>
                        <a:pt x="127505" y="531928"/>
                        <a:pt x="100569" y="599267"/>
                        <a:pt x="91786" y="672462"/>
                      </a:cubicBezTo>
                      <a:cubicBezTo>
                        <a:pt x="85930" y="722820"/>
                        <a:pt x="93543" y="773764"/>
                        <a:pt x="96470" y="824122"/>
                      </a:cubicBezTo>
                      <a:cubicBezTo>
                        <a:pt x="101155" y="916640"/>
                        <a:pt x="112281" y="1009158"/>
                        <a:pt x="105254" y="1102262"/>
                      </a:cubicBezTo>
                      <a:cubicBezTo>
                        <a:pt x="73048" y="993348"/>
                        <a:pt x="51968" y="882092"/>
                        <a:pt x="30888" y="770836"/>
                      </a:cubicBezTo>
                      <a:cubicBezTo>
                        <a:pt x="15663" y="697641"/>
                        <a:pt x="-4831" y="624446"/>
                        <a:pt x="1024" y="550666"/>
                      </a:cubicBezTo>
                      <a:cubicBezTo>
                        <a:pt x="5123" y="501479"/>
                        <a:pt x="8637" y="452877"/>
                        <a:pt x="9222" y="403690"/>
                      </a:cubicBezTo>
                      <a:cubicBezTo>
                        <a:pt x="10393" y="310587"/>
                        <a:pt x="73048" y="233878"/>
                        <a:pt x="127505" y="161854"/>
                      </a:cubicBezTo>
                      <a:cubicBezTo>
                        <a:pt x="172008" y="103299"/>
                        <a:pt x="233491" y="72264"/>
                        <a:pt x="299074" y="47085"/>
                      </a:cubicBezTo>
                      <a:cubicBezTo>
                        <a:pt x="470643" y="-18498"/>
                        <a:pt x="642211" y="-15570"/>
                        <a:pt x="810852" y="55868"/>
                      </a:cubicBezTo>
                      <a:cubicBezTo>
                        <a:pt x="929135" y="105641"/>
                        <a:pt x="1002330" y="195817"/>
                        <a:pt x="1032194" y="321127"/>
                      </a:cubicBezTo>
                      <a:cubicBezTo>
                        <a:pt x="1066741" y="466345"/>
                        <a:pt x="1073183" y="611564"/>
                        <a:pt x="1048004" y="757953"/>
                      </a:cubicBezTo>
                      <a:close/>
                    </a:path>
                  </a:pathLst>
                </a:custGeom>
                <a:solidFill>
                  <a:srgbClr val="2D1F1F"/>
                </a:solidFill>
                <a:ln w="5853"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F0B5FE92-8AC5-4716-A408-89AE5E8E495F}"/>
                    </a:ext>
                  </a:extLst>
                </p:cNvPr>
                <p:cNvSpPr/>
                <p:nvPr/>
              </p:nvSpPr>
              <p:spPr>
                <a:xfrm>
                  <a:off x="8076145" y="5624110"/>
                  <a:ext cx="878338" cy="363047"/>
                </a:xfrm>
                <a:custGeom>
                  <a:avLst/>
                  <a:gdLst>
                    <a:gd name="connsiteX0" fmla="*/ 668708 w 878338"/>
                    <a:gd name="connsiteY0" fmla="*/ 295859 h 363046"/>
                    <a:gd name="connsiteX1" fmla="*/ 247106 w 878338"/>
                    <a:gd name="connsiteY1" fmla="*/ 302886 h 363046"/>
                    <a:gd name="connsiteX2" fmla="*/ 230710 w 878338"/>
                    <a:gd name="connsiteY2" fmla="*/ 294103 h 363046"/>
                    <a:gd name="connsiteX3" fmla="*/ 169812 w 878338"/>
                    <a:gd name="connsiteY3" fmla="*/ 246087 h 363046"/>
                    <a:gd name="connsiteX4" fmla="*/ 3513 w 878338"/>
                    <a:gd name="connsiteY4" fmla="*/ 30601 h 363046"/>
                    <a:gd name="connsiteX5" fmla="*/ 0 w 878338"/>
                    <a:gd name="connsiteY5" fmla="*/ 19475 h 363046"/>
                    <a:gd name="connsiteX6" fmla="*/ 10540 w 878338"/>
                    <a:gd name="connsiteY6" fmla="*/ 27088 h 363046"/>
                    <a:gd name="connsiteX7" fmla="*/ 307418 w 878338"/>
                    <a:gd name="connsiteY7" fmla="*/ 235547 h 363046"/>
                    <a:gd name="connsiteX8" fmla="*/ 423359 w 878338"/>
                    <a:gd name="connsiteY8" fmla="*/ 222664 h 363046"/>
                    <a:gd name="connsiteX9" fmla="*/ 462591 w 878338"/>
                    <a:gd name="connsiteY9" fmla="*/ 219737 h 363046"/>
                    <a:gd name="connsiteX10" fmla="*/ 666951 w 878338"/>
                    <a:gd name="connsiteY10" fmla="*/ 200413 h 363046"/>
                    <a:gd name="connsiteX11" fmla="*/ 869555 w 878338"/>
                    <a:gd name="connsiteY11" fmla="*/ 8935 h 363046"/>
                    <a:gd name="connsiteX12" fmla="*/ 881266 w 878338"/>
                    <a:gd name="connsiteY12" fmla="*/ 152 h 363046"/>
                    <a:gd name="connsiteX13" fmla="*/ 668708 w 878338"/>
                    <a:gd name="connsiteY13" fmla="*/ 295859 h 3630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78338" h="363046">
                      <a:moveTo>
                        <a:pt x="668708" y="295859"/>
                      </a:moveTo>
                      <a:cubicBezTo>
                        <a:pt x="529345" y="382522"/>
                        <a:pt x="389396" y="391891"/>
                        <a:pt x="247106" y="302886"/>
                      </a:cubicBezTo>
                      <a:cubicBezTo>
                        <a:pt x="241836" y="299958"/>
                        <a:pt x="236566" y="297030"/>
                        <a:pt x="230710" y="294103"/>
                      </a:cubicBezTo>
                      <a:cubicBezTo>
                        <a:pt x="212558" y="275365"/>
                        <a:pt x="189721" y="262482"/>
                        <a:pt x="169812" y="246087"/>
                      </a:cubicBezTo>
                      <a:cubicBezTo>
                        <a:pt x="96617" y="187531"/>
                        <a:pt x="35134" y="120777"/>
                        <a:pt x="3513" y="30601"/>
                      </a:cubicBezTo>
                      <a:cubicBezTo>
                        <a:pt x="2342" y="27088"/>
                        <a:pt x="1171" y="23574"/>
                        <a:pt x="0" y="19475"/>
                      </a:cubicBezTo>
                      <a:cubicBezTo>
                        <a:pt x="6441" y="18890"/>
                        <a:pt x="7612" y="24160"/>
                        <a:pt x="10540" y="27088"/>
                      </a:cubicBezTo>
                      <a:cubicBezTo>
                        <a:pt x="89005" y="125462"/>
                        <a:pt x="182694" y="203926"/>
                        <a:pt x="307418" y="235547"/>
                      </a:cubicBezTo>
                      <a:cubicBezTo>
                        <a:pt x="346651" y="245501"/>
                        <a:pt x="386469" y="243159"/>
                        <a:pt x="423359" y="222664"/>
                      </a:cubicBezTo>
                      <a:cubicBezTo>
                        <a:pt x="436241" y="215638"/>
                        <a:pt x="449124" y="212710"/>
                        <a:pt x="462591" y="219737"/>
                      </a:cubicBezTo>
                      <a:cubicBezTo>
                        <a:pt x="534615" y="254870"/>
                        <a:pt x="601369" y="240817"/>
                        <a:pt x="666951" y="200413"/>
                      </a:cubicBezTo>
                      <a:cubicBezTo>
                        <a:pt x="747759" y="150055"/>
                        <a:pt x="815684" y="87400"/>
                        <a:pt x="869555" y="8935"/>
                      </a:cubicBezTo>
                      <a:cubicBezTo>
                        <a:pt x="872483" y="4836"/>
                        <a:pt x="874239" y="-1019"/>
                        <a:pt x="881266" y="152"/>
                      </a:cubicBezTo>
                      <a:cubicBezTo>
                        <a:pt x="858430" y="133074"/>
                        <a:pt x="779379" y="225592"/>
                        <a:pt x="668708" y="295859"/>
                      </a:cubicBezTo>
                      <a:close/>
                    </a:path>
                  </a:pathLst>
                </a:custGeom>
                <a:solidFill>
                  <a:srgbClr val="2D1F1F"/>
                </a:solidFill>
                <a:ln w="5853" cap="flat">
                  <a:noFill/>
                  <a:prstDash val="solid"/>
                  <a:miter/>
                </a:ln>
              </p:spPr>
              <p:txBody>
                <a:bodyPr rtlCol="0" anchor="ctr"/>
                <a:lstStyle/>
                <a:p>
                  <a:endParaRPr lang="en-US" dirty="0"/>
                </a:p>
              </p:txBody>
            </p:sp>
          </p:grpSp>
        </p:grpSp>
        <p:grpSp>
          <p:nvGrpSpPr>
            <p:cNvPr id="71" name="Group 70">
              <a:extLst>
                <a:ext uri="{FF2B5EF4-FFF2-40B4-BE49-F238E27FC236}">
                  <a16:creationId xmlns:a16="http://schemas.microsoft.com/office/drawing/2014/main" id="{DC9C3066-7724-4E0D-B7B7-85B4B2C32BE8}"/>
                </a:ext>
              </a:extLst>
            </p:cNvPr>
            <p:cNvGrpSpPr/>
            <p:nvPr/>
          </p:nvGrpSpPr>
          <p:grpSpPr>
            <a:xfrm>
              <a:off x="7327071" y="4243371"/>
              <a:ext cx="1247857" cy="1247857"/>
              <a:chOff x="5914525" y="3222230"/>
              <a:chExt cx="1741367" cy="1741367"/>
            </a:xfrm>
          </p:grpSpPr>
          <p:sp>
            <p:nvSpPr>
              <p:cNvPr id="54" name="Oval 53">
                <a:extLst>
                  <a:ext uri="{FF2B5EF4-FFF2-40B4-BE49-F238E27FC236}">
                    <a16:creationId xmlns:a16="http://schemas.microsoft.com/office/drawing/2014/main" id="{0C01228B-2E48-4E2E-ABAC-C3642B395217}"/>
                  </a:ext>
                </a:extLst>
              </p:cNvPr>
              <p:cNvSpPr/>
              <p:nvPr/>
            </p:nvSpPr>
            <p:spPr>
              <a:xfrm>
                <a:off x="5914525" y="3222230"/>
                <a:ext cx="1741367" cy="174136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0" name="Group 69">
                <a:extLst>
                  <a:ext uri="{FF2B5EF4-FFF2-40B4-BE49-F238E27FC236}">
                    <a16:creationId xmlns:a16="http://schemas.microsoft.com/office/drawing/2014/main" id="{8AE3239D-AFD7-4E9D-998D-850D91A18BC4}"/>
                  </a:ext>
                </a:extLst>
              </p:cNvPr>
              <p:cNvGrpSpPr/>
              <p:nvPr/>
            </p:nvGrpSpPr>
            <p:grpSpPr>
              <a:xfrm>
                <a:off x="6188520" y="3478652"/>
                <a:ext cx="1193376" cy="1228522"/>
                <a:chOff x="6162914" y="3415961"/>
                <a:chExt cx="1193376" cy="1228522"/>
              </a:xfrm>
            </p:grpSpPr>
            <p:sp>
              <p:nvSpPr>
                <p:cNvPr id="51" name="Freeform: Shape 50">
                  <a:extLst>
                    <a:ext uri="{FF2B5EF4-FFF2-40B4-BE49-F238E27FC236}">
                      <a16:creationId xmlns:a16="http://schemas.microsoft.com/office/drawing/2014/main" id="{B8642E2B-E707-42CF-96EB-A05AB32C9A09}"/>
                    </a:ext>
                  </a:extLst>
                </p:cNvPr>
                <p:cNvSpPr/>
                <p:nvPr/>
              </p:nvSpPr>
              <p:spPr>
                <a:xfrm>
                  <a:off x="6461289" y="3415961"/>
                  <a:ext cx="605647" cy="1035692"/>
                </a:xfrm>
                <a:custGeom>
                  <a:avLst/>
                  <a:gdLst>
                    <a:gd name="connsiteX0" fmla="*/ 216364 w 989594"/>
                    <a:gd name="connsiteY0" fmla="*/ 1501182 h 1692265"/>
                    <a:gd name="connsiteX1" fmla="*/ 128530 w 989594"/>
                    <a:gd name="connsiteY1" fmla="*/ 1386412 h 1692265"/>
                    <a:gd name="connsiteX2" fmla="*/ 36597 w 989594"/>
                    <a:gd name="connsiteY2" fmla="*/ 1159215 h 1692265"/>
                    <a:gd name="connsiteX3" fmla="*/ 35426 w 989594"/>
                    <a:gd name="connsiteY3" fmla="*/ 1145162 h 1692265"/>
                    <a:gd name="connsiteX4" fmla="*/ 13175 w 989594"/>
                    <a:gd name="connsiteY4" fmla="*/ 938460 h 1692265"/>
                    <a:gd name="connsiteX5" fmla="*/ 2635 w 989594"/>
                    <a:gd name="connsiteY5" fmla="*/ 839500 h 1692265"/>
                    <a:gd name="connsiteX6" fmla="*/ 6734 w 989594"/>
                    <a:gd name="connsiteY6" fmla="*/ 783872 h 1692265"/>
                    <a:gd name="connsiteX7" fmla="*/ 1464 w 989594"/>
                    <a:gd name="connsiteY7" fmla="*/ 670274 h 1692265"/>
                    <a:gd name="connsiteX8" fmla="*/ 3806 w 989594"/>
                    <a:gd name="connsiteY8" fmla="*/ 643338 h 1692265"/>
                    <a:gd name="connsiteX9" fmla="*/ 1464 w 989594"/>
                    <a:gd name="connsiteY9" fmla="*/ 458301 h 1692265"/>
                    <a:gd name="connsiteX10" fmla="*/ 43624 w 989594"/>
                    <a:gd name="connsiteY10" fmla="*/ 223492 h 1692265"/>
                    <a:gd name="connsiteX11" fmla="*/ 50065 w 989594"/>
                    <a:gd name="connsiteY11" fmla="*/ 206511 h 1692265"/>
                    <a:gd name="connsiteX12" fmla="*/ 65875 w 989594"/>
                    <a:gd name="connsiteY12" fmla="*/ 169035 h 1692265"/>
                    <a:gd name="connsiteX13" fmla="*/ 139656 w 989594"/>
                    <a:gd name="connsiteY13" fmla="*/ 101110 h 1692265"/>
                    <a:gd name="connsiteX14" fmla="*/ 165420 w 989594"/>
                    <a:gd name="connsiteY14" fmla="*/ 85300 h 1692265"/>
                    <a:gd name="connsiteX15" fmla="*/ 296000 w 989594"/>
                    <a:gd name="connsiteY15" fmla="*/ 27915 h 1692265"/>
                    <a:gd name="connsiteX16" fmla="*/ 481037 w 989594"/>
                    <a:gd name="connsiteY16" fmla="*/ 2151 h 1692265"/>
                    <a:gd name="connsiteX17" fmla="*/ 776158 w 989594"/>
                    <a:gd name="connsiteY17" fmla="*/ 57193 h 1692265"/>
                    <a:gd name="connsiteX18" fmla="*/ 900297 w 989594"/>
                    <a:gd name="connsiteY18" fmla="*/ 173720 h 1692265"/>
                    <a:gd name="connsiteX19" fmla="*/ 993401 w 989594"/>
                    <a:gd name="connsiteY19" fmla="*/ 525641 h 1692265"/>
                    <a:gd name="connsiteX20" fmla="*/ 988716 w 989594"/>
                    <a:gd name="connsiteY20" fmla="*/ 647437 h 1692265"/>
                    <a:gd name="connsiteX21" fmla="*/ 991059 w 989594"/>
                    <a:gd name="connsiteY21" fmla="*/ 674958 h 1692265"/>
                    <a:gd name="connsiteX22" fmla="*/ 981690 w 989594"/>
                    <a:gd name="connsiteY22" fmla="*/ 874634 h 1692265"/>
                    <a:gd name="connsiteX23" fmla="*/ 965880 w 989594"/>
                    <a:gd name="connsiteY23" fmla="*/ 953099 h 1692265"/>
                    <a:gd name="connsiteX24" fmla="*/ 955339 w 989594"/>
                    <a:gd name="connsiteY24" fmla="*/ 1105344 h 1692265"/>
                    <a:gd name="connsiteX25" fmla="*/ 911423 w 989594"/>
                    <a:gd name="connsiteY25" fmla="*/ 1322001 h 1692265"/>
                    <a:gd name="connsiteX26" fmla="*/ 832372 w 989594"/>
                    <a:gd name="connsiteY26" fmla="*/ 1481273 h 1692265"/>
                    <a:gd name="connsiteX27" fmla="*/ 810121 w 989594"/>
                    <a:gd name="connsiteY27" fmla="*/ 1511136 h 1692265"/>
                    <a:gd name="connsiteX28" fmla="*/ 777330 w 989594"/>
                    <a:gd name="connsiteY28" fmla="*/ 1555639 h 1692265"/>
                    <a:gd name="connsiteX29" fmla="*/ 644993 w 989594"/>
                    <a:gd name="connsiteY29" fmla="*/ 1663382 h 1692265"/>
                    <a:gd name="connsiteX30" fmla="*/ 517341 w 989594"/>
                    <a:gd name="connsiteY30" fmla="*/ 1692660 h 1692265"/>
                    <a:gd name="connsiteX31" fmla="*/ 304783 w 989594"/>
                    <a:gd name="connsiteY31" fmla="*/ 1592529 h 1692265"/>
                    <a:gd name="connsiteX32" fmla="*/ 231003 w 989594"/>
                    <a:gd name="connsiteY32" fmla="*/ 1524019 h 1692265"/>
                    <a:gd name="connsiteX33" fmla="*/ 216364 w 989594"/>
                    <a:gd name="connsiteY33" fmla="*/ 1501182 h 1692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989594" h="1692265">
                      <a:moveTo>
                        <a:pt x="216364" y="1501182"/>
                      </a:moveTo>
                      <a:cubicBezTo>
                        <a:pt x="186501" y="1463120"/>
                        <a:pt x="153709" y="1427987"/>
                        <a:pt x="128530" y="1386412"/>
                      </a:cubicBezTo>
                      <a:cubicBezTo>
                        <a:pt x="85784" y="1316731"/>
                        <a:pt x="59434" y="1272814"/>
                        <a:pt x="36597" y="1159215"/>
                      </a:cubicBezTo>
                      <a:cubicBezTo>
                        <a:pt x="36597" y="1154531"/>
                        <a:pt x="37183" y="1149261"/>
                        <a:pt x="35426" y="1145162"/>
                      </a:cubicBezTo>
                      <a:cubicBezTo>
                        <a:pt x="16103" y="1065526"/>
                        <a:pt x="23130" y="1008141"/>
                        <a:pt x="13175" y="938460"/>
                      </a:cubicBezTo>
                      <a:cubicBezTo>
                        <a:pt x="2635" y="906254"/>
                        <a:pt x="878" y="872877"/>
                        <a:pt x="2635" y="839500"/>
                      </a:cubicBezTo>
                      <a:cubicBezTo>
                        <a:pt x="3806" y="820762"/>
                        <a:pt x="3806" y="802024"/>
                        <a:pt x="6734" y="783872"/>
                      </a:cubicBezTo>
                      <a:cubicBezTo>
                        <a:pt x="12590" y="745225"/>
                        <a:pt x="7319" y="707749"/>
                        <a:pt x="1464" y="670274"/>
                      </a:cubicBezTo>
                      <a:cubicBezTo>
                        <a:pt x="293" y="661490"/>
                        <a:pt x="-2049" y="651536"/>
                        <a:pt x="3806" y="643338"/>
                      </a:cubicBezTo>
                      <a:cubicBezTo>
                        <a:pt x="-878" y="581854"/>
                        <a:pt x="-293" y="520371"/>
                        <a:pt x="1464" y="458301"/>
                      </a:cubicBezTo>
                      <a:cubicBezTo>
                        <a:pt x="4392" y="373981"/>
                        <a:pt x="10247" y="298444"/>
                        <a:pt x="43624" y="223492"/>
                      </a:cubicBezTo>
                      <a:cubicBezTo>
                        <a:pt x="45966" y="218222"/>
                        <a:pt x="51236" y="212952"/>
                        <a:pt x="50065" y="206511"/>
                      </a:cubicBezTo>
                      <a:cubicBezTo>
                        <a:pt x="49480" y="191286"/>
                        <a:pt x="57678" y="179575"/>
                        <a:pt x="65875" y="169035"/>
                      </a:cubicBezTo>
                      <a:cubicBezTo>
                        <a:pt x="81685" y="149712"/>
                        <a:pt x="116233" y="113993"/>
                        <a:pt x="139656" y="101110"/>
                      </a:cubicBezTo>
                      <a:cubicBezTo>
                        <a:pt x="147854" y="94669"/>
                        <a:pt x="156051" y="89399"/>
                        <a:pt x="165420" y="85300"/>
                      </a:cubicBezTo>
                      <a:cubicBezTo>
                        <a:pt x="209337" y="66562"/>
                        <a:pt x="253254" y="48410"/>
                        <a:pt x="296000" y="27915"/>
                      </a:cubicBezTo>
                      <a:cubicBezTo>
                        <a:pt x="355142" y="-191"/>
                        <a:pt x="416625" y="-3119"/>
                        <a:pt x="481037" y="2151"/>
                      </a:cubicBezTo>
                      <a:cubicBezTo>
                        <a:pt x="581753" y="10349"/>
                        <a:pt x="680712" y="22060"/>
                        <a:pt x="776158" y="57193"/>
                      </a:cubicBezTo>
                      <a:cubicBezTo>
                        <a:pt x="830615" y="77688"/>
                        <a:pt x="872776" y="122776"/>
                        <a:pt x="900297" y="173720"/>
                      </a:cubicBezTo>
                      <a:cubicBezTo>
                        <a:pt x="960024" y="283219"/>
                        <a:pt x="998671" y="398574"/>
                        <a:pt x="993401" y="525641"/>
                      </a:cubicBezTo>
                      <a:cubicBezTo>
                        <a:pt x="991644" y="566044"/>
                        <a:pt x="991059" y="606448"/>
                        <a:pt x="988716" y="647437"/>
                      </a:cubicBezTo>
                      <a:cubicBezTo>
                        <a:pt x="993401" y="656220"/>
                        <a:pt x="992815" y="665589"/>
                        <a:pt x="991059" y="674958"/>
                      </a:cubicBezTo>
                      <a:cubicBezTo>
                        <a:pt x="978762" y="741126"/>
                        <a:pt x="983446" y="807880"/>
                        <a:pt x="981690" y="874634"/>
                      </a:cubicBezTo>
                      <a:cubicBezTo>
                        <a:pt x="981104" y="901569"/>
                        <a:pt x="982275" y="929091"/>
                        <a:pt x="965880" y="953099"/>
                      </a:cubicBezTo>
                      <a:cubicBezTo>
                        <a:pt x="951241" y="1002871"/>
                        <a:pt x="955339" y="1053815"/>
                        <a:pt x="955339" y="1105344"/>
                      </a:cubicBezTo>
                      <a:cubicBezTo>
                        <a:pt x="954754" y="1179710"/>
                        <a:pt x="923719" y="1249977"/>
                        <a:pt x="911423" y="1322001"/>
                      </a:cubicBezTo>
                      <a:cubicBezTo>
                        <a:pt x="900882" y="1383484"/>
                        <a:pt x="867506" y="1432671"/>
                        <a:pt x="832372" y="1481273"/>
                      </a:cubicBezTo>
                      <a:cubicBezTo>
                        <a:pt x="825345" y="1491227"/>
                        <a:pt x="817148" y="1501182"/>
                        <a:pt x="810121" y="1511136"/>
                      </a:cubicBezTo>
                      <a:cubicBezTo>
                        <a:pt x="805436" y="1530460"/>
                        <a:pt x="790797" y="1543342"/>
                        <a:pt x="777330" y="1555639"/>
                      </a:cubicBezTo>
                      <a:cubicBezTo>
                        <a:pt x="734584" y="1593700"/>
                        <a:pt x="691838" y="1631176"/>
                        <a:pt x="644993" y="1663382"/>
                      </a:cubicBezTo>
                      <a:cubicBezTo>
                        <a:pt x="606346" y="1689732"/>
                        <a:pt x="561844" y="1693245"/>
                        <a:pt x="517341" y="1692660"/>
                      </a:cubicBezTo>
                      <a:cubicBezTo>
                        <a:pt x="431850" y="1691488"/>
                        <a:pt x="363339" y="1651670"/>
                        <a:pt x="304783" y="1592529"/>
                      </a:cubicBezTo>
                      <a:cubicBezTo>
                        <a:pt x="280776" y="1568521"/>
                        <a:pt x="253840" y="1548612"/>
                        <a:pt x="231003" y="1524019"/>
                      </a:cubicBezTo>
                      <a:cubicBezTo>
                        <a:pt x="224562" y="1517578"/>
                        <a:pt x="216364" y="1511722"/>
                        <a:pt x="216364" y="1501182"/>
                      </a:cubicBezTo>
                      <a:close/>
                    </a:path>
                  </a:pathLst>
                </a:custGeom>
                <a:solidFill>
                  <a:srgbClr val="714B25"/>
                </a:solidFill>
                <a:ln w="5853"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9066C961-C293-491B-B52A-C3431E515CFC}"/>
                    </a:ext>
                  </a:extLst>
                </p:cNvPr>
                <p:cNvSpPr/>
                <p:nvPr/>
              </p:nvSpPr>
              <p:spPr>
                <a:xfrm>
                  <a:off x="6162914" y="4357786"/>
                  <a:ext cx="1193376" cy="286697"/>
                </a:xfrm>
                <a:custGeom>
                  <a:avLst/>
                  <a:gdLst>
                    <a:gd name="connsiteX0" fmla="*/ 1948526 w 1949911"/>
                    <a:gd name="connsiteY0" fmla="*/ 469970 h 468447"/>
                    <a:gd name="connsiteX1" fmla="*/ 1143968 w 1949911"/>
                    <a:gd name="connsiteY1" fmla="*/ 469970 h 468447"/>
                    <a:gd name="connsiteX2" fmla="*/ 27307 w 1949911"/>
                    <a:gd name="connsiteY2" fmla="*/ 469970 h 468447"/>
                    <a:gd name="connsiteX3" fmla="*/ 2128 w 1949911"/>
                    <a:gd name="connsiteY3" fmla="*/ 440107 h 468447"/>
                    <a:gd name="connsiteX4" fmla="*/ 53071 w 1949911"/>
                    <a:gd name="connsiteY4" fmla="*/ 275565 h 468447"/>
                    <a:gd name="connsiteX5" fmla="*/ 278511 w 1949911"/>
                    <a:gd name="connsiteY5" fmla="*/ 94041 h 468447"/>
                    <a:gd name="connsiteX6" fmla="*/ 557238 w 1949911"/>
                    <a:gd name="connsiteY6" fmla="*/ 6208 h 468447"/>
                    <a:gd name="connsiteX7" fmla="*/ 581831 w 1949911"/>
                    <a:gd name="connsiteY7" fmla="*/ 352 h 468447"/>
                    <a:gd name="connsiteX8" fmla="*/ 596470 w 1949911"/>
                    <a:gd name="connsiteY8" fmla="*/ 29044 h 468447"/>
                    <a:gd name="connsiteX9" fmla="*/ 885151 w 1949911"/>
                    <a:gd name="connsiteY9" fmla="*/ 335877 h 468447"/>
                    <a:gd name="connsiteX10" fmla="*/ 1067259 w 1949911"/>
                    <a:gd name="connsiteY10" fmla="*/ 331193 h 468447"/>
                    <a:gd name="connsiteX11" fmla="*/ 1354769 w 1949911"/>
                    <a:gd name="connsiteY11" fmla="*/ 36071 h 468447"/>
                    <a:gd name="connsiteX12" fmla="*/ 1375849 w 1949911"/>
                    <a:gd name="connsiteY12" fmla="*/ 938 h 468447"/>
                    <a:gd name="connsiteX13" fmla="*/ 1677997 w 1949911"/>
                    <a:gd name="connsiteY13" fmla="*/ 96384 h 468447"/>
                    <a:gd name="connsiteX14" fmla="*/ 1947940 w 1949911"/>
                    <a:gd name="connsiteY14" fmla="*/ 423126 h 468447"/>
                    <a:gd name="connsiteX15" fmla="*/ 1948526 w 1949911"/>
                    <a:gd name="connsiteY15" fmla="*/ 469970 h 4684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949911" h="468447">
                      <a:moveTo>
                        <a:pt x="1948526" y="469970"/>
                      </a:moveTo>
                      <a:cubicBezTo>
                        <a:pt x="1680340" y="469970"/>
                        <a:pt x="1412154" y="469970"/>
                        <a:pt x="1143968" y="469970"/>
                      </a:cubicBezTo>
                      <a:cubicBezTo>
                        <a:pt x="771552" y="469970"/>
                        <a:pt x="399722" y="469970"/>
                        <a:pt x="27307" y="469970"/>
                      </a:cubicBezTo>
                      <a:cubicBezTo>
                        <a:pt x="-3142" y="469970"/>
                        <a:pt x="-1971" y="469970"/>
                        <a:pt x="2128" y="440107"/>
                      </a:cubicBezTo>
                      <a:cubicBezTo>
                        <a:pt x="10325" y="382722"/>
                        <a:pt x="24964" y="327094"/>
                        <a:pt x="53071" y="275565"/>
                      </a:cubicBezTo>
                      <a:cubicBezTo>
                        <a:pt x="103429" y="184803"/>
                        <a:pt x="178381" y="122734"/>
                        <a:pt x="278511" y="94041"/>
                      </a:cubicBezTo>
                      <a:cubicBezTo>
                        <a:pt x="372201" y="67691"/>
                        <a:pt x="464134" y="34900"/>
                        <a:pt x="557238" y="6208"/>
                      </a:cubicBezTo>
                      <a:cubicBezTo>
                        <a:pt x="565435" y="3865"/>
                        <a:pt x="573048" y="-1405"/>
                        <a:pt x="581831" y="352"/>
                      </a:cubicBezTo>
                      <a:cubicBezTo>
                        <a:pt x="591786" y="7379"/>
                        <a:pt x="592371" y="19090"/>
                        <a:pt x="596470" y="29044"/>
                      </a:cubicBezTo>
                      <a:cubicBezTo>
                        <a:pt x="650341" y="171335"/>
                        <a:pt x="744031" y="274394"/>
                        <a:pt x="885151" y="335877"/>
                      </a:cubicBezTo>
                      <a:cubicBezTo>
                        <a:pt x="948391" y="363399"/>
                        <a:pt x="1005776" y="359885"/>
                        <a:pt x="1067259" y="331193"/>
                      </a:cubicBezTo>
                      <a:cubicBezTo>
                        <a:pt x="1200181" y="267952"/>
                        <a:pt x="1296213" y="170750"/>
                        <a:pt x="1354769" y="36071"/>
                      </a:cubicBezTo>
                      <a:cubicBezTo>
                        <a:pt x="1360039" y="23774"/>
                        <a:pt x="1362381" y="8550"/>
                        <a:pt x="1375849" y="938"/>
                      </a:cubicBezTo>
                      <a:cubicBezTo>
                        <a:pt x="1477151" y="31972"/>
                        <a:pt x="1577281" y="64763"/>
                        <a:pt x="1677997" y="96384"/>
                      </a:cubicBezTo>
                      <a:cubicBezTo>
                        <a:pt x="1836684" y="146742"/>
                        <a:pt x="1922761" y="260926"/>
                        <a:pt x="1947940" y="423126"/>
                      </a:cubicBezTo>
                      <a:cubicBezTo>
                        <a:pt x="1950282" y="438350"/>
                        <a:pt x="1958480" y="454160"/>
                        <a:pt x="1948526" y="469970"/>
                      </a:cubicBezTo>
                      <a:close/>
                    </a:path>
                  </a:pathLst>
                </a:custGeom>
                <a:solidFill>
                  <a:schemeClr val="accent2"/>
                </a:solidFill>
                <a:ln w="5853"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C5963E67-371E-4F8A-8BA8-896715128485}"/>
                    </a:ext>
                  </a:extLst>
                </p:cNvPr>
                <p:cNvSpPr/>
                <p:nvPr/>
              </p:nvSpPr>
              <p:spPr>
                <a:xfrm>
                  <a:off x="6413005" y="3571603"/>
                  <a:ext cx="696472" cy="1011170"/>
                </a:xfrm>
                <a:custGeom>
                  <a:avLst/>
                  <a:gdLst>
                    <a:gd name="connsiteX0" fmla="*/ 252462 w 1016287"/>
                    <a:gd name="connsiteY0" fmla="*/ 1114041 h 1475493"/>
                    <a:gd name="connsiteX1" fmla="*/ 373260 w 1016287"/>
                    <a:gd name="connsiteY1" fmla="*/ 1223335 h 1475493"/>
                    <a:gd name="connsiteX2" fmla="*/ 608580 w 1016287"/>
                    <a:gd name="connsiteY2" fmla="*/ 1265692 h 1475493"/>
                    <a:gd name="connsiteX3" fmla="*/ 689111 w 1016287"/>
                    <a:gd name="connsiteY3" fmla="*/ 1210261 h 1475493"/>
                    <a:gd name="connsiteX4" fmla="*/ 782716 w 1016287"/>
                    <a:gd name="connsiteY4" fmla="*/ 1121885 h 1475493"/>
                    <a:gd name="connsiteX5" fmla="*/ 862726 w 1016287"/>
                    <a:gd name="connsiteY5" fmla="*/ 1147509 h 1475493"/>
                    <a:gd name="connsiteX6" fmla="*/ 687543 w 1016287"/>
                    <a:gd name="connsiteY6" fmla="*/ 1389628 h 1475493"/>
                    <a:gd name="connsiteX7" fmla="*/ 520727 w 1016287"/>
                    <a:gd name="connsiteY7" fmla="*/ 1472774 h 1475493"/>
                    <a:gd name="connsiteX8" fmla="*/ 491966 w 1016287"/>
                    <a:gd name="connsiteY8" fmla="*/ 1473819 h 1475493"/>
                    <a:gd name="connsiteX9" fmla="*/ 154673 w 1016287"/>
                    <a:gd name="connsiteY9" fmla="*/ 1148555 h 1475493"/>
                    <a:gd name="connsiteX10" fmla="*/ 252462 w 1016287"/>
                    <a:gd name="connsiteY10" fmla="*/ 1114041 h 1475493"/>
                    <a:gd name="connsiteX11" fmla="*/ 943780 w 1016287"/>
                    <a:gd name="connsiteY11" fmla="*/ 350558 h 1475493"/>
                    <a:gd name="connsiteX12" fmla="*/ 999211 w 1016287"/>
                    <a:gd name="connsiteY12" fmla="*/ 378797 h 1475493"/>
                    <a:gd name="connsiteX13" fmla="*/ 1002348 w 1016287"/>
                    <a:gd name="connsiteY13" fmla="*/ 515806 h 1475493"/>
                    <a:gd name="connsiteX14" fmla="*/ 945871 w 1016287"/>
                    <a:gd name="connsiteY14" fmla="*/ 609934 h 1475493"/>
                    <a:gd name="connsiteX15" fmla="*/ 923385 w 1016287"/>
                    <a:gd name="connsiteY15" fmla="*/ 623531 h 1475493"/>
                    <a:gd name="connsiteX16" fmla="*/ 930707 w 1016287"/>
                    <a:gd name="connsiteY16" fmla="*/ 447301 h 1475493"/>
                    <a:gd name="connsiteX17" fmla="*/ 943780 w 1016287"/>
                    <a:gd name="connsiteY17" fmla="*/ 350558 h 1475493"/>
                    <a:gd name="connsiteX18" fmla="*/ 63159 w 1016287"/>
                    <a:gd name="connsiteY18" fmla="*/ 346899 h 1475493"/>
                    <a:gd name="connsiteX19" fmla="*/ 70480 w 1016287"/>
                    <a:gd name="connsiteY19" fmla="*/ 509008 h 1475493"/>
                    <a:gd name="connsiteX20" fmla="*/ 71526 w 1016287"/>
                    <a:gd name="connsiteY20" fmla="*/ 610980 h 1475493"/>
                    <a:gd name="connsiteX21" fmla="*/ 408 w 1016287"/>
                    <a:gd name="connsiteY21" fmla="*/ 428476 h 1475493"/>
                    <a:gd name="connsiteX22" fmla="*/ 63159 w 1016287"/>
                    <a:gd name="connsiteY22" fmla="*/ 346899 h 1475493"/>
                    <a:gd name="connsiteX23" fmla="*/ 537330 w 1016287"/>
                    <a:gd name="connsiteY23" fmla="*/ 781 h 1475493"/>
                    <a:gd name="connsiteX24" fmla="*/ 739313 w 1016287"/>
                    <a:gd name="connsiteY24" fmla="*/ 33138 h 1475493"/>
                    <a:gd name="connsiteX25" fmla="*/ 745589 w 1016287"/>
                    <a:gd name="connsiteY25" fmla="*/ 34707 h 1475493"/>
                    <a:gd name="connsiteX26" fmla="*/ 861157 w 1016287"/>
                    <a:gd name="connsiteY26" fmla="*/ 147660 h 1475493"/>
                    <a:gd name="connsiteX27" fmla="*/ 898285 w 1016287"/>
                    <a:gd name="connsiteY27" fmla="*/ 393962 h 1475493"/>
                    <a:gd name="connsiteX28" fmla="*/ 848083 w 1016287"/>
                    <a:gd name="connsiteY28" fmla="*/ 644970 h 1475493"/>
                    <a:gd name="connsiteX29" fmla="*/ 811478 w 1016287"/>
                    <a:gd name="connsiteY29" fmla="*/ 744850 h 1475493"/>
                    <a:gd name="connsiteX30" fmla="*/ 787423 w 1016287"/>
                    <a:gd name="connsiteY30" fmla="*/ 767859 h 1475493"/>
                    <a:gd name="connsiteX31" fmla="*/ 758661 w 1016287"/>
                    <a:gd name="connsiteY31" fmla="*/ 747987 h 1475493"/>
                    <a:gd name="connsiteX32" fmla="*/ 553149 w 1016287"/>
                    <a:gd name="connsiteY32" fmla="*/ 653859 h 1475493"/>
                    <a:gd name="connsiteX33" fmla="*/ 505038 w 1016287"/>
                    <a:gd name="connsiteY33" fmla="*/ 677914 h 1475493"/>
                    <a:gd name="connsiteX34" fmla="*/ 566222 w 1016287"/>
                    <a:gd name="connsiteY34" fmla="*/ 687327 h 1475493"/>
                    <a:gd name="connsiteX35" fmla="*/ 636295 w 1016287"/>
                    <a:gd name="connsiteY35" fmla="*/ 775180 h 1475493"/>
                    <a:gd name="connsiteX36" fmla="*/ 605965 w 1016287"/>
                    <a:gd name="connsiteY36" fmla="*/ 844207 h 1475493"/>
                    <a:gd name="connsiteX37" fmla="*/ 403066 w 1016287"/>
                    <a:gd name="connsiteY37" fmla="*/ 846822 h 1475493"/>
                    <a:gd name="connsiteX38" fmla="*/ 421369 w 1016287"/>
                    <a:gd name="connsiteY38" fmla="*/ 694648 h 1475493"/>
                    <a:gd name="connsiteX39" fmla="*/ 500332 w 1016287"/>
                    <a:gd name="connsiteY39" fmla="*/ 678437 h 1475493"/>
                    <a:gd name="connsiteX40" fmla="*/ 278086 w 1016287"/>
                    <a:gd name="connsiteY40" fmla="*/ 704061 h 1475493"/>
                    <a:gd name="connsiteX41" fmla="*/ 245663 w 1016287"/>
                    <a:gd name="connsiteY41" fmla="*/ 750079 h 1475493"/>
                    <a:gd name="connsiteX42" fmla="*/ 220040 w 1016287"/>
                    <a:gd name="connsiteY42" fmla="*/ 767859 h 1475493"/>
                    <a:gd name="connsiteX43" fmla="*/ 195985 w 1016287"/>
                    <a:gd name="connsiteY43" fmla="*/ 747987 h 1475493"/>
                    <a:gd name="connsiteX44" fmla="*/ 106563 w 1016287"/>
                    <a:gd name="connsiteY44" fmla="*/ 493841 h 1475493"/>
                    <a:gd name="connsiteX45" fmla="*/ 104995 w 1016287"/>
                    <a:gd name="connsiteY45" fmla="*/ 481291 h 1475493"/>
                    <a:gd name="connsiteX46" fmla="*/ 121729 w 1016287"/>
                    <a:gd name="connsiteY46" fmla="*/ 239173 h 1475493"/>
                    <a:gd name="connsiteX47" fmla="*/ 168269 w 1016287"/>
                    <a:gd name="connsiteY47" fmla="*/ 90138 h 1475493"/>
                    <a:gd name="connsiteX48" fmla="*/ 197554 w 1016287"/>
                    <a:gd name="connsiteY48" fmla="*/ 61376 h 1475493"/>
                    <a:gd name="connsiteX49" fmla="*/ 332993 w 1016287"/>
                    <a:gd name="connsiteY49" fmla="*/ 14312 h 1475493"/>
                    <a:gd name="connsiteX50" fmla="*/ 537330 w 1016287"/>
                    <a:gd name="connsiteY50" fmla="*/ 781 h 14754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Lst>
                  <a:rect l="l" t="t" r="r" b="b"/>
                  <a:pathLst>
                    <a:path w="1016287" h="1475493">
                      <a:moveTo>
                        <a:pt x="252462" y="1114041"/>
                      </a:moveTo>
                      <a:cubicBezTo>
                        <a:pt x="292728" y="1150647"/>
                        <a:pt x="331425" y="1188821"/>
                        <a:pt x="373260" y="1223335"/>
                      </a:cubicBezTo>
                      <a:cubicBezTo>
                        <a:pt x="443333" y="1280857"/>
                        <a:pt x="522818" y="1293408"/>
                        <a:pt x="608580" y="1265692"/>
                      </a:cubicBezTo>
                      <a:cubicBezTo>
                        <a:pt x="640478" y="1255234"/>
                        <a:pt x="663488" y="1230133"/>
                        <a:pt x="689111" y="1210261"/>
                      </a:cubicBezTo>
                      <a:cubicBezTo>
                        <a:pt x="723103" y="1183591"/>
                        <a:pt x="754478" y="1153785"/>
                        <a:pt x="782716" y="1121885"/>
                      </a:cubicBezTo>
                      <a:cubicBezTo>
                        <a:pt x="809386" y="1130252"/>
                        <a:pt x="836056" y="1139142"/>
                        <a:pt x="862726" y="1147509"/>
                      </a:cubicBezTo>
                      <a:cubicBezTo>
                        <a:pt x="827166" y="1244775"/>
                        <a:pt x="770689" y="1326876"/>
                        <a:pt x="687543" y="1389628"/>
                      </a:cubicBezTo>
                      <a:cubicBezTo>
                        <a:pt x="637341" y="1427801"/>
                        <a:pt x="581387" y="1454995"/>
                        <a:pt x="520727" y="1472774"/>
                      </a:cubicBezTo>
                      <a:cubicBezTo>
                        <a:pt x="510791" y="1475912"/>
                        <a:pt x="501379" y="1476434"/>
                        <a:pt x="491966" y="1473819"/>
                      </a:cubicBezTo>
                      <a:cubicBezTo>
                        <a:pt x="318352" y="1429371"/>
                        <a:pt x="206443" y="1319555"/>
                        <a:pt x="154673" y="1148555"/>
                      </a:cubicBezTo>
                      <a:cubicBezTo>
                        <a:pt x="185526" y="1131298"/>
                        <a:pt x="221086" y="1128160"/>
                        <a:pt x="252462" y="1114041"/>
                      </a:cubicBezTo>
                      <a:close/>
                      <a:moveTo>
                        <a:pt x="943780" y="350558"/>
                      </a:moveTo>
                      <a:cubicBezTo>
                        <a:pt x="964697" y="344283"/>
                        <a:pt x="985615" y="354742"/>
                        <a:pt x="999211" y="378797"/>
                      </a:cubicBezTo>
                      <a:cubicBezTo>
                        <a:pt x="1024312" y="424292"/>
                        <a:pt x="1018560" y="470311"/>
                        <a:pt x="1002348" y="515806"/>
                      </a:cubicBezTo>
                      <a:cubicBezTo>
                        <a:pt x="989798" y="550843"/>
                        <a:pt x="970972" y="582219"/>
                        <a:pt x="945871" y="609934"/>
                      </a:cubicBezTo>
                      <a:cubicBezTo>
                        <a:pt x="940119" y="616733"/>
                        <a:pt x="932798" y="621962"/>
                        <a:pt x="923385" y="623531"/>
                      </a:cubicBezTo>
                      <a:cubicBezTo>
                        <a:pt x="932275" y="565485"/>
                        <a:pt x="932275" y="506394"/>
                        <a:pt x="930707" y="447301"/>
                      </a:cubicBezTo>
                      <a:cubicBezTo>
                        <a:pt x="930183" y="414880"/>
                        <a:pt x="937504" y="382457"/>
                        <a:pt x="943780" y="350558"/>
                      </a:cubicBezTo>
                      <a:close/>
                      <a:moveTo>
                        <a:pt x="63159" y="346899"/>
                      </a:moveTo>
                      <a:cubicBezTo>
                        <a:pt x="76755" y="400238"/>
                        <a:pt x="75709" y="454623"/>
                        <a:pt x="70480" y="509008"/>
                      </a:cubicBezTo>
                      <a:cubicBezTo>
                        <a:pt x="66819" y="542998"/>
                        <a:pt x="73094" y="576989"/>
                        <a:pt x="71526" y="610980"/>
                      </a:cubicBezTo>
                      <a:cubicBezTo>
                        <a:pt x="24462" y="559210"/>
                        <a:pt x="-3776" y="500118"/>
                        <a:pt x="408" y="428476"/>
                      </a:cubicBezTo>
                      <a:cubicBezTo>
                        <a:pt x="2499" y="393440"/>
                        <a:pt x="26031" y="346375"/>
                        <a:pt x="63159" y="346899"/>
                      </a:cubicBezTo>
                      <a:close/>
                      <a:moveTo>
                        <a:pt x="537330" y="781"/>
                      </a:moveTo>
                      <a:cubicBezTo>
                        <a:pt x="605050" y="3592"/>
                        <a:pt x="672378" y="14051"/>
                        <a:pt x="739313" y="33138"/>
                      </a:cubicBezTo>
                      <a:cubicBezTo>
                        <a:pt x="741405" y="33661"/>
                        <a:pt x="743496" y="34184"/>
                        <a:pt x="745589" y="34707"/>
                      </a:cubicBezTo>
                      <a:cubicBezTo>
                        <a:pt x="804680" y="51441"/>
                        <a:pt x="842331" y="84908"/>
                        <a:pt x="861157" y="147660"/>
                      </a:cubicBezTo>
                      <a:cubicBezTo>
                        <a:pt x="885212" y="228715"/>
                        <a:pt x="888873" y="310815"/>
                        <a:pt x="898285" y="393962"/>
                      </a:cubicBezTo>
                      <a:cubicBezTo>
                        <a:pt x="908744" y="484952"/>
                        <a:pt x="874753" y="563392"/>
                        <a:pt x="848083" y="644970"/>
                      </a:cubicBezTo>
                      <a:cubicBezTo>
                        <a:pt x="837102" y="678437"/>
                        <a:pt x="824028" y="711382"/>
                        <a:pt x="811478" y="744850"/>
                      </a:cubicBezTo>
                      <a:cubicBezTo>
                        <a:pt x="807294" y="756354"/>
                        <a:pt x="801542" y="766290"/>
                        <a:pt x="787423" y="767859"/>
                      </a:cubicBezTo>
                      <a:cubicBezTo>
                        <a:pt x="771735" y="769428"/>
                        <a:pt x="765460" y="758969"/>
                        <a:pt x="758661" y="747987"/>
                      </a:cubicBezTo>
                      <a:cubicBezTo>
                        <a:pt x="710552" y="666410"/>
                        <a:pt x="633157" y="630850"/>
                        <a:pt x="553149" y="653859"/>
                      </a:cubicBezTo>
                      <a:cubicBezTo>
                        <a:pt x="536937" y="658565"/>
                        <a:pt x="521250" y="664318"/>
                        <a:pt x="505038" y="677914"/>
                      </a:cubicBezTo>
                      <a:cubicBezTo>
                        <a:pt x="528048" y="678960"/>
                        <a:pt x="547397" y="681575"/>
                        <a:pt x="566222" y="687327"/>
                      </a:cubicBezTo>
                      <a:cubicBezTo>
                        <a:pt x="609625" y="700924"/>
                        <a:pt x="629497" y="733345"/>
                        <a:pt x="636295" y="775180"/>
                      </a:cubicBezTo>
                      <a:cubicBezTo>
                        <a:pt x="641002" y="803941"/>
                        <a:pt x="628974" y="826950"/>
                        <a:pt x="605965" y="844207"/>
                      </a:cubicBezTo>
                      <a:cubicBezTo>
                        <a:pt x="551580" y="884995"/>
                        <a:pt x="459020" y="886564"/>
                        <a:pt x="403066" y="846822"/>
                      </a:cubicBezTo>
                      <a:cubicBezTo>
                        <a:pt x="350250" y="809170"/>
                        <a:pt x="360187" y="726025"/>
                        <a:pt x="421369" y="694648"/>
                      </a:cubicBezTo>
                      <a:cubicBezTo>
                        <a:pt x="444901" y="682621"/>
                        <a:pt x="470002" y="678437"/>
                        <a:pt x="500332" y="678437"/>
                      </a:cubicBezTo>
                      <a:cubicBezTo>
                        <a:pt x="432874" y="628759"/>
                        <a:pt x="335608" y="641309"/>
                        <a:pt x="278086" y="704061"/>
                      </a:cubicBezTo>
                      <a:cubicBezTo>
                        <a:pt x="265535" y="718180"/>
                        <a:pt x="254554" y="733345"/>
                        <a:pt x="245663" y="750079"/>
                      </a:cubicBezTo>
                      <a:cubicBezTo>
                        <a:pt x="240435" y="760537"/>
                        <a:pt x="233113" y="768382"/>
                        <a:pt x="220040" y="767859"/>
                      </a:cubicBezTo>
                      <a:cubicBezTo>
                        <a:pt x="206967" y="767336"/>
                        <a:pt x="200691" y="759492"/>
                        <a:pt x="195985" y="747987"/>
                      </a:cubicBezTo>
                      <a:cubicBezTo>
                        <a:pt x="161994" y="664841"/>
                        <a:pt x="132710" y="579603"/>
                        <a:pt x="106563" y="493841"/>
                      </a:cubicBezTo>
                      <a:cubicBezTo>
                        <a:pt x="105517" y="489658"/>
                        <a:pt x="104471" y="485474"/>
                        <a:pt x="104995" y="481291"/>
                      </a:cubicBezTo>
                      <a:cubicBezTo>
                        <a:pt x="110747" y="400236"/>
                        <a:pt x="107609" y="319182"/>
                        <a:pt x="121729" y="239173"/>
                      </a:cubicBezTo>
                      <a:cubicBezTo>
                        <a:pt x="130618" y="187926"/>
                        <a:pt x="148921" y="138770"/>
                        <a:pt x="168269" y="90138"/>
                      </a:cubicBezTo>
                      <a:cubicBezTo>
                        <a:pt x="173499" y="76018"/>
                        <a:pt x="186049" y="68697"/>
                        <a:pt x="197554" y="61376"/>
                      </a:cubicBezTo>
                      <a:cubicBezTo>
                        <a:pt x="238866" y="34707"/>
                        <a:pt x="285407" y="22156"/>
                        <a:pt x="332993" y="14312"/>
                      </a:cubicBezTo>
                      <a:cubicBezTo>
                        <a:pt x="401498" y="2808"/>
                        <a:pt x="469610" y="-2030"/>
                        <a:pt x="537330" y="781"/>
                      </a:cubicBezTo>
                      <a:close/>
                    </a:path>
                  </a:pathLst>
                </a:custGeom>
                <a:solidFill>
                  <a:srgbClr val="F8DFC9"/>
                </a:solidFill>
                <a:ln w="5853" cap="flat">
                  <a:noFill/>
                  <a:prstDash val="solid"/>
                  <a:miter/>
                </a:ln>
              </p:spPr>
              <p:txBody>
                <a:bodyPr rtlCol="0" anchor="ctr"/>
                <a:lstStyle/>
                <a:p>
                  <a:endParaRPr lang="en-US" dirty="0"/>
                </a:p>
              </p:txBody>
            </p:sp>
          </p:grpSp>
        </p:grpSp>
        <p:cxnSp>
          <p:nvCxnSpPr>
            <p:cNvPr id="76" name="Straight Connector 75">
              <a:extLst>
                <a:ext uri="{FF2B5EF4-FFF2-40B4-BE49-F238E27FC236}">
                  <a16:creationId xmlns:a16="http://schemas.microsoft.com/office/drawing/2014/main" id="{7D920363-D4CA-4437-B86D-A00F14D74C9B}"/>
                </a:ext>
              </a:extLst>
            </p:cNvPr>
            <p:cNvCxnSpPr>
              <a:cxnSpLocks/>
              <a:stCxn id="27" idx="7"/>
              <a:endCxn id="111" idx="2"/>
            </p:cNvCxnSpPr>
            <p:nvPr/>
          </p:nvCxnSpPr>
          <p:spPr>
            <a:xfrm flipV="1">
              <a:off x="3058887" y="795527"/>
              <a:ext cx="1173284" cy="20206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0" name="Straight Connector 79">
              <a:extLst>
                <a:ext uri="{FF2B5EF4-FFF2-40B4-BE49-F238E27FC236}">
                  <a16:creationId xmlns:a16="http://schemas.microsoft.com/office/drawing/2014/main" id="{644B8488-C121-43A9-99D0-1B28A12DA551}"/>
                </a:ext>
              </a:extLst>
            </p:cNvPr>
            <p:cNvCxnSpPr>
              <a:cxnSpLocks/>
              <a:endCxn id="55" idx="0"/>
            </p:cNvCxnSpPr>
            <p:nvPr/>
          </p:nvCxnSpPr>
          <p:spPr>
            <a:xfrm>
              <a:off x="3037867" y="2263299"/>
              <a:ext cx="698949" cy="107200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82E6A462-67EB-4176-8697-725D3121EF47}"/>
                </a:ext>
              </a:extLst>
            </p:cNvPr>
            <p:cNvCxnSpPr>
              <a:cxnSpLocks/>
              <a:stCxn id="114" idx="4"/>
              <a:endCxn id="112" idx="7"/>
            </p:cNvCxnSpPr>
            <p:nvPr/>
          </p:nvCxnSpPr>
          <p:spPr>
            <a:xfrm flipH="1">
              <a:off x="4870878" y="4552894"/>
              <a:ext cx="709951" cy="1352313"/>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D291B115-C794-40CA-BF01-8989E048B844}"/>
                </a:ext>
              </a:extLst>
            </p:cNvPr>
            <p:cNvCxnSpPr>
              <a:cxnSpLocks/>
              <a:stCxn id="56" idx="4"/>
              <a:endCxn id="54" idx="0"/>
            </p:cNvCxnSpPr>
            <p:nvPr/>
          </p:nvCxnSpPr>
          <p:spPr>
            <a:xfrm flipH="1">
              <a:off x="7951000" y="3327426"/>
              <a:ext cx="129695" cy="91594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473895CB-8F32-44BA-9082-7724AA0E2D1C}"/>
                </a:ext>
              </a:extLst>
            </p:cNvPr>
            <p:cNvCxnSpPr>
              <a:cxnSpLocks/>
              <a:stCxn id="3" idx="3"/>
              <a:endCxn id="55" idx="7"/>
            </p:cNvCxnSpPr>
            <p:nvPr/>
          </p:nvCxnSpPr>
          <p:spPr>
            <a:xfrm flipH="1">
              <a:off x="4208141" y="3379314"/>
              <a:ext cx="475310" cy="15121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4" name="Straight Connector 93">
              <a:extLst>
                <a:ext uri="{FF2B5EF4-FFF2-40B4-BE49-F238E27FC236}">
                  <a16:creationId xmlns:a16="http://schemas.microsoft.com/office/drawing/2014/main" id="{8214C6B6-77F1-4AE1-A659-5D88F3151B82}"/>
                </a:ext>
              </a:extLst>
            </p:cNvPr>
            <p:cNvCxnSpPr>
              <a:cxnSpLocks/>
              <a:stCxn id="56" idx="1"/>
              <a:endCxn id="117" idx="6"/>
            </p:cNvCxnSpPr>
            <p:nvPr/>
          </p:nvCxnSpPr>
          <p:spPr>
            <a:xfrm flipH="1" flipV="1">
              <a:off x="6208183" y="1894661"/>
              <a:ext cx="1535663" cy="61954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4" name="Straight Connector 103">
              <a:extLst>
                <a:ext uri="{FF2B5EF4-FFF2-40B4-BE49-F238E27FC236}">
                  <a16:creationId xmlns:a16="http://schemas.microsoft.com/office/drawing/2014/main" id="{D40710CF-8296-4333-A9E6-819BF3F8C626}"/>
                </a:ext>
              </a:extLst>
            </p:cNvPr>
            <p:cNvCxnSpPr>
              <a:cxnSpLocks/>
              <a:stCxn id="54" idx="1"/>
              <a:endCxn id="115" idx="5"/>
            </p:cNvCxnSpPr>
            <p:nvPr/>
          </p:nvCxnSpPr>
          <p:spPr>
            <a:xfrm flipH="1" flipV="1">
              <a:off x="6718468" y="3251084"/>
              <a:ext cx="791347" cy="117503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11" name="Oval 110">
              <a:extLst>
                <a:ext uri="{FF2B5EF4-FFF2-40B4-BE49-F238E27FC236}">
                  <a16:creationId xmlns:a16="http://schemas.microsoft.com/office/drawing/2014/main" id="{0E21600D-D255-47B7-AED6-0552E522933C}"/>
                </a:ext>
              </a:extLst>
            </p:cNvPr>
            <p:cNvSpPr/>
            <p:nvPr/>
          </p:nvSpPr>
          <p:spPr>
            <a:xfrm>
              <a:off x="4232171" y="642894"/>
              <a:ext cx="305266" cy="3052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2" name="Oval 111">
              <a:extLst>
                <a:ext uri="{FF2B5EF4-FFF2-40B4-BE49-F238E27FC236}">
                  <a16:creationId xmlns:a16="http://schemas.microsoft.com/office/drawing/2014/main" id="{45E4924C-EF28-4D15-B5F7-3649F1E9BEB1}"/>
                </a:ext>
              </a:extLst>
            </p:cNvPr>
            <p:cNvSpPr/>
            <p:nvPr/>
          </p:nvSpPr>
          <p:spPr>
            <a:xfrm>
              <a:off x="4740399" y="5882820"/>
              <a:ext cx="152866" cy="15286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3" name="Oval 112">
              <a:extLst>
                <a:ext uri="{FF2B5EF4-FFF2-40B4-BE49-F238E27FC236}">
                  <a16:creationId xmlns:a16="http://schemas.microsoft.com/office/drawing/2014/main" id="{379CF290-E381-4F82-8C77-AA30FCE6177A}"/>
                </a:ext>
              </a:extLst>
            </p:cNvPr>
            <p:cNvSpPr/>
            <p:nvPr/>
          </p:nvSpPr>
          <p:spPr>
            <a:xfrm>
              <a:off x="1080560" y="3000081"/>
              <a:ext cx="219482" cy="219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4" name="Oval 113">
              <a:extLst>
                <a:ext uri="{FF2B5EF4-FFF2-40B4-BE49-F238E27FC236}">
                  <a16:creationId xmlns:a16="http://schemas.microsoft.com/office/drawing/2014/main" id="{86EFE35E-CB4B-4E4F-96FD-8CDBFB9027E4}"/>
                </a:ext>
              </a:extLst>
            </p:cNvPr>
            <p:cNvSpPr/>
            <p:nvPr/>
          </p:nvSpPr>
          <p:spPr>
            <a:xfrm>
              <a:off x="5468051" y="4327338"/>
              <a:ext cx="225556" cy="225556"/>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5" name="Oval 114">
              <a:extLst>
                <a:ext uri="{FF2B5EF4-FFF2-40B4-BE49-F238E27FC236}">
                  <a16:creationId xmlns:a16="http://schemas.microsoft.com/office/drawing/2014/main" id="{8BE943A0-BF81-4E3F-B9A1-88E846B80DD5}"/>
                </a:ext>
              </a:extLst>
            </p:cNvPr>
            <p:cNvSpPr/>
            <p:nvPr/>
          </p:nvSpPr>
          <p:spPr>
            <a:xfrm>
              <a:off x="6531128" y="3063744"/>
              <a:ext cx="219482" cy="219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6" name="Oval 115">
              <a:extLst>
                <a:ext uri="{FF2B5EF4-FFF2-40B4-BE49-F238E27FC236}">
                  <a16:creationId xmlns:a16="http://schemas.microsoft.com/office/drawing/2014/main" id="{09F0199D-F940-4A6A-9F2B-77ADDA17E0CC}"/>
                </a:ext>
              </a:extLst>
            </p:cNvPr>
            <p:cNvSpPr/>
            <p:nvPr/>
          </p:nvSpPr>
          <p:spPr>
            <a:xfrm>
              <a:off x="6974537" y="860838"/>
              <a:ext cx="219482" cy="219482"/>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7" name="Oval 116">
              <a:extLst>
                <a:ext uri="{FF2B5EF4-FFF2-40B4-BE49-F238E27FC236}">
                  <a16:creationId xmlns:a16="http://schemas.microsoft.com/office/drawing/2014/main" id="{01DDFEE9-2A16-4D69-AB6F-406BE040D946}"/>
                </a:ext>
              </a:extLst>
            </p:cNvPr>
            <p:cNvSpPr/>
            <p:nvPr/>
          </p:nvSpPr>
          <p:spPr>
            <a:xfrm>
              <a:off x="6051993" y="1816566"/>
              <a:ext cx="156190" cy="1561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9" name="Freeform 23">
              <a:extLst>
                <a:ext uri="{FF2B5EF4-FFF2-40B4-BE49-F238E27FC236}">
                  <a16:creationId xmlns:a16="http://schemas.microsoft.com/office/drawing/2014/main" id="{591A26A0-70AD-4690-819B-2484FB72F9B9}"/>
                </a:ext>
              </a:extLst>
            </p:cNvPr>
            <p:cNvSpPr>
              <a:spLocks noChangeAspect="1"/>
            </p:cNvSpPr>
            <p:nvPr/>
          </p:nvSpPr>
          <p:spPr>
            <a:xfrm flipH="1">
              <a:off x="1624630" y="4673975"/>
              <a:ext cx="1129850" cy="718890"/>
            </a:xfrm>
            <a:custGeom>
              <a:avLst/>
              <a:gdLst/>
              <a:ahLst/>
              <a:cxnLst/>
              <a:rect l="l" t="t" r="r" b="b"/>
              <a:pathLst>
                <a:path w="3980365" h="2532594">
                  <a:moveTo>
                    <a:pt x="1988360" y="58973"/>
                  </a:moveTo>
                  <a:cubicBezTo>
                    <a:pt x="1988306" y="58975"/>
                    <a:pt x="1988252" y="58977"/>
                    <a:pt x="1988199" y="58995"/>
                  </a:cubicBezTo>
                  <a:cubicBezTo>
                    <a:pt x="1988145" y="58977"/>
                    <a:pt x="1988091" y="58975"/>
                    <a:pt x="1988037" y="58973"/>
                  </a:cubicBezTo>
                  <a:lnTo>
                    <a:pt x="1988037" y="59017"/>
                  </a:lnTo>
                  <a:cubicBezTo>
                    <a:pt x="1574406" y="74019"/>
                    <a:pt x="1375335" y="406725"/>
                    <a:pt x="1370318" y="708381"/>
                  </a:cubicBezTo>
                  <a:cubicBezTo>
                    <a:pt x="1362506" y="1089140"/>
                    <a:pt x="1497435" y="1312904"/>
                    <a:pt x="1568575" y="1407072"/>
                  </a:cubicBezTo>
                  <a:cubicBezTo>
                    <a:pt x="1631785" y="1490670"/>
                    <a:pt x="1727890" y="1649476"/>
                    <a:pt x="1617443" y="1704159"/>
                  </a:cubicBezTo>
                  <a:cubicBezTo>
                    <a:pt x="1318592" y="1846636"/>
                    <a:pt x="1062028" y="1946829"/>
                    <a:pt x="927030" y="2049664"/>
                  </a:cubicBezTo>
                  <a:cubicBezTo>
                    <a:pt x="705669" y="2234426"/>
                    <a:pt x="740656" y="2445615"/>
                    <a:pt x="754501" y="2532594"/>
                  </a:cubicBezTo>
                  <a:lnTo>
                    <a:pt x="1988199" y="2531551"/>
                  </a:lnTo>
                  <a:lnTo>
                    <a:pt x="3221896" y="2532594"/>
                  </a:lnTo>
                  <a:cubicBezTo>
                    <a:pt x="3235741" y="2445615"/>
                    <a:pt x="3270728" y="2234426"/>
                    <a:pt x="3049367" y="2049664"/>
                  </a:cubicBezTo>
                  <a:cubicBezTo>
                    <a:pt x="2914369" y="1946829"/>
                    <a:pt x="2657805" y="1846636"/>
                    <a:pt x="2358954" y="1704159"/>
                  </a:cubicBezTo>
                  <a:cubicBezTo>
                    <a:pt x="2248507" y="1649476"/>
                    <a:pt x="2344612" y="1490670"/>
                    <a:pt x="2407822" y="1407072"/>
                  </a:cubicBezTo>
                  <a:cubicBezTo>
                    <a:pt x="2478962" y="1312904"/>
                    <a:pt x="2613891" y="1089140"/>
                    <a:pt x="2606079" y="708381"/>
                  </a:cubicBezTo>
                  <a:cubicBezTo>
                    <a:pt x="2601062" y="406725"/>
                    <a:pt x="2401991" y="74019"/>
                    <a:pt x="1988360" y="59017"/>
                  </a:cubicBezTo>
                  <a:close/>
                  <a:moveTo>
                    <a:pt x="1093515" y="0"/>
                  </a:moveTo>
                  <a:cubicBezTo>
                    <a:pt x="736613" y="12826"/>
                    <a:pt x="553627" y="327881"/>
                    <a:pt x="549299" y="588096"/>
                  </a:cubicBezTo>
                  <a:cubicBezTo>
                    <a:pt x="542562" y="916461"/>
                    <a:pt x="658924" y="1109434"/>
                    <a:pt x="720275" y="1190644"/>
                  </a:cubicBezTo>
                  <a:cubicBezTo>
                    <a:pt x="774787" y="1262738"/>
                    <a:pt x="857667" y="1399692"/>
                    <a:pt x="762418" y="1446850"/>
                  </a:cubicBezTo>
                  <a:cubicBezTo>
                    <a:pt x="504691" y="1569722"/>
                    <a:pt x="283431" y="1656128"/>
                    <a:pt x="167010" y="1744812"/>
                  </a:cubicBezTo>
                  <a:cubicBezTo>
                    <a:pt x="-23891" y="1904150"/>
                    <a:pt x="672" y="2013351"/>
                    <a:pt x="1392" y="2161289"/>
                  </a:cubicBezTo>
                  <a:cubicBezTo>
                    <a:pt x="356083" y="2160989"/>
                    <a:pt x="261990" y="2166300"/>
                    <a:pt x="616681" y="2166000"/>
                  </a:cubicBezTo>
                  <a:cubicBezTo>
                    <a:pt x="794788" y="1846239"/>
                    <a:pt x="1045824" y="1778915"/>
                    <a:pt x="1453932" y="1593789"/>
                  </a:cubicBezTo>
                  <a:cubicBezTo>
                    <a:pt x="1171572" y="1115084"/>
                    <a:pt x="1046285" y="714919"/>
                    <a:pt x="1414663" y="124017"/>
                  </a:cubicBezTo>
                  <a:cubicBezTo>
                    <a:pt x="1309485" y="41539"/>
                    <a:pt x="1305280" y="26381"/>
                    <a:pt x="1093515" y="0"/>
                  </a:cubicBezTo>
                  <a:close/>
                  <a:moveTo>
                    <a:pt x="2886850" y="0"/>
                  </a:moveTo>
                  <a:cubicBezTo>
                    <a:pt x="2675085" y="26381"/>
                    <a:pt x="2670880" y="41539"/>
                    <a:pt x="2565702" y="124017"/>
                  </a:cubicBezTo>
                  <a:cubicBezTo>
                    <a:pt x="2934080" y="714919"/>
                    <a:pt x="2808793" y="1115084"/>
                    <a:pt x="2526433" y="1593789"/>
                  </a:cubicBezTo>
                  <a:cubicBezTo>
                    <a:pt x="2934542" y="1778915"/>
                    <a:pt x="3185577" y="1846239"/>
                    <a:pt x="3363685" y="2166000"/>
                  </a:cubicBezTo>
                  <a:cubicBezTo>
                    <a:pt x="3718376" y="2166300"/>
                    <a:pt x="3624282" y="2160989"/>
                    <a:pt x="3978973" y="2161289"/>
                  </a:cubicBezTo>
                  <a:cubicBezTo>
                    <a:pt x="3979693" y="2013351"/>
                    <a:pt x="4004256" y="1904150"/>
                    <a:pt x="3813355" y="1744812"/>
                  </a:cubicBezTo>
                  <a:cubicBezTo>
                    <a:pt x="3696934" y="1656128"/>
                    <a:pt x="3475674" y="1569722"/>
                    <a:pt x="3217947" y="1446850"/>
                  </a:cubicBezTo>
                  <a:cubicBezTo>
                    <a:pt x="3122698" y="1399692"/>
                    <a:pt x="3205579" y="1262738"/>
                    <a:pt x="3260090" y="1190644"/>
                  </a:cubicBezTo>
                  <a:cubicBezTo>
                    <a:pt x="3321441" y="1109434"/>
                    <a:pt x="3437803" y="916461"/>
                    <a:pt x="3431066" y="588096"/>
                  </a:cubicBezTo>
                  <a:cubicBezTo>
                    <a:pt x="3426739" y="327881"/>
                    <a:pt x="3243752" y="12826"/>
                    <a:pt x="2886850" y="0"/>
                  </a:cubicBezTo>
                  <a:close/>
                </a:path>
              </a:pathLst>
            </a:custGeom>
            <a:solidFill>
              <a:schemeClr val="accent2"/>
            </a:solidFill>
            <a:ln>
              <a:noFill/>
            </a:ln>
            <a:scene3d>
              <a:camera prst="isometricTopUp">
                <a:rot lat="19500000" lon="18000000" rev="3300000"/>
              </a:camera>
              <a:lightRig rig="threePt" dir="t"/>
            </a:scene3d>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cxnSp>
          <p:nvCxnSpPr>
            <p:cNvPr id="120" name="Straight Connector 119">
              <a:extLst>
                <a:ext uri="{FF2B5EF4-FFF2-40B4-BE49-F238E27FC236}">
                  <a16:creationId xmlns:a16="http://schemas.microsoft.com/office/drawing/2014/main" id="{9A86EFA3-F62B-4F80-BFC1-4EE4C749CB8D}"/>
                </a:ext>
              </a:extLst>
            </p:cNvPr>
            <p:cNvCxnSpPr>
              <a:cxnSpLocks/>
              <a:stCxn id="113" idx="4"/>
            </p:cNvCxnSpPr>
            <p:nvPr/>
          </p:nvCxnSpPr>
          <p:spPr>
            <a:xfrm>
              <a:off x="1190301" y="3219563"/>
              <a:ext cx="764000" cy="144884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5" name="Straight Connector 124">
              <a:extLst>
                <a:ext uri="{FF2B5EF4-FFF2-40B4-BE49-F238E27FC236}">
                  <a16:creationId xmlns:a16="http://schemas.microsoft.com/office/drawing/2014/main" id="{3DF331C0-36C6-45D4-A4AB-FD0210D2D555}"/>
                </a:ext>
              </a:extLst>
            </p:cNvPr>
            <p:cNvCxnSpPr>
              <a:cxnSpLocks/>
              <a:stCxn id="27" idx="3"/>
              <a:endCxn id="113" idx="0"/>
            </p:cNvCxnSpPr>
            <p:nvPr/>
          </p:nvCxnSpPr>
          <p:spPr>
            <a:xfrm flipH="1">
              <a:off x="1190301" y="2156870"/>
              <a:ext cx="709303" cy="84321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0" name="Straight Connector 129">
              <a:extLst>
                <a:ext uri="{FF2B5EF4-FFF2-40B4-BE49-F238E27FC236}">
                  <a16:creationId xmlns:a16="http://schemas.microsoft.com/office/drawing/2014/main" id="{6943F5EC-3792-4223-B9D2-772813E69E71}"/>
                </a:ext>
              </a:extLst>
            </p:cNvPr>
            <p:cNvCxnSpPr>
              <a:cxnSpLocks/>
              <a:stCxn id="55" idx="3"/>
            </p:cNvCxnSpPr>
            <p:nvPr/>
          </p:nvCxnSpPr>
          <p:spPr>
            <a:xfrm flipH="1">
              <a:off x="2508320" y="4473183"/>
              <a:ext cx="757170" cy="30338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3" name="Straight Connector 132">
              <a:extLst>
                <a:ext uri="{FF2B5EF4-FFF2-40B4-BE49-F238E27FC236}">
                  <a16:creationId xmlns:a16="http://schemas.microsoft.com/office/drawing/2014/main" id="{5DDC8BCF-DDF5-4702-809A-5E4E24FF4D2B}"/>
                </a:ext>
              </a:extLst>
            </p:cNvPr>
            <p:cNvCxnSpPr>
              <a:cxnSpLocks/>
              <a:stCxn id="114" idx="2"/>
              <a:endCxn id="55" idx="6"/>
            </p:cNvCxnSpPr>
            <p:nvPr/>
          </p:nvCxnSpPr>
          <p:spPr>
            <a:xfrm flipH="1" flipV="1">
              <a:off x="4403370" y="4001858"/>
              <a:ext cx="1064681" cy="43825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7" name="Straight Connector 136">
              <a:extLst>
                <a:ext uri="{FF2B5EF4-FFF2-40B4-BE49-F238E27FC236}">
                  <a16:creationId xmlns:a16="http://schemas.microsoft.com/office/drawing/2014/main" id="{6ED2D144-20CA-4593-AB24-778A783B6DA6}"/>
                </a:ext>
              </a:extLst>
            </p:cNvPr>
            <p:cNvCxnSpPr>
              <a:cxnSpLocks/>
              <a:stCxn id="114" idx="6"/>
              <a:endCxn id="54" idx="2"/>
            </p:cNvCxnSpPr>
            <p:nvPr/>
          </p:nvCxnSpPr>
          <p:spPr>
            <a:xfrm>
              <a:off x="5693607" y="4440116"/>
              <a:ext cx="1633464" cy="4271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2" name="Straight Connector 141">
              <a:extLst>
                <a:ext uri="{FF2B5EF4-FFF2-40B4-BE49-F238E27FC236}">
                  <a16:creationId xmlns:a16="http://schemas.microsoft.com/office/drawing/2014/main" id="{B72FAB9B-4D2A-4916-8E05-AE89FA6F7FD7}"/>
                </a:ext>
              </a:extLst>
            </p:cNvPr>
            <p:cNvCxnSpPr>
              <a:cxnSpLocks/>
              <a:stCxn id="117" idx="3"/>
              <a:endCxn id="3" idx="7"/>
            </p:cNvCxnSpPr>
            <p:nvPr/>
          </p:nvCxnSpPr>
          <p:spPr>
            <a:xfrm flipH="1">
              <a:off x="5554737" y="1949883"/>
              <a:ext cx="520129" cy="55814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3" name="Straight Connector 142">
              <a:extLst>
                <a:ext uri="{FF2B5EF4-FFF2-40B4-BE49-F238E27FC236}">
                  <a16:creationId xmlns:a16="http://schemas.microsoft.com/office/drawing/2014/main" id="{4E280BE1-6589-4F4D-953C-A5C9000F0DE0}"/>
                </a:ext>
              </a:extLst>
            </p:cNvPr>
            <p:cNvCxnSpPr>
              <a:cxnSpLocks/>
              <a:stCxn id="117" idx="3"/>
              <a:endCxn id="3" idx="7"/>
            </p:cNvCxnSpPr>
            <p:nvPr/>
          </p:nvCxnSpPr>
          <p:spPr>
            <a:xfrm flipH="1">
              <a:off x="5554737" y="1949883"/>
              <a:ext cx="520129" cy="55814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0" name="Straight Connector 149">
              <a:extLst>
                <a:ext uri="{FF2B5EF4-FFF2-40B4-BE49-F238E27FC236}">
                  <a16:creationId xmlns:a16="http://schemas.microsoft.com/office/drawing/2014/main" id="{90156A78-77BC-4CAE-BA98-ACD4B3FB5F5E}"/>
                </a:ext>
              </a:extLst>
            </p:cNvPr>
            <p:cNvCxnSpPr>
              <a:cxnSpLocks/>
              <a:stCxn id="116" idx="2"/>
              <a:endCxn id="111" idx="6"/>
            </p:cNvCxnSpPr>
            <p:nvPr/>
          </p:nvCxnSpPr>
          <p:spPr>
            <a:xfrm flipH="1" flipV="1">
              <a:off x="4537437" y="795527"/>
              <a:ext cx="2437100" cy="175052"/>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51" name="Straight Connector 150">
              <a:extLst>
                <a:ext uri="{FF2B5EF4-FFF2-40B4-BE49-F238E27FC236}">
                  <a16:creationId xmlns:a16="http://schemas.microsoft.com/office/drawing/2014/main" id="{238E8F51-18A2-4383-A52A-094A946DEDBB}"/>
                </a:ext>
              </a:extLst>
            </p:cNvPr>
            <p:cNvCxnSpPr>
              <a:cxnSpLocks/>
              <a:stCxn id="111" idx="4"/>
              <a:endCxn id="3" idx="0"/>
            </p:cNvCxnSpPr>
            <p:nvPr/>
          </p:nvCxnSpPr>
          <p:spPr>
            <a:xfrm>
              <a:off x="4384804" y="948160"/>
              <a:ext cx="734290" cy="13794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6" name="Straight Connector 165">
              <a:extLst>
                <a:ext uri="{FF2B5EF4-FFF2-40B4-BE49-F238E27FC236}">
                  <a16:creationId xmlns:a16="http://schemas.microsoft.com/office/drawing/2014/main" id="{E549BA6D-5E11-4B2C-936F-1D32DF9A80AD}"/>
                </a:ext>
              </a:extLst>
            </p:cNvPr>
            <p:cNvCxnSpPr>
              <a:cxnSpLocks/>
              <a:stCxn id="116" idx="3"/>
              <a:endCxn id="117" idx="7"/>
            </p:cNvCxnSpPr>
            <p:nvPr/>
          </p:nvCxnSpPr>
          <p:spPr>
            <a:xfrm flipH="1">
              <a:off x="6185310" y="1048178"/>
              <a:ext cx="821369" cy="791261"/>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9" name="Straight Connector 168">
              <a:extLst>
                <a:ext uri="{FF2B5EF4-FFF2-40B4-BE49-F238E27FC236}">
                  <a16:creationId xmlns:a16="http://schemas.microsoft.com/office/drawing/2014/main" id="{D955C761-D1D8-4B39-869E-560D484A7A86}"/>
                </a:ext>
              </a:extLst>
            </p:cNvPr>
            <p:cNvCxnSpPr>
              <a:cxnSpLocks/>
              <a:stCxn id="117" idx="1"/>
              <a:endCxn id="111" idx="5"/>
            </p:cNvCxnSpPr>
            <p:nvPr/>
          </p:nvCxnSpPr>
          <p:spPr>
            <a:xfrm flipH="1" flipV="1">
              <a:off x="4492732" y="903455"/>
              <a:ext cx="1582134" cy="93598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2" name="Straight Connector 171">
              <a:extLst>
                <a:ext uri="{FF2B5EF4-FFF2-40B4-BE49-F238E27FC236}">
                  <a16:creationId xmlns:a16="http://schemas.microsoft.com/office/drawing/2014/main" id="{DCC94C4F-6A0F-4091-9E05-6BE6A15EF0AB}"/>
                </a:ext>
              </a:extLst>
            </p:cNvPr>
            <p:cNvCxnSpPr>
              <a:cxnSpLocks/>
              <a:stCxn id="27" idx="5"/>
              <a:endCxn id="3" idx="1"/>
            </p:cNvCxnSpPr>
            <p:nvPr/>
          </p:nvCxnSpPr>
          <p:spPr>
            <a:xfrm>
              <a:off x="3058887" y="2156870"/>
              <a:ext cx="1624564" cy="35115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0" name="Straight Connector 179">
              <a:extLst>
                <a:ext uri="{FF2B5EF4-FFF2-40B4-BE49-F238E27FC236}">
                  <a16:creationId xmlns:a16="http://schemas.microsoft.com/office/drawing/2014/main" id="{995CCF00-CBEF-4982-B31A-8717373E3ED6}"/>
                </a:ext>
              </a:extLst>
            </p:cNvPr>
            <p:cNvCxnSpPr>
              <a:cxnSpLocks/>
              <a:stCxn id="241" idx="6"/>
              <a:endCxn id="54" idx="3"/>
            </p:cNvCxnSpPr>
            <p:nvPr/>
          </p:nvCxnSpPr>
          <p:spPr>
            <a:xfrm flipV="1">
              <a:off x="6702884" y="5308484"/>
              <a:ext cx="806931" cy="41467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6" name="Straight Connector 195">
              <a:extLst>
                <a:ext uri="{FF2B5EF4-FFF2-40B4-BE49-F238E27FC236}">
                  <a16:creationId xmlns:a16="http://schemas.microsoft.com/office/drawing/2014/main" id="{0511BD75-E775-4BD7-B9EE-7EC32A6F059F}"/>
                </a:ext>
              </a:extLst>
            </p:cNvPr>
            <p:cNvCxnSpPr>
              <a:cxnSpLocks/>
              <a:stCxn id="55" idx="5"/>
              <a:endCxn id="112" idx="1"/>
            </p:cNvCxnSpPr>
            <p:nvPr/>
          </p:nvCxnSpPr>
          <p:spPr>
            <a:xfrm>
              <a:off x="4208141" y="4473183"/>
              <a:ext cx="554645" cy="143202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9" name="Straight Connector 198">
              <a:extLst>
                <a:ext uri="{FF2B5EF4-FFF2-40B4-BE49-F238E27FC236}">
                  <a16:creationId xmlns:a16="http://schemas.microsoft.com/office/drawing/2014/main" id="{BF75201F-7964-4677-8C9D-612AC468463F}"/>
                </a:ext>
              </a:extLst>
            </p:cNvPr>
            <p:cNvCxnSpPr>
              <a:cxnSpLocks/>
              <a:endCxn id="112" idx="3"/>
            </p:cNvCxnSpPr>
            <p:nvPr/>
          </p:nvCxnSpPr>
          <p:spPr>
            <a:xfrm>
              <a:off x="2412560" y="5259854"/>
              <a:ext cx="2350226" cy="75344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5" name="Straight Connector 204">
              <a:extLst>
                <a:ext uri="{FF2B5EF4-FFF2-40B4-BE49-F238E27FC236}">
                  <a16:creationId xmlns:a16="http://schemas.microsoft.com/office/drawing/2014/main" id="{3569A2D9-5979-496C-B672-5E8B282BC086}"/>
                </a:ext>
              </a:extLst>
            </p:cNvPr>
            <p:cNvCxnSpPr>
              <a:cxnSpLocks/>
              <a:stCxn id="55" idx="1"/>
              <a:endCxn id="113" idx="6"/>
            </p:cNvCxnSpPr>
            <p:nvPr/>
          </p:nvCxnSpPr>
          <p:spPr>
            <a:xfrm flipH="1" flipV="1">
              <a:off x="1300042" y="3109822"/>
              <a:ext cx="1965448" cy="42071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08" name="Straight Connector 207">
              <a:extLst>
                <a:ext uri="{FF2B5EF4-FFF2-40B4-BE49-F238E27FC236}">
                  <a16:creationId xmlns:a16="http://schemas.microsoft.com/office/drawing/2014/main" id="{2C341FBB-A164-419F-9F68-5C2AB0609AF9}"/>
                </a:ext>
              </a:extLst>
            </p:cNvPr>
            <p:cNvCxnSpPr>
              <a:cxnSpLocks/>
              <a:stCxn id="56" idx="2"/>
              <a:endCxn id="115" idx="7"/>
            </p:cNvCxnSpPr>
            <p:nvPr/>
          </p:nvCxnSpPr>
          <p:spPr>
            <a:xfrm flipH="1">
              <a:off x="6718468" y="2851051"/>
              <a:ext cx="885851" cy="24483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3" name="Straight Connector 212">
              <a:extLst>
                <a:ext uri="{FF2B5EF4-FFF2-40B4-BE49-F238E27FC236}">
                  <a16:creationId xmlns:a16="http://schemas.microsoft.com/office/drawing/2014/main" id="{875D1B45-71B2-4A0B-A625-685E63FEB42B}"/>
                </a:ext>
              </a:extLst>
            </p:cNvPr>
            <p:cNvCxnSpPr>
              <a:cxnSpLocks/>
              <a:stCxn id="3" idx="4"/>
              <a:endCxn id="114" idx="0"/>
            </p:cNvCxnSpPr>
            <p:nvPr/>
          </p:nvCxnSpPr>
          <p:spPr>
            <a:xfrm>
              <a:off x="5119094" y="3559763"/>
              <a:ext cx="461735" cy="767575"/>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9" name="Straight Connector 218">
              <a:extLst>
                <a:ext uri="{FF2B5EF4-FFF2-40B4-BE49-F238E27FC236}">
                  <a16:creationId xmlns:a16="http://schemas.microsoft.com/office/drawing/2014/main" id="{8D69D2FC-9B28-45FB-A62B-66D8719F1AF5}"/>
                </a:ext>
              </a:extLst>
            </p:cNvPr>
            <p:cNvCxnSpPr>
              <a:cxnSpLocks/>
              <a:stCxn id="116" idx="5"/>
              <a:endCxn id="56" idx="0"/>
            </p:cNvCxnSpPr>
            <p:nvPr/>
          </p:nvCxnSpPr>
          <p:spPr>
            <a:xfrm>
              <a:off x="7161877" y="1048178"/>
              <a:ext cx="918818" cy="1326497"/>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a:extLst>
                <a:ext uri="{FF2B5EF4-FFF2-40B4-BE49-F238E27FC236}">
                  <a16:creationId xmlns:a16="http://schemas.microsoft.com/office/drawing/2014/main" id="{32A97B8C-3291-4E3E-8344-F813906EB07F}"/>
                </a:ext>
              </a:extLst>
            </p:cNvPr>
            <p:cNvCxnSpPr>
              <a:cxnSpLocks/>
              <a:stCxn id="3" idx="6"/>
              <a:endCxn id="115" idx="2"/>
            </p:cNvCxnSpPr>
            <p:nvPr/>
          </p:nvCxnSpPr>
          <p:spPr>
            <a:xfrm>
              <a:off x="5735186" y="2943671"/>
              <a:ext cx="795942" cy="22981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1" name="Straight Connector 230">
              <a:extLst>
                <a:ext uri="{FF2B5EF4-FFF2-40B4-BE49-F238E27FC236}">
                  <a16:creationId xmlns:a16="http://schemas.microsoft.com/office/drawing/2014/main" id="{BCC1F92E-CC3A-40EE-80C4-A37A63C43F8C}"/>
                </a:ext>
              </a:extLst>
            </p:cNvPr>
            <p:cNvCxnSpPr>
              <a:cxnSpLocks/>
              <a:stCxn id="115" idx="3"/>
              <a:endCxn id="114" idx="7"/>
            </p:cNvCxnSpPr>
            <p:nvPr/>
          </p:nvCxnSpPr>
          <p:spPr>
            <a:xfrm flipH="1">
              <a:off x="5660575" y="3251084"/>
              <a:ext cx="902695" cy="1109286"/>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41" name="Oval 240">
              <a:extLst>
                <a:ext uri="{FF2B5EF4-FFF2-40B4-BE49-F238E27FC236}">
                  <a16:creationId xmlns:a16="http://schemas.microsoft.com/office/drawing/2014/main" id="{C4671BCA-49C2-4F84-85E8-BAEC5289237F}"/>
                </a:ext>
              </a:extLst>
            </p:cNvPr>
            <p:cNvSpPr/>
            <p:nvPr/>
          </p:nvSpPr>
          <p:spPr>
            <a:xfrm>
              <a:off x="6546694" y="5645063"/>
              <a:ext cx="156190" cy="15619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243" name="Straight Connector 242">
              <a:extLst>
                <a:ext uri="{FF2B5EF4-FFF2-40B4-BE49-F238E27FC236}">
                  <a16:creationId xmlns:a16="http://schemas.microsoft.com/office/drawing/2014/main" id="{420F589F-17A3-43B4-B0EF-1F8F6EEB8E48}"/>
                </a:ext>
              </a:extLst>
            </p:cNvPr>
            <p:cNvCxnSpPr>
              <a:cxnSpLocks/>
              <a:stCxn id="241" idx="1"/>
              <a:endCxn id="114" idx="5"/>
            </p:cNvCxnSpPr>
            <p:nvPr/>
          </p:nvCxnSpPr>
          <p:spPr>
            <a:xfrm flipH="1" flipV="1">
              <a:off x="5660575" y="4519862"/>
              <a:ext cx="908992" cy="1148074"/>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6" name="Straight Connector 245">
              <a:extLst>
                <a:ext uri="{FF2B5EF4-FFF2-40B4-BE49-F238E27FC236}">
                  <a16:creationId xmlns:a16="http://schemas.microsoft.com/office/drawing/2014/main" id="{5DB63B45-6748-4F82-891B-919D46F2432E}"/>
                </a:ext>
              </a:extLst>
            </p:cNvPr>
            <p:cNvCxnSpPr>
              <a:cxnSpLocks/>
              <a:stCxn id="241" idx="3"/>
              <a:endCxn id="112" idx="5"/>
            </p:cNvCxnSpPr>
            <p:nvPr/>
          </p:nvCxnSpPr>
          <p:spPr>
            <a:xfrm flipH="1">
              <a:off x="4870878" y="5778380"/>
              <a:ext cx="1698689" cy="234919"/>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256" name="Rounded Rectangular Callout 47">
              <a:extLst>
                <a:ext uri="{FF2B5EF4-FFF2-40B4-BE49-F238E27FC236}">
                  <a16:creationId xmlns:a16="http://schemas.microsoft.com/office/drawing/2014/main" id="{B546B502-BB50-4531-8E1F-F741BB199118}"/>
                </a:ext>
              </a:extLst>
            </p:cNvPr>
            <p:cNvSpPr/>
            <p:nvPr/>
          </p:nvSpPr>
          <p:spPr>
            <a:xfrm flipV="1">
              <a:off x="7175709" y="5702165"/>
              <a:ext cx="648072" cy="443458"/>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257" name="Rounded Rectangle 5">
              <a:extLst>
                <a:ext uri="{FF2B5EF4-FFF2-40B4-BE49-F238E27FC236}">
                  <a16:creationId xmlns:a16="http://schemas.microsoft.com/office/drawing/2014/main" id="{4B672885-FED4-408A-81D1-9A3E206C87BD}"/>
                </a:ext>
              </a:extLst>
            </p:cNvPr>
            <p:cNvSpPr/>
            <p:nvPr/>
          </p:nvSpPr>
          <p:spPr>
            <a:xfrm flipH="1">
              <a:off x="7306357" y="5795735"/>
              <a:ext cx="332679" cy="274440"/>
            </a:xfrm>
            <a:custGeom>
              <a:avLst/>
              <a:gdLst>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702049"/>
                <a:gd name="connsiteX1" fmla="*/ 1574067 w 3217557"/>
                <a:gd name="connsiteY1" fmla="*/ 851360 h 2702049"/>
                <a:gd name="connsiteX2" fmla="*/ 1384251 w 3217557"/>
                <a:gd name="connsiteY2" fmla="*/ 1041176 h 2702049"/>
                <a:gd name="connsiteX3" fmla="*/ 1194435 w 3217557"/>
                <a:gd name="connsiteY3" fmla="*/ 851360 h 2702049"/>
                <a:gd name="connsiteX4" fmla="*/ 1384251 w 3217557"/>
                <a:gd name="connsiteY4" fmla="*/ 661544 h 2702049"/>
                <a:gd name="connsiteX5" fmla="*/ 1993421 w 3217557"/>
                <a:gd name="connsiteY5" fmla="*/ 661544 h 2702049"/>
                <a:gd name="connsiteX6" fmla="*/ 2183237 w 3217557"/>
                <a:gd name="connsiteY6" fmla="*/ 851360 h 2702049"/>
                <a:gd name="connsiteX7" fmla="*/ 1993421 w 3217557"/>
                <a:gd name="connsiteY7" fmla="*/ 1041176 h 2702049"/>
                <a:gd name="connsiteX8" fmla="*/ 1803605 w 3217557"/>
                <a:gd name="connsiteY8" fmla="*/ 851360 h 2702049"/>
                <a:gd name="connsiteX9" fmla="*/ 1993421 w 3217557"/>
                <a:gd name="connsiteY9" fmla="*/ 661544 h 2702049"/>
                <a:gd name="connsiteX10" fmla="*/ 2602591 w 3217557"/>
                <a:gd name="connsiteY10" fmla="*/ 661544 h 2702049"/>
                <a:gd name="connsiteX11" fmla="*/ 2792407 w 3217557"/>
                <a:gd name="connsiteY11" fmla="*/ 851360 h 2702049"/>
                <a:gd name="connsiteX12" fmla="*/ 2602591 w 3217557"/>
                <a:gd name="connsiteY12" fmla="*/ 1041176 h 2702049"/>
                <a:gd name="connsiteX13" fmla="*/ 2412775 w 3217557"/>
                <a:gd name="connsiteY13" fmla="*/ 851360 h 2702049"/>
                <a:gd name="connsiteX14" fmla="*/ 2602591 w 3217557"/>
                <a:gd name="connsiteY14" fmla="*/ 661544 h 2702049"/>
                <a:gd name="connsiteX15" fmla="*/ 677114 w 3217557"/>
                <a:gd name="connsiteY15" fmla="*/ 569491 h 2702049"/>
                <a:gd name="connsiteX16" fmla="*/ 330916 w 3217557"/>
                <a:gd name="connsiteY16" fmla="*/ 569491 h 2702049"/>
                <a:gd name="connsiteX17" fmla="*/ 0 w 3217557"/>
                <a:gd name="connsiteY17" fmla="*/ 900407 h 2702049"/>
                <a:gd name="connsiteX18" fmla="*/ 0 w 3217557"/>
                <a:gd name="connsiteY18" fmla="*/ 1952009 h 2702049"/>
                <a:gd name="connsiteX19" fmla="*/ 330916 w 3217557"/>
                <a:gd name="connsiteY19" fmla="*/ 2282925 h 2702049"/>
                <a:gd name="connsiteX20" fmla="*/ 711670 w 3217557"/>
                <a:gd name="connsiteY20" fmla="*/ 2282925 h 2702049"/>
                <a:gd name="connsiteX21" fmla="*/ 15770 w 3217557"/>
                <a:gd name="connsiteY21" fmla="*/ 2702049 h 2702049"/>
                <a:gd name="connsiteX22" fmla="*/ 1294529 w 3217557"/>
                <a:gd name="connsiteY22" fmla="*/ 2282925 h 2702049"/>
                <a:gd name="connsiteX23" fmla="*/ 2117356 w 3217557"/>
                <a:gd name="connsiteY23" fmla="*/ 2282925 h 2702049"/>
                <a:gd name="connsiteX24" fmla="*/ 2418395 w 3217557"/>
                <a:gd name="connsiteY24" fmla="*/ 2087951 h 2702049"/>
                <a:gd name="connsiteX25" fmla="*/ 1830857 w 3217557"/>
                <a:gd name="connsiteY25" fmla="*/ 1799347 h 2702049"/>
                <a:gd name="connsiteX26" fmla="*/ 1008030 w 3217557"/>
                <a:gd name="connsiteY26" fmla="*/ 1799347 h 2702049"/>
                <a:gd name="connsiteX27" fmla="*/ 677114 w 3217557"/>
                <a:gd name="connsiteY27" fmla="*/ 1468431 h 2702049"/>
                <a:gd name="connsiteX28" fmla="*/ 677114 w 3217557"/>
                <a:gd name="connsiteY28" fmla="*/ 569491 h 2702049"/>
                <a:gd name="connsiteX29" fmla="*/ 2886641 w 3217557"/>
                <a:gd name="connsiteY29" fmla="*/ 0 h 2702049"/>
                <a:gd name="connsiteX30" fmla="*/ 1100201 w 3217557"/>
                <a:gd name="connsiteY30" fmla="*/ 0 h 2702049"/>
                <a:gd name="connsiteX31" fmla="*/ 769285 w 3217557"/>
                <a:gd name="connsiteY31" fmla="*/ 330916 h 2702049"/>
                <a:gd name="connsiteX32" fmla="*/ 769285 w 3217557"/>
                <a:gd name="connsiteY32" fmla="*/ 1382518 h 2702049"/>
                <a:gd name="connsiteX33" fmla="*/ 1100201 w 3217557"/>
                <a:gd name="connsiteY33" fmla="*/ 1713434 h 2702049"/>
                <a:gd name="connsiteX34" fmla="*/ 1923028 w 3217557"/>
                <a:gd name="connsiteY34" fmla="*/ 1713434 h 2702049"/>
                <a:gd name="connsiteX35" fmla="*/ 3078958 w 3217557"/>
                <a:gd name="connsiteY35" fmla="*/ 2077967 h 2702049"/>
                <a:gd name="connsiteX36" fmla="*/ 2505887 w 3217557"/>
                <a:gd name="connsiteY36" fmla="*/ 1713434 h 2702049"/>
                <a:gd name="connsiteX37" fmla="*/ 2886641 w 3217557"/>
                <a:gd name="connsiteY37" fmla="*/ 1713434 h 2702049"/>
                <a:gd name="connsiteX38" fmla="*/ 3217557 w 3217557"/>
                <a:gd name="connsiteY38" fmla="*/ 1382518 h 2702049"/>
                <a:gd name="connsiteX39" fmla="*/ 3217557 w 3217557"/>
                <a:gd name="connsiteY39" fmla="*/ 330916 h 2702049"/>
                <a:gd name="connsiteX40" fmla="*/ 2886641 w 3217557"/>
                <a:gd name="connsiteY40" fmla="*/ 0 h 2702049"/>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33810"/>
                <a:gd name="connsiteX1" fmla="*/ 1574067 w 3217557"/>
                <a:gd name="connsiteY1" fmla="*/ 851360 h 2633810"/>
                <a:gd name="connsiteX2" fmla="*/ 1384251 w 3217557"/>
                <a:gd name="connsiteY2" fmla="*/ 1041176 h 2633810"/>
                <a:gd name="connsiteX3" fmla="*/ 1194435 w 3217557"/>
                <a:gd name="connsiteY3" fmla="*/ 851360 h 2633810"/>
                <a:gd name="connsiteX4" fmla="*/ 1384251 w 3217557"/>
                <a:gd name="connsiteY4" fmla="*/ 661544 h 2633810"/>
                <a:gd name="connsiteX5" fmla="*/ 1993421 w 3217557"/>
                <a:gd name="connsiteY5" fmla="*/ 661544 h 2633810"/>
                <a:gd name="connsiteX6" fmla="*/ 2183237 w 3217557"/>
                <a:gd name="connsiteY6" fmla="*/ 851360 h 2633810"/>
                <a:gd name="connsiteX7" fmla="*/ 1993421 w 3217557"/>
                <a:gd name="connsiteY7" fmla="*/ 1041176 h 2633810"/>
                <a:gd name="connsiteX8" fmla="*/ 1803605 w 3217557"/>
                <a:gd name="connsiteY8" fmla="*/ 851360 h 2633810"/>
                <a:gd name="connsiteX9" fmla="*/ 1993421 w 3217557"/>
                <a:gd name="connsiteY9" fmla="*/ 661544 h 2633810"/>
                <a:gd name="connsiteX10" fmla="*/ 2602591 w 3217557"/>
                <a:gd name="connsiteY10" fmla="*/ 661544 h 2633810"/>
                <a:gd name="connsiteX11" fmla="*/ 2792407 w 3217557"/>
                <a:gd name="connsiteY11" fmla="*/ 851360 h 2633810"/>
                <a:gd name="connsiteX12" fmla="*/ 2602591 w 3217557"/>
                <a:gd name="connsiteY12" fmla="*/ 1041176 h 2633810"/>
                <a:gd name="connsiteX13" fmla="*/ 2412775 w 3217557"/>
                <a:gd name="connsiteY13" fmla="*/ 851360 h 2633810"/>
                <a:gd name="connsiteX14" fmla="*/ 2602591 w 3217557"/>
                <a:gd name="connsiteY14" fmla="*/ 661544 h 2633810"/>
                <a:gd name="connsiteX15" fmla="*/ 677114 w 3217557"/>
                <a:gd name="connsiteY15" fmla="*/ 569491 h 2633810"/>
                <a:gd name="connsiteX16" fmla="*/ 330916 w 3217557"/>
                <a:gd name="connsiteY16" fmla="*/ 569491 h 2633810"/>
                <a:gd name="connsiteX17" fmla="*/ 0 w 3217557"/>
                <a:gd name="connsiteY17" fmla="*/ 900407 h 2633810"/>
                <a:gd name="connsiteX18" fmla="*/ 0 w 3217557"/>
                <a:gd name="connsiteY18" fmla="*/ 1952009 h 2633810"/>
                <a:gd name="connsiteX19" fmla="*/ 330916 w 3217557"/>
                <a:gd name="connsiteY19" fmla="*/ 2282925 h 2633810"/>
                <a:gd name="connsiteX20" fmla="*/ 711670 w 3217557"/>
                <a:gd name="connsiteY20" fmla="*/ 2282925 h 2633810"/>
                <a:gd name="connsiteX21" fmla="*/ 165895 w 3217557"/>
                <a:gd name="connsiteY21" fmla="*/ 2633810 h 2633810"/>
                <a:gd name="connsiteX22" fmla="*/ 1294529 w 3217557"/>
                <a:gd name="connsiteY22" fmla="*/ 2282925 h 2633810"/>
                <a:gd name="connsiteX23" fmla="*/ 2117356 w 3217557"/>
                <a:gd name="connsiteY23" fmla="*/ 2282925 h 2633810"/>
                <a:gd name="connsiteX24" fmla="*/ 2418395 w 3217557"/>
                <a:gd name="connsiteY24" fmla="*/ 2087951 h 2633810"/>
                <a:gd name="connsiteX25" fmla="*/ 1830857 w 3217557"/>
                <a:gd name="connsiteY25" fmla="*/ 1799347 h 2633810"/>
                <a:gd name="connsiteX26" fmla="*/ 1008030 w 3217557"/>
                <a:gd name="connsiteY26" fmla="*/ 1799347 h 2633810"/>
                <a:gd name="connsiteX27" fmla="*/ 677114 w 3217557"/>
                <a:gd name="connsiteY27" fmla="*/ 1468431 h 2633810"/>
                <a:gd name="connsiteX28" fmla="*/ 677114 w 3217557"/>
                <a:gd name="connsiteY28" fmla="*/ 569491 h 2633810"/>
                <a:gd name="connsiteX29" fmla="*/ 2886641 w 3217557"/>
                <a:gd name="connsiteY29" fmla="*/ 0 h 2633810"/>
                <a:gd name="connsiteX30" fmla="*/ 1100201 w 3217557"/>
                <a:gd name="connsiteY30" fmla="*/ 0 h 2633810"/>
                <a:gd name="connsiteX31" fmla="*/ 769285 w 3217557"/>
                <a:gd name="connsiteY31" fmla="*/ 330916 h 2633810"/>
                <a:gd name="connsiteX32" fmla="*/ 769285 w 3217557"/>
                <a:gd name="connsiteY32" fmla="*/ 1382518 h 2633810"/>
                <a:gd name="connsiteX33" fmla="*/ 1100201 w 3217557"/>
                <a:gd name="connsiteY33" fmla="*/ 1713434 h 2633810"/>
                <a:gd name="connsiteX34" fmla="*/ 1923028 w 3217557"/>
                <a:gd name="connsiteY34" fmla="*/ 1713434 h 2633810"/>
                <a:gd name="connsiteX35" fmla="*/ 3078958 w 3217557"/>
                <a:gd name="connsiteY35" fmla="*/ 2077967 h 2633810"/>
                <a:gd name="connsiteX36" fmla="*/ 2505887 w 3217557"/>
                <a:gd name="connsiteY36" fmla="*/ 1713434 h 2633810"/>
                <a:gd name="connsiteX37" fmla="*/ 2886641 w 3217557"/>
                <a:gd name="connsiteY37" fmla="*/ 1713434 h 2633810"/>
                <a:gd name="connsiteX38" fmla="*/ 3217557 w 3217557"/>
                <a:gd name="connsiteY38" fmla="*/ 1382518 h 2633810"/>
                <a:gd name="connsiteX39" fmla="*/ 3217557 w 3217557"/>
                <a:gd name="connsiteY39" fmla="*/ 330916 h 2633810"/>
                <a:gd name="connsiteX40" fmla="*/ 2886641 w 3217557"/>
                <a:gd name="connsiteY40" fmla="*/ 0 h 2633810"/>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 name="connsiteX0" fmla="*/ 1384251 w 3217557"/>
                <a:gd name="connsiteY0" fmla="*/ 661544 h 2654282"/>
                <a:gd name="connsiteX1" fmla="*/ 1574067 w 3217557"/>
                <a:gd name="connsiteY1" fmla="*/ 851360 h 2654282"/>
                <a:gd name="connsiteX2" fmla="*/ 1384251 w 3217557"/>
                <a:gd name="connsiteY2" fmla="*/ 1041176 h 2654282"/>
                <a:gd name="connsiteX3" fmla="*/ 1194435 w 3217557"/>
                <a:gd name="connsiteY3" fmla="*/ 851360 h 2654282"/>
                <a:gd name="connsiteX4" fmla="*/ 1384251 w 3217557"/>
                <a:gd name="connsiteY4" fmla="*/ 661544 h 2654282"/>
                <a:gd name="connsiteX5" fmla="*/ 1993421 w 3217557"/>
                <a:gd name="connsiteY5" fmla="*/ 661544 h 2654282"/>
                <a:gd name="connsiteX6" fmla="*/ 2183237 w 3217557"/>
                <a:gd name="connsiteY6" fmla="*/ 851360 h 2654282"/>
                <a:gd name="connsiteX7" fmla="*/ 1993421 w 3217557"/>
                <a:gd name="connsiteY7" fmla="*/ 1041176 h 2654282"/>
                <a:gd name="connsiteX8" fmla="*/ 1803605 w 3217557"/>
                <a:gd name="connsiteY8" fmla="*/ 851360 h 2654282"/>
                <a:gd name="connsiteX9" fmla="*/ 1993421 w 3217557"/>
                <a:gd name="connsiteY9" fmla="*/ 661544 h 2654282"/>
                <a:gd name="connsiteX10" fmla="*/ 2602591 w 3217557"/>
                <a:gd name="connsiteY10" fmla="*/ 661544 h 2654282"/>
                <a:gd name="connsiteX11" fmla="*/ 2792407 w 3217557"/>
                <a:gd name="connsiteY11" fmla="*/ 851360 h 2654282"/>
                <a:gd name="connsiteX12" fmla="*/ 2602591 w 3217557"/>
                <a:gd name="connsiteY12" fmla="*/ 1041176 h 2654282"/>
                <a:gd name="connsiteX13" fmla="*/ 2412775 w 3217557"/>
                <a:gd name="connsiteY13" fmla="*/ 851360 h 2654282"/>
                <a:gd name="connsiteX14" fmla="*/ 2602591 w 3217557"/>
                <a:gd name="connsiteY14" fmla="*/ 661544 h 2654282"/>
                <a:gd name="connsiteX15" fmla="*/ 677114 w 3217557"/>
                <a:gd name="connsiteY15" fmla="*/ 569491 h 2654282"/>
                <a:gd name="connsiteX16" fmla="*/ 330916 w 3217557"/>
                <a:gd name="connsiteY16" fmla="*/ 569491 h 2654282"/>
                <a:gd name="connsiteX17" fmla="*/ 0 w 3217557"/>
                <a:gd name="connsiteY17" fmla="*/ 900407 h 2654282"/>
                <a:gd name="connsiteX18" fmla="*/ 0 w 3217557"/>
                <a:gd name="connsiteY18" fmla="*/ 1952009 h 2654282"/>
                <a:gd name="connsiteX19" fmla="*/ 330916 w 3217557"/>
                <a:gd name="connsiteY19" fmla="*/ 2282925 h 2654282"/>
                <a:gd name="connsiteX20" fmla="*/ 711670 w 3217557"/>
                <a:gd name="connsiteY20" fmla="*/ 2282925 h 2654282"/>
                <a:gd name="connsiteX21" fmla="*/ 275077 w 3217557"/>
                <a:gd name="connsiteY21" fmla="*/ 2654282 h 2654282"/>
                <a:gd name="connsiteX22" fmla="*/ 1294529 w 3217557"/>
                <a:gd name="connsiteY22" fmla="*/ 2282925 h 2654282"/>
                <a:gd name="connsiteX23" fmla="*/ 2117356 w 3217557"/>
                <a:gd name="connsiteY23" fmla="*/ 2282925 h 2654282"/>
                <a:gd name="connsiteX24" fmla="*/ 2418395 w 3217557"/>
                <a:gd name="connsiteY24" fmla="*/ 2087951 h 2654282"/>
                <a:gd name="connsiteX25" fmla="*/ 1830857 w 3217557"/>
                <a:gd name="connsiteY25" fmla="*/ 1799347 h 2654282"/>
                <a:gd name="connsiteX26" fmla="*/ 1008030 w 3217557"/>
                <a:gd name="connsiteY26" fmla="*/ 1799347 h 2654282"/>
                <a:gd name="connsiteX27" fmla="*/ 677114 w 3217557"/>
                <a:gd name="connsiteY27" fmla="*/ 1468431 h 2654282"/>
                <a:gd name="connsiteX28" fmla="*/ 677114 w 3217557"/>
                <a:gd name="connsiteY28" fmla="*/ 569491 h 2654282"/>
                <a:gd name="connsiteX29" fmla="*/ 2886641 w 3217557"/>
                <a:gd name="connsiteY29" fmla="*/ 0 h 2654282"/>
                <a:gd name="connsiteX30" fmla="*/ 1100201 w 3217557"/>
                <a:gd name="connsiteY30" fmla="*/ 0 h 2654282"/>
                <a:gd name="connsiteX31" fmla="*/ 769285 w 3217557"/>
                <a:gd name="connsiteY31" fmla="*/ 330916 h 2654282"/>
                <a:gd name="connsiteX32" fmla="*/ 769285 w 3217557"/>
                <a:gd name="connsiteY32" fmla="*/ 1382518 h 2654282"/>
                <a:gd name="connsiteX33" fmla="*/ 1100201 w 3217557"/>
                <a:gd name="connsiteY33" fmla="*/ 1713434 h 2654282"/>
                <a:gd name="connsiteX34" fmla="*/ 1923028 w 3217557"/>
                <a:gd name="connsiteY34" fmla="*/ 1713434 h 2654282"/>
                <a:gd name="connsiteX35" fmla="*/ 3078958 w 3217557"/>
                <a:gd name="connsiteY35" fmla="*/ 2077967 h 2654282"/>
                <a:gd name="connsiteX36" fmla="*/ 2505887 w 3217557"/>
                <a:gd name="connsiteY36" fmla="*/ 1713434 h 2654282"/>
                <a:gd name="connsiteX37" fmla="*/ 2886641 w 3217557"/>
                <a:gd name="connsiteY37" fmla="*/ 1713434 h 2654282"/>
                <a:gd name="connsiteX38" fmla="*/ 3217557 w 3217557"/>
                <a:gd name="connsiteY38" fmla="*/ 1382518 h 2654282"/>
                <a:gd name="connsiteX39" fmla="*/ 3217557 w 3217557"/>
                <a:gd name="connsiteY39" fmla="*/ 330916 h 2654282"/>
                <a:gd name="connsiteX40" fmla="*/ 2886641 w 3217557"/>
                <a:gd name="connsiteY40" fmla="*/ 0 h 26542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Lst>
              <a:rect l="l" t="t" r="r" b="b"/>
              <a:pathLst>
                <a:path w="3217557" h="2654282">
                  <a:moveTo>
                    <a:pt x="1384251" y="661544"/>
                  </a:moveTo>
                  <a:cubicBezTo>
                    <a:pt x="1489083" y="661544"/>
                    <a:pt x="1574067" y="746528"/>
                    <a:pt x="1574067" y="851360"/>
                  </a:cubicBezTo>
                  <a:cubicBezTo>
                    <a:pt x="1574067" y="956192"/>
                    <a:pt x="1489083" y="1041176"/>
                    <a:pt x="1384251" y="1041176"/>
                  </a:cubicBezTo>
                  <a:cubicBezTo>
                    <a:pt x="1279419" y="1041176"/>
                    <a:pt x="1194435" y="956192"/>
                    <a:pt x="1194435" y="851360"/>
                  </a:cubicBezTo>
                  <a:cubicBezTo>
                    <a:pt x="1194435" y="746528"/>
                    <a:pt x="1279419" y="661544"/>
                    <a:pt x="1384251" y="661544"/>
                  </a:cubicBezTo>
                  <a:close/>
                  <a:moveTo>
                    <a:pt x="1993421" y="661544"/>
                  </a:moveTo>
                  <a:cubicBezTo>
                    <a:pt x="2098253" y="661544"/>
                    <a:pt x="2183237" y="746528"/>
                    <a:pt x="2183237" y="851360"/>
                  </a:cubicBezTo>
                  <a:cubicBezTo>
                    <a:pt x="2183237" y="956192"/>
                    <a:pt x="2098253" y="1041176"/>
                    <a:pt x="1993421" y="1041176"/>
                  </a:cubicBezTo>
                  <a:cubicBezTo>
                    <a:pt x="1888589" y="1041176"/>
                    <a:pt x="1803605" y="956192"/>
                    <a:pt x="1803605" y="851360"/>
                  </a:cubicBezTo>
                  <a:cubicBezTo>
                    <a:pt x="1803605" y="746528"/>
                    <a:pt x="1888589" y="661544"/>
                    <a:pt x="1993421" y="661544"/>
                  </a:cubicBezTo>
                  <a:close/>
                  <a:moveTo>
                    <a:pt x="2602591" y="661544"/>
                  </a:moveTo>
                  <a:cubicBezTo>
                    <a:pt x="2707423" y="661544"/>
                    <a:pt x="2792407" y="746528"/>
                    <a:pt x="2792407" y="851360"/>
                  </a:cubicBezTo>
                  <a:cubicBezTo>
                    <a:pt x="2792407" y="956192"/>
                    <a:pt x="2707423" y="1041176"/>
                    <a:pt x="2602591" y="1041176"/>
                  </a:cubicBezTo>
                  <a:cubicBezTo>
                    <a:pt x="2497759" y="1041176"/>
                    <a:pt x="2412775" y="956192"/>
                    <a:pt x="2412775" y="851360"/>
                  </a:cubicBezTo>
                  <a:cubicBezTo>
                    <a:pt x="2412775" y="746528"/>
                    <a:pt x="2497759" y="661544"/>
                    <a:pt x="2602591" y="661544"/>
                  </a:cubicBezTo>
                  <a:close/>
                  <a:moveTo>
                    <a:pt x="677114" y="569491"/>
                  </a:moveTo>
                  <a:lnTo>
                    <a:pt x="330916" y="569491"/>
                  </a:lnTo>
                  <a:cubicBezTo>
                    <a:pt x="148156" y="569491"/>
                    <a:pt x="0" y="717647"/>
                    <a:pt x="0" y="900407"/>
                  </a:cubicBezTo>
                  <a:lnTo>
                    <a:pt x="0" y="1952009"/>
                  </a:lnTo>
                  <a:cubicBezTo>
                    <a:pt x="0" y="2134769"/>
                    <a:pt x="148156" y="2282925"/>
                    <a:pt x="330916" y="2282925"/>
                  </a:cubicBezTo>
                  <a:lnTo>
                    <a:pt x="711670" y="2282925"/>
                  </a:lnTo>
                  <a:cubicBezTo>
                    <a:pt x="639726" y="2394386"/>
                    <a:pt x="647101" y="2475544"/>
                    <a:pt x="275077" y="2654282"/>
                  </a:cubicBezTo>
                  <a:cubicBezTo>
                    <a:pt x="900998" y="2583693"/>
                    <a:pt x="998412" y="2552618"/>
                    <a:pt x="1294529" y="2282925"/>
                  </a:cubicBezTo>
                  <a:lnTo>
                    <a:pt x="2117356" y="2282925"/>
                  </a:lnTo>
                  <a:cubicBezTo>
                    <a:pt x="2251554" y="2282925"/>
                    <a:pt x="2367095" y="2203043"/>
                    <a:pt x="2418395" y="2087951"/>
                  </a:cubicBezTo>
                  <a:cubicBezTo>
                    <a:pt x="2205538" y="2022975"/>
                    <a:pt x="2032941" y="1932583"/>
                    <a:pt x="1830857" y="1799347"/>
                  </a:cubicBezTo>
                  <a:lnTo>
                    <a:pt x="1008030" y="1799347"/>
                  </a:lnTo>
                  <a:cubicBezTo>
                    <a:pt x="825270" y="1799347"/>
                    <a:pt x="677114" y="1651191"/>
                    <a:pt x="677114" y="1468431"/>
                  </a:cubicBezTo>
                  <a:lnTo>
                    <a:pt x="677114" y="569491"/>
                  </a:lnTo>
                  <a:close/>
                  <a:moveTo>
                    <a:pt x="2886641" y="0"/>
                  </a:moveTo>
                  <a:lnTo>
                    <a:pt x="1100201" y="0"/>
                  </a:lnTo>
                  <a:cubicBezTo>
                    <a:pt x="917441" y="0"/>
                    <a:pt x="769285" y="148156"/>
                    <a:pt x="769285" y="330916"/>
                  </a:cubicBezTo>
                  <a:lnTo>
                    <a:pt x="769285" y="1382518"/>
                  </a:lnTo>
                  <a:cubicBezTo>
                    <a:pt x="769285" y="1565278"/>
                    <a:pt x="917441" y="1713434"/>
                    <a:pt x="1100201" y="1713434"/>
                  </a:cubicBezTo>
                  <a:lnTo>
                    <a:pt x="1923028" y="1713434"/>
                  </a:lnTo>
                  <a:cubicBezTo>
                    <a:pt x="2301032" y="1962656"/>
                    <a:pt x="2453037" y="2007378"/>
                    <a:pt x="3078958" y="2077967"/>
                  </a:cubicBezTo>
                  <a:cubicBezTo>
                    <a:pt x="2713759" y="1878758"/>
                    <a:pt x="2673367" y="1899957"/>
                    <a:pt x="2505887" y="1713434"/>
                  </a:cubicBezTo>
                  <a:lnTo>
                    <a:pt x="2886641" y="1713434"/>
                  </a:lnTo>
                  <a:cubicBezTo>
                    <a:pt x="3069401" y="1713434"/>
                    <a:pt x="3217557" y="1565278"/>
                    <a:pt x="3217557" y="1382518"/>
                  </a:cubicBezTo>
                  <a:lnTo>
                    <a:pt x="3217557" y="330916"/>
                  </a:lnTo>
                  <a:cubicBezTo>
                    <a:pt x="3217557" y="148156"/>
                    <a:pt x="3069401" y="0"/>
                    <a:pt x="2886641" y="0"/>
                  </a:cubicBezTo>
                  <a:close/>
                </a:path>
              </a:pathLst>
            </a:cu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ko-KR"/>
              </a:defPPr>
              <a:lvl1pPr marL="0" algn="l" defTabSz="914400" rtl="0" eaLnBrk="1" latinLnBrk="1" hangingPunct="1">
                <a:defRPr sz="1800" kern="1200">
                  <a:solidFill>
                    <a:schemeClr val="lt1"/>
                  </a:solidFill>
                  <a:latin typeface="+mn-lt"/>
                  <a:ea typeface="+mn-ea"/>
                  <a:cs typeface="+mn-cs"/>
                </a:defRPr>
              </a:lvl1pPr>
              <a:lvl2pPr marL="457200" algn="l" defTabSz="914400" rtl="0" eaLnBrk="1" latinLnBrk="1" hangingPunct="1">
                <a:defRPr sz="1800" kern="1200">
                  <a:solidFill>
                    <a:schemeClr val="lt1"/>
                  </a:solidFill>
                  <a:latin typeface="+mn-lt"/>
                  <a:ea typeface="+mn-ea"/>
                  <a:cs typeface="+mn-cs"/>
                </a:defRPr>
              </a:lvl2pPr>
              <a:lvl3pPr marL="914400" algn="l" defTabSz="914400" rtl="0" eaLnBrk="1" latinLnBrk="1" hangingPunct="1">
                <a:defRPr sz="1800" kern="1200">
                  <a:solidFill>
                    <a:schemeClr val="lt1"/>
                  </a:solidFill>
                  <a:latin typeface="+mn-lt"/>
                  <a:ea typeface="+mn-ea"/>
                  <a:cs typeface="+mn-cs"/>
                </a:defRPr>
              </a:lvl3pPr>
              <a:lvl4pPr marL="1371600" algn="l" defTabSz="914400" rtl="0" eaLnBrk="1" latinLnBrk="1" hangingPunct="1">
                <a:defRPr sz="1800" kern="1200">
                  <a:solidFill>
                    <a:schemeClr val="lt1"/>
                  </a:solidFill>
                  <a:latin typeface="+mn-lt"/>
                  <a:ea typeface="+mn-ea"/>
                  <a:cs typeface="+mn-cs"/>
                </a:defRPr>
              </a:lvl4pPr>
              <a:lvl5pPr marL="1828800" algn="l" defTabSz="914400" rtl="0" eaLnBrk="1" latinLnBrk="1" hangingPunct="1">
                <a:defRPr sz="1800" kern="1200">
                  <a:solidFill>
                    <a:schemeClr val="lt1"/>
                  </a:solidFill>
                  <a:latin typeface="+mn-lt"/>
                  <a:ea typeface="+mn-ea"/>
                  <a:cs typeface="+mn-cs"/>
                </a:defRPr>
              </a:lvl5pPr>
              <a:lvl6pPr marL="2286000" algn="l" defTabSz="914400" rtl="0" eaLnBrk="1" latinLnBrk="1" hangingPunct="1">
                <a:defRPr sz="1800" kern="1200">
                  <a:solidFill>
                    <a:schemeClr val="lt1"/>
                  </a:solidFill>
                  <a:latin typeface="+mn-lt"/>
                  <a:ea typeface="+mn-ea"/>
                  <a:cs typeface="+mn-cs"/>
                </a:defRPr>
              </a:lvl6pPr>
              <a:lvl7pPr marL="2743200" algn="l" defTabSz="914400" rtl="0" eaLnBrk="1" latinLnBrk="1" hangingPunct="1">
                <a:defRPr sz="1800" kern="1200">
                  <a:solidFill>
                    <a:schemeClr val="lt1"/>
                  </a:solidFill>
                  <a:latin typeface="+mn-lt"/>
                  <a:ea typeface="+mn-ea"/>
                  <a:cs typeface="+mn-cs"/>
                </a:defRPr>
              </a:lvl7pPr>
              <a:lvl8pPr marL="3200400" algn="l" defTabSz="914400" rtl="0" eaLnBrk="1" latinLnBrk="1" hangingPunct="1">
                <a:defRPr sz="1800" kern="1200">
                  <a:solidFill>
                    <a:schemeClr val="lt1"/>
                  </a:solidFill>
                  <a:latin typeface="+mn-lt"/>
                  <a:ea typeface="+mn-ea"/>
                  <a:cs typeface="+mn-cs"/>
                </a:defRPr>
              </a:lvl8pPr>
              <a:lvl9pPr marL="3657600" algn="l" defTabSz="914400" rtl="0" eaLnBrk="1" latinLnBrk="1" hangingPunct="1">
                <a:defRPr sz="1800" kern="1200">
                  <a:solidFill>
                    <a:schemeClr val="lt1"/>
                  </a:solidFill>
                  <a:latin typeface="+mn-lt"/>
                  <a:ea typeface="+mn-ea"/>
                  <a:cs typeface="+mn-cs"/>
                </a:defRPr>
              </a:lvl9pPr>
            </a:lstStyle>
            <a:p>
              <a:pPr algn="ctr"/>
              <a:endParaRPr lang="ko-KR" altLang="en-US" dirty="0"/>
            </a:p>
          </p:txBody>
        </p:sp>
        <p:sp>
          <p:nvSpPr>
            <p:cNvPr id="258" name="Rounded Rectangular Callout 47">
              <a:extLst>
                <a:ext uri="{FF2B5EF4-FFF2-40B4-BE49-F238E27FC236}">
                  <a16:creationId xmlns:a16="http://schemas.microsoft.com/office/drawing/2014/main" id="{324BBF4D-6002-4CD6-9221-5D0D48CC0CBD}"/>
                </a:ext>
              </a:extLst>
            </p:cNvPr>
            <p:cNvSpPr/>
            <p:nvPr/>
          </p:nvSpPr>
          <p:spPr>
            <a:xfrm>
              <a:off x="809508" y="970579"/>
              <a:ext cx="662176" cy="453109"/>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259" name="Rounded Rectangular Callout 47">
              <a:extLst>
                <a:ext uri="{FF2B5EF4-FFF2-40B4-BE49-F238E27FC236}">
                  <a16:creationId xmlns:a16="http://schemas.microsoft.com/office/drawing/2014/main" id="{4942BB85-EABE-4872-89CB-D26E9BEBBFE1}"/>
                </a:ext>
              </a:extLst>
            </p:cNvPr>
            <p:cNvSpPr/>
            <p:nvPr/>
          </p:nvSpPr>
          <p:spPr>
            <a:xfrm>
              <a:off x="2601508" y="2733658"/>
              <a:ext cx="662176" cy="453109"/>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267" name="Rounded Rectangular Callout 47">
              <a:extLst>
                <a:ext uri="{FF2B5EF4-FFF2-40B4-BE49-F238E27FC236}">
                  <a16:creationId xmlns:a16="http://schemas.microsoft.com/office/drawing/2014/main" id="{7774CA0A-AD0A-4608-830C-8C0D1F5941DA}"/>
                </a:ext>
              </a:extLst>
            </p:cNvPr>
            <p:cNvSpPr/>
            <p:nvPr/>
          </p:nvSpPr>
          <p:spPr>
            <a:xfrm>
              <a:off x="3895838" y="1618406"/>
              <a:ext cx="662176" cy="453109"/>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268" name="Rounded Rectangular Callout 47">
              <a:extLst>
                <a:ext uri="{FF2B5EF4-FFF2-40B4-BE49-F238E27FC236}">
                  <a16:creationId xmlns:a16="http://schemas.microsoft.com/office/drawing/2014/main" id="{B14C3B7F-79DD-4D9B-92BD-385D83F8C963}"/>
                </a:ext>
              </a:extLst>
            </p:cNvPr>
            <p:cNvSpPr/>
            <p:nvPr/>
          </p:nvSpPr>
          <p:spPr>
            <a:xfrm>
              <a:off x="6834814" y="1582826"/>
              <a:ext cx="648072" cy="443458"/>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sp>
          <p:nvSpPr>
            <p:cNvPr id="269" name="Rounded Rectangular Callout 47">
              <a:extLst>
                <a:ext uri="{FF2B5EF4-FFF2-40B4-BE49-F238E27FC236}">
                  <a16:creationId xmlns:a16="http://schemas.microsoft.com/office/drawing/2014/main" id="{A157855A-8D9E-45FF-AA19-D911FA175E75}"/>
                </a:ext>
              </a:extLst>
            </p:cNvPr>
            <p:cNvSpPr/>
            <p:nvPr/>
          </p:nvSpPr>
          <p:spPr>
            <a:xfrm flipH="1">
              <a:off x="5319111" y="5224780"/>
              <a:ext cx="648072" cy="443458"/>
            </a:xfrm>
            <a:prstGeom prst="wedgeRoundRectCallout">
              <a:avLst>
                <a:gd name="adj1" fmla="val 49715"/>
                <a:gd name="adj2" fmla="val 100036"/>
                <a:gd name="adj3" fmla="val 16667"/>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dirty="0"/>
            </a:p>
          </p:txBody>
        </p:sp>
        <p:grpSp>
          <p:nvGrpSpPr>
            <p:cNvPr id="270" name="Group 269">
              <a:extLst>
                <a:ext uri="{FF2B5EF4-FFF2-40B4-BE49-F238E27FC236}">
                  <a16:creationId xmlns:a16="http://schemas.microsoft.com/office/drawing/2014/main" id="{5320492A-1A50-4B64-9F78-46528E960185}"/>
                </a:ext>
              </a:extLst>
            </p:cNvPr>
            <p:cNvGrpSpPr/>
            <p:nvPr/>
          </p:nvGrpSpPr>
          <p:grpSpPr>
            <a:xfrm>
              <a:off x="978320" y="1002151"/>
              <a:ext cx="357453" cy="316580"/>
              <a:chOff x="1481943" y="1694572"/>
              <a:chExt cx="3165229" cy="2803300"/>
            </a:xfrm>
          </p:grpSpPr>
          <p:sp>
            <p:nvSpPr>
              <p:cNvPr id="271" name="Rectangle 270">
                <a:extLst>
                  <a:ext uri="{FF2B5EF4-FFF2-40B4-BE49-F238E27FC236}">
                    <a16:creationId xmlns:a16="http://schemas.microsoft.com/office/drawing/2014/main" id="{C7D42816-BB54-47C8-AFBE-D58442CBAF51}"/>
                  </a:ext>
                </a:extLst>
              </p:cNvPr>
              <p:cNvSpPr/>
              <p:nvPr/>
            </p:nvSpPr>
            <p:spPr>
              <a:xfrm>
                <a:off x="1481943" y="3033346"/>
                <a:ext cx="791307" cy="1362808"/>
              </a:xfrm>
              <a:prstGeom prst="rect">
                <a:avLst/>
              </a:prstGeom>
              <a:solidFill>
                <a:schemeClr val="accent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2" name="Freeform: Shape 271">
                <a:extLst>
                  <a:ext uri="{FF2B5EF4-FFF2-40B4-BE49-F238E27FC236}">
                    <a16:creationId xmlns:a16="http://schemas.microsoft.com/office/drawing/2014/main" id="{0594EA13-69BB-4115-8192-361F8434A86B}"/>
                  </a:ext>
                </a:extLst>
              </p:cNvPr>
              <p:cNvSpPr/>
              <p:nvPr/>
            </p:nvSpPr>
            <p:spPr>
              <a:xfrm>
                <a:off x="2273250" y="1694572"/>
                <a:ext cx="2373922" cy="2803300"/>
              </a:xfrm>
              <a:custGeom>
                <a:avLst/>
                <a:gdLst>
                  <a:gd name="connsiteX0" fmla="*/ 1049822 w 2373922"/>
                  <a:gd name="connsiteY0" fmla="*/ 145 h 2803300"/>
                  <a:gd name="connsiteX1" fmla="*/ 1317525 w 2373922"/>
                  <a:gd name="connsiteY1" fmla="*/ 265693 h 2803300"/>
                  <a:gd name="connsiteX2" fmla="*/ 1225576 w 2373922"/>
                  <a:gd name="connsiteY2" fmla="*/ 1179047 h 2803300"/>
                  <a:gd name="connsiteX3" fmla="*/ 1985680 w 2373922"/>
                  <a:gd name="connsiteY3" fmla="*/ 1111618 h 2803300"/>
                  <a:gd name="connsiteX4" fmla="*/ 2175707 w 2373922"/>
                  <a:gd name="connsiteY4" fmla="*/ 1491671 h 2803300"/>
                  <a:gd name="connsiteX5" fmla="*/ 2194096 w 2373922"/>
                  <a:gd name="connsiteY5" fmla="*/ 1896244 h 2803300"/>
                  <a:gd name="connsiteX6" fmla="*/ 2151187 w 2373922"/>
                  <a:gd name="connsiteY6" fmla="*/ 2355986 h 2803300"/>
                  <a:gd name="connsiteX7" fmla="*/ 2132798 w 2373922"/>
                  <a:gd name="connsiteY7" fmla="*/ 2662480 h 2803300"/>
                  <a:gd name="connsiteX8" fmla="*/ 508383 w 2373922"/>
                  <a:gd name="connsiteY8" fmla="*/ 2686999 h 2803300"/>
                  <a:gd name="connsiteX9" fmla="*/ 99892 w 2373922"/>
                  <a:gd name="connsiteY9" fmla="*/ 2541486 h 2803300"/>
                  <a:gd name="connsiteX10" fmla="*/ 0 w 2373922"/>
                  <a:gd name="connsiteY10" fmla="*/ 2527191 h 2803300"/>
                  <a:gd name="connsiteX11" fmla="*/ 0 w 2373922"/>
                  <a:gd name="connsiteY11" fmla="*/ 1492941 h 2803300"/>
                  <a:gd name="connsiteX12" fmla="*/ 15103 w 2373922"/>
                  <a:gd name="connsiteY12" fmla="*/ 1488772 h 2803300"/>
                  <a:gd name="connsiteX13" fmla="*/ 60902 w 2373922"/>
                  <a:gd name="connsiteY13" fmla="*/ 1467152 h 2803300"/>
                  <a:gd name="connsiteX14" fmla="*/ 299966 w 2373922"/>
                  <a:gd name="connsiteY14" fmla="*/ 1136138 h 2803300"/>
                  <a:gd name="connsiteX15" fmla="*/ 937472 w 2373922"/>
                  <a:gd name="connsiteY15" fmla="*/ 161485 h 2803300"/>
                  <a:gd name="connsiteX16" fmla="*/ 1049822 w 2373922"/>
                  <a:gd name="connsiteY16" fmla="*/ 145 h 28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73922" h="2803300">
                    <a:moveTo>
                      <a:pt x="1049822" y="145"/>
                    </a:moveTo>
                    <a:cubicBezTo>
                      <a:pt x="1143845" y="-4724"/>
                      <a:pt x="1268997" y="113723"/>
                      <a:pt x="1317525" y="265693"/>
                    </a:cubicBezTo>
                    <a:cubicBezTo>
                      <a:pt x="1403343" y="619184"/>
                      <a:pt x="814876" y="1156571"/>
                      <a:pt x="1225576" y="1179047"/>
                    </a:cubicBezTo>
                    <a:cubicBezTo>
                      <a:pt x="1515724" y="1150441"/>
                      <a:pt x="1671014" y="1121835"/>
                      <a:pt x="1985680" y="1111618"/>
                    </a:cubicBezTo>
                    <a:cubicBezTo>
                      <a:pt x="2271741" y="1115705"/>
                      <a:pt x="2318736" y="1297558"/>
                      <a:pt x="2175707" y="1491671"/>
                    </a:cubicBezTo>
                    <a:cubicBezTo>
                      <a:pt x="2355516" y="1501888"/>
                      <a:pt x="2504676" y="1781820"/>
                      <a:pt x="2194096" y="1896244"/>
                    </a:cubicBezTo>
                    <a:cubicBezTo>
                      <a:pt x="2490372" y="2080140"/>
                      <a:pt x="2320780" y="2313076"/>
                      <a:pt x="2151187" y="2355986"/>
                    </a:cubicBezTo>
                    <a:cubicBezTo>
                      <a:pt x="2294217" y="2484713"/>
                      <a:pt x="2277871" y="2582791"/>
                      <a:pt x="2132798" y="2662480"/>
                    </a:cubicBezTo>
                    <a:cubicBezTo>
                      <a:pt x="1810980" y="2795294"/>
                      <a:pt x="979361" y="2887242"/>
                      <a:pt x="508383" y="2686999"/>
                    </a:cubicBezTo>
                    <a:cubicBezTo>
                      <a:pt x="340618" y="2629554"/>
                      <a:pt x="218316" y="2570024"/>
                      <a:pt x="99892" y="2541486"/>
                    </a:cubicBezTo>
                    <a:lnTo>
                      <a:pt x="0" y="2527191"/>
                    </a:lnTo>
                    <a:lnTo>
                      <a:pt x="0" y="1492941"/>
                    </a:lnTo>
                    <a:lnTo>
                      <a:pt x="15103" y="1488772"/>
                    </a:lnTo>
                    <a:cubicBezTo>
                      <a:pt x="28041" y="1483858"/>
                      <a:pt x="42965" y="1476900"/>
                      <a:pt x="60902" y="1467152"/>
                    </a:cubicBezTo>
                    <a:cubicBezTo>
                      <a:pt x="105854" y="1354770"/>
                      <a:pt x="162045" y="1261800"/>
                      <a:pt x="299966" y="1136138"/>
                    </a:cubicBezTo>
                    <a:cubicBezTo>
                      <a:pt x="512469" y="811254"/>
                      <a:pt x="865958" y="645747"/>
                      <a:pt x="937472" y="161485"/>
                    </a:cubicBezTo>
                    <a:cubicBezTo>
                      <a:pt x="948200" y="50382"/>
                      <a:pt x="993408" y="3067"/>
                      <a:pt x="1049822" y="145"/>
                    </a:cubicBezTo>
                    <a:close/>
                  </a:path>
                </a:pathLst>
              </a:cu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273" name="Group 272">
              <a:extLst>
                <a:ext uri="{FF2B5EF4-FFF2-40B4-BE49-F238E27FC236}">
                  <a16:creationId xmlns:a16="http://schemas.microsoft.com/office/drawing/2014/main" id="{64363847-02AB-4CAD-B00A-072D1164CDC6}"/>
                </a:ext>
              </a:extLst>
            </p:cNvPr>
            <p:cNvGrpSpPr/>
            <p:nvPr/>
          </p:nvGrpSpPr>
          <p:grpSpPr>
            <a:xfrm>
              <a:off x="4053719" y="2793242"/>
              <a:ext cx="357453" cy="316580"/>
              <a:chOff x="1481943" y="1694572"/>
              <a:chExt cx="3165229" cy="2803300"/>
            </a:xfrm>
          </p:grpSpPr>
          <p:sp>
            <p:nvSpPr>
              <p:cNvPr id="274" name="Rectangle 273">
                <a:extLst>
                  <a:ext uri="{FF2B5EF4-FFF2-40B4-BE49-F238E27FC236}">
                    <a16:creationId xmlns:a16="http://schemas.microsoft.com/office/drawing/2014/main" id="{DCE00810-1E48-4F46-9E56-83BD9F85158E}"/>
                  </a:ext>
                </a:extLst>
              </p:cNvPr>
              <p:cNvSpPr/>
              <p:nvPr/>
            </p:nvSpPr>
            <p:spPr>
              <a:xfrm>
                <a:off x="1481943" y="3033346"/>
                <a:ext cx="791307" cy="1362808"/>
              </a:xfrm>
              <a:prstGeom prst="rect">
                <a:avLst/>
              </a:prstGeom>
              <a:solidFill>
                <a:schemeClr val="accent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5" name="Freeform: Shape 274">
                <a:extLst>
                  <a:ext uri="{FF2B5EF4-FFF2-40B4-BE49-F238E27FC236}">
                    <a16:creationId xmlns:a16="http://schemas.microsoft.com/office/drawing/2014/main" id="{8D56F82B-5901-4C7B-8F96-5979ADC808DC}"/>
                  </a:ext>
                </a:extLst>
              </p:cNvPr>
              <p:cNvSpPr/>
              <p:nvPr/>
            </p:nvSpPr>
            <p:spPr>
              <a:xfrm>
                <a:off x="2273250" y="1694572"/>
                <a:ext cx="2373922" cy="2803300"/>
              </a:xfrm>
              <a:custGeom>
                <a:avLst/>
                <a:gdLst>
                  <a:gd name="connsiteX0" fmla="*/ 1049822 w 2373922"/>
                  <a:gd name="connsiteY0" fmla="*/ 145 h 2803300"/>
                  <a:gd name="connsiteX1" fmla="*/ 1317525 w 2373922"/>
                  <a:gd name="connsiteY1" fmla="*/ 265693 h 2803300"/>
                  <a:gd name="connsiteX2" fmla="*/ 1225576 w 2373922"/>
                  <a:gd name="connsiteY2" fmla="*/ 1179047 h 2803300"/>
                  <a:gd name="connsiteX3" fmla="*/ 1985680 w 2373922"/>
                  <a:gd name="connsiteY3" fmla="*/ 1111618 h 2803300"/>
                  <a:gd name="connsiteX4" fmla="*/ 2175707 w 2373922"/>
                  <a:gd name="connsiteY4" fmla="*/ 1491671 h 2803300"/>
                  <a:gd name="connsiteX5" fmla="*/ 2194096 w 2373922"/>
                  <a:gd name="connsiteY5" fmla="*/ 1896244 h 2803300"/>
                  <a:gd name="connsiteX6" fmla="*/ 2151187 w 2373922"/>
                  <a:gd name="connsiteY6" fmla="*/ 2355986 h 2803300"/>
                  <a:gd name="connsiteX7" fmla="*/ 2132798 w 2373922"/>
                  <a:gd name="connsiteY7" fmla="*/ 2662480 h 2803300"/>
                  <a:gd name="connsiteX8" fmla="*/ 508383 w 2373922"/>
                  <a:gd name="connsiteY8" fmla="*/ 2686999 h 2803300"/>
                  <a:gd name="connsiteX9" fmla="*/ 99892 w 2373922"/>
                  <a:gd name="connsiteY9" fmla="*/ 2541486 h 2803300"/>
                  <a:gd name="connsiteX10" fmla="*/ 0 w 2373922"/>
                  <a:gd name="connsiteY10" fmla="*/ 2527191 h 2803300"/>
                  <a:gd name="connsiteX11" fmla="*/ 0 w 2373922"/>
                  <a:gd name="connsiteY11" fmla="*/ 1492941 h 2803300"/>
                  <a:gd name="connsiteX12" fmla="*/ 15103 w 2373922"/>
                  <a:gd name="connsiteY12" fmla="*/ 1488772 h 2803300"/>
                  <a:gd name="connsiteX13" fmla="*/ 60902 w 2373922"/>
                  <a:gd name="connsiteY13" fmla="*/ 1467152 h 2803300"/>
                  <a:gd name="connsiteX14" fmla="*/ 299966 w 2373922"/>
                  <a:gd name="connsiteY14" fmla="*/ 1136138 h 2803300"/>
                  <a:gd name="connsiteX15" fmla="*/ 937472 w 2373922"/>
                  <a:gd name="connsiteY15" fmla="*/ 161485 h 2803300"/>
                  <a:gd name="connsiteX16" fmla="*/ 1049822 w 2373922"/>
                  <a:gd name="connsiteY16" fmla="*/ 145 h 28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73922" h="2803300">
                    <a:moveTo>
                      <a:pt x="1049822" y="145"/>
                    </a:moveTo>
                    <a:cubicBezTo>
                      <a:pt x="1143845" y="-4724"/>
                      <a:pt x="1268997" y="113723"/>
                      <a:pt x="1317525" y="265693"/>
                    </a:cubicBezTo>
                    <a:cubicBezTo>
                      <a:pt x="1403343" y="619184"/>
                      <a:pt x="814876" y="1156571"/>
                      <a:pt x="1225576" y="1179047"/>
                    </a:cubicBezTo>
                    <a:cubicBezTo>
                      <a:pt x="1515724" y="1150441"/>
                      <a:pt x="1671014" y="1121835"/>
                      <a:pt x="1985680" y="1111618"/>
                    </a:cubicBezTo>
                    <a:cubicBezTo>
                      <a:pt x="2271741" y="1115705"/>
                      <a:pt x="2318736" y="1297558"/>
                      <a:pt x="2175707" y="1491671"/>
                    </a:cubicBezTo>
                    <a:cubicBezTo>
                      <a:pt x="2355516" y="1501888"/>
                      <a:pt x="2504676" y="1781820"/>
                      <a:pt x="2194096" y="1896244"/>
                    </a:cubicBezTo>
                    <a:cubicBezTo>
                      <a:pt x="2490372" y="2080140"/>
                      <a:pt x="2320780" y="2313076"/>
                      <a:pt x="2151187" y="2355986"/>
                    </a:cubicBezTo>
                    <a:cubicBezTo>
                      <a:pt x="2294217" y="2484713"/>
                      <a:pt x="2277871" y="2582791"/>
                      <a:pt x="2132798" y="2662480"/>
                    </a:cubicBezTo>
                    <a:cubicBezTo>
                      <a:pt x="1810980" y="2795294"/>
                      <a:pt x="979361" y="2887242"/>
                      <a:pt x="508383" y="2686999"/>
                    </a:cubicBezTo>
                    <a:cubicBezTo>
                      <a:pt x="340618" y="2629554"/>
                      <a:pt x="218316" y="2570024"/>
                      <a:pt x="99892" y="2541486"/>
                    </a:cubicBezTo>
                    <a:lnTo>
                      <a:pt x="0" y="2527191"/>
                    </a:lnTo>
                    <a:lnTo>
                      <a:pt x="0" y="1492941"/>
                    </a:lnTo>
                    <a:lnTo>
                      <a:pt x="15103" y="1488772"/>
                    </a:lnTo>
                    <a:cubicBezTo>
                      <a:pt x="28041" y="1483858"/>
                      <a:pt x="42965" y="1476900"/>
                      <a:pt x="60902" y="1467152"/>
                    </a:cubicBezTo>
                    <a:cubicBezTo>
                      <a:pt x="105854" y="1354770"/>
                      <a:pt x="162045" y="1261800"/>
                      <a:pt x="299966" y="1136138"/>
                    </a:cubicBezTo>
                    <a:cubicBezTo>
                      <a:pt x="512469" y="811254"/>
                      <a:pt x="865958" y="645747"/>
                      <a:pt x="937472" y="161485"/>
                    </a:cubicBezTo>
                    <a:cubicBezTo>
                      <a:pt x="948200" y="50382"/>
                      <a:pt x="993408" y="3067"/>
                      <a:pt x="1049822" y="145"/>
                    </a:cubicBezTo>
                    <a:close/>
                  </a:path>
                </a:pathLst>
              </a:cu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276" name="Group 275">
              <a:extLst>
                <a:ext uri="{FF2B5EF4-FFF2-40B4-BE49-F238E27FC236}">
                  <a16:creationId xmlns:a16="http://schemas.microsoft.com/office/drawing/2014/main" id="{93270945-B100-410B-9A95-677AB9043B98}"/>
                </a:ext>
              </a:extLst>
            </p:cNvPr>
            <p:cNvGrpSpPr/>
            <p:nvPr/>
          </p:nvGrpSpPr>
          <p:grpSpPr>
            <a:xfrm>
              <a:off x="6594538" y="4901085"/>
              <a:ext cx="357453" cy="316580"/>
              <a:chOff x="1481943" y="1694572"/>
              <a:chExt cx="3165229" cy="2803300"/>
            </a:xfrm>
          </p:grpSpPr>
          <p:sp>
            <p:nvSpPr>
              <p:cNvPr id="277" name="Rectangle 276">
                <a:extLst>
                  <a:ext uri="{FF2B5EF4-FFF2-40B4-BE49-F238E27FC236}">
                    <a16:creationId xmlns:a16="http://schemas.microsoft.com/office/drawing/2014/main" id="{14EDCC9E-FCB5-44B7-831E-ADE5493BB265}"/>
                  </a:ext>
                </a:extLst>
              </p:cNvPr>
              <p:cNvSpPr/>
              <p:nvPr/>
            </p:nvSpPr>
            <p:spPr>
              <a:xfrm>
                <a:off x="1481943" y="3033346"/>
                <a:ext cx="791307" cy="1362808"/>
              </a:xfrm>
              <a:prstGeom prst="rect">
                <a:avLst/>
              </a:prstGeom>
              <a:solidFill>
                <a:schemeClr val="accent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8" name="Freeform: Shape 277">
                <a:extLst>
                  <a:ext uri="{FF2B5EF4-FFF2-40B4-BE49-F238E27FC236}">
                    <a16:creationId xmlns:a16="http://schemas.microsoft.com/office/drawing/2014/main" id="{925453DE-DAC5-4EC9-8968-1E4BA473D239}"/>
                  </a:ext>
                </a:extLst>
              </p:cNvPr>
              <p:cNvSpPr/>
              <p:nvPr/>
            </p:nvSpPr>
            <p:spPr>
              <a:xfrm>
                <a:off x="2273250" y="1694572"/>
                <a:ext cx="2373922" cy="2803300"/>
              </a:xfrm>
              <a:custGeom>
                <a:avLst/>
                <a:gdLst>
                  <a:gd name="connsiteX0" fmla="*/ 1049822 w 2373922"/>
                  <a:gd name="connsiteY0" fmla="*/ 145 h 2803300"/>
                  <a:gd name="connsiteX1" fmla="*/ 1317525 w 2373922"/>
                  <a:gd name="connsiteY1" fmla="*/ 265693 h 2803300"/>
                  <a:gd name="connsiteX2" fmla="*/ 1225576 w 2373922"/>
                  <a:gd name="connsiteY2" fmla="*/ 1179047 h 2803300"/>
                  <a:gd name="connsiteX3" fmla="*/ 1985680 w 2373922"/>
                  <a:gd name="connsiteY3" fmla="*/ 1111618 h 2803300"/>
                  <a:gd name="connsiteX4" fmla="*/ 2175707 w 2373922"/>
                  <a:gd name="connsiteY4" fmla="*/ 1491671 h 2803300"/>
                  <a:gd name="connsiteX5" fmla="*/ 2194096 w 2373922"/>
                  <a:gd name="connsiteY5" fmla="*/ 1896244 h 2803300"/>
                  <a:gd name="connsiteX6" fmla="*/ 2151187 w 2373922"/>
                  <a:gd name="connsiteY6" fmla="*/ 2355986 h 2803300"/>
                  <a:gd name="connsiteX7" fmla="*/ 2132798 w 2373922"/>
                  <a:gd name="connsiteY7" fmla="*/ 2662480 h 2803300"/>
                  <a:gd name="connsiteX8" fmla="*/ 508383 w 2373922"/>
                  <a:gd name="connsiteY8" fmla="*/ 2686999 h 2803300"/>
                  <a:gd name="connsiteX9" fmla="*/ 99892 w 2373922"/>
                  <a:gd name="connsiteY9" fmla="*/ 2541486 h 2803300"/>
                  <a:gd name="connsiteX10" fmla="*/ 0 w 2373922"/>
                  <a:gd name="connsiteY10" fmla="*/ 2527191 h 2803300"/>
                  <a:gd name="connsiteX11" fmla="*/ 0 w 2373922"/>
                  <a:gd name="connsiteY11" fmla="*/ 1492941 h 2803300"/>
                  <a:gd name="connsiteX12" fmla="*/ 15103 w 2373922"/>
                  <a:gd name="connsiteY12" fmla="*/ 1488772 h 2803300"/>
                  <a:gd name="connsiteX13" fmla="*/ 60902 w 2373922"/>
                  <a:gd name="connsiteY13" fmla="*/ 1467152 h 2803300"/>
                  <a:gd name="connsiteX14" fmla="*/ 299966 w 2373922"/>
                  <a:gd name="connsiteY14" fmla="*/ 1136138 h 2803300"/>
                  <a:gd name="connsiteX15" fmla="*/ 937472 w 2373922"/>
                  <a:gd name="connsiteY15" fmla="*/ 161485 h 2803300"/>
                  <a:gd name="connsiteX16" fmla="*/ 1049822 w 2373922"/>
                  <a:gd name="connsiteY16" fmla="*/ 145 h 28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73922" h="2803300">
                    <a:moveTo>
                      <a:pt x="1049822" y="145"/>
                    </a:moveTo>
                    <a:cubicBezTo>
                      <a:pt x="1143845" y="-4724"/>
                      <a:pt x="1268997" y="113723"/>
                      <a:pt x="1317525" y="265693"/>
                    </a:cubicBezTo>
                    <a:cubicBezTo>
                      <a:pt x="1403343" y="619184"/>
                      <a:pt x="814876" y="1156571"/>
                      <a:pt x="1225576" y="1179047"/>
                    </a:cubicBezTo>
                    <a:cubicBezTo>
                      <a:pt x="1515724" y="1150441"/>
                      <a:pt x="1671014" y="1121835"/>
                      <a:pt x="1985680" y="1111618"/>
                    </a:cubicBezTo>
                    <a:cubicBezTo>
                      <a:pt x="2271741" y="1115705"/>
                      <a:pt x="2318736" y="1297558"/>
                      <a:pt x="2175707" y="1491671"/>
                    </a:cubicBezTo>
                    <a:cubicBezTo>
                      <a:pt x="2355516" y="1501888"/>
                      <a:pt x="2504676" y="1781820"/>
                      <a:pt x="2194096" y="1896244"/>
                    </a:cubicBezTo>
                    <a:cubicBezTo>
                      <a:pt x="2490372" y="2080140"/>
                      <a:pt x="2320780" y="2313076"/>
                      <a:pt x="2151187" y="2355986"/>
                    </a:cubicBezTo>
                    <a:cubicBezTo>
                      <a:pt x="2294217" y="2484713"/>
                      <a:pt x="2277871" y="2582791"/>
                      <a:pt x="2132798" y="2662480"/>
                    </a:cubicBezTo>
                    <a:cubicBezTo>
                      <a:pt x="1810980" y="2795294"/>
                      <a:pt x="979361" y="2887242"/>
                      <a:pt x="508383" y="2686999"/>
                    </a:cubicBezTo>
                    <a:cubicBezTo>
                      <a:pt x="340618" y="2629554"/>
                      <a:pt x="218316" y="2570024"/>
                      <a:pt x="99892" y="2541486"/>
                    </a:cubicBezTo>
                    <a:lnTo>
                      <a:pt x="0" y="2527191"/>
                    </a:lnTo>
                    <a:lnTo>
                      <a:pt x="0" y="1492941"/>
                    </a:lnTo>
                    <a:lnTo>
                      <a:pt x="15103" y="1488772"/>
                    </a:lnTo>
                    <a:cubicBezTo>
                      <a:pt x="28041" y="1483858"/>
                      <a:pt x="42965" y="1476900"/>
                      <a:pt x="60902" y="1467152"/>
                    </a:cubicBezTo>
                    <a:cubicBezTo>
                      <a:pt x="105854" y="1354770"/>
                      <a:pt x="162045" y="1261800"/>
                      <a:pt x="299966" y="1136138"/>
                    </a:cubicBezTo>
                    <a:cubicBezTo>
                      <a:pt x="512469" y="811254"/>
                      <a:pt x="865958" y="645747"/>
                      <a:pt x="937472" y="161485"/>
                    </a:cubicBezTo>
                    <a:cubicBezTo>
                      <a:pt x="948200" y="50382"/>
                      <a:pt x="993408" y="3067"/>
                      <a:pt x="1049822" y="145"/>
                    </a:cubicBezTo>
                    <a:close/>
                  </a:path>
                </a:pathLst>
              </a:cu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grpSp>
          <p:nvGrpSpPr>
            <p:cNvPr id="279" name="Group 278">
              <a:extLst>
                <a:ext uri="{FF2B5EF4-FFF2-40B4-BE49-F238E27FC236}">
                  <a16:creationId xmlns:a16="http://schemas.microsoft.com/office/drawing/2014/main" id="{6F314410-CC13-404D-B57A-39F4BB82C6AF}"/>
                </a:ext>
              </a:extLst>
            </p:cNvPr>
            <p:cNvGrpSpPr/>
            <p:nvPr/>
          </p:nvGrpSpPr>
          <p:grpSpPr>
            <a:xfrm>
              <a:off x="6625214" y="2433511"/>
              <a:ext cx="357453" cy="316580"/>
              <a:chOff x="1481943" y="1694572"/>
              <a:chExt cx="3165229" cy="2803300"/>
            </a:xfrm>
          </p:grpSpPr>
          <p:sp>
            <p:nvSpPr>
              <p:cNvPr id="280" name="Rectangle 279">
                <a:extLst>
                  <a:ext uri="{FF2B5EF4-FFF2-40B4-BE49-F238E27FC236}">
                    <a16:creationId xmlns:a16="http://schemas.microsoft.com/office/drawing/2014/main" id="{329E6147-0F97-44BA-B201-3AF9DB1EDFC5}"/>
                  </a:ext>
                </a:extLst>
              </p:cNvPr>
              <p:cNvSpPr/>
              <p:nvPr/>
            </p:nvSpPr>
            <p:spPr>
              <a:xfrm>
                <a:off x="1481943" y="3033346"/>
                <a:ext cx="791307" cy="1362808"/>
              </a:xfrm>
              <a:prstGeom prst="rect">
                <a:avLst/>
              </a:prstGeom>
              <a:solidFill>
                <a:schemeClr val="accent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1" name="Freeform: Shape 280">
                <a:extLst>
                  <a:ext uri="{FF2B5EF4-FFF2-40B4-BE49-F238E27FC236}">
                    <a16:creationId xmlns:a16="http://schemas.microsoft.com/office/drawing/2014/main" id="{D4B527D8-38F0-4DE4-8A81-34CF07BAA84E}"/>
                  </a:ext>
                </a:extLst>
              </p:cNvPr>
              <p:cNvSpPr/>
              <p:nvPr/>
            </p:nvSpPr>
            <p:spPr>
              <a:xfrm>
                <a:off x="2273250" y="1694572"/>
                <a:ext cx="2373922" cy="2803300"/>
              </a:xfrm>
              <a:custGeom>
                <a:avLst/>
                <a:gdLst>
                  <a:gd name="connsiteX0" fmla="*/ 1049822 w 2373922"/>
                  <a:gd name="connsiteY0" fmla="*/ 145 h 2803300"/>
                  <a:gd name="connsiteX1" fmla="*/ 1317525 w 2373922"/>
                  <a:gd name="connsiteY1" fmla="*/ 265693 h 2803300"/>
                  <a:gd name="connsiteX2" fmla="*/ 1225576 w 2373922"/>
                  <a:gd name="connsiteY2" fmla="*/ 1179047 h 2803300"/>
                  <a:gd name="connsiteX3" fmla="*/ 1985680 w 2373922"/>
                  <a:gd name="connsiteY3" fmla="*/ 1111618 h 2803300"/>
                  <a:gd name="connsiteX4" fmla="*/ 2175707 w 2373922"/>
                  <a:gd name="connsiteY4" fmla="*/ 1491671 h 2803300"/>
                  <a:gd name="connsiteX5" fmla="*/ 2194096 w 2373922"/>
                  <a:gd name="connsiteY5" fmla="*/ 1896244 h 2803300"/>
                  <a:gd name="connsiteX6" fmla="*/ 2151187 w 2373922"/>
                  <a:gd name="connsiteY6" fmla="*/ 2355986 h 2803300"/>
                  <a:gd name="connsiteX7" fmla="*/ 2132798 w 2373922"/>
                  <a:gd name="connsiteY7" fmla="*/ 2662480 h 2803300"/>
                  <a:gd name="connsiteX8" fmla="*/ 508383 w 2373922"/>
                  <a:gd name="connsiteY8" fmla="*/ 2686999 h 2803300"/>
                  <a:gd name="connsiteX9" fmla="*/ 99892 w 2373922"/>
                  <a:gd name="connsiteY9" fmla="*/ 2541486 h 2803300"/>
                  <a:gd name="connsiteX10" fmla="*/ 0 w 2373922"/>
                  <a:gd name="connsiteY10" fmla="*/ 2527191 h 2803300"/>
                  <a:gd name="connsiteX11" fmla="*/ 0 w 2373922"/>
                  <a:gd name="connsiteY11" fmla="*/ 1492941 h 2803300"/>
                  <a:gd name="connsiteX12" fmla="*/ 15103 w 2373922"/>
                  <a:gd name="connsiteY12" fmla="*/ 1488772 h 2803300"/>
                  <a:gd name="connsiteX13" fmla="*/ 60902 w 2373922"/>
                  <a:gd name="connsiteY13" fmla="*/ 1467152 h 2803300"/>
                  <a:gd name="connsiteX14" fmla="*/ 299966 w 2373922"/>
                  <a:gd name="connsiteY14" fmla="*/ 1136138 h 2803300"/>
                  <a:gd name="connsiteX15" fmla="*/ 937472 w 2373922"/>
                  <a:gd name="connsiteY15" fmla="*/ 161485 h 2803300"/>
                  <a:gd name="connsiteX16" fmla="*/ 1049822 w 2373922"/>
                  <a:gd name="connsiteY16" fmla="*/ 145 h 2803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373922" h="2803300">
                    <a:moveTo>
                      <a:pt x="1049822" y="145"/>
                    </a:moveTo>
                    <a:cubicBezTo>
                      <a:pt x="1143845" y="-4724"/>
                      <a:pt x="1268997" y="113723"/>
                      <a:pt x="1317525" y="265693"/>
                    </a:cubicBezTo>
                    <a:cubicBezTo>
                      <a:pt x="1403343" y="619184"/>
                      <a:pt x="814876" y="1156571"/>
                      <a:pt x="1225576" y="1179047"/>
                    </a:cubicBezTo>
                    <a:cubicBezTo>
                      <a:pt x="1515724" y="1150441"/>
                      <a:pt x="1671014" y="1121835"/>
                      <a:pt x="1985680" y="1111618"/>
                    </a:cubicBezTo>
                    <a:cubicBezTo>
                      <a:pt x="2271741" y="1115705"/>
                      <a:pt x="2318736" y="1297558"/>
                      <a:pt x="2175707" y="1491671"/>
                    </a:cubicBezTo>
                    <a:cubicBezTo>
                      <a:pt x="2355516" y="1501888"/>
                      <a:pt x="2504676" y="1781820"/>
                      <a:pt x="2194096" y="1896244"/>
                    </a:cubicBezTo>
                    <a:cubicBezTo>
                      <a:pt x="2490372" y="2080140"/>
                      <a:pt x="2320780" y="2313076"/>
                      <a:pt x="2151187" y="2355986"/>
                    </a:cubicBezTo>
                    <a:cubicBezTo>
                      <a:pt x="2294217" y="2484713"/>
                      <a:pt x="2277871" y="2582791"/>
                      <a:pt x="2132798" y="2662480"/>
                    </a:cubicBezTo>
                    <a:cubicBezTo>
                      <a:pt x="1810980" y="2795294"/>
                      <a:pt x="979361" y="2887242"/>
                      <a:pt x="508383" y="2686999"/>
                    </a:cubicBezTo>
                    <a:cubicBezTo>
                      <a:pt x="340618" y="2629554"/>
                      <a:pt x="218316" y="2570024"/>
                      <a:pt x="99892" y="2541486"/>
                    </a:cubicBezTo>
                    <a:lnTo>
                      <a:pt x="0" y="2527191"/>
                    </a:lnTo>
                    <a:lnTo>
                      <a:pt x="0" y="1492941"/>
                    </a:lnTo>
                    <a:lnTo>
                      <a:pt x="15103" y="1488772"/>
                    </a:lnTo>
                    <a:cubicBezTo>
                      <a:pt x="28041" y="1483858"/>
                      <a:pt x="42965" y="1476900"/>
                      <a:pt x="60902" y="1467152"/>
                    </a:cubicBezTo>
                    <a:cubicBezTo>
                      <a:pt x="105854" y="1354770"/>
                      <a:pt x="162045" y="1261800"/>
                      <a:pt x="299966" y="1136138"/>
                    </a:cubicBezTo>
                    <a:cubicBezTo>
                      <a:pt x="512469" y="811254"/>
                      <a:pt x="865958" y="645747"/>
                      <a:pt x="937472" y="161485"/>
                    </a:cubicBezTo>
                    <a:cubicBezTo>
                      <a:pt x="948200" y="50382"/>
                      <a:pt x="993408" y="3067"/>
                      <a:pt x="1049822" y="145"/>
                    </a:cubicBezTo>
                    <a:close/>
                  </a:path>
                </a:pathLst>
              </a:custGeom>
              <a:solidFill>
                <a:schemeClr val="bg1"/>
              </a:solid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p>
            </p:txBody>
          </p:sp>
        </p:grpSp>
        <p:sp>
          <p:nvSpPr>
            <p:cNvPr id="282" name="Heart 281">
              <a:extLst>
                <a:ext uri="{FF2B5EF4-FFF2-40B4-BE49-F238E27FC236}">
                  <a16:creationId xmlns:a16="http://schemas.microsoft.com/office/drawing/2014/main" id="{F298DFB9-6122-4F54-9BC1-59C9B34E5EA7}"/>
                </a:ext>
              </a:extLst>
            </p:cNvPr>
            <p:cNvSpPr/>
            <p:nvPr/>
          </p:nvSpPr>
          <p:spPr>
            <a:xfrm>
              <a:off x="7038683" y="1683341"/>
              <a:ext cx="240333" cy="240333"/>
            </a:xfrm>
            <a:prstGeom prst="hear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3" name="Heart 282">
              <a:extLst>
                <a:ext uri="{FF2B5EF4-FFF2-40B4-BE49-F238E27FC236}">
                  <a16:creationId xmlns:a16="http://schemas.microsoft.com/office/drawing/2014/main" id="{525ED513-836D-4BD0-AD61-6F937B74679C}"/>
                </a:ext>
              </a:extLst>
            </p:cNvPr>
            <p:cNvSpPr/>
            <p:nvPr/>
          </p:nvSpPr>
          <p:spPr>
            <a:xfrm>
              <a:off x="4765983" y="3832280"/>
              <a:ext cx="240333" cy="240333"/>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4" name="Heart 283">
              <a:extLst>
                <a:ext uri="{FF2B5EF4-FFF2-40B4-BE49-F238E27FC236}">
                  <a16:creationId xmlns:a16="http://schemas.microsoft.com/office/drawing/2014/main" id="{15AFFFBA-E321-4544-BE57-271A164EB505}"/>
                </a:ext>
              </a:extLst>
            </p:cNvPr>
            <p:cNvSpPr/>
            <p:nvPr/>
          </p:nvSpPr>
          <p:spPr>
            <a:xfrm>
              <a:off x="3619230" y="4790753"/>
              <a:ext cx="240333" cy="240333"/>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5" name="Heart 284">
              <a:extLst>
                <a:ext uri="{FF2B5EF4-FFF2-40B4-BE49-F238E27FC236}">
                  <a16:creationId xmlns:a16="http://schemas.microsoft.com/office/drawing/2014/main" id="{82D2ED7E-8CA2-4C2F-A1FD-6DB074BB4ED0}"/>
                </a:ext>
              </a:extLst>
            </p:cNvPr>
            <p:cNvSpPr/>
            <p:nvPr/>
          </p:nvSpPr>
          <p:spPr>
            <a:xfrm>
              <a:off x="7259412" y="3493201"/>
              <a:ext cx="240333" cy="240333"/>
            </a:xfrm>
            <a:prstGeom prst="hear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2" name="Freeform: Shape 311">
              <a:extLst>
                <a:ext uri="{FF2B5EF4-FFF2-40B4-BE49-F238E27FC236}">
                  <a16:creationId xmlns:a16="http://schemas.microsoft.com/office/drawing/2014/main" id="{ABAF5D79-BC09-4158-8C11-79E80B384239}"/>
                </a:ext>
              </a:extLst>
            </p:cNvPr>
            <p:cNvSpPr/>
            <p:nvPr/>
          </p:nvSpPr>
          <p:spPr>
            <a:xfrm>
              <a:off x="5702151" y="3429000"/>
              <a:ext cx="291493" cy="283433"/>
            </a:xfrm>
            <a:custGeom>
              <a:avLst/>
              <a:gdLst>
                <a:gd name="connsiteX0" fmla="*/ 231486 w 434953"/>
                <a:gd name="connsiteY0" fmla="*/ 27511 h 422926"/>
                <a:gd name="connsiteX1" fmla="*/ 388439 w 434953"/>
                <a:gd name="connsiteY1" fmla="*/ 178936 h 422926"/>
                <a:gd name="connsiteX2" fmla="*/ 278290 w 434953"/>
                <a:gd name="connsiteY2" fmla="*/ 322266 h 422926"/>
                <a:gd name="connsiteX3" fmla="*/ 219466 w 434953"/>
                <a:gd name="connsiteY3" fmla="*/ 283221 h 422926"/>
                <a:gd name="connsiteX4" fmla="*/ 147605 w 434953"/>
                <a:gd name="connsiteY4" fmla="*/ 422902 h 422926"/>
                <a:gd name="connsiteX5" fmla="*/ 178404 w 434953"/>
                <a:gd name="connsiteY5" fmla="*/ 219951 h 422926"/>
                <a:gd name="connsiteX6" fmla="*/ 180329 w 434953"/>
                <a:gd name="connsiteY6" fmla="*/ 153715 h 422926"/>
                <a:gd name="connsiteX7" fmla="*/ 223164 w 434953"/>
                <a:gd name="connsiteY7" fmla="*/ 125534 h 422926"/>
                <a:gd name="connsiteX8" fmla="*/ 251986 w 434953"/>
                <a:gd name="connsiteY8" fmla="*/ 169460 h 422926"/>
                <a:gd name="connsiteX9" fmla="*/ 237728 w 434953"/>
                <a:gd name="connsiteY9" fmla="*/ 230311 h 422926"/>
                <a:gd name="connsiteX10" fmla="*/ 293982 w 434953"/>
                <a:gd name="connsiteY10" fmla="*/ 257457 h 422926"/>
                <a:gd name="connsiteX11" fmla="*/ 336918 w 434953"/>
                <a:gd name="connsiteY11" fmla="*/ 176272 h 422926"/>
                <a:gd name="connsiteX12" fmla="*/ 262691 w 434953"/>
                <a:gd name="connsiteY12" fmla="*/ 82447 h 422926"/>
                <a:gd name="connsiteX13" fmla="*/ 133889 w 434953"/>
                <a:gd name="connsiteY13" fmla="*/ 153318 h 422926"/>
                <a:gd name="connsiteX14" fmla="*/ 146085 w 434953"/>
                <a:gd name="connsiteY14" fmla="*/ 203297 h 422926"/>
                <a:gd name="connsiteX15" fmla="*/ 118682 w 434953"/>
                <a:gd name="connsiteY15" fmla="*/ 257015 h 422926"/>
                <a:gd name="connsiteX16" fmla="*/ 78662 w 434953"/>
                <a:gd name="connsiteY16" fmla="*/ 153614 h 422926"/>
                <a:gd name="connsiteX17" fmla="*/ 231486 w 434953"/>
                <a:gd name="connsiteY17" fmla="*/ 27511 h 422926"/>
                <a:gd name="connsiteX18" fmla="*/ 0 w 434953"/>
                <a:gd name="connsiteY18" fmla="*/ 0 h 422926"/>
                <a:gd name="connsiteX19" fmla="*/ 434953 w 434953"/>
                <a:gd name="connsiteY19" fmla="*/ 0 h 422926"/>
                <a:gd name="connsiteX20" fmla="*/ 434953 w 434953"/>
                <a:gd name="connsiteY20" fmla="*/ 241 h 422926"/>
                <a:gd name="connsiteX21" fmla="*/ 0 w 434953"/>
                <a:gd name="connsiteY21" fmla="*/ 241 h 4229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34953" h="422926">
                  <a:moveTo>
                    <a:pt x="231486" y="27511"/>
                  </a:moveTo>
                  <a:cubicBezTo>
                    <a:pt x="341182" y="22054"/>
                    <a:pt x="398612" y="96629"/>
                    <a:pt x="388439" y="178936"/>
                  </a:cubicBezTo>
                  <a:cubicBezTo>
                    <a:pt x="377401" y="280462"/>
                    <a:pt x="325157" y="315209"/>
                    <a:pt x="278290" y="322266"/>
                  </a:cubicBezTo>
                  <a:cubicBezTo>
                    <a:pt x="246442" y="325886"/>
                    <a:pt x="232314" y="297517"/>
                    <a:pt x="219466" y="283221"/>
                  </a:cubicBezTo>
                  <a:cubicBezTo>
                    <a:pt x="198837" y="375879"/>
                    <a:pt x="160091" y="424169"/>
                    <a:pt x="147605" y="422902"/>
                  </a:cubicBezTo>
                  <a:cubicBezTo>
                    <a:pt x="132043" y="420368"/>
                    <a:pt x="146737" y="315867"/>
                    <a:pt x="178404" y="219951"/>
                  </a:cubicBezTo>
                  <a:cubicBezTo>
                    <a:pt x="183651" y="204750"/>
                    <a:pt x="168567" y="192806"/>
                    <a:pt x="180329" y="153715"/>
                  </a:cubicBezTo>
                  <a:cubicBezTo>
                    <a:pt x="185215" y="140142"/>
                    <a:pt x="201450" y="121191"/>
                    <a:pt x="223164" y="125534"/>
                  </a:cubicBezTo>
                  <a:cubicBezTo>
                    <a:pt x="245240" y="130782"/>
                    <a:pt x="259767" y="146839"/>
                    <a:pt x="251986" y="169460"/>
                  </a:cubicBezTo>
                  <a:cubicBezTo>
                    <a:pt x="245472" y="195701"/>
                    <a:pt x="243699" y="202985"/>
                    <a:pt x="237728" y="230311"/>
                  </a:cubicBezTo>
                  <a:cubicBezTo>
                    <a:pt x="234832" y="255286"/>
                    <a:pt x="259420" y="280260"/>
                    <a:pt x="293982" y="257457"/>
                  </a:cubicBezTo>
                  <a:cubicBezTo>
                    <a:pt x="323296" y="236284"/>
                    <a:pt x="335290" y="194188"/>
                    <a:pt x="336918" y="176272"/>
                  </a:cubicBezTo>
                  <a:cubicBezTo>
                    <a:pt x="337461" y="141887"/>
                    <a:pt x="325120" y="98916"/>
                    <a:pt x="262691" y="82447"/>
                  </a:cubicBezTo>
                  <a:cubicBezTo>
                    <a:pt x="197367" y="72132"/>
                    <a:pt x="146556" y="86539"/>
                    <a:pt x="133889" y="153318"/>
                  </a:cubicBezTo>
                  <a:cubicBezTo>
                    <a:pt x="136575" y="195882"/>
                    <a:pt x="132200" y="181626"/>
                    <a:pt x="146085" y="203297"/>
                  </a:cubicBezTo>
                  <a:cubicBezTo>
                    <a:pt x="137193" y="215836"/>
                    <a:pt x="126542" y="243960"/>
                    <a:pt x="118682" y="257015"/>
                  </a:cubicBezTo>
                  <a:cubicBezTo>
                    <a:pt x="88615" y="228531"/>
                    <a:pt x="75224" y="199220"/>
                    <a:pt x="78662" y="153614"/>
                  </a:cubicBezTo>
                  <a:cubicBezTo>
                    <a:pt x="83412" y="106957"/>
                    <a:pt x="133012" y="29284"/>
                    <a:pt x="231486" y="27511"/>
                  </a:cubicBezTo>
                  <a:close/>
                  <a:moveTo>
                    <a:pt x="0" y="0"/>
                  </a:moveTo>
                  <a:lnTo>
                    <a:pt x="434953" y="0"/>
                  </a:lnTo>
                  <a:lnTo>
                    <a:pt x="434953" y="241"/>
                  </a:lnTo>
                  <a:lnTo>
                    <a:pt x="0" y="241"/>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10" name="Freeform: Shape 309">
              <a:extLst>
                <a:ext uri="{FF2B5EF4-FFF2-40B4-BE49-F238E27FC236}">
                  <a16:creationId xmlns:a16="http://schemas.microsoft.com/office/drawing/2014/main" id="{B00FA786-6E58-442D-8F96-085FC1A2C61B}"/>
                </a:ext>
              </a:extLst>
            </p:cNvPr>
            <p:cNvSpPr/>
            <p:nvPr/>
          </p:nvSpPr>
          <p:spPr>
            <a:xfrm>
              <a:off x="4924378" y="4585956"/>
              <a:ext cx="314992" cy="271861"/>
            </a:xfrm>
            <a:custGeom>
              <a:avLst/>
              <a:gdLst>
                <a:gd name="connsiteX0" fmla="*/ 241139 w 366142"/>
                <a:gd name="connsiteY0" fmla="*/ 0 h 316007"/>
                <a:gd name="connsiteX1" fmla="*/ 306633 w 366142"/>
                <a:gd name="connsiteY1" fmla="*/ 31202 h 316007"/>
                <a:gd name="connsiteX2" fmla="*/ 349699 w 366142"/>
                <a:gd name="connsiteY2" fmla="*/ 10558 h 316007"/>
                <a:gd name="connsiteX3" fmla="*/ 325569 w 366142"/>
                <a:gd name="connsiteY3" fmla="*/ 59830 h 316007"/>
                <a:gd name="connsiteX4" fmla="*/ 366142 w 366142"/>
                <a:gd name="connsiteY4" fmla="*/ 52395 h 316007"/>
                <a:gd name="connsiteX5" fmla="*/ 334454 w 366142"/>
                <a:gd name="connsiteY5" fmla="*/ 94697 h 316007"/>
                <a:gd name="connsiteX6" fmla="*/ 316939 w 366142"/>
                <a:gd name="connsiteY6" fmla="*/ 174999 h 316007"/>
                <a:gd name="connsiteX7" fmla="*/ 184305 w 366142"/>
                <a:gd name="connsiteY7" fmla="*/ 311458 h 316007"/>
                <a:gd name="connsiteX8" fmla="*/ 27716 w 366142"/>
                <a:gd name="connsiteY8" fmla="*/ 295316 h 316007"/>
                <a:gd name="connsiteX9" fmla="*/ 0 w 366142"/>
                <a:gd name="connsiteY9" fmla="*/ 281129 h 316007"/>
                <a:gd name="connsiteX10" fmla="*/ 0 w 366142"/>
                <a:gd name="connsiteY10" fmla="*/ 268036 h 316007"/>
                <a:gd name="connsiteX11" fmla="*/ 23178 w 366142"/>
                <a:gd name="connsiteY11" fmla="*/ 266110 h 316007"/>
                <a:gd name="connsiteX12" fmla="*/ 108726 w 366142"/>
                <a:gd name="connsiteY12" fmla="*/ 240807 h 316007"/>
                <a:gd name="connsiteX13" fmla="*/ 20535 w 366142"/>
                <a:gd name="connsiteY13" fmla="*/ 200079 h 316007"/>
                <a:gd name="connsiteX14" fmla="*/ 70653 w 366142"/>
                <a:gd name="connsiteY14" fmla="*/ 194871 h 316007"/>
                <a:gd name="connsiteX15" fmla="*/ 20899 w 366142"/>
                <a:gd name="connsiteY15" fmla="*/ 168840 h 316007"/>
                <a:gd name="connsiteX16" fmla="*/ 0 w 366142"/>
                <a:gd name="connsiteY16" fmla="*/ 146258 h 316007"/>
                <a:gd name="connsiteX17" fmla="*/ 0 w 366142"/>
                <a:gd name="connsiteY17" fmla="*/ 116697 h 316007"/>
                <a:gd name="connsiteX18" fmla="*/ 14104 w 366142"/>
                <a:gd name="connsiteY18" fmla="*/ 121836 h 316007"/>
                <a:gd name="connsiteX19" fmla="*/ 40441 w 366142"/>
                <a:gd name="connsiteY19" fmla="*/ 126434 h 316007"/>
                <a:gd name="connsiteX20" fmla="*/ 20722 w 366142"/>
                <a:gd name="connsiteY20" fmla="*/ 8541 h 316007"/>
                <a:gd name="connsiteX21" fmla="*/ 168525 w 366142"/>
                <a:gd name="connsiteY21" fmla="*/ 104817 h 316007"/>
                <a:gd name="connsiteX22" fmla="*/ 165796 w 366142"/>
                <a:gd name="connsiteY22" fmla="*/ 68430 h 316007"/>
                <a:gd name="connsiteX23" fmla="*/ 241139 w 366142"/>
                <a:gd name="connsiteY23" fmla="*/ 0 h 3160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66142" h="316007">
                  <a:moveTo>
                    <a:pt x="241139" y="0"/>
                  </a:moveTo>
                  <a:cubicBezTo>
                    <a:pt x="265040" y="0"/>
                    <a:pt x="292051" y="14516"/>
                    <a:pt x="306633" y="31202"/>
                  </a:cubicBezTo>
                  <a:cubicBezTo>
                    <a:pt x="327151" y="29858"/>
                    <a:pt x="335397" y="19692"/>
                    <a:pt x="349699" y="10558"/>
                  </a:cubicBezTo>
                  <a:cubicBezTo>
                    <a:pt x="343170" y="29574"/>
                    <a:pt x="336047" y="54091"/>
                    <a:pt x="325569" y="59830"/>
                  </a:cubicBezTo>
                  <a:cubicBezTo>
                    <a:pt x="340338" y="61437"/>
                    <a:pt x="353079" y="55334"/>
                    <a:pt x="366142" y="52395"/>
                  </a:cubicBezTo>
                  <a:cubicBezTo>
                    <a:pt x="361514" y="66282"/>
                    <a:pt x="342655" y="74263"/>
                    <a:pt x="334454" y="94697"/>
                  </a:cubicBezTo>
                  <a:cubicBezTo>
                    <a:pt x="326254" y="115131"/>
                    <a:pt x="329982" y="126199"/>
                    <a:pt x="316939" y="174999"/>
                  </a:cubicBezTo>
                  <a:cubicBezTo>
                    <a:pt x="296102" y="242622"/>
                    <a:pt x="276174" y="279635"/>
                    <a:pt x="184305" y="311458"/>
                  </a:cubicBezTo>
                  <a:cubicBezTo>
                    <a:pt x="152057" y="320905"/>
                    <a:pt x="83508" y="315693"/>
                    <a:pt x="27716" y="295316"/>
                  </a:cubicBezTo>
                  <a:lnTo>
                    <a:pt x="0" y="281129"/>
                  </a:lnTo>
                  <a:lnTo>
                    <a:pt x="0" y="268036"/>
                  </a:lnTo>
                  <a:lnTo>
                    <a:pt x="23178" y="266110"/>
                  </a:lnTo>
                  <a:cubicBezTo>
                    <a:pt x="63548" y="261698"/>
                    <a:pt x="90116" y="254801"/>
                    <a:pt x="108726" y="240807"/>
                  </a:cubicBezTo>
                  <a:cubicBezTo>
                    <a:pt x="87700" y="241375"/>
                    <a:pt x="35310" y="244403"/>
                    <a:pt x="20535" y="200079"/>
                  </a:cubicBezTo>
                  <a:cubicBezTo>
                    <a:pt x="37583" y="203299"/>
                    <a:pt x="59856" y="197334"/>
                    <a:pt x="70653" y="194871"/>
                  </a:cubicBezTo>
                  <a:cubicBezTo>
                    <a:pt x="57204" y="189662"/>
                    <a:pt x="37595" y="181773"/>
                    <a:pt x="20899" y="168840"/>
                  </a:cubicBezTo>
                  <a:lnTo>
                    <a:pt x="0" y="146258"/>
                  </a:lnTo>
                  <a:lnTo>
                    <a:pt x="0" y="116697"/>
                  </a:lnTo>
                  <a:lnTo>
                    <a:pt x="14104" y="121836"/>
                  </a:lnTo>
                  <a:cubicBezTo>
                    <a:pt x="23887" y="123910"/>
                    <a:pt x="33812" y="125203"/>
                    <a:pt x="40441" y="126434"/>
                  </a:cubicBezTo>
                  <a:cubicBezTo>
                    <a:pt x="9945" y="103325"/>
                    <a:pt x="-5039" y="60063"/>
                    <a:pt x="20722" y="8541"/>
                  </a:cubicBezTo>
                  <a:cubicBezTo>
                    <a:pt x="76047" y="73391"/>
                    <a:pt x="116697" y="97001"/>
                    <a:pt x="168525" y="104817"/>
                  </a:cubicBezTo>
                  <a:cubicBezTo>
                    <a:pt x="166649" y="98530"/>
                    <a:pt x="164888" y="89662"/>
                    <a:pt x="165796" y="68430"/>
                  </a:cubicBezTo>
                  <a:cubicBezTo>
                    <a:pt x="166838" y="44047"/>
                    <a:pt x="190944" y="0"/>
                    <a:pt x="241139"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11" name="Freeform: Shape 310">
              <a:extLst>
                <a:ext uri="{FF2B5EF4-FFF2-40B4-BE49-F238E27FC236}">
                  <a16:creationId xmlns:a16="http://schemas.microsoft.com/office/drawing/2014/main" id="{298F9FA0-5046-4F2F-94DC-4D6777742079}"/>
                </a:ext>
              </a:extLst>
            </p:cNvPr>
            <p:cNvSpPr>
              <a:spLocks noChangeAspect="1"/>
            </p:cNvSpPr>
            <p:nvPr/>
          </p:nvSpPr>
          <p:spPr>
            <a:xfrm>
              <a:off x="6247142" y="3973546"/>
              <a:ext cx="149845" cy="303216"/>
            </a:xfrm>
            <a:custGeom>
              <a:avLst/>
              <a:gdLst>
                <a:gd name="connsiteX0" fmla="*/ 313271 w 432915"/>
                <a:gd name="connsiteY0" fmla="*/ 455355 h 455920"/>
                <a:gd name="connsiteX1" fmla="*/ 432915 w 432915"/>
                <a:gd name="connsiteY1" fmla="*/ 455355 h 455920"/>
                <a:gd name="connsiteX2" fmla="*/ 432915 w 432915"/>
                <a:gd name="connsiteY2" fmla="*/ 455920 h 455920"/>
                <a:gd name="connsiteX3" fmla="*/ 313271 w 432915"/>
                <a:gd name="connsiteY3" fmla="*/ 455920 h 455920"/>
                <a:gd name="connsiteX4" fmla="*/ 0 w 432915"/>
                <a:gd name="connsiteY4" fmla="*/ 455355 h 455920"/>
                <a:gd name="connsiteX5" fmla="*/ 228291 w 432915"/>
                <a:gd name="connsiteY5" fmla="*/ 455355 h 455920"/>
                <a:gd name="connsiteX6" fmla="*/ 228291 w 432915"/>
                <a:gd name="connsiteY6" fmla="*/ 455920 h 455920"/>
                <a:gd name="connsiteX7" fmla="*/ 0 w 432915"/>
                <a:gd name="connsiteY7" fmla="*/ 455920 h 455920"/>
                <a:gd name="connsiteX8" fmla="*/ 367184 w 432915"/>
                <a:gd name="connsiteY8" fmla="*/ 6 h 455920"/>
                <a:gd name="connsiteX9" fmla="*/ 399197 w 432915"/>
                <a:gd name="connsiteY9" fmla="*/ 2823 h 455920"/>
                <a:gd name="connsiteX10" fmla="*/ 393797 w 432915"/>
                <a:gd name="connsiteY10" fmla="*/ 69600 h 455920"/>
                <a:gd name="connsiteX11" fmla="*/ 313271 w 432915"/>
                <a:gd name="connsiteY11" fmla="*/ 96177 h 455920"/>
                <a:gd name="connsiteX12" fmla="*/ 313271 w 432915"/>
                <a:gd name="connsiteY12" fmla="*/ 140898 h 455920"/>
                <a:gd name="connsiteX13" fmla="*/ 391059 w 432915"/>
                <a:gd name="connsiteY13" fmla="*/ 140898 h 455920"/>
                <a:gd name="connsiteX14" fmla="*/ 385514 w 432915"/>
                <a:gd name="connsiteY14" fmla="*/ 215050 h 455920"/>
                <a:gd name="connsiteX15" fmla="*/ 313271 w 432915"/>
                <a:gd name="connsiteY15" fmla="*/ 216436 h 455920"/>
                <a:gd name="connsiteX16" fmla="*/ 313271 w 432915"/>
                <a:gd name="connsiteY16" fmla="*/ 455355 h 455920"/>
                <a:gd name="connsiteX17" fmla="*/ 228291 w 432915"/>
                <a:gd name="connsiteY17" fmla="*/ 455355 h 455920"/>
                <a:gd name="connsiteX18" fmla="*/ 228291 w 432915"/>
                <a:gd name="connsiteY18" fmla="*/ 216436 h 455920"/>
                <a:gd name="connsiteX19" fmla="*/ 173888 w 432915"/>
                <a:gd name="connsiteY19" fmla="*/ 216436 h 455920"/>
                <a:gd name="connsiteX20" fmla="*/ 173888 w 432915"/>
                <a:gd name="connsiteY20" fmla="*/ 140898 h 455920"/>
                <a:gd name="connsiteX21" fmla="*/ 228291 w 432915"/>
                <a:gd name="connsiteY21" fmla="*/ 140898 h 455920"/>
                <a:gd name="connsiteX22" fmla="*/ 228291 w 432915"/>
                <a:gd name="connsiteY22" fmla="*/ 90429 h 455920"/>
                <a:gd name="connsiteX23" fmla="*/ 228151 w 432915"/>
                <a:gd name="connsiteY23" fmla="*/ 89940 h 455920"/>
                <a:gd name="connsiteX24" fmla="*/ 324674 w 432915"/>
                <a:gd name="connsiteY24" fmla="*/ 971 h 455920"/>
                <a:gd name="connsiteX25" fmla="*/ 367184 w 432915"/>
                <a:gd name="connsiteY25" fmla="*/ 6 h 455920"/>
                <a:gd name="connsiteX0" fmla="*/ 313271 w 432915"/>
                <a:gd name="connsiteY0" fmla="*/ 455355 h 455920"/>
                <a:gd name="connsiteX1" fmla="*/ 432915 w 432915"/>
                <a:gd name="connsiteY1" fmla="*/ 455355 h 455920"/>
                <a:gd name="connsiteX2" fmla="*/ 313271 w 432915"/>
                <a:gd name="connsiteY2" fmla="*/ 455920 h 455920"/>
                <a:gd name="connsiteX3" fmla="*/ 313271 w 432915"/>
                <a:gd name="connsiteY3" fmla="*/ 455355 h 455920"/>
                <a:gd name="connsiteX4" fmla="*/ 0 w 432915"/>
                <a:gd name="connsiteY4" fmla="*/ 455355 h 455920"/>
                <a:gd name="connsiteX5" fmla="*/ 228291 w 432915"/>
                <a:gd name="connsiteY5" fmla="*/ 455355 h 455920"/>
                <a:gd name="connsiteX6" fmla="*/ 228291 w 432915"/>
                <a:gd name="connsiteY6" fmla="*/ 455920 h 455920"/>
                <a:gd name="connsiteX7" fmla="*/ 0 w 432915"/>
                <a:gd name="connsiteY7" fmla="*/ 455920 h 455920"/>
                <a:gd name="connsiteX8" fmla="*/ 0 w 432915"/>
                <a:gd name="connsiteY8" fmla="*/ 455355 h 455920"/>
                <a:gd name="connsiteX9" fmla="*/ 367184 w 432915"/>
                <a:gd name="connsiteY9" fmla="*/ 6 h 455920"/>
                <a:gd name="connsiteX10" fmla="*/ 399197 w 432915"/>
                <a:gd name="connsiteY10" fmla="*/ 2823 h 455920"/>
                <a:gd name="connsiteX11" fmla="*/ 393797 w 432915"/>
                <a:gd name="connsiteY11" fmla="*/ 69600 h 455920"/>
                <a:gd name="connsiteX12" fmla="*/ 313271 w 432915"/>
                <a:gd name="connsiteY12" fmla="*/ 96177 h 455920"/>
                <a:gd name="connsiteX13" fmla="*/ 313271 w 432915"/>
                <a:gd name="connsiteY13" fmla="*/ 140898 h 455920"/>
                <a:gd name="connsiteX14" fmla="*/ 391059 w 432915"/>
                <a:gd name="connsiteY14" fmla="*/ 140898 h 455920"/>
                <a:gd name="connsiteX15" fmla="*/ 385514 w 432915"/>
                <a:gd name="connsiteY15" fmla="*/ 215050 h 455920"/>
                <a:gd name="connsiteX16" fmla="*/ 313271 w 432915"/>
                <a:gd name="connsiteY16" fmla="*/ 216436 h 455920"/>
                <a:gd name="connsiteX17" fmla="*/ 313271 w 432915"/>
                <a:gd name="connsiteY17" fmla="*/ 455355 h 455920"/>
                <a:gd name="connsiteX18" fmla="*/ 228291 w 432915"/>
                <a:gd name="connsiteY18" fmla="*/ 455355 h 455920"/>
                <a:gd name="connsiteX19" fmla="*/ 228291 w 432915"/>
                <a:gd name="connsiteY19" fmla="*/ 216436 h 455920"/>
                <a:gd name="connsiteX20" fmla="*/ 173888 w 432915"/>
                <a:gd name="connsiteY20" fmla="*/ 216436 h 455920"/>
                <a:gd name="connsiteX21" fmla="*/ 173888 w 432915"/>
                <a:gd name="connsiteY21" fmla="*/ 140898 h 455920"/>
                <a:gd name="connsiteX22" fmla="*/ 228291 w 432915"/>
                <a:gd name="connsiteY22" fmla="*/ 140898 h 455920"/>
                <a:gd name="connsiteX23" fmla="*/ 228291 w 432915"/>
                <a:gd name="connsiteY23" fmla="*/ 90429 h 455920"/>
                <a:gd name="connsiteX24" fmla="*/ 228151 w 432915"/>
                <a:gd name="connsiteY24" fmla="*/ 89940 h 455920"/>
                <a:gd name="connsiteX25" fmla="*/ 324674 w 432915"/>
                <a:gd name="connsiteY25" fmla="*/ 971 h 455920"/>
                <a:gd name="connsiteX26" fmla="*/ 367184 w 432915"/>
                <a:gd name="connsiteY26" fmla="*/ 6 h 455920"/>
                <a:gd name="connsiteX0" fmla="*/ 313271 w 399197"/>
                <a:gd name="connsiteY0" fmla="*/ 455355 h 455920"/>
                <a:gd name="connsiteX1" fmla="*/ 313271 w 399197"/>
                <a:gd name="connsiteY1" fmla="*/ 455920 h 455920"/>
                <a:gd name="connsiteX2" fmla="*/ 313271 w 399197"/>
                <a:gd name="connsiteY2" fmla="*/ 455355 h 455920"/>
                <a:gd name="connsiteX3" fmla="*/ 0 w 399197"/>
                <a:gd name="connsiteY3" fmla="*/ 455355 h 455920"/>
                <a:gd name="connsiteX4" fmla="*/ 228291 w 399197"/>
                <a:gd name="connsiteY4" fmla="*/ 455355 h 455920"/>
                <a:gd name="connsiteX5" fmla="*/ 228291 w 399197"/>
                <a:gd name="connsiteY5" fmla="*/ 455920 h 455920"/>
                <a:gd name="connsiteX6" fmla="*/ 0 w 399197"/>
                <a:gd name="connsiteY6" fmla="*/ 455920 h 455920"/>
                <a:gd name="connsiteX7" fmla="*/ 0 w 399197"/>
                <a:gd name="connsiteY7" fmla="*/ 455355 h 455920"/>
                <a:gd name="connsiteX8" fmla="*/ 367184 w 399197"/>
                <a:gd name="connsiteY8" fmla="*/ 6 h 455920"/>
                <a:gd name="connsiteX9" fmla="*/ 399197 w 399197"/>
                <a:gd name="connsiteY9" fmla="*/ 2823 h 455920"/>
                <a:gd name="connsiteX10" fmla="*/ 393797 w 399197"/>
                <a:gd name="connsiteY10" fmla="*/ 69600 h 455920"/>
                <a:gd name="connsiteX11" fmla="*/ 313271 w 399197"/>
                <a:gd name="connsiteY11" fmla="*/ 96177 h 455920"/>
                <a:gd name="connsiteX12" fmla="*/ 313271 w 399197"/>
                <a:gd name="connsiteY12" fmla="*/ 140898 h 455920"/>
                <a:gd name="connsiteX13" fmla="*/ 391059 w 399197"/>
                <a:gd name="connsiteY13" fmla="*/ 140898 h 455920"/>
                <a:gd name="connsiteX14" fmla="*/ 385514 w 399197"/>
                <a:gd name="connsiteY14" fmla="*/ 215050 h 455920"/>
                <a:gd name="connsiteX15" fmla="*/ 313271 w 399197"/>
                <a:gd name="connsiteY15" fmla="*/ 216436 h 455920"/>
                <a:gd name="connsiteX16" fmla="*/ 313271 w 399197"/>
                <a:gd name="connsiteY16" fmla="*/ 455355 h 455920"/>
                <a:gd name="connsiteX17" fmla="*/ 228291 w 399197"/>
                <a:gd name="connsiteY17" fmla="*/ 455355 h 455920"/>
                <a:gd name="connsiteX18" fmla="*/ 228291 w 399197"/>
                <a:gd name="connsiteY18" fmla="*/ 216436 h 455920"/>
                <a:gd name="connsiteX19" fmla="*/ 173888 w 399197"/>
                <a:gd name="connsiteY19" fmla="*/ 216436 h 455920"/>
                <a:gd name="connsiteX20" fmla="*/ 173888 w 399197"/>
                <a:gd name="connsiteY20" fmla="*/ 140898 h 455920"/>
                <a:gd name="connsiteX21" fmla="*/ 228291 w 399197"/>
                <a:gd name="connsiteY21" fmla="*/ 140898 h 455920"/>
                <a:gd name="connsiteX22" fmla="*/ 228291 w 399197"/>
                <a:gd name="connsiteY22" fmla="*/ 90429 h 455920"/>
                <a:gd name="connsiteX23" fmla="*/ 228151 w 399197"/>
                <a:gd name="connsiteY23" fmla="*/ 89940 h 455920"/>
                <a:gd name="connsiteX24" fmla="*/ 324674 w 399197"/>
                <a:gd name="connsiteY24" fmla="*/ 971 h 455920"/>
                <a:gd name="connsiteX25" fmla="*/ 367184 w 399197"/>
                <a:gd name="connsiteY25" fmla="*/ 6 h 455920"/>
                <a:gd name="connsiteX0" fmla="*/ 313271 w 399197"/>
                <a:gd name="connsiteY0" fmla="*/ 455355 h 455920"/>
                <a:gd name="connsiteX1" fmla="*/ 313271 w 399197"/>
                <a:gd name="connsiteY1" fmla="*/ 455920 h 455920"/>
                <a:gd name="connsiteX2" fmla="*/ 313271 w 399197"/>
                <a:gd name="connsiteY2" fmla="*/ 455355 h 455920"/>
                <a:gd name="connsiteX3" fmla="*/ 0 w 399197"/>
                <a:gd name="connsiteY3" fmla="*/ 455920 h 455920"/>
                <a:gd name="connsiteX4" fmla="*/ 228291 w 399197"/>
                <a:gd name="connsiteY4" fmla="*/ 455355 h 455920"/>
                <a:gd name="connsiteX5" fmla="*/ 228291 w 399197"/>
                <a:gd name="connsiteY5" fmla="*/ 455920 h 455920"/>
                <a:gd name="connsiteX6" fmla="*/ 0 w 399197"/>
                <a:gd name="connsiteY6" fmla="*/ 455920 h 455920"/>
                <a:gd name="connsiteX7" fmla="*/ 367184 w 399197"/>
                <a:gd name="connsiteY7" fmla="*/ 6 h 455920"/>
                <a:gd name="connsiteX8" fmla="*/ 399197 w 399197"/>
                <a:gd name="connsiteY8" fmla="*/ 2823 h 455920"/>
                <a:gd name="connsiteX9" fmla="*/ 393797 w 399197"/>
                <a:gd name="connsiteY9" fmla="*/ 69600 h 455920"/>
                <a:gd name="connsiteX10" fmla="*/ 313271 w 399197"/>
                <a:gd name="connsiteY10" fmla="*/ 96177 h 455920"/>
                <a:gd name="connsiteX11" fmla="*/ 313271 w 399197"/>
                <a:gd name="connsiteY11" fmla="*/ 140898 h 455920"/>
                <a:gd name="connsiteX12" fmla="*/ 391059 w 399197"/>
                <a:gd name="connsiteY12" fmla="*/ 140898 h 455920"/>
                <a:gd name="connsiteX13" fmla="*/ 385514 w 399197"/>
                <a:gd name="connsiteY13" fmla="*/ 215050 h 455920"/>
                <a:gd name="connsiteX14" fmla="*/ 313271 w 399197"/>
                <a:gd name="connsiteY14" fmla="*/ 216436 h 455920"/>
                <a:gd name="connsiteX15" fmla="*/ 313271 w 399197"/>
                <a:gd name="connsiteY15" fmla="*/ 455355 h 455920"/>
                <a:gd name="connsiteX16" fmla="*/ 228291 w 399197"/>
                <a:gd name="connsiteY16" fmla="*/ 455355 h 455920"/>
                <a:gd name="connsiteX17" fmla="*/ 228291 w 399197"/>
                <a:gd name="connsiteY17" fmla="*/ 216436 h 455920"/>
                <a:gd name="connsiteX18" fmla="*/ 173888 w 399197"/>
                <a:gd name="connsiteY18" fmla="*/ 216436 h 455920"/>
                <a:gd name="connsiteX19" fmla="*/ 173888 w 399197"/>
                <a:gd name="connsiteY19" fmla="*/ 140898 h 455920"/>
                <a:gd name="connsiteX20" fmla="*/ 228291 w 399197"/>
                <a:gd name="connsiteY20" fmla="*/ 140898 h 455920"/>
                <a:gd name="connsiteX21" fmla="*/ 228291 w 399197"/>
                <a:gd name="connsiteY21" fmla="*/ 90429 h 455920"/>
                <a:gd name="connsiteX22" fmla="*/ 228151 w 399197"/>
                <a:gd name="connsiteY22" fmla="*/ 89940 h 455920"/>
                <a:gd name="connsiteX23" fmla="*/ 324674 w 399197"/>
                <a:gd name="connsiteY23" fmla="*/ 971 h 455920"/>
                <a:gd name="connsiteX24" fmla="*/ 367184 w 399197"/>
                <a:gd name="connsiteY24" fmla="*/ 6 h 455920"/>
                <a:gd name="connsiteX0" fmla="*/ 139383 w 225309"/>
                <a:gd name="connsiteY0" fmla="*/ 455355 h 455920"/>
                <a:gd name="connsiteX1" fmla="*/ 139383 w 225309"/>
                <a:gd name="connsiteY1" fmla="*/ 455920 h 455920"/>
                <a:gd name="connsiteX2" fmla="*/ 139383 w 225309"/>
                <a:gd name="connsiteY2" fmla="*/ 455355 h 455920"/>
                <a:gd name="connsiteX3" fmla="*/ 54403 w 225309"/>
                <a:gd name="connsiteY3" fmla="*/ 455920 h 455920"/>
                <a:gd name="connsiteX4" fmla="*/ 54403 w 225309"/>
                <a:gd name="connsiteY4" fmla="*/ 455355 h 455920"/>
                <a:gd name="connsiteX5" fmla="*/ 54403 w 225309"/>
                <a:gd name="connsiteY5" fmla="*/ 455920 h 455920"/>
                <a:gd name="connsiteX6" fmla="*/ 193296 w 225309"/>
                <a:gd name="connsiteY6" fmla="*/ 6 h 455920"/>
                <a:gd name="connsiteX7" fmla="*/ 225309 w 225309"/>
                <a:gd name="connsiteY7" fmla="*/ 2823 h 455920"/>
                <a:gd name="connsiteX8" fmla="*/ 219909 w 225309"/>
                <a:gd name="connsiteY8" fmla="*/ 69600 h 455920"/>
                <a:gd name="connsiteX9" fmla="*/ 139383 w 225309"/>
                <a:gd name="connsiteY9" fmla="*/ 96177 h 455920"/>
                <a:gd name="connsiteX10" fmla="*/ 139383 w 225309"/>
                <a:gd name="connsiteY10" fmla="*/ 140898 h 455920"/>
                <a:gd name="connsiteX11" fmla="*/ 217171 w 225309"/>
                <a:gd name="connsiteY11" fmla="*/ 140898 h 455920"/>
                <a:gd name="connsiteX12" fmla="*/ 211626 w 225309"/>
                <a:gd name="connsiteY12" fmla="*/ 215050 h 455920"/>
                <a:gd name="connsiteX13" fmla="*/ 139383 w 225309"/>
                <a:gd name="connsiteY13" fmla="*/ 216436 h 455920"/>
                <a:gd name="connsiteX14" fmla="*/ 139383 w 225309"/>
                <a:gd name="connsiteY14" fmla="*/ 455355 h 455920"/>
                <a:gd name="connsiteX15" fmla="*/ 54403 w 225309"/>
                <a:gd name="connsiteY15" fmla="*/ 455355 h 455920"/>
                <a:gd name="connsiteX16" fmla="*/ 54403 w 225309"/>
                <a:gd name="connsiteY16" fmla="*/ 216436 h 455920"/>
                <a:gd name="connsiteX17" fmla="*/ 0 w 225309"/>
                <a:gd name="connsiteY17" fmla="*/ 216436 h 455920"/>
                <a:gd name="connsiteX18" fmla="*/ 0 w 225309"/>
                <a:gd name="connsiteY18" fmla="*/ 140898 h 455920"/>
                <a:gd name="connsiteX19" fmla="*/ 54403 w 225309"/>
                <a:gd name="connsiteY19" fmla="*/ 140898 h 455920"/>
                <a:gd name="connsiteX20" fmla="*/ 54403 w 225309"/>
                <a:gd name="connsiteY20" fmla="*/ 90429 h 455920"/>
                <a:gd name="connsiteX21" fmla="*/ 54263 w 225309"/>
                <a:gd name="connsiteY21" fmla="*/ 89940 h 455920"/>
                <a:gd name="connsiteX22" fmla="*/ 150786 w 225309"/>
                <a:gd name="connsiteY22" fmla="*/ 971 h 455920"/>
                <a:gd name="connsiteX23" fmla="*/ 193296 w 225309"/>
                <a:gd name="connsiteY23" fmla="*/ 6 h 4559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25309" h="455920">
                  <a:moveTo>
                    <a:pt x="139383" y="455355"/>
                  </a:moveTo>
                  <a:lnTo>
                    <a:pt x="139383" y="455920"/>
                  </a:lnTo>
                  <a:lnTo>
                    <a:pt x="139383" y="455355"/>
                  </a:lnTo>
                  <a:close/>
                  <a:moveTo>
                    <a:pt x="54403" y="455920"/>
                  </a:moveTo>
                  <a:lnTo>
                    <a:pt x="54403" y="455355"/>
                  </a:lnTo>
                  <a:lnTo>
                    <a:pt x="54403" y="455920"/>
                  </a:lnTo>
                  <a:close/>
                  <a:moveTo>
                    <a:pt x="193296" y="6"/>
                  </a:moveTo>
                  <a:cubicBezTo>
                    <a:pt x="204595" y="73"/>
                    <a:pt x="214144" y="770"/>
                    <a:pt x="225309" y="2823"/>
                  </a:cubicBezTo>
                  <a:cubicBezTo>
                    <a:pt x="225271" y="27274"/>
                    <a:pt x="222913" y="50194"/>
                    <a:pt x="219909" y="69600"/>
                  </a:cubicBezTo>
                  <a:cubicBezTo>
                    <a:pt x="188141" y="67117"/>
                    <a:pt x="138250" y="66776"/>
                    <a:pt x="139383" y="96177"/>
                  </a:cubicBezTo>
                  <a:lnTo>
                    <a:pt x="139383" y="140898"/>
                  </a:lnTo>
                  <a:lnTo>
                    <a:pt x="217171" y="140898"/>
                  </a:lnTo>
                  <a:lnTo>
                    <a:pt x="211626" y="215050"/>
                  </a:lnTo>
                  <a:lnTo>
                    <a:pt x="139383" y="216436"/>
                  </a:lnTo>
                  <a:lnTo>
                    <a:pt x="139383" y="455355"/>
                  </a:lnTo>
                  <a:lnTo>
                    <a:pt x="54403" y="455355"/>
                  </a:lnTo>
                  <a:lnTo>
                    <a:pt x="54403" y="216436"/>
                  </a:lnTo>
                  <a:lnTo>
                    <a:pt x="0" y="216436"/>
                  </a:lnTo>
                  <a:lnTo>
                    <a:pt x="0" y="140898"/>
                  </a:lnTo>
                  <a:lnTo>
                    <a:pt x="54403" y="140898"/>
                  </a:lnTo>
                  <a:lnTo>
                    <a:pt x="54403" y="90429"/>
                  </a:lnTo>
                  <a:cubicBezTo>
                    <a:pt x="54356" y="90266"/>
                    <a:pt x="54310" y="90103"/>
                    <a:pt x="54263" y="89940"/>
                  </a:cubicBezTo>
                  <a:cubicBezTo>
                    <a:pt x="54393" y="21715"/>
                    <a:pt x="104084" y="2174"/>
                    <a:pt x="150786" y="971"/>
                  </a:cubicBezTo>
                  <a:cubicBezTo>
                    <a:pt x="168948" y="503"/>
                    <a:pt x="181997" y="-60"/>
                    <a:pt x="193296" y="6"/>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08" name="Freeform: Shape 307">
              <a:extLst>
                <a:ext uri="{FF2B5EF4-FFF2-40B4-BE49-F238E27FC236}">
                  <a16:creationId xmlns:a16="http://schemas.microsoft.com/office/drawing/2014/main" id="{86490241-63D7-43CB-AFEA-86C2E2C5D593}"/>
                </a:ext>
              </a:extLst>
            </p:cNvPr>
            <p:cNvSpPr>
              <a:spLocks noChangeAspect="1"/>
            </p:cNvSpPr>
            <p:nvPr/>
          </p:nvSpPr>
          <p:spPr>
            <a:xfrm>
              <a:off x="2352516" y="3592851"/>
              <a:ext cx="272870" cy="264036"/>
            </a:xfrm>
            <a:custGeom>
              <a:avLst/>
              <a:gdLst>
                <a:gd name="connsiteX0" fmla="*/ 0 w 381434"/>
                <a:gd name="connsiteY0" fmla="*/ 119703 h 369085"/>
                <a:gd name="connsiteX1" fmla="*/ 86044 w 381434"/>
                <a:gd name="connsiteY1" fmla="*/ 119703 h 369085"/>
                <a:gd name="connsiteX2" fmla="*/ 86044 w 381434"/>
                <a:gd name="connsiteY2" fmla="*/ 369085 h 369085"/>
                <a:gd name="connsiteX3" fmla="*/ 0 w 381434"/>
                <a:gd name="connsiteY3" fmla="*/ 369085 h 369085"/>
                <a:gd name="connsiteX4" fmla="*/ 292017 w 381434"/>
                <a:gd name="connsiteY4" fmla="*/ 114642 h 369085"/>
                <a:gd name="connsiteX5" fmla="*/ 313054 w 381434"/>
                <a:gd name="connsiteY5" fmla="*/ 115239 h 369085"/>
                <a:gd name="connsiteX6" fmla="*/ 381408 w 381434"/>
                <a:gd name="connsiteY6" fmla="*/ 205099 h 369085"/>
                <a:gd name="connsiteX7" fmla="*/ 380450 w 381434"/>
                <a:gd name="connsiteY7" fmla="*/ 369085 h 369085"/>
                <a:gd name="connsiteX8" fmla="*/ 290799 w 381434"/>
                <a:gd name="connsiteY8" fmla="*/ 369085 h 369085"/>
                <a:gd name="connsiteX9" fmla="*/ 289999 w 381434"/>
                <a:gd name="connsiteY9" fmla="*/ 206524 h 369085"/>
                <a:gd name="connsiteX10" fmla="*/ 215597 w 381434"/>
                <a:gd name="connsiteY10" fmla="*/ 198936 h 369085"/>
                <a:gd name="connsiteX11" fmla="*/ 215597 w 381434"/>
                <a:gd name="connsiteY11" fmla="*/ 368810 h 369085"/>
                <a:gd name="connsiteX12" fmla="*/ 125945 w 381434"/>
                <a:gd name="connsiteY12" fmla="*/ 368810 h 369085"/>
                <a:gd name="connsiteX13" fmla="*/ 125945 w 381434"/>
                <a:gd name="connsiteY13" fmla="*/ 119428 h 369085"/>
                <a:gd name="connsiteX14" fmla="*/ 215597 w 381434"/>
                <a:gd name="connsiteY14" fmla="*/ 119428 h 369085"/>
                <a:gd name="connsiteX15" fmla="*/ 215597 w 381434"/>
                <a:gd name="connsiteY15" fmla="*/ 140603 h 369085"/>
                <a:gd name="connsiteX16" fmla="*/ 292017 w 381434"/>
                <a:gd name="connsiteY16" fmla="*/ 114642 h 369085"/>
                <a:gd name="connsiteX17" fmla="*/ 41218 w 381434"/>
                <a:gd name="connsiteY17" fmla="*/ 0 h 369085"/>
                <a:gd name="connsiteX18" fmla="*/ 86044 w 381434"/>
                <a:gd name="connsiteY18" fmla="*/ 44825 h 369085"/>
                <a:gd name="connsiteX19" fmla="*/ 41218 w 381434"/>
                <a:gd name="connsiteY19" fmla="*/ 89651 h 369085"/>
                <a:gd name="connsiteX20" fmla="*/ 9522 w 381434"/>
                <a:gd name="connsiteY20" fmla="*/ 76522 h 369085"/>
                <a:gd name="connsiteX21" fmla="*/ 0 w 381434"/>
                <a:gd name="connsiteY21" fmla="*/ 62399 h 369085"/>
                <a:gd name="connsiteX22" fmla="*/ 0 w 381434"/>
                <a:gd name="connsiteY22" fmla="*/ 27252 h 369085"/>
                <a:gd name="connsiteX23" fmla="*/ 9522 w 381434"/>
                <a:gd name="connsiteY23" fmla="*/ 13129 h 369085"/>
                <a:gd name="connsiteX24" fmla="*/ 41218 w 381434"/>
                <a:gd name="connsiteY24" fmla="*/ 0 h 3690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81434" h="369085">
                  <a:moveTo>
                    <a:pt x="0" y="119703"/>
                  </a:moveTo>
                  <a:lnTo>
                    <a:pt x="86044" y="119703"/>
                  </a:lnTo>
                  <a:lnTo>
                    <a:pt x="86044" y="369085"/>
                  </a:lnTo>
                  <a:lnTo>
                    <a:pt x="0" y="369085"/>
                  </a:lnTo>
                  <a:close/>
                  <a:moveTo>
                    <a:pt x="292017" y="114642"/>
                  </a:moveTo>
                  <a:cubicBezTo>
                    <a:pt x="298391" y="114580"/>
                    <a:pt x="305367" y="114772"/>
                    <a:pt x="313054" y="115239"/>
                  </a:cubicBezTo>
                  <a:cubicBezTo>
                    <a:pt x="367740" y="118635"/>
                    <a:pt x="382137" y="179381"/>
                    <a:pt x="381408" y="205099"/>
                  </a:cubicBezTo>
                  <a:cubicBezTo>
                    <a:pt x="381089" y="259761"/>
                    <a:pt x="380769" y="314423"/>
                    <a:pt x="380450" y="369085"/>
                  </a:cubicBezTo>
                  <a:lnTo>
                    <a:pt x="290799" y="369085"/>
                  </a:lnTo>
                  <a:lnTo>
                    <a:pt x="289999" y="206524"/>
                  </a:lnTo>
                  <a:cubicBezTo>
                    <a:pt x="289316" y="178831"/>
                    <a:pt x="232622" y="162576"/>
                    <a:pt x="215597" y="198936"/>
                  </a:cubicBezTo>
                  <a:lnTo>
                    <a:pt x="215597" y="368810"/>
                  </a:lnTo>
                  <a:lnTo>
                    <a:pt x="125945" y="368810"/>
                  </a:lnTo>
                  <a:lnTo>
                    <a:pt x="125945" y="119428"/>
                  </a:lnTo>
                  <a:lnTo>
                    <a:pt x="215597" y="119428"/>
                  </a:lnTo>
                  <a:lnTo>
                    <a:pt x="215597" y="140603"/>
                  </a:lnTo>
                  <a:cubicBezTo>
                    <a:pt x="235661" y="125417"/>
                    <a:pt x="251992" y="115029"/>
                    <a:pt x="292017" y="114642"/>
                  </a:cubicBezTo>
                  <a:close/>
                  <a:moveTo>
                    <a:pt x="41218" y="0"/>
                  </a:moveTo>
                  <a:cubicBezTo>
                    <a:pt x="65975" y="0"/>
                    <a:pt x="86044" y="20069"/>
                    <a:pt x="86044" y="44825"/>
                  </a:cubicBezTo>
                  <a:cubicBezTo>
                    <a:pt x="86044" y="69582"/>
                    <a:pt x="65975" y="89651"/>
                    <a:pt x="41218" y="89651"/>
                  </a:cubicBezTo>
                  <a:cubicBezTo>
                    <a:pt x="28840" y="89651"/>
                    <a:pt x="17634" y="84634"/>
                    <a:pt x="9522" y="76522"/>
                  </a:cubicBezTo>
                  <a:lnTo>
                    <a:pt x="0" y="62399"/>
                  </a:lnTo>
                  <a:lnTo>
                    <a:pt x="0" y="27252"/>
                  </a:lnTo>
                  <a:lnTo>
                    <a:pt x="9522" y="13129"/>
                  </a:lnTo>
                  <a:cubicBezTo>
                    <a:pt x="17634" y="5017"/>
                    <a:pt x="28840" y="0"/>
                    <a:pt x="41218"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sp>
          <p:nvSpPr>
            <p:cNvPr id="309" name="Freeform: Shape 308">
              <a:extLst>
                <a:ext uri="{FF2B5EF4-FFF2-40B4-BE49-F238E27FC236}">
                  <a16:creationId xmlns:a16="http://schemas.microsoft.com/office/drawing/2014/main" id="{BF34C9EE-2319-4435-B077-B10808462FA8}"/>
                </a:ext>
              </a:extLst>
            </p:cNvPr>
            <p:cNvSpPr/>
            <p:nvPr/>
          </p:nvSpPr>
          <p:spPr>
            <a:xfrm>
              <a:off x="5267645" y="1717582"/>
              <a:ext cx="299575" cy="297454"/>
            </a:xfrm>
            <a:custGeom>
              <a:avLst/>
              <a:gdLst>
                <a:gd name="connsiteX0" fmla="*/ 249204 w 299575"/>
                <a:gd name="connsiteY0" fmla="*/ 123541 h 297454"/>
                <a:gd name="connsiteX1" fmla="*/ 241250 w 299575"/>
                <a:gd name="connsiteY1" fmla="*/ 136266 h 297454"/>
                <a:gd name="connsiteX2" fmla="*/ 229055 w 299575"/>
                <a:gd name="connsiteY2" fmla="*/ 198302 h 297454"/>
                <a:gd name="connsiteX3" fmla="*/ 116648 w 299575"/>
                <a:gd name="connsiteY3" fmla="*/ 234888 h 297454"/>
                <a:gd name="connsiteX4" fmla="*/ 59914 w 299575"/>
                <a:gd name="connsiteY4" fmla="*/ 135736 h 297454"/>
                <a:gd name="connsiteX5" fmla="*/ 58324 w 299575"/>
                <a:gd name="connsiteY5" fmla="*/ 125662 h 297454"/>
                <a:gd name="connsiteX6" fmla="*/ 36585 w 299575"/>
                <a:gd name="connsiteY6" fmla="*/ 125131 h 297454"/>
                <a:gd name="connsiteX7" fmla="*/ 31813 w 299575"/>
                <a:gd name="connsiteY7" fmla="*/ 137857 h 297454"/>
                <a:gd name="connsiteX8" fmla="*/ 31813 w 299575"/>
                <a:gd name="connsiteY8" fmla="*/ 247082 h 297454"/>
                <a:gd name="connsiteX9" fmla="*/ 51961 w 299575"/>
                <a:gd name="connsiteY9" fmla="*/ 266701 h 297454"/>
                <a:gd name="connsiteX10" fmla="*/ 150052 w 299575"/>
                <a:gd name="connsiteY10" fmla="*/ 266701 h 297454"/>
                <a:gd name="connsiteX11" fmla="*/ 250794 w 299575"/>
                <a:gd name="connsiteY11" fmla="*/ 266701 h 297454"/>
                <a:gd name="connsiteX12" fmla="*/ 269352 w 299575"/>
                <a:gd name="connsiteY12" fmla="*/ 250264 h 297454"/>
                <a:gd name="connsiteX13" fmla="*/ 269352 w 299575"/>
                <a:gd name="connsiteY13" fmla="*/ 134675 h 297454"/>
                <a:gd name="connsiteX14" fmla="*/ 261863 w 299575"/>
                <a:gd name="connsiteY14" fmla="*/ 123541 h 297454"/>
                <a:gd name="connsiteX15" fmla="*/ 249204 w 299575"/>
                <a:gd name="connsiteY15" fmla="*/ 123541 h 297454"/>
                <a:gd name="connsiteX16" fmla="*/ 151642 w 299575"/>
                <a:gd name="connsiteY16" fmla="*/ 88016 h 297454"/>
                <a:gd name="connsiteX17" fmla="*/ 89076 w 299575"/>
                <a:gd name="connsiteY17" fmla="*/ 147931 h 297454"/>
                <a:gd name="connsiteX18" fmla="*/ 150582 w 299575"/>
                <a:gd name="connsiteY18" fmla="*/ 208377 h 297454"/>
                <a:gd name="connsiteX19" fmla="*/ 212088 w 299575"/>
                <a:gd name="connsiteY19" fmla="*/ 148461 h 297454"/>
                <a:gd name="connsiteX20" fmla="*/ 151642 w 299575"/>
                <a:gd name="connsiteY20" fmla="*/ 88016 h 297454"/>
                <a:gd name="connsiteX21" fmla="*/ 234357 w 299575"/>
                <a:gd name="connsiteY21" fmla="*/ 29162 h 297454"/>
                <a:gd name="connsiteX22" fmla="*/ 203605 w 299575"/>
                <a:gd name="connsiteY22" fmla="*/ 60444 h 297454"/>
                <a:gd name="connsiteX23" fmla="*/ 235948 w 299575"/>
                <a:gd name="connsiteY23" fmla="*/ 92258 h 297454"/>
                <a:gd name="connsiteX24" fmla="*/ 268822 w 299575"/>
                <a:gd name="connsiteY24" fmla="*/ 59914 h 297454"/>
                <a:gd name="connsiteX25" fmla="*/ 268822 w 299575"/>
                <a:gd name="connsiteY25" fmla="*/ 53552 h 297454"/>
                <a:gd name="connsiteX26" fmla="*/ 245492 w 299575"/>
                <a:gd name="connsiteY26" fmla="*/ 29162 h 297454"/>
                <a:gd name="connsiteX27" fmla="*/ 234357 w 299575"/>
                <a:gd name="connsiteY27" fmla="*/ 29162 h 297454"/>
                <a:gd name="connsiteX28" fmla="*/ 41887 w 299575"/>
                <a:gd name="connsiteY28" fmla="*/ 0 h 297454"/>
                <a:gd name="connsiteX29" fmla="*/ 258217 w 299575"/>
                <a:gd name="connsiteY29" fmla="*/ 0 h 297454"/>
                <a:gd name="connsiteX30" fmla="*/ 299575 w 299575"/>
                <a:gd name="connsiteY30" fmla="*/ 41887 h 297454"/>
                <a:gd name="connsiteX31" fmla="*/ 299575 w 299575"/>
                <a:gd name="connsiteY31" fmla="*/ 255567 h 297454"/>
                <a:gd name="connsiteX32" fmla="*/ 257687 w 299575"/>
                <a:gd name="connsiteY32" fmla="*/ 297454 h 297454"/>
                <a:gd name="connsiteX33" fmla="*/ 149522 w 299575"/>
                <a:gd name="connsiteY33" fmla="*/ 297454 h 297454"/>
                <a:gd name="connsiteX34" fmla="*/ 41357 w 299575"/>
                <a:gd name="connsiteY34" fmla="*/ 297454 h 297454"/>
                <a:gd name="connsiteX35" fmla="*/ 0 w 299575"/>
                <a:gd name="connsiteY35" fmla="*/ 256096 h 297454"/>
                <a:gd name="connsiteX36" fmla="*/ 0 w 299575"/>
                <a:gd name="connsiteY36" fmla="*/ 41357 h 297454"/>
                <a:gd name="connsiteX37" fmla="*/ 41887 w 299575"/>
                <a:gd name="connsiteY37" fmla="*/ 0 h 29745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299575" h="297454">
                  <a:moveTo>
                    <a:pt x="249204" y="123541"/>
                  </a:moveTo>
                  <a:cubicBezTo>
                    <a:pt x="240190" y="123011"/>
                    <a:pt x="239659" y="128843"/>
                    <a:pt x="241250" y="136266"/>
                  </a:cubicBezTo>
                  <a:cubicBezTo>
                    <a:pt x="245492" y="158536"/>
                    <a:pt x="240720" y="179214"/>
                    <a:pt x="229055" y="198302"/>
                  </a:cubicBezTo>
                  <a:cubicBezTo>
                    <a:pt x="206255" y="234888"/>
                    <a:pt x="158536" y="250264"/>
                    <a:pt x="116648" y="234888"/>
                  </a:cubicBezTo>
                  <a:cubicBezTo>
                    <a:pt x="83774" y="222692"/>
                    <a:pt x="50901" y="185577"/>
                    <a:pt x="59914" y="135736"/>
                  </a:cubicBezTo>
                  <a:cubicBezTo>
                    <a:pt x="60444" y="132555"/>
                    <a:pt x="62565" y="127252"/>
                    <a:pt x="58324" y="125662"/>
                  </a:cubicBezTo>
                  <a:cubicBezTo>
                    <a:pt x="51431" y="122481"/>
                    <a:pt x="43477" y="123541"/>
                    <a:pt x="36585" y="125131"/>
                  </a:cubicBezTo>
                  <a:cubicBezTo>
                    <a:pt x="30222" y="126722"/>
                    <a:pt x="31813" y="133085"/>
                    <a:pt x="31813" y="137857"/>
                  </a:cubicBezTo>
                  <a:cubicBezTo>
                    <a:pt x="31813" y="174442"/>
                    <a:pt x="31813" y="210497"/>
                    <a:pt x="31813" y="247082"/>
                  </a:cubicBezTo>
                  <a:cubicBezTo>
                    <a:pt x="31813" y="262989"/>
                    <a:pt x="35524" y="266701"/>
                    <a:pt x="51961" y="266701"/>
                  </a:cubicBezTo>
                  <a:cubicBezTo>
                    <a:pt x="84835" y="266701"/>
                    <a:pt x="117178" y="266701"/>
                    <a:pt x="150052" y="266701"/>
                  </a:cubicBezTo>
                  <a:cubicBezTo>
                    <a:pt x="183456" y="266701"/>
                    <a:pt x="217390" y="266701"/>
                    <a:pt x="250794" y="266701"/>
                  </a:cubicBezTo>
                  <a:cubicBezTo>
                    <a:pt x="262459" y="266701"/>
                    <a:pt x="269352" y="261929"/>
                    <a:pt x="269352" y="250264"/>
                  </a:cubicBezTo>
                  <a:cubicBezTo>
                    <a:pt x="269352" y="211558"/>
                    <a:pt x="269352" y="173382"/>
                    <a:pt x="269352" y="134675"/>
                  </a:cubicBezTo>
                  <a:cubicBezTo>
                    <a:pt x="268822" y="126987"/>
                    <a:pt x="265773" y="124337"/>
                    <a:pt x="261863" y="123541"/>
                  </a:cubicBezTo>
                  <a:cubicBezTo>
                    <a:pt x="257952" y="122746"/>
                    <a:pt x="253180" y="123806"/>
                    <a:pt x="249204" y="123541"/>
                  </a:cubicBezTo>
                  <a:close/>
                  <a:moveTo>
                    <a:pt x="151642" y="88016"/>
                  </a:moveTo>
                  <a:cubicBezTo>
                    <a:pt x="116648" y="87486"/>
                    <a:pt x="89076" y="113997"/>
                    <a:pt x="89076" y="147931"/>
                  </a:cubicBezTo>
                  <a:cubicBezTo>
                    <a:pt x="89076" y="180805"/>
                    <a:pt x="117178" y="208377"/>
                    <a:pt x="150582" y="208377"/>
                  </a:cubicBezTo>
                  <a:cubicBezTo>
                    <a:pt x="183986" y="208377"/>
                    <a:pt x="212088" y="181335"/>
                    <a:pt x="212088" y="148461"/>
                  </a:cubicBezTo>
                  <a:cubicBezTo>
                    <a:pt x="212088" y="115058"/>
                    <a:pt x="185577" y="88546"/>
                    <a:pt x="151642" y="88016"/>
                  </a:cubicBezTo>
                  <a:close/>
                  <a:moveTo>
                    <a:pt x="234357" y="29162"/>
                  </a:moveTo>
                  <a:cubicBezTo>
                    <a:pt x="207846" y="29162"/>
                    <a:pt x="204135" y="32873"/>
                    <a:pt x="203605" y="60444"/>
                  </a:cubicBezTo>
                  <a:cubicBezTo>
                    <a:pt x="203605" y="90137"/>
                    <a:pt x="205195" y="92258"/>
                    <a:pt x="235948" y="92258"/>
                  </a:cubicBezTo>
                  <a:cubicBezTo>
                    <a:pt x="267762" y="92258"/>
                    <a:pt x="268822" y="91197"/>
                    <a:pt x="268822" y="59914"/>
                  </a:cubicBezTo>
                  <a:cubicBezTo>
                    <a:pt x="268822" y="57794"/>
                    <a:pt x="268822" y="55673"/>
                    <a:pt x="268822" y="53552"/>
                  </a:cubicBezTo>
                  <a:cubicBezTo>
                    <a:pt x="268822" y="35524"/>
                    <a:pt x="263519" y="29692"/>
                    <a:pt x="245492" y="29162"/>
                  </a:cubicBezTo>
                  <a:cubicBezTo>
                    <a:pt x="241781" y="29162"/>
                    <a:pt x="238069" y="29162"/>
                    <a:pt x="234357" y="29162"/>
                  </a:cubicBezTo>
                  <a:close/>
                  <a:moveTo>
                    <a:pt x="41887" y="0"/>
                  </a:moveTo>
                  <a:cubicBezTo>
                    <a:pt x="113998" y="0"/>
                    <a:pt x="186108" y="0"/>
                    <a:pt x="258217" y="0"/>
                  </a:cubicBezTo>
                  <a:cubicBezTo>
                    <a:pt x="284728" y="0"/>
                    <a:pt x="299575" y="14846"/>
                    <a:pt x="299575" y="41887"/>
                  </a:cubicBezTo>
                  <a:cubicBezTo>
                    <a:pt x="299575" y="112937"/>
                    <a:pt x="299575" y="184517"/>
                    <a:pt x="299575" y="255567"/>
                  </a:cubicBezTo>
                  <a:cubicBezTo>
                    <a:pt x="299575" y="283138"/>
                    <a:pt x="285789" y="297454"/>
                    <a:pt x="257687" y="297454"/>
                  </a:cubicBezTo>
                  <a:cubicBezTo>
                    <a:pt x="221632" y="297454"/>
                    <a:pt x="185577" y="297454"/>
                    <a:pt x="149522" y="297454"/>
                  </a:cubicBezTo>
                  <a:cubicBezTo>
                    <a:pt x="113467" y="297454"/>
                    <a:pt x="77412" y="297454"/>
                    <a:pt x="41357" y="297454"/>
                  </a:cubicBezTo>
                  <a:cubicBezTo>
                    <a:pt x="14315" y="297454"/>
                    <a:pt x="0" y="283138"/>
                    <a:pt x="0" y="256096"/>
                  </a:cubicBezTo>
                  <a:cubicBezTo>
                    <a:pt x="0" y="184517"/>
                    <a:pt x="0" y="112937"/>
                    <a:pt x="0" y="41357"/>
                  </a:cubicBezTo>
                  <a:cubicBezTo>
                    <a:pt x="0" y="14315"/>
                    <a:pt x="14846" y="0"/>
                    <a:pt x="41887"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13" name="Freeform: Shape 312">
              <a:extLst>
                <a:ext uri="{FF2B5EF4-FFF2-40B4-BE49-F238E27FC236}">
                  <a16:creationId xmlns:a16="http://schemas.microsoft.com/office/drawing/2014/main" id="{1DEF5B47-9BFF-4AFA-91E4-8FC4313F29EA}"/>
                </a:ext>
              </a:extLst>
            </p:cNvPr>
            <p:cNvSpPr>
              <a:spLocks noChangeAspect="1"/>
            </p:cNvSpPr>
            <p:nvPr/>
          </p:nvSpPr>
          <p:spPr>
            <a:xfrm>
              <a:off x="4081827" y="1689659"/>
              <a:ext cx="284465" cy="283097"/>
            </a:xfrm>
            <a:custGeom>
              <a:avLst/>
              <a:gdLst>
                <a:gd name="connsiteX0" fmla="*/ 677823 w 940832"/>
                <a:gd name="connsiteY0" fmla="*/ 434340 h 936308"/>
                <a:gd name="connsiteX1" fmla="*/ 691276 w 940832"/>
                <a:gd name="connsiteY1" fmla="*/ 454342 h 936308"/>
                <a:gd name="connsiteX2" fmla="*/ 691276 w 940832"/>
                <a:gd name="connsiteY2" fmla="*/ 661987 h 936308"/>
                <a:gd name="connsiteX3" fmla="*/ 657939 w 940832"/>
                <a:gd name="connsiteY3" fmla="*/ 691515 h 936308"/>
                <a:gd name="connsiteX4" fmla="*/ 476964 w 940832"/>
                <a:gd name="connsiteY4" fmla="*/ 691515 h 936308"/>
                <a:gd name="connsiteX5" fmla="*/ 300751 w 940832"/>
                <a:gd name="connsiteY5" fmla="*/ 691515 h 936308"/>
                <a:gd name="connsiteX6" fmla="*/ 264557 w 940832"/>
                <a:gd name="connsiteY6" fmla="*/ 656272 h 936308"/>
                <a:gd name="connsiteX7" fmla="*/ 264557 w 940832"/>
                <a:gd name="connsiteY7" fmla="*/ 460057 h 936308"/>
                <a:gd name="connsiteX8" fmla="*/ 273129 w 940832"/>
                <a:gd name="connsiteY8" fmla="*/ 437197 h 936308"/>
                <a:gd name="connsiteX9" fmla="*/ 312182 w 940832"/>
                <a:gd name="connsiteY9" fmla="*/ 438150 h 936308"/>
                <a:gd name="connsiteX10" fmla="*/ 315039 w 940832"/>
                <a:gd name="connsiteY10" fmla="*/ 456247 h 936308"/>
                <a:gd name="connsiteX11" fmla="*/ 416957 w 940832"/>
                <a:gd name="connsiteY11" fmla="*/ 634365 h 936308"/>
                <a:gd name="connsiteX12" fmla="*/ 618886 w 940832"/>
                <a:gd name="connsiteY12" fmla="*/ 568642 h 936308"/>
                <a:gd name="connsiteX13" fmla="*/ 640794 w 940832"/>
                <a:gd name="connsiteY13" fmla="*/ 457200 h 936308"/>
                <a:gd name="connsiteX14" fmla="*/ 655082 w 940832"/>
                <a:gd name="connsiteY14" fmla="*/ 434340 h 936308"/>
                <a:gd name="connsiteX15" fmla="*/ 677823 w 940832"/>
                <a:gd name="connsiteY15" fmla="*/ 434340 h 936308"/>
                <a:gd name="connsiteX16" fmla="*/ 479821 w 940832"/>
                <a:gd name="connsiteY16" fmla="*/ 370522 h 936308"/>
                <a:gd name="connsiteX17" fmla="*/ 588406 w 940832"/>
                <a:gd name="connsiteY17" fmla="*/ 479107 h 936308"/>
                <a:gd name="connsiteX18" fmla="*/ 477916 w 940832"/>
                <a:gd name="connsiteY18" fmla="*/ 586740 h 936308"/>
                <a:gd name="connsiteX19" fmla="*/ 367426 w 940832"/>
                <a:gd name="connsiteY19" fmla="*/ 478155 h 936308"/>
                <a:gd name="connsiteX20" fmla="*/ 479821 w 940832"/>
                <a:gd name="connsiteY20" fmla="*/ 370522 h 936308"/>
                <a:gd name="connsiteX21" fmla="*/ 628412 w 940832"/>
                <a:gd name="connsiteY21" fmla="*/ 264795 h 936308"/>
                <a:gd name="connsiteX22" fmla="*/ 648414 w 940832"/>
                <a:gd name="connsiteY22" fmla="*/ 264795 h 936308"/>
                <a:gd name="connsiteX23" fmla="*/ 690324 w 940832"/>
                <a:gd name="connsiteY23" fmla="*/ 308610 h 936308"/>
                <a:gd name="connsiteX24" fmla="*/ 690324 w 940832"/>
                <a:gd name="connsiteY24" fmla="*/ 320040 h 936308"/>
                <a:gd name="connsiteX25" fmla="*/ 631270 w 940832"/>
                <a:gd name="connsiteY25" fmla="*/ 378143 h 936308"/>
                <a:gd name="connsiteX26" fmla="*/ 573167 w 940832"/>
                <a:gd name="connsiteY26" fmla="*/ 320992 h 936308"/>
                <a:gd name="connsiteX27" fmla="*/ 628412 w 940832"/>
                <a:gd name="connsiteY27" fmla="*/ 264795 h 936308"/>
                <a:gd name="connsiteX28" fmla="*/ 282654 w 940832"/>
                <a:gd name="connsiteY28" fmla="*/ 212408 h 936308"/>
                <a:gd name="connsiteX29" fmla="*/ 207407 w 940832"/>
                <a:gd name="connsiteY29" fmla="*/ 286703 h 936308"/>
                <a:gd name="connsiteX30" fmla="*/ 207407 w 940832"/>
                <a:gd name="connsiteY30" fmla="*/ 672465 h 936308"/>
                <a:gd name="connsiteX31" fmla="*/ 281702 w 940832"/>
                <a:gd name="connsiteY31" fmla="*/ 746760 h 936308"/>
                <a:gd name="connsiteX32" fmla="*/ 476012 w 940832"/>
                <a:gd name="connsiteY32" fmla="*/ 746760 h 936308"/>
                <a:gd name="connsiteX33" fmla="*/ 670322 w 940832"/>
                <a:gd name="connsiteY33" fmla="*/ 746760 h 936308"/>
                <a:gd name="connsiteX34" fmla="*/ 745570 w 940832"/>
                <a:gd name="connsiteY34" fmla="*/ 671513 h 936308"/>
                <a:gd name="connsiteX35" fmla="*/ 745570 w 940832"/>
                <a:gd name="connsiteY35" fmla="*/ 287655 h 936308"/>
                <a:gd name="connsiteX36" fmla="*/ 671274 w 940832"/>
                <a:gd name="connsiteY36" fmla="*/ 212408 h 936308"/>
                <a:gd name="connsiteX37" fmla="*/ 282654 w 940832"/>
                <a:gd name="connsiteY37" fmla="*/ 212408 h 936308"/>
                <a:gd name="connsiteX38" fmla="*/ 153114 w 940832"/>
                <a:gd name="connsiteY38" fmla="*/ 0 h 936308"/>
                <a:gd name="connsiteX39" fmla="*/ 789385 w 940832"/>
                <a:gd name="connsiteY39" fmla="*/ 0 h 936308"/>
                <a:gd name="connsiteX40" fmla="*/ 939880 w 940832"/>
                <a:gd name="connsiteY40" fmla="*/ 149543 h 936308"/>
                <a:gd name="connsiteX41" fmla="*/ 940832 w 940832"/>
                <a:gd name="connsiteY41" fmla="*/ 783908 h 936308"/>
                <a:gd name="connsiteX42" fmla="*/ 787480 w 940832"/>
                <a:gd name="connsiteY42" fmla="*/ 936308 h 936308"/>
                <a:gd name="connsiteX43" fmla="*/ 470297 w 940832"/>
                <a:gd name="connsiteY43" fmla="*/ 936308 h 936308"/>
                <a:gd name="connsiteX44" fmla="*/ 153114 w 940832"/>
                <a:gd name="connsiteY44" fmla="*/ 936308 h 936308"/>
                <a:gd name="connsiteX45" fmla="*/ 714 w 940832"/>
                <a:gd name="connsiteY45" fmla="*/ 784860 h 936308"/>
                <a:gd name="connsiteX46" fmla="*/ 714 w 940832"/>
                <a:gd name="connsiteY46" fmla="*/ 151448 h 936308"/>
                <a:gd name="connsiteX47" fmla="*/ 153114 w 940832"/>
                <a:gd name="connsiteY47" fmla="*/ 0 h 936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940832" h="936308">
                  <a:moveTo>
                    <a:pt x="677823" y="434340"/>
                  </a:moveTo>
                  <a:cubicBezTo>
                    <a:pt x="684847" y="435769"/>
                    <a:pt x="690324" y="440531"/>
                    <a:pt x="691276" y="454342"/>
                  </a:cubicBezTo>
                  <a:cubicBezTo>
                    <a:pt x="691276" y="523875"/>
                    <a:pt x="691276" y="592455"/>
                    <a:pt x="691276" y="661987"/>
                  </a:cubicBezTo>
                  <a:cubicBezTo>
                    <a:pt x="691276" y="682942"/>
                    <a:pt x="678894" y="691515"/>
                    <a:pt x="657939" y="691515"/>
                  </a:cubicBezTo>
                  <a:cubicBezTo>
                    <a:pt x="597932" y="691515"/>
                    <a:pt x="536972" y="691515"/>
                    <a:pt x="476964" y="691515"/>
                  </a:cubicBezTo>
                  <a:cubicBezTo>
                    <a:pt x="417909" y="691515"/>
                    <a:pt x="359807" y="691515"/>
                    <a:pt x="300751" y="691515"/>
                  </a:cubicBezTo>
                  <a:cubicBezTo>
                    <a:pt x="271224" y="691515"/>
                    <a:pt x="264557" y="684847"/>
                    <a:pt x="264557" y="656272"/>
                  </a:cubicBezTo>
                  <a:cubicBezTo>
                    <a:pt x="264557" y="590550"/>
                    <a:pt x="264557" y="525780"/>
                    <a:pt x="264557" y="460057"/>
                  </a:cubicBezTo>
                  <a:cubicBezTo>
                    <a:pt x="264557" y="451485"/>
                    <a:pt x="261699" y="440055"/>
                    <a:pt x="273129" y="437197"/>
                  </a:cubicBezTo>
                  <a:cubicBezTo>
                    <a:pt x="285511" y="434340"/>
                    <a:pt x="299799" y="432435"/>
                    <a:pt x="312182" y="438150"/>
                  </a:cubicBezTo>
                  <a:cubicBezTo>
                    <a:pt x="319801" y="441007"/>
                    <a:pt x="315991" y="450532"/>
                    <a:pt x="315039" y="456247"/>
                  </a:cubicBezTo>
                  <a:cubicBezTo>
                    <a:pt x="298847" y="545782"/>
                    <a:pt x="357901" y="612457"/>
                    <a:pt x="416957" y="634365"/>
                  </a:cubicBezTo>
                  <a:cubicBezTo>
                    <a:pt x="492204" y="661987"/>
                    <a:pt x="577929" y="634365"/>
                    <a:pt x="618886" y="568642"/>
                  </a:cubicBezTo>
                  <a:cubicBezTo>
                    <a:pt x="639841" y="534352"/>
                    <a:pt x="648414" y="497205"/>
                    <a:pt x="640794" y="457200"/>
                  </a:cubicBezTo>
                  <a:cubicBezTo>
                    <a:pt x="637936" y="443865"/>
                    <a:pt x="638889" y="433387"/>
                    <a:pt x="655082" y="434340"/>
                  </a:cubicBezTo>
                  <a:cubicBezTo>
                    <a:pt x="662226" y="434816"/>
                    <a:pt x="670798" y="432911"/>
                    <a:pt x="677823" y="434340"/>
                  </a:cubicBezTo>
                  <a:close/>
                  <a:moveTo>
                    <a:pt x="479821" y="370522"/>
                  </a:moveTo>
                  <a:cubicBezTo>
                    <a:pt x="540781" y="371475"/>
                    <a:pt x="588406" y="419100"/>
                    <a:pt x="588406" y="479107"/>
                  </a:cubicBezTo>
                  <a:cubicBezTo>
                    <a:pt x="588406" y="538162"/>
                    <a:pt x="537923" y="586740"/>
                    <a:pt x="477916" y="586740"/>
                  </a:cubicBezTo>
                  <a:cubicBezTo>
                    <a:pt x="417909" y="586740"/>
                    <a:pt x="367426" y="537210"/>
                    <a:pt x="367426" y="478155"/>
                  </a:cubicBezTo>
                  <a:cubicBezTo>
                    <a:pt x="367426" y="417195"/>
                    <a:pt x="416956" y="369570"/>
                    <a:pt x="479821" y="370522"/>
                  </a:cubicBezTo>
                  <a:close/>
                  <a:moveTo>
                    <a:pt x="628412" y="264795"/>
                  </a:moveTo>
                  <a:cubicBezTo>
                    <a:pt x="635080" y="264795"/>
                    <a:pt x="641747" y="264795"/>
                    <a:pt x="648414" y="264795"/>
                  </a:cubicBezTo>
                  <a:cubicBezTo>
                    <a:pt x="680799" y="265748"/>
                    <a:pt x="690324" y="276225"/>
                    <a:pt x="690324" y="308610"/>
                  </a:cubicBezTo>
                  <a:cubicBezTo>
                    <a:pt x="690324" y="312420"/>
                    <a:pt x="690324" y="316230"/>
                    <a:pt x="690324" y="320040"/>
                  </a:cubicBezTo>
                  <a:cubicBezTo>
                    <a:pt x="690324" y="376237"/>
                    <a:pt x="688420" y="378143"/>
                    <a:pt x="631270" y="378143"/>
                  </a:cubicBezTo>
                  <a:cubicBezTo>
                    <a:pt x="576024" y="378143"/>
                    <a:pt x="573167" y="374332"/>
                    <a:pt x="573167" y="320992"/>
                  </a:cubicBezTo>
                  <a:cubicBezTo>
                    <a:pt x="574120" y="271462"/>
                    <a:pt x="580787" y="264795"/>
                    <a:pt x="628412" y="264795"/>
                  </a:cubicBezTo>
                  <a:close/>
                  <a:moveTo>
                    <a:pt x="282654" y="212408"/>
                  </a:moveTo>
                  <a:cubicBezTo>
                    <a:pt x="234077" y="212408"/>
                    <a:pt x="207407" y="238125"/>
                    <a:pt x="207407" y="286703"/>
                  </a:cubicBezTo>
                  <a:cubicBezTo>
                    <a:pt x="207407" y="415290"/>
                    <a:pt x="207407" y="543878"/>
                    <a:pt x="207407" y="672465"/>
                  </a:cubicBezTo>
                  <a:cubicBezTo>
                    <a:pt x="207407" y="721043"/>
                    <a:pt x="233124" y="746760"/>
                    <a:pt x="281702" y="746760"/>
                  </a:cubicBezTo>
                  <a:cubicBezTo>
                    <a:pt x="346472" y="746760"/>
                    <a:pt x="411242" y="746760"/>
                    <a:pt x="476012" y="746760"/>
                  </a:cubicBezTo>
                  <a:cubicBezTo>
                    <a:pt x="540782" y="746760"/>
                    <a:pt x="605552" y="746760"/>
                    <a:pt x="670322" y="746760"/>
                  </a:cubicBezTo>
                  <a:cubicBezTo>
                    <a:pt x="720805" y="746760"/>
                    <a:pt x="745570" y="721043"/>
                    <a:pt x="745570" y="671513"/>
                  </a:cubicBezTo>
                  <a:cubicBezTo>
                    <a:pt x="745570" y="543878"/>
                    <a:pt x="745570" y="415290"/>
                    <a:pt x="745570" y="287655"/>
                  </a:cubicBezTo>
                  <a:cubicBezTo>
                    <a:pt x="745570" y="239078"/>
                    <a:pt x="718899" y="212408"/>
                    <a:pt x="671274" y="212408"/>
                  </a:cubicBezTo>
                  <a:cubicBezTo>
                    <a:pt x="541735" y="212408"/>
                    <a:pt x="412195" y="212408"/>
                    <a:pt x="282654" y="212408"/>
                  </a:cubicBezTo>
                  <a:close/>
                  <a:moveTo>
                    <a:pt x="153114" y="0"/>
                  </a:moveTo>
                  <a:cubicBezTo>
                    <a:pt x="365522" y="0"/>
                    <a:pt x="576977" y="0"/>
                    <a:pt x="789385" y="0"/>
                  </a:cubicBezTo>
                  <a:cubicBezTo>
                    <a:pt x="877967" y="0"/>
                    <a:pt x="939880" y="60960"/>
                    <a:pt x="939880" y="149543"/>
                  </a:cubicBezTo>
                  <a:cubicBezTo>
                    <a:pt x="939880" y="360998"/>
                    <a:pt x="939880" y="572453"/>
                    <a:pt x="940832" y="783908"/>
                  </a:cubicBezTo>
                  <a:cubicBezTo>
                    <a:pt x="939880" y="876300"/>
                    <a:pt x="878920" y="936308"/>
                    <a:pt x="787480" y="936308"/>
                  </a:cubicBezTo>
                  <a:cubicBezTo>
                    <a:pt x="681752" y="936308"/>
                    <a:pt x="576024" y="936308"/>
                    <a:pt x="470297" y="936308"/>
                  </a:cubicBezTo>
                  <a:cubicBezTo>
                    <a:pt x="364570" y="936308"/>
                    <a:pt x="258842" y="936308"/>
                    <a:pt x="153114" y="936308"/>
                  </a:cubicBezTo>
                  <a:cubicBezTo>
                    <a:pt x="62627" y="935355"/>
                    <a:pt x="714" y="874395"/>
                    <a:pt x="714" y="784860"/>
                  </a:cubicBezTo>
                  <a:cubicBezTo>
                    <a:pt x="-238" y="574358"/>
                    <a:pt x="-238" y="362903"/>
                    <a:pt x="714" y="151448"/>
                  </a:cubicBezTo>
                  <a:cubicBezTo>
                    <a:pt x="1667" y="60960"/>
                    <a:pt x="62627" y="0"/>
                    <a:pt x="153114" y="0"/>
                  </a:cubicBezTo>
                  <a:close/>
                </a:path>
              </a:pathLst>
            </a:custGeom>
            <a:solidFill>
              <a:schemeClr val="accent2"/>
            </a:solidFill>
            <a:ln w="9525" cap="flat">
              <a:noFill/>
              <a:prstDash val="solid"/>
              <a:miter/>
            </a:ln>
          </p:spPr>
          <p:txBody>
            <a:bodyPr rtlCol="0" anchor="ctr"/>
            <a:lstStyle/>
            <a:p>
              <a:endParaRPr lang="en-US" dirty="0"/>
            </a:p>
          </p:txBody>
        </p:sp>
        <p:sp>
          <p:nvSpPr>
            <p:cNvPr id="314" name="Rounded Rectangle 2">
              <a:extLst>
                <a:ext uri="{FF2B5EF4-FFF2-40B4-BE49-F238E27FC236}">
                  <a16:creationId xmlns:a16="http://schemas.microsoft.com/office/drawing/2014/main" id="{E2018BDA-6A5F-4776-812D-8EA445E4FE3F}"/>
                </a:ext>
              </a:extLst>
            </p:cNvPr>
            <p:cNvSpPr/>
            <p:nvPr/>
          </p:nvSpPr>
          <p:spPr>
            <a:xfrm>
              <a:off x="5497613" y="5307476"/>
              <a:ext cx="258315" cy="258315"/>
            </a:xfrm>
            <a:custGeom>
              <a:avLst/>
              <a:gdLst>
                <a:gd name="connsiteX0" fmla="*/ 1979373 w 3960440"/>
                <a:gd name="connsiteY0" fmla="*/ 472350 h 3960000"/>
                <a:gd name="connsiteX1" fmla="*/ 813783 w 3960440"/>
                <a:gd name="connsiteY1" fmla="*/ 1434034 h 3960000"/>
                <a:gd name="connsiteX2" fmla="*/ 1171732 w 3960440"/>
                <a:gd name="connsiteY2" fmla="*/ 2285845 h 3960000"/>
                <a:gd name="connsiteX3" fmla="*/ 1338560 w 3960440"/>
                <a:gd name="connsiteY3" fmla="*/ 1981614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71732 w 3960440"/>
                <a:gd name="connsiteY2" fmla="*/ 2285845 h 3960000"/>
                <a:gd name="connsiteX3" fmla="*/ 1296382 w 3960440"/>
                <a:gd name="connsiteY3" fmla="*/ 1907811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182276 w 3960440"/>
                <a:gd name="connsiteY4" fmla="*/ 1442314 h 3960000"/>
                <a:gd name="connsiteX5" fmla="*/ 2217373 w 3960440"/>
                <a:gd name="connsiteY5" fmla="*/ 796414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182276 w 3960440"/>
                <a:gd name="connsiteY4" fmla="*/ 1442314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873721 w 3960440"/>
                <a:gd name="connsiteY10" fmla="*/ 1156628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915898 w 3960440"/>
                <a:gd name="connsiteY10" fmla="*/ 1219889 h 3960000"/>
                <a:gd name="connsiteX11" fmla="*/ 1525929 w 3960440"/>
                <a:gd name="connsiteY11" fmla="*/ 1392629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915898 w 3960440"/>
                <a:gd name="connsiteY10" fmla="*/ 1219889 h 3960000"/>
                <a:gd name="connsiteX11" fmla="*/ 1589196 w 3960440"/>
                <a:gd name="connsiteY11" fmla="*/ 1434803 h 3960000"/>
                <a:gd name="connsiteX12" fmla="*/ 1521788 w 3960440"/>
                <a:gd name="connsiteY12" fmla="*/ 1897758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03335 w 3960440"/>
                <a:gd name="connsiteY14" fmla="*/ 2485692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10984 w 3960440"/>
                <a:gd name="connsiteY8" fmla="*/ 2071653 h 3960000"/>
                <a:gd name="connsiteX9" fmla="*/ 2072459 w 3960440"/>
                <a:gd name="connsiteY9" fmla="*/ 1512703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95341 w 3960440"/>
                <a:gd name="connsiteY8" fmla="*/ 2082197 h 3960000"/>
                <a:gd name="connsiteX9" fmla="*/ 2072459 w 3960440"/>
                <a:gd name="connsiteY9" fmla="*/ 1512703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38586 h 3960000"/>
                <a:gd name="connsiteX6" fmla="*/ 2730780 w 3960440"/>
                <a:gd name="connsiteY6" fmla="*/ 1554106 h 3960000"/>
                <a:gd name="connsiteX7" fmla="*/ 2424394 w 3960440"/>
                <a:gd name="connsiteY7" fmla="*/ 2278672 h 3960000"/>
                <a:gd name="connsiteX8" fmla="*/ 1995341 w 3960440"/>
                <a:gd name="connsiteY8" fmla="*/ 2082197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30780 w 3960440"/>
                <a:gd name="connsiteY6" fmla="*/ 1554106 h 3960000"/>
                <a:gd name="connsiteX7" fmla="*/ 2424394 w 3960440"/>
                <a:gd name="connsiteY7" fmla="*/ 2278672 h 3960000"/>
                <a:gd name="connsiteX8" fmla="*/ 1995341 w 3960440"/>
                <a:gd name="connsiteY8" fmla="*/ 2082197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24394 w 3960440"/>
                <a:gd name="connsiteY7" fmla="*/ 2278672 h 3960000"/>
                <a:gd name="connsiteX8" fmla="*/ 1995341 w 3960440"/>
                <a:gd name="connsiteY8" fmla="*/ 2082197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1995341 w 3960440"/>
                <a:gd name="connsiteY8" fmla="*/ 2082197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66603 w 3960440"/>
                <a:gd name="connsiteY14" fmla="*/ 2506778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283619 w 3960440"/>
                <a:gd name="connsiteY15" fmla="*/ 2688571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44820 w 3960440"/>
                <a:gd name="connsiteY16" fmla="*/ 1595509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2134565 w 3960440"/>
                <a:gd name="connsiteY17" fmla="*/ 477605 h 3960000"/>
                <a:gd name="connsiteX18" fmla="*/ 1979373 w 3960440"/>
                <a:gd name="connsiteY18" fmla="*/ 472350 h 3960000"/>
                <a:gd name="connsiteX19" fmla="*/ 436907 w 3960440"/>
                <a:gd name="connsiteY19" fmla="*/ 0 h 3960000"/>
                <a:gd name="connsiteX20" fmla="*/ 3523533 w 3960440"/>
                <a:gd name="connsiteY20" fmla="*/ 0 h 3960000"/>
                <a:gd name="connsiteX21" fmla="*/ 3960440 w 3960440"/>
                <a:gd name="connsiteY21" fmla="*/ 436907 h 3960000"/>
                <a:gd name="connsiteX22" fmla="*/ 3960440 w 3960440"/>
                <a:gd name="connsiteY22" fmla="*/ 3523093 h 3960000"/>
                <a:gd name="connsiteX23" fmla="*/ 3523533 w 3960440"/>
                <a:gd name="connsiteY23" fmla="*/ 3960000 h 3960000"/>
                <a:gd name="connsiteX24" fmla="*/ 436907 w 3960440"/>
                <a:gd name="connsiteY24" fmla="*/ 3960000 h 3960000"/>
                <a:gd name="connsiteX25" fmla="*/ 0 w 3960440"/>
                <a:gd name="connsiteY25" fmla="*/ 3523093 h 3960000"/>
                <a:gd name="connsiteX26" fmla="*/ 0 w 3960440"/>
                <a:gd name="connsiteY26" fmla="*/ 436907 h 3960000"/>
                <a:gd name="connsiteX27" fmla="*/ 436907 w 3960440"/>
                <a:gd name="connsiteY27"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296382 w 3960440"/>
                <a:gd name="connsiteY3" fmla="*/ 1907811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328015 w 3960440"/>
                <a:gd name="connsiteY3" fmla="*/ 1812920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 name="connsiteX0" fmla="*/ 1979373 w 3960440"/>
                <a:gd name="connsiteY0" fmla="*/ 472350 h 3960000"/>
                <a:gd name="connsiteX1" fmla="*/ 813783 w 3960440"/>
                <a:gd name="connsiteY1" fmla="*/ 1434034 h 3960000"/>
                <a:gd name="connsiteX2" fmla="*/ 1119009 w 3960440"/>
                <a:gd name="connsiteY2" fmla="*/ 2222584 h 3960000"/>
                <a:gd name="connsiteX3" fmla="*/ 1328015 w 3960440"/>
                <a:gd name="connsiteY3" fmla="*/ 1812920 h 3960000"/>
                <a:gd name="connsiteX4" fmla="*/ 1234998 w 3960440"/>
                <a:gd name="connsiteY4" fmla="*/ 1431771 h 3960000"/>
                <a:gd name="connsiteX5" fmla="*/ 2217373 w 3960440"/>
                <a:gd name="connsiteY5" fmla="*/ 891303 h 3960000"/>
                <a:gd name="connsiteX6" fmla="*/ 2783502 w 3960440"/>
                <a:gd name="connsiteY6" fmla="*/ 1606823 h 3960000"/>
                <a:gd name="connsiteX7" fmla="*/ 2456028 w 3960440"/>
                <a:gd name="connsiteY7" fmla="*/ 2225955 h 3960000"/>
                <a:gd name="connsiteX8" fmla="*/ 2026974 w 3960440"/>
                <a:gd name="connsiteY8" fmla="*/ 2018938 h 3960000"/>
                <a:gd name="connsiteX9" fmla="*/ 2135727 w 3960440"/>
                <a:gd name="connsiteY9" fmla="*/ 1554876 h 3960000"/>
                <a:gd name="connsiteX10" fmla="*/ 1915898 w 3960440"/>
                <a:gd name="connsiteY10" fmla="*/ 1219889 h 3960000"/>
                <a:gd name="connsiteX11" fmla="*/ 1589196 w 3960440"/>
                <a:gd name="connsiteY11" fmla="*/ 1434803 h 3960000"/>
                <a:gd name="connsiteX12" fmla="*/ 1574511 w 3960440"/>
                <a:gd name="connsiteY12" fmla="*/ 1939931 h 3960000"/>
                <a:gd name="connsiteX13" fmla="*/ 1339611 w 3960440"/>
                <a:gd name="connsiteY13" fmla="*/ 3487664 h 3960000"/>
                <a:gd name="connsiteX14" fmla="*/ 1887692 w 3960440"/>
                <a:gd name="connsiteY14" fmla="*/ 2422431 h 3960000"/>
                <a:gd name="connsiteX15" fmla="*/ 2336342 w 3960440"/>
                <a:gd name="connsiteY15" fmla="*/ 2720202 h 3960000"/>
                <a:gd name="connsiteX16" fmla="*/ 3176454 w 3960440"/>
                <a:gd name="connsiteY16" fmla="*/ 1627140 h 3960000"/>
                <a:gd name="connsiteX17" fmla="*/ 1979373 w 3960440"/>
                <a:gd name="connsiteY17" fmla="*/ 472350 h 3960000"/>
                <a:gd name="connsiteX18" fmla="*/ 436907 w 3960440"/>
                <a:gd name="connsiteY18" fmla="*/ 0 h 3960000"/>
                <a:gd name="connsiteX19" fmla="*/ 3523533 w 3960440"/>
                <a:gd name="connsiteY19" fmla="*/ 0 h 3960000"/>
                <a:gd name="connsiteX20" fmla="*/ 3960440 w 3960440"/>
                <a:gd name="connsiteY20" fmla="*/ 436907 h 3960000"/>
                <a:gd name="connsiteX21" fmla="*/ 3960440 w 3960440"/>
                <a:gd name="connsiteY21" fmla="*/ 3523093 h 3960000"/>
                <a:gd name="connsiteX22" fmla="*/ 3523533 w 3960440"/>
                <a:gd name="connsiteY22" fmla="*/ 3960000 h 3960000"/>
                <a:gd name="connsiteX23" fmla="*/ 436907 w 3960440"/>
                <a:gd name="connsiteY23" fmla="*/ 3960000 h 3960000"/>
                <a:gd name="connsiteX24" fmla="*/ 0 w 3960440"/>
                <a:gd name="connsiteY24" fmla="*/ 3523093 h 3960000"/>
                <a:gd name="connsiteX25" fmla="*/ 0 w 3960440"/>
                <a:gd name="connsiteY25" fmla="*/ 436907 h 3960000"/>
                <a:gd name="connsiteX26" fmla="*/ 436907 w 3960440"/>
                <a:gd name="connsiteY26" fmla="*/ 0 h 39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3960440" h="3960000">
                  <a:moveTo>
                    <a:pt x="1979373" y="472350"/>
                  </a:moveTo>
                  <a:cubicBezTo>
                    <a:pt x="1228307" y="485871"/>
                    <a:pt x="850011" y="1078219"/>
                    <a:pt x="813783" y="1434034"/>
                  </a:cubicBezTo>
                  <a:cubicBezTo>
                    <a:pt x="787561" y="1781828"/>
                    <a:pt x="889690" y="2005359"/>
                    <a:pt x="1119009" y="2222584"/>
                  </a:cubicBezTo>
                  <a:cubicBezTo>
                    <a:pt x="1178964" y="2123026"/>
                    <a:pt x="1260199" y="1908547"/>
                    <a:pt x="1328015" y="1812920"/>
                  </a:cubicBezTo>
                  <a:cubicBezTo>
                    <a:pt x="1222115" y="1647651"/>
                    <a:pt x="1255483" y="1756375"/>
                    <a:pt x="1234998" y="1431771"/>
                  </a:cubicBezTo>
                  <a:cubicBezTo>
                    <a:pt x="1331609" y="922504"/>
                    <a:pt x="1719145" y="812633"/>
                    <a:pt x="2217373" y="891303"/>
                  </a:cubicBezTo>
                  <a:cubicBezTo>
                    <a:pt x="2693518" y="1016895"/>
                    <a:pt x="2787642" y="1344599"/>
                    <a:pt x="2783502" y="1606823"/>
                  </a:cubicBezTo>
                  <a:cubicBezTo>
                    <a:pt x="2771081" y="1743454"/>
                    <a:pt x="2679609" y="2064482"/>
                    <a:pt x="2456028" y="2225955"/>
                  </a:cubicBezTo>
                  <a:cubicBezTo>
                    <a:pt x="2192422" y="2399851"/>
                    <a:pt x="2004893" y="2209395"/>
                    <a:pt x="2026974" y="2018938"/>
                  </a:cubicBezTo>
                  <a:cubicBezTo>
                    <a:pt x="2072519" y="1810540"/>
                    <a:pt x="2086043" y="1754994"/>
                    <a:pt x="2135727" y="1554876"/>
                  </a:cubicBezTo>
                  <a:cubicBezTo>
                    <a:pt x="2195073" y="1382360"/>
                    <a:pt x="2084273" y="1259912"/>
                    <a:pt x="1915898" y="1219889"/>
                  </a:cubicBezTo>
                  <a:cubicBezTo>
                    <a:pt x="1750283" y="1186766"/>
                    <a:pt x="1626460" y="1331294"/>
                    <a:pt x="1589196" y="1434803"/>
                  </a:cubicBezTo>
                  <a:cubicBezTo>
                    <a:pt x="1499489" y="1732912"/>
                    <a:pt x="1614533" y="1824000"/>
                    <a:pt x="1574511" y="1939931"/>
                  </a:cubicBezTo>
                  <a:cubicBezTo>
                    <a:pt x="1332991" y="2671400"/>
                    <a:pt x="1220920" y="3468343"/>
                    <a:pt x="1339611" y="3487664"/>
                  </a:cubicBezTo>
                  <a:cubicBezTo>
                    <a:pt x="1434840" y="3497327"/>
                    <a:pt x="1730357" y="3129057"/>
                    <a:pt x="1887692" y="2422431"/>
                  </a:cubicBezTo>
                  <a:cubicBezTo>
                    <a:pt x="1985681" y="2531460"/>
                    <a:pt x="2093439" y="2747804"/>
                    <a:pt x="2336342" y="2720202"/>
                  </a:cubicBezTo>
                  <a:cubicBezTo>
                    <a:pt x="2693796" y="2666377"/>
                    <a:pt x="3092265" y="2401394"/>
                    <a:pt x="3176454" y="1627140"/>
                  </a:cubicBezTo>
                  <a:cubicBezTo>
                    <a:pt x="3254038" y="999456"/>
                    <a:pt x="2816023" y="430731"/>
                    <a:pt x="1979373" y="472350"/>
                  </a:cubicBezTo>
                  <a:close/>
                  <a:moveTo>
                    <a:pt x="436907" y="0"/>
                  </a:moveTo>
                  <a:lnTo>
                    <a:pt x="3523533" y="0"/>
                  </a:lnTo>
                  <a:cubicBezTo>
                    <a:pt x="3764830" y="0"/>
                    <a:pt x="3960440" y="195610"/>
                    <a:pt x="3960440" y="436907"/>
                  </a:cubicBezTo>
                  <a:lnTo>
                    <a:pt x="3960440" y="3523093"/>
                  </a:lnTo>
                  <a:cubicBezTo>
                    <a:pt x="3960440" y="3764390"/>
                    <a:pt x="3764830" y="3960000"/>
                    <a:pt x="3523533" y="3960000"/>
                  </a:cubicBezTo>
                  <a:lnTo>
                    <a:pt x="436907" y="3960000"/>
                  </a:lnTo>
                  <a:cubicBezTo>
                    <a:pt x="195610" y="3960000"/>
                    <a:pt x="0" y="3764390"/>
                    <a:pt x="0" y="3523093"/>
                  </a:cubicBezTo>
                  <a:lnTo>
                    <a:pt x="0" y="436907"/>
                  </a:lnTo>
                  <a:cubicBezTo>
                    <a:pt x="0" y="195610"/>
                    <a:pt x="195610" y="0"/>
                    <a:pt x="436907"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15" name="Rounded Rectangle 2">
              <a:extLst>
                <a:ext uri="{FF2B5EF4-FFF2-40B4-BE49-F238E27FC236}">
                  <a16:creationId xmlns:a16="http://schemas.microsoft.com/office/drawing/2014/main" id="{C85811BC-E0BD-4D1B-83C3-CE66C3047DDA}"/>
                </a:ext>
              </a:extLst>
            </p:cNvPr>
            <p:cNvSpPr/>
            <p:nvPr/>
          </p:nvSpPr>
          <p:spPr>
            <a:xfrm>
              <a:off x="2779268" y="2821629"/>
              <a:ext cx="277650" cy="277650"/>
            </a:xfrm>
            <a:custGeom>
              <a:avLst/>
              <a:gdLst>
                <a:gd name="connsiteX0" fmla="*/ 3160999 w 3960000"/>
                <a:gd name="connsiteY0" fmla="*/ 1374274 h 3960000"/>
                <a:gd name="connsiteX1" fmla="*/ 3155132 w 3960000"/>
                <a:gd name="connsiteY1" fmla="*/ 1419362 h 3960000"/>
                <a:gd name="connsiteX2" fmla="*/ 3155131 w 3960000"/>
                <a:gd name="connsiteY2" fmla="*/ 1419362 h 3960000"/>
                <a:gd name="connsiteX3" fmla="*/ 3160999 w 3960000"/>
                <a:gd name="connsiteY3" fmla="*/ 1374274 h 3960000"/>
                <a:gd name="connsiteX4" fmla="*/ 2538382 w 3960000"/>
                <a:gd name="connsiteY4" fmla="*/ 802616 h 3960000"/>
                <a:gd name="connsiteX5" fmla="*/ 1921633 w 3960000"/>
                <a:gd name="connsiteY5" fmla="*/ 1419365 h 3960000"/>
                <a:gd name="connsiteX6" fmla="*/ 1942445 w 3960000"/>
                <a:gd name="connsiteY6" fmla="*/ 1570340 h 3960000"/>
                <a:gd name="connsiteX7" fmla="*/ 752016 w 3960000"/>
                <a:gd name="connsiteY7" fmla="*/ 931012 h 3960000"/>
                <a:gd name="connsiteX8" fmla="*/ 934030 w 3960000"/>
                <a:gd name="connsiteY8" fmla="*/ 1745738 h 3960000"/>
                <a:gd name="connsiteX9" fmla="*/ 665343 w 3960000"/>
                <a:gd name="connsiteY9" fmla="*/ 1650397 h 3960000"/>
                <a:gd name="connsiteX10" fmla="*/ 1111709 w 3960000"/>
                <a:gd name="connsiteY10" fmla="*/ 2257108 h 3960000"/>
                <a:gd name="connsiteX11" fmla="*/ 856023 w 3960000"/>
                <a:gd name="connsiteY11" fmla="*/ 2244108 h 3960000"/>
                <a:gd name="connsiteX12" fmla="*/ 1402064 w 3960000"/>
                <a:gd name="connsiteY12" fmla="*/ 2660137 h 3960000"/>
                <a:gd name="connsiteX13" fmla="*/ 552668 w 3960000"/>
                <a:gd name="connsiteY13" fmla="*/ 2902822 h 3960000"/>
                <a:gd name="connsiteX14" fmla="*/ 1978439 w 3960000"/>
                <a:gd name="connsiteY14" fmla="*/ 3093502 h 3960000"/>
                <a:gd name="connsiteX15" fmla="*/ 3053184 w 3960000"/>
                <a:gd name="connsiteY15" fmla="*/ 2031759 h 3960000"/>
                <a:gd name="connsiteX16" fmla="*/ 3155131 w 3960000"/>
                <a:gd name="connsiteY16" fmla="*/ 1419365 h 3960000"/>
                <a:gd name="connsiteX17" fmla="*/ 3207849 w 3960000"/>
                <a:gd name="connsiteY17" fmla="*/ 1493166 h 3960000"/>
                <a:gd name="connsiteX18" fmla="*/ 3407333 w 3960000"/>
                <a:gd name="connsiteY18" fmla="*/ 1117847 h 3960000"/>
                <a:gd name="connsiteX19" fmla="*/ 3108461 w 3960000"/>
                <a:gd name="connsiteY19" fmla="*/ 1185086 h 3960000"/>
                <a:gd name="connsiteX20" fmla="*/ 3334650 w 3960000"/>
                <a:gd name="connsiteY20" fmla="*/ 883134 h 3960000"/>
                <a:gd name="connsiteX21" fmla="*/ 2995677 w 3960000"/>
                <a:gd name="connsiteY21" fmla="*/ 1008938 h 3960000"/>
                <a:gd name="connsiteX22" fmla="*/ 2538382 w 3960000"/>
                <a:gd name="connsiteY22" fmla="*/ 802616 h 3960000"/>
                <a:gd name="connsiteX23" fmla="*/ 308009 w 3960000"/>
                <a:gd name="connsiteY23" fmla="*/ 0 h 3960000"/>
                <a:gd name="connsiteX24" fmla="*/ 3651991 w 3960000"/>
                <a:gd name="connsiteY24" fmla="*/ 0 h 3960000"/>
                <a:gd name="connsiteX25" fmla="*/ 3960000 w 3960000"/>
                <a:gd name="connsiteY25" fmla="*/ 308009 h 3960000"/>
                <a:gd name="connsiteX26" fmla="*/ 3960000 w 3960000"/>
                <a:gd name="connsiteY26" fmla="*/ 3651991 h 3960000"/>
                <a:gd name="connsiteX27" fmla="*/ 3651991 w 3960000"/>
                <a:gd name="connsiteY27" fmla="*/ 3960000 h 3960000"/>
                <a:gd name="connsiteX28" fmla="*/ 308009 w 3960000"/>
                <a:gd name="connsiteY28" fmla="*/ 3960000 h 3960000"/>
                <a:gd name="connsiteX29" fmla="*/ 0 w 3960000"/>
                <a:gd name="connsiteY29" fmla="*/ 3651991 h 3960000"/>
                <a:gd name="connsiteX30" fmla="*/ 0 w 3960000"/>
                <a:gd name="connsiteY30" fmla="*/ 308009 h 3960000"/>
                <a:gd name="connsiteX31" fmla="*/ 308009 w 3960000"/>
                <a:gd name="connsiteY31" fmla="*/ 0 h 3960000"/>
                <a:gd name="connsiteX0" fmla="*/ 3160999 w 3960000"/>
                <a:gd name="connsiteY0" fmla="*/ 1374274 h 3960000"/>
                <a:gd name="connsiteX1" fmla="*/ 3155132 w 3960000"/>
                <a:gd name="connsiteY1" fmla="*/ 1419362 h 3960000"/>
                <a:gd name="connsiteX2" fmla="*/ 3155131 w 3960000"/>
                <a:gd name="connsiteY2" fmla="*/ 1419362 h 3960000"/>
                <a:gd name="connsiteX3" fmla="*/ 3160999 w 3960000"/>
                <a:gd name="connsiteY3" fmla="*/ 1374274 h 3960000"/>
                <a:gd name="connsiteX4" fmla="*/ 2538382 w 3960000"/>
                <a:gd name="connsiteY4" fmla="*/ 802616 h 3960000"/>
                <a:gd name="connsiteX5" fmla="*/ 1921633 w 3960000"/>
                <a:gd name="connsiteY5" fmla="*/ 1419365 h 3960000"/>
                <a:gd name="connsiteX6" fmla="*/ 1942445 w 3960000"/>
                <a:gd name="connsiteY6" fmla="*/ 1570340 h 3960000"/>
                <a:gd name="connsiteX7" fmla="*/ 752016 w 3960000"/>
                <a:gd name="connsiteY7" fmla="*/ 931012 h 3960000"/>
                <a:gd name="connsiteX8" fmla="*/ 934030 w 3960000"/>
                <a:gd name="connsiteY8" fmla="*/ 1745738 h 3960000"/>
                <a:gd name="connsiteX9" fmla="*/ 665343 w 3960000"/>
                <a:gd name="connsiteY9" fmla="*/ 1650397 h 3960000"/>
                <a:gd name="connsiteX10" fmla="*/ 1111709 w 3960000"/>
                <a:gd name="connsiteY10" fmla="*/ 2257108 h 3960000"/>
                <a:gd name="connsiteX11" fmla="*/ 856023 w 3960000"/>
                <a:gd name="connsiteY11" fmla="*/ 2244108 h 3960000"/>
                <a:gd name="connsiteX12" fmla="*/ 1402064 w 3960000"/>
                <a:gd name="connsiteY12" fmla="*/ 2660137 h 3960000"/>
                <a:gd name="connsiteX13" fmla="*/ 552668 w 3960000"/>
                <a:gd name="connsiteY13" fmla="*/ 2902822 h 3960000"/>
                <a:gd name="connsiteX14" fmla="*/ 1978439 w 3960000"/>
                <a:gd name="connsiteY14" fmla="*/ 3093502 h 3960000"/>
                <a:gd name="connsiteX15" fmla="*/ 3053184 w 3960000"/>
                <a:gd name="connsiteY15" fmla="*/ 2031759 h 3960000"/>
                <a:gd name="connsiteX16" fmla="*/ 3207849 w 3960000"/>
                <a:gd name="connsiteY16" fmla="*/ 1493166 h 3960000"/>
                <a:gd name="connsiteX17" fmla="*/ 3407333 w 3960000"/>
                <a:gd name="connsiteY17" fmla="*/ 1117847 h 3960000"/>
                <a:gd name="connsiteX18" fmla="*/ 3108461 w 3960000"/>
                <a:gd name="connsiteY18" fmla="*/ 1185086 h 3960000"/>
                <a:gd name="connsiteX19" fmla="*/ 3334650 w 3960000"/>
                <a:gd name="connsiteY19" fmla="*/ 883134 h 3960000"/>
                <a:gd name="connsiteX20" fmla="*/ 2995677 w 3960000"/>
                <a:gd name="connsiteY20" fmla="*/ 1008938 h 3960000"/>
                <a:gd name="connsiteX21" fmla="*/ 2538382 w 3960000"/>
                <a:gd name="connsiteY21" fmla="*/ 802616 h 3960000"/>
                <a:gd name="connsiteX22" fmla="*/ 308009 w 3960000"/>
                <a:gd name="connsiteY22" fmla="*/ 0 h 3960000"/>
                <a:gd name="connsiteX23" fmla="*/ 3651991 w 3960000"/>
                <a:gd name="connsiteY23" fmla="*/ 0 h 3960000"/>
                <a:gd name="connsiteX24" fmla="*/ 3960000 w 3960000"/>
                <a:gd name="connsiteY24" fmla="*/ 308009 h 3960000"/>
                <a:gd name="connsiteX25" fmla="*/ 3960000 w 3960000"/>
                <a:gd name="connsiteY25" fmla="*/ 3651991 h 3960000"/>
                <a:gd name="connsiteX26" fmla="*/ 3651991 w 3960000"/>
                <a:gd name="connsiteY26" fmla="*/ 3960000 h 3960000"/>
                <a:gd name="connsiteX27" fmla="*/ 308009 w 3960000"/>
                <a:gd name="connsiteY27" fmla="*/ 3960000 h 3960000"/>
                <a:gd name="connsiteX28" fmla="*/ 0 w 3960000"/>
                <a:gd name="connsiteY28" fmla="*/ 3651991 h 3960000"/>
                <a:gd name="connsiteX29" fmla="*/ 0 w 3960000"/>
                <a:gd name="connsiteY29" fmla="*/ 308009 h 3960000"/>
                <a:gd name="connsiteX30" fmla="*/ 308009 w 3960000"/>
                <a:gd name="connsiteY30"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538382 w 3960000"/>
                <a:gd name="connsiteY3" fmla="*/ 802616 h 3960000"/>
                <a:gd name="connsiteX4" fmla="*/ 1921633 w 3960000"/>
                <a:gd name="connsiteY4" fmla="*/ 141936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07333 w 3960000"/>
                <a:gd name="connsiteY16" fmla="*/ 1117847 h 3960000"/>
                <a:gd name="connsiteX17" fmla="*/ 3108461 w 3960000"/>
                <a:gd name="connsiteY17" fmla="*/ 1185086 h 3960000"/>
                <a:gd name="connsiteX18" fmla="*/ 3334650 w 3960000"/>
                <a:gd name="connsiteY18" fmla="*/ 883134 h 3960000"/>
                <a:gd name="connsiteX19" fmla="*/ 2995677 w 3960000"/>
                <a:gd name="connsiteY19" fmla="*/ 1008938 h 3960000"/>
                <a:gd name="connsiteX20" fmla="*/ 2538382 w 3960000"/>
                <a:gd name="connsiteY20" fmla="*/ 80261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538382 w 3960000"/>
                <a:gd name="connsiteY3" fmla="*/ 802616 h 3960000"/>
                <a:gd name="connsiteX4" fmla="*/ 1921633 w 3960000"/>
                <a:gd name="connsiteY4" fmla="*/ 141936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07333 w 3960000"/>
                <a:gd name="connsiteY16" fmla="*/ 1117847 h 3960000"/>
                <a:gd name="connsiteX17" fmla="*/ 3140091 w 3960000"/>
                <a:gd name="connsiteY17" fmla="*/ 1227260 h 3960000"/>
                <a:gd name="connsiteX18" fmla="*/ 3334650 w 3960000"/>
                <a:gd name="connsiteY18" fmla="*/ 883134 h 3960000"/>
                <a:gd name="connsiteX19" fmla="*/ 2995677 w 3960000"/>
                <a:gd name="connsiteY19" fmla="*/ 1008938 h 3960000"/>
                <a:gd name="connsiteX20" fmla="*/ 2538382 w 3960000"/>
                <a:gd name="connsiteY20" fmla="*/ 80261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538382 w 3960000"/>
                <a:gd name="connsiteY3" fmla="*/ 802616 h 3960000"/>
                <a:gd name="connsiteX4" fmla="*/ 1921633 w 3960000"/>
                <a:gd name="connsiteY4" fmla="*/ 141936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34650 w 3960000"/>
                <a:gd name="connsiteY18" fmla="*/ 883134 h 3960000"/>
                <a:gd name="connsiteX19" fmla="*/ 2995677 w 3960000"/>
                <a:gd name="connsiteY19" fmla="*/ 1008938 h 3960000"/>
                <a:gd name="connsiteX20" fmla="*/ 2538382 w 3960000"/>
                <a:gd name="connsiteY20" fmla="*/ 80261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538382 w 3960000"/>
                <a:gd name="connsiteY3" fmla="*/ 802616 h 3960000"/>
                <a:gd name="connsiteX4" fmla="*/ 1921633 w 3960000"/>
                <a:gd name="connsiteY4" fmla="*/ 141936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538382 w 3960000"/>
                <a:gd name="connsiteY20" fmla="*/ 80261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538382 w 3960000"/>
                <a:gd name="connsiteY3" fmla="*/ 802616 h 3960000"/>
                <a:gd name="connsiteX4" fmla="*/ 1921633 w 3960000"/>
                <a:gd name="connsiteY4" fmla="*/ 129284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538382 w 3960000"/>
                <a:gd name="connsiteY20" fmla="*/ 80261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752016 w 3960000"/>
                <a:gd name="connsiteY6" fmla="*/ 931012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34030 w 3960000"/>
                <a:gd name="connsiteY7" fmla="*/ 1745738 h 3960000"/>
                <a:gd name="connsiteX8" fmla="*/ 665343 w 3960000"/>
                <a:gd name="connsiteY8" fmla="*/ 1650397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34030 w 3960000"/>
                <a:gd name="connsiteY7" fmla="*/ 1745738 h 3960000"/>
                <a:gd name="connsiteX8" fmla="*/ 644257 w 3960000"/>
                <a:gd name="connsiteY8" fmla="*/ 1555506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644257 w 3960000"/>
                <a:gd name="connsiteY8" fmla="*/ 1555506 h 3960000"/>
                <a:gd name="connsiteX9" fmla="*/ 1111709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644257 w 3960000"/>
                <a:gd name="connsiteY8" fmla="*/ 1555506 h 3960000"/>
                <a:gd name="connsiteX9" fmla="*/ 1196057 w 3960000"/>
                <a:gd name="connsiteY9" fmla="*/ 2257108 h 3960000"/>
                <a:gd name="connsiteX10" fmla="*/ 856023 w 3960000"/>
                <a:gd name="connsiteY10" fmla="*/ 2244108 h 3960000"/>
                <a:gd name="connsiteX11" fmla="*/ 1402064 w 3960000"/>
                <a:gd name="connsiteY11" fmla="*/ 2660137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644257 w 3960000"/>
                <a:gd name="connsiteY8" fmla="*/ 1555506 h 3960000"/>
                <a:gd name="connsiteX9" fmla="*/ 1196057 w 3960000"/>
                <a:gd name="connsiteY9" fmla="*/ 2257108 h 3960000"/>
                <a:gd name="connsiteX10" fmla="*/ 856023 w 3960000"/>
                <a:gd name="connsiteY10" fmla="*/ 2244108 h 3960000"/>
                <a:gd name="connsiteX11" fmla="*/ 1486410 w 3960000"/>
                <a:gd name="connsiteY11" fmla="*/ 2607420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644257 w 3960000"/>
                <a:gd name="connsiteY8" fmla="*/ 1555506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552668 w 3960000"/>
                <a:gd name="connsiteY12" fmla="*/ 2902822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1978439 w 3960000"/>
                <a:gd name="connsiteY13" fmla="*/ 3093502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2062787 w 3960000"/>
                <a:gd name="connsiteY13" fmla="*/ 3146219 h 3960000"/>
                <a:gd name="connsiteX14" fmla="*/ 3053184 w 3960000"/>
                <a:gd name="connsiteY14" fmla="*/ 2031759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2062787 w 3960000"/>
                <a:gd name="connsiteY13" fmla="*/ 3146219 h 3960000"/>
                <a:gd name="connsiteX14" fmla="*/ 3074271 w 3960000"/>
                <a:gd name="connsiteY14" fmla="*/ 2105563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2062787 w 3960000"/>
                <a:gd name="connsiteY13" fmla="*/ 3146219 h 3960000"/>
                <a:gd name="connsiteX14" fmla="*/ 3074271 w 3960000"/>
                <a:gd name="connsiteY14" fmla="*/ 2105563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 name="connsiteX0" fmla="*/ 3160999 w 3960000"/>
                <a:gd name="connsiteY0" fmla="*/ 1374274 h 3960000"/>
                <a:gd name="connsiteX1" fmla="*/ 3155132 w 3960000"/>
                <a:gd name="connsiteY1" fmla="*/ 1419362 h 3960000"/>
                <a:gd name="connsiteX2" fmla="*/ 3160999 w 3960000"/>
                <a:gd name="connsiteY2" fmla="*/ 1374274 h 3960000"/>
                <a:gd name="connsiteX3" fmla="*/ 2496208 w 3960000"/>
                <a:gd name="connsiteY3" fmla="*/ 770986 h 3960000"/>
                <a:gd name="connsiteX4" fmla="*/ 1921633 w 3960000"/>
                <a:gd name="connsiteY4" fmla="*/ 1292845 h 3960000"/>
                <a:gd name="connsiteX5" fmla="*/ 1942445 w 3960000"/>
                <a:gd name="connsiteY5" fmla="*/ 1570340 h 3960000"/>
                <a:gd name="connsiteX6" fmla="*/ 815277 w 3960000"/>
                <a:gd name="connsiteY6" fmla="*/ 836121 h 3960000"/>
                <a:gd name="connsiteX7" fmla="*/ 965659 w 3960000"/>
                <a:gd name="connsiteY7" fmla="*/ 1735195 h 3960000"/>
                <a:gd name="connsiteX8" fmla="*/ 570453 w 3960000"/>
                <a:gd name="connsiteY8" fmla="*/ 1629310 h 3960000"/>
                <a:gd name="connsiteX9" fmla="*/ 1196057 w 3960000"/>
                <a:gd name="connsiteY9" fmla="*/ 2257108 h 3960000"/>
                <a:gd name="connsiteX10" fmla="*/ 813848 w 3960000"/>
                <a:gd name="connsiteY10" fmla="*/ 2296824 h 3960000"/>
                <a:gd name="connsiteX11" fmla="*/ 1486410 w 3960000"/>
                <a:gd name="connsiteY11" fmla="*/ 2607420 h 3960000"/>
                <a:gd name="connsiteX12" fmla="*/ 489408 w 3960000"/>
                <a:gd name="connsiteY12" fmla="*/ 2829018 h 3960000"/>
                <a:gd name="connsiteX13" fmla="*/ 2062787 w 3960000"/>
                <a:gd name="connsiteY13" fmla="*/ 3146219 h 3960000"/>
                <a:gd name="connsiteX14" fmla="*/ 3074271 w 3960000"/>
                <a:gd name="connsiteY14" fmla="*/ 2105563 h 3960000"/>
                <a:gd name="connsiteX15" fmla="*/ 3207849 w 3960000"/>
                <a:gd name="connsiteY15" fmla="*/ 1493166 h 3960000"/>
                <a:gd name="connsiteX16" fmla="*/ 3449507 w 3960000"/>
                <a:gd name="connsiteY16" fmla="*/ 1170564 h 3960000"/>
                <a:gd name="connsiteX17" fmla="*/ 3140091 w 3960000"/>
                <a:gd name="connsiteY17" fmla="*/ 1227260 h 3960000"/>
                <a:gd name="connsiteX18" fmla="*/ 3324107 w 3960000"/>
                <a:gd name="connsiteY18" fmla="*/ 851504 h 3960000"/>
                <a:gd name="connsiteX19" fmla="*/ 2995677 w 3960000"/>
                <a:gd name="connsiteY19" fmla="*/ 1008938 h 3960000"/>
                <a:gd name="connsiteX20" fmla="*/ 2496208 w 3960000"/>
                <a:gd name="connsiteY20" fmla="*/ 770986 h 3960000"/>
                <a:gd name="connsiteX21" fmla="*/ 308009 w 3960000"/>
                <a:gd name="connsiteY21" fmla="*/ 0 h 3960000"/>
                <a:gd name="connsiteX22" fmla="*/ 3651991 w 3960000"/>
                <a:gd name="connsiteY22" fmla="*/ 0 h 3960000"/>
                <a:gd name="connsiteX23" fmla="*/ 3960000 w 3960000"/>
                <a:gd name="connsiteY23" fmla="*/ 308009 h 3960000"/>
                <a:gd name="connsiteX24" fmla="*/ 3960000 w 3960000"/>
                <a:gd name="connsiteY24" fmla="*/ 3651991 h 3960000"/>
                <a:gd name="connsiteX25" fmla="*/ 3651991 w 3960000"/>
                <a:gd name="connsiteY25" fmla="*/ 3960000 h 3960000"/>
                <a:gd name="connsiteX26" fmla="*/ 308009 w 3960000"/>
                <a:gd name="connsiteY26" fmla="*/ 3960000 h 3960000"/>
                <a:gd name="connsiteX27" fmla="*/ 0 w 3960000"/>
                <a:gd name="connsiteY27" fmla="*/ 3651991 h 3960000"/>
                <a:gd name="connsiteX28" fmla="*/ 0 w 3960000"/>
                <a:gd name="connsiteY28" fmla="*/ 308009 h 3960000"/>
                <a:gd name="connsiteX29" fmla="*/ 308009 w 3960000"/>
                <a:gd name="connsiteY29" fmla="*/ 0 h 39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3960000" h="3960000">
                  <a:moveTo>
                    <a:pt x="3160999" y="1374274"/>
                  </a:moveTo>
                  <a:lnTo>
                    <a:pt x="3155132" y="1419362"/>
                  </a:lnTo>
                  <a:lnTo>
                    <a:pt x="3160999" y="1374274"/>
                  </a:lnTo>
                  <a:close/>
                  <a:moveTo>
                    <a:pt x="2496208" y="770986"/>
                  </a:moveTo>
                  <a:cubicBezTo>
                    <a:pt x="2113414" y="770986"/>
                    <a:pt x="1929581" y="1106902"/>
                    <a:pt x="1921633" y="1292845"/>
                  </a:cubicBezTo>
                  <a:cubicBezTo>
                    <a:pt x="1914712" y="1454769"/>
                    <a:pt x="1928136" y="1522392"/>
                    <a:pt x="1942445" y="1570340"/>
                  </a:cubicBezTo>
                  <a:cubicBezTo>
                    <a:pt x="1547199" y="1510736"/>
                    <a:pt x="1237189" y="1330681"/>
                    <a:pt x="815277" y="836121"/>
                  </a:cubicBezTo>
                  <a:cubicBezTo>
                    <a:pt x="618819" y="1229038"/>
                    <a:pt x="733086" y="1558961"/>
                    <a:pt x="965659" y="1735195"/>
                  </a:cubicBezTo>
                  <a:cubicBezTo>
                    <a:pt x="864541" y="1716416"/>
                    <a:pt x="662904" y="1695759"/>
                    <a:pt x="570453" y="1629310"/>
                  </a:cubicBezTo>
                  <a:cubicBezTo>
                    <a:pt x="597898" y="2016450"/>
                    <a:pt x="990931" y="2177657"/>
                    <a:pt x="1196057" y="2257108"/>
                  </a:cubicBezTo>
                  <a:cubicBezTo>
                    <a:pt x="1113718" y="2275887"/>
                    <a:pt x="943857" y="2321380"/>
                    <a:pt x="813848" y="2296824"/>
                  </a:cubicBezTo>
                  <a:cubicBezTo>
                    <a:pt x="926523" y="2634848"/>
                    <a:pt x="1326064" y="2611755"/>
                    <a:pt x="1486410" y="2607420"/>
                  </a:cubicBezTo>
                  <a:cubicBezTo>
                    <a:pt x="1297174" y="2749708"/>
                    <a:pt x="1000058" y="2795794"/>
                    <a:pt x="489408" y="2829018"/>
                  </a:cubicBezTo>
                  <a:cubicBezTo>
                    <a:pt x="914827" y="3139596"/>
                    <a:pt x="1734874" y="3242281"/>
                    <a:pt x="2062787" y="3146219"/>
                  </a:cubicBezTo>
                  <a:cubicBezTo>
                    <a:pt x="2763394" y="2903535"/>
                    <a:pt x="2915370" y="2621267"/>
                    <a:pt x="3074271" y="2105563"/>
                  </a:cubicBezTo>
                  <a:cubicBezTo>
                    <a:pt x="3173740" y="1733406"/>
                    <a:pt x="3145310" y="1648999"/>
                    <a:pt x="3207849" y="1493166"/>
                  </a:cubicBezTo>
                  <a:cubicBezTo>
                    <a:pt x="3270388" y="1337333"/>
                    <a:pt x="3414210" y="1276468"/>
                    <a:pt x="3449507" y="1170564"/>
                  </a:cubicBezTo>
                  <a:cubicBezTo>
                    <a:pt x="3349883" y="1192977"/>
                    <a:pt x="3252716" y="1239516"/>
                    <a:pt x="3140091" y="1227260"/>
                  </a:cubicBezTo>
                  <a:cubicBezTo>
                    <a:pt x="3219995" y="1183499"/>
                    <a:pt x="3274317" y="996523"/>
                    <a:pt x="3324107" y="851504"/>
                  </a:cubicBezTo>
                  <a:cubicBezTo>
                    <a:pt x="3215037" y="921165"/>
                    <a:pt x="3152155" y="998691"/>
                    <a:pt x="2995677" y="1008938"/>
                  </a:cubicBezTo>
                  <a:cubicBezTo>
                    <a:pt x="2884471" y="881691"/>
                    <a:pt x="2678487" y="770986"/>
                    <a:pt x="2496208" y="770986"/>
                  </a:cubicBezTo>
                  <a:close/>
                  <a:moveTo>
                    <a:pt x="308009" y="0"/>
                  </a:moveTo>
                  <a:lnTo>
                    <a:pt x="3651991" y="0"/>
                  </a:lnTo>
                  <a:cubicBezTo>
                    <a:pt x="3822100" y="0"/>
                    <a:pt x="3960000" y="137900"/>
                    <a:pt x="3960000" y="308009"/>
                  </a:cubicBezTo>
                  <a:lnTo>
                    <a:pt x="3960000" y="3651991"/>
                  </a:lnTo>
                  <a:cubicBezTo>
                    <a:pt x="3960000" y="3822100"/>
                    <a:pt x="3822100" y="3960000"/>
                    <a:pt x="3651991" y="3960000"/>
                  </a:cubicBezTo>
                  <a:lnTo>
                    <a:pt x="308009" y="3960000"/>
                  </a:lnTo>
                  <a:cubicBezTo>
                    <a:pt x="137900" y="3960000"/>
                    <a:pt x="0" y="3822100"/>
                    <a:pt x="0" y="3651991"/>
                  </a:cubicBezTo>
                  <a:lnTo>
                    <a:pt x="0" y="308009"/>
                  </a:lnTo>
                  <a:cubicBezTo>
                    <a:pt x="0" y="137900"/>
                    <a:pt x="137900" y="0"/>
                    <a:pt x="30800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16" name="Rounded Rectangle 3">
              <a:extLst>
                <a:ext uri="{FF2B5EF4-FFF2-40B4-BE49-F238E27FC236}">
                  <a16:creationId xmlns:a16="http://schemas.microsoft.com/office/drawing/2014/main" id="{FBBBA821-732E-4725-A9B5-C1C336AD1A91}"/>
                </a:ext>
              </a:extLst>
            </p:cNvPr>
            <p:cNvSpPr>
              <a:spLocks noChangeAspect="1"/>
            </p:cNvSpPr>
            <p:nvPr/>
          </p:nvSpPr>
          <p:spPr>
            <a:xfrm>
              <a:off x="6029372" y="2348040"/>
              <a:ext cx="247225" cy="247225"/>
            </a:xfrm>
            <a:custGeom>
              <a:avLst/>
              <a:gdLst>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59137 h 3960000"/>
                <a:gd name="connsiteX15" fmla="*/ 3432095 w 3960000"/>
                <a:gd name="connsiteY15" fmla="*/ 238945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32095 w 3960000"/>
                <a:gd name="connsiteY15" fmla="*/ 238945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32095 w 3960000"/>
                <a:gd name="connsiteY15" fmla="*/ 238945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10216 w 3960000"/>
                <a:gd name="connsiteY15" fmla="*/ 195189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10216 w 3960000"/>
                <a:gd name="connsiteY15" fmla="*/ 195189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 name="connsiteX0" fmla="*/ 2841893 w 3960000"/>
                <a:gd name="connsiteY0" fmla="*/ 181064 h 3960000"/>
                <a:gd name="connsiteX1" fmla="*/ 2105790 w 3960000"/>
                <a:gd name="connsiteY1" fmla="*/ 859562 h 3960000"/>
                <a:gd name="connsiteX2" fmla="*/ 2106860 w 3960000"/>
                <a:gd name="connsiteY2" fmla="*/ 863292 h 3960000"/>
                <a:gd name="connsiteX3" fmla="*/ 2106860 w 3960000"/>
                <a:gd name="connsiteY3" fmla="*/ 1248172 h 3960000"/>
                <a:gd name="connsiteX4" fmla="*/ 1691968 w 3960000"/>
                <a:gd name="connsiteY4" fmla="*/ 1248172 h 3960000"/>
                <a:gd name="connsiteX5" fmla="*/ 1691968 w 3960000"/>
                <a:gd name="connsiteY5" fmla="*/ 1824236 h 3960000"/>
                <a:gd name="connsiteX6" fmla="*/ 2106860 w 3960000"/>
                <a:gd name="connsiteY6" fmla="*/ 1824236 h 3960000"/>
                <a:gd name="connsiteX7" fmla="*/ 2106860 w 3960000"/>
                <a:gd name="connsiteY7" fmla="*/ 3779396 h 3960000"/>
                <a:gd name="connsiteX8" fmla="*/ 2754932 w 3960000"/>
                <a:gd name="connsiteY8" fmla="*/ 3779396 h 3960000"/>
                <a:gd name="connsiteX9" fmla="*/ 2754932 w 3960000"/>
                <a:gd name="connsiteY9" fmla="*/ 1824236 h 3960000"/>
                <a:gd name="connsiteX10" fmla="*/ 3305869 w 3960000"/>
                <a:gd name="connsiteY10" fmla="*/ 1813665 h 3960000"/>
                <a:gd name="connsiteX11" fmla="*/ 3348152 w 3960000"/>
                <a:gd name="connsiteY11" fmla="*/ 1248172 h 3960000"/>
                <a:gd name="connsiteX12" fmla="*/ 2754932 w 3960000"/>
                <a:gd name="connsiteY12" fmla="*/ 1248172 h 3960000"/>
                <a:gd name="connsiteX13" fmla="*/ 2754932 w 3960000"/>
                <a:gd name="connsiteY13" fmla="*/ 907124 h 3960000"/>
                <a:gd name="connsiteX14" fmla="*/ 3369037 w 3960000"/>
                <a:gd name="connsiteY14" fmla="*/ 704441 h 3960000"/>
                <a:gd name="connsiteX15" fmla="*/ 3410216 w 3960000"/>
                <a:gd name="connsiteY15" fmla="*/ 195189 h 3960000"/>
                <a:gd name="connsiteX16" fmla="*/ 2841893 w 3960000"/>
                <a:gd name="connsiteY16" fmla="*/ 181064 h 3960000"/>
                <a:gd name="connsiteX17" fmla="*/ 308009 w 3960000"/>
                <a:gd name="connsiteY17" fmla="*/ 0 h 3960000"/>
                <a:gd name="connsiteX18" fmla="*/ 3651991 w 3960000"/>
                <a:gd name="connsiteY18" fmla="*/ 0 h 3960000"/>
                <a:gd name="connsiteX19" fmla="*/ 3960000 w 3960000"/>
                <a:gd name="connsiteY19" fmla="*/ 308009 h 3960000"/>
                <a:gd name="connsiteX20" fmla="*/ 3960000 w 3960000"/>
                <a:gd name="connsiteY20" fmla="*/ 3651991 h 3960000"/>
                <a:gd name="connsiteX21" fmla="*/ 3651991 w 3960000"/>
                <a:gd name="connsiteY21" fmla="*/ 3960000 h 3960000"/>
                <a:gd name="connsiteX22" fmla="*/ 308009 w 3960000"/>
                <a:gd name="connsiteY22" fmla="*/ 3960000 h 3960000"/>
                <a:gd name="connsiteX23" fmla="*/ 0 w 3960000"/>
                <a:gd name="connsiteY23" fmla="*/ 3651991 h 3960000"/>
                <a:gd name="connsiteX24" fmla="*/ 0 w 3960000"/>
                <a:gd name="connsiteY24" fmla="*/ 308009 h 3960000"/>
                <a:gd name="connsiteX25" fmla="*/ 308009 w 3960000"/>
                <a:gd name="connsiteY25" fmla="*/ 0 h 396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960000" h="3960000">
                  <a:moveTo>
                    <a:pt x="2841893" y="181064"/>
                  </a:moveTo>
                  <a:cubicBezTo>
                    <a:pt x="2485731" y="190239"/>
                    <a:pt x="2106781" y="339266"/>
                    <a:pt x="2105790" y="859562"/>
                  </a:cubicBezTo>
                  <a:lnTo>
                    <a:pt x="2106860" y="863292"/>
                  </a:lnTo>
                  <a:lnTo>
                    <a:pt x="2106860" y="1248172"/>
                  </a:lnTo>
                  <a:lnTo>
                    <a:pt x="1691968" y="1248172"/>
                  </a:lnTo>
                  <a:lnTo>
                    <a:pt x="1691968" y="1824236"/>
                  </a:lnTo>
                  <a:lnTo>
                    <a:pt x="2106860" y="1824236"/>
                  </a:lnTo>
                  <a:lnTo>
                    <a:pt x="2106860" y="3779396"/>
                  </a:lnTo>
                  <a:lnTo>
                    <a:pt x="2754932" y="3779396"/>
                  </a:lnTo>
                  <a:lnTo>
                    <a:pt x="2754932" y="1824236"/>
                  </a:lnTo>
                  <a:lnTo>
                    <a:pt x="3305869" y="1813665"/>
                  </a:lnTo>
                  <a:lnTo>
                    <a:pt x="3348152" y="1248172"/>
                  </a:lnTo>
                  <a:lnTo>
                    <a:pt x="2754932" y="1248172"/>
                  </a:lnTo>
                  <a:lnTo>
                    <a:pt x="2754932" y="907124"/>
                  </a:lnTo>
                  <a:cubicBezTo>
                    <a:pt x="2746287" y="682909"/>
                    <a:pt x="3126764" y="685506"/>
                    <a:pt x="3369037" y="704441"/>
                  </a:cubicBezTo>
                  <a:cubicBezTo>
                    <a:pt x="3391941" y="556446"/>
                    <a:pt x="3409927" y="381656"/>
                    <a:pt x="3410216" y="195189"/>
                  </a:cubicBezTo>
                  <a:cubicBezTo>
                    <a:pt x="3239930" y="163882"/>
                    <a:pt x="3118909" y="173928"/>
                    <a:pt x="2841893" y="181064"/>
                  </a:cubicBezTo>
                  <a:close/>
                  <a:moveTo>
                    <a:pt x="308009" y="0"/>
                  </a:moveTo>
                  <a:lnTo>
                    <a:pt x="3651991" y="0"/>
                  </a:lnTo>
                  <a:cubicBezTo>
                    <a:pt x="3822100" y="0"/>
                    <a:pt x="3960000" y="137900"/>
                    <a:pt x="3960000" y="308009"/>
                  </a:cubicBezTo>
                  <a:lnTo>
                    <a:pt x="3960000" y="3651991"/>
                  </a:lnTo>
                  <a:cubicBezTo>
                    <a:pt x="3960000" y="3822100"/>
                    <a:pt x="3822100" y="3960000"/>
                    <a:pt x="3651991" y="3960000"/>
                  </a:cubicBezTo>
                  <a:lnTo>
                    <a:pt x="308009" y="3960000"/>
                  </a:lnTo>
                  <a:cubicBezTo>
                    <a:pt x="137900" y="3960000"/>
                    <a:pt x="0" y="3822100"/>
                    <a:pt x="0" y="3651991"/>
                  </a:cubicBezTo>
                  <a:lnTo>
                    <a:pt x="0" y="308009"/>
                  </a:lnTo>
                  <a:cubicBezTo>
                    <a:pt x="0" y="137900"/>
                    <a:pt x="137900" y="0"/>
                    <a:pt x="308009"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sz="2700">
                <a:solidFill>
                  <a:schemeClr val="tx1"/>
                </a:solidFill>
              </a:endParaRPr>
            </a:p>
          </p:txBody>
        </p:sp>
        <p:sp>
          <p:nvSpPr>
            <p:cNvPr id="317" name="Rounded Rectangle 8">
              <a:extLst>
                <a:ext uri="{FF2B5EF4-FFF2-40B4-BE49-F238E27FC236}">
                  <a16:creationId xmlns:a16="http://schemas.microsoft.com/office/drawing/2014/main" id="{85804EB5-0948-42B8-A5DE-B55F13F13C51}"/>
                </a:ext>
              </a:extLst>
            </p:cNvPr>
            <p:cNvSpPr>
              <a:spLocks noChangeAspect="1"/>
            </p:cNvSpPr>
            <p:nvPr/>
          </p:nvSpPr>
          <p:spPr>
            <a:xfrm>
              <a:off x="5750851" y="1082031"/>
              <a:ext cx="278521" cy="283679"/>
            </a:xfrm>
            <a:custGeom>
              <a:avLst/>
              <a:gdLst/>
              <a:ahLst/>
              <a:cxnLst/>
              <a:rect l="l" t="t" r="r" b="b"/>
              <a:pathLst>
                <a:path w="3888432" h="3960440">
                  <a:moveTo>
                    <a:pt x="554477" y="1512168"/>
                  </a:moveTo>
                  <a:lnTo>
                    <a:pt x="554477" y="3312368"/>
                  </a:lnTo>
                  <a:lnTo>
                    <a:pt x="1201638" y="3312368"/>
                  </a:lnTo>
                  <a:lnTo>
                    <a:pt x="1201638" y="1512168"/>
                  </a:lnTo>
                  <a:close/>
                  <a:moveTo>
                    <a:pt x="2688485" y="1475633"/>
                  </a:moveTo>
                  <a:cubicBezTo>
                    <a:pt x="2399554" y="1478429"/>
                    <a:pt x="2281670" y="1553418"/>
                    <a:pt x="2136833" y="1663036"/>
                  </a:cubicBezTo>
                  <a:lnTo>
                    <a:pt x="2136833" y="1510185"/>
                  </a:lnTo>
                  <a:lnTo>
                    <a:pt x="1489672" y="1510185"/>
                  </a:lnTo>
                  <a:lnTo>
                    <a:pt x="1489672" y="3310385"/>
                  </a:lnTo>
                  <a:lnTo>
                    <a:pt x="2136833" y="3310385"/>
                  </a:lnTo>
                  <a:lnTo>
                    <a:pt x="2136833" y="2084121"/>
                  </a:lnTo>
                  <a:cubicBezTo>
                    <a:pt x="2259735" y="1821652"/>
                    <a:pt x="2668986" y="1938990"/>
                    <a:pt x="2673919" y="2138897"/>
                  </a:cubicBezTo>
                  <a:lnTo>
                    <a:pt x="2679688" y="3312366"/>
                  </a:lnTo>
                  <a:lnTo>
                    <a:pt x="3326849" y="3312366"/>
                  </a:lnTo>
                  <a:cubicBezTo>
                    <a:pt x="3329155" y="2917782"/>
                    <a:pt x="3331462" y="2523197"/>
                    <a:pt x="3333768" y="2128613"/>
                  </a:cubicBezTo>
                  <a:cubicBezTo>
                    <a:pt x="3339026" y="1942962"/>
                    <a:pt x="3235101" y="1504458"/>
                    <a:pt x="2840340" y="1479943"/>
                  </a:cubicBezTo>
                  <a:cubicBezTo>
                    <a:pt x="2784850" y="1476574"/>
                    <a:pt x="2734498" y="1475188"/>
                    <a:pt x="2688485" y="1475633"/>
                  </a:cubicBezTo>
                  <a:close/>
                  <a:moveTo>
                    <a:pt x="878058" y="648072"/>
                  </a:moveTo>
                  <a:cubicBezTo>
                    <a:pt x="699349" y="648072"/>
                    <a:pt x="554477" y="792944"/>
                    <a:pt x="554477" y="971653"/>
                  </a:cubicBezTo>
                  <a:cubicBezTo>
                    <a:pt x="554477" y="1150362"/>
                    <a:pt x="699349" y="1295234"/>
                    <a:pt x="878058" y="1295234"/>
                  </a:cubicBezTo>
                  <a:cubicBezTo>
                    <a:pt x="1056767" y="1295234"/>
                    <a:pt x="1201639" y="1150362"/>
                    <a:pt x="1201639" y="971653"/>
                  </a:cubicBezTo>
                  <a:cubicBezTo>
                    <a:pt x="1201639" y="792944"/>
                    <a:pt x="1056767" y="648072"/>
                    <a:pt x="878058" y="648072"/>
                  </a:cubicBezTo>
                  <a:close/>
                  <a:moveTo>
                    <a:pt x="333511" y="0"/>
                  </a:moveTo>
                  <a:lnTo>
                    <a:pt x="3554921" y="0"/>
                  </a:lnTo>
                  <a:cubicBezTo>
                    <a:pt x="3739114" y="0"/>
                    <a:pt x="3888432" y="149318"/>
                    <a:pt x="3888432" y="333511"/>
                  </a:cubicBezTo>
                  <a:lnTo>
                    <a:pt x="3888432" y="3626929"/>
                  </a:lnTo>
                  <a:cubicBezTo>
                    <a:pt x="3888432" y="3811122"/>
                    <a:pt x="3739114" y="3960440"/>
                    <a:pt x="3554921" y="3960440"/>
                  </a:cubicBezTo>
                  <a:lnTo>
                    <a:pt x="333511" y="3960440"/>
                  </a:lnTo>
                  <a:cubicBezTo>
                    <a:pt x="149318" y="3960440"/>
                    <a:pt x="0" y="3811122"/>
                    <a:pt x="0" y="3626929"/>
                  </a:cubicBezTo>
                  <a:lnTo>
                    <a:pt x="0" y="333511"/>
                  </a:lnTo>
                  <a:cubicBezTo>
                    <a:pt x="0" y="149318"/>
                    <a:pt x="149318" y="0"/>
                    <a:pt x="333511" y="0"/>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solidFill>
                  <a:schemeClr val="tx1"/>
                </a:solidFill>
              </a:endParaRPr>
            </a:p>
          </p:txBody>
        </p:sp>
        <p:cxnSp>
          <p:nvCxnSpPr>
            <p:cNvPr id="324" name="Straight Connector 323">
              <a:extLst>
                <a:ext uri="{FF2B5EF4-FFF2-40B4-BE49-F238E27FC236}">
                  <a16:creationId xmlns:a16="http://schemas.microsoft.com/office/drawing/2014/main" id="{7F86E1E2-FC01-4128-A129-FADAE5435911}"/>
                </a:ext>
              </a:extLst>
            </p:cNvPr>
            <p:cNvCxnSpPr>
              <a:cxnSpLocks/>
              <a:stCxn id="117" idx="4"/>
              <a:endCxn id="115" idx="0"/>
            </p:cNvCxnSpPr>
            <p:nvPr/>
          </p:nvCxnSpPr>
          <p:spPr>
            <a:xfrm>
              <a:off x="6130088" y="1972756"/>
              <a:ext cx="510781" cy="1090988"/>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5" name="Group 4">
            <a:extLst>
              <a:ext uri="{FF2B5EF4-FFF2-40B4-BE49-F238E27FC236}">
                <a16:creationId xmlns:a16="http://schemas.microsoft.com/office/drawing/2014/main" id="{D0E30E8E-E408-454F-BCF8-E2D91F92A90B}"/>
              </a:ext>
            </a:extLst>
          </p:cNvPr>
          <p:cNvGrpSpPr/>
          <p:nvPr/>
        </p:nvGrpSpPr>
        <p:grpSpPr>
          <a:xfrm>
            <a:off x="9451909" y="5730158"/>
            <a:ext cx="2327414" cy="432642"/>
            <a:chOff x="9451909" y="5730158"/>
            <a:chExt cx="2327414" cy="432642"/>
          </a:xfrm>
        </p:grpSpPr>
        <p:sp>
          <p:nvSpPr>
            <p:cNvPr id="349" name="Text Placeholder 27">
              <a:extLst>
                <a:ext uri="{FF2B5EF4-FFF2-40B4-BE49-F238E27FC236}">
                  <a16:creationId xmlns:a16="http://schemas.microsoft.com/office/drawing/2014/main" id="{1BC02A68-B8C5-4BEC-92B4-E595C03291B9}"/>
                </a:ext>
              </a:extLst>
            </p:cNvPr>
            <p:cNvSpPr txBox="1">
              <a:spLocks noChangeAspect="1"/>
            </p:cNvSpPr>
            <p:nvPr/>
          </p:nvSpPr>
          <p:spPr>
            <a:xfrm>
              <a:off x="9451909" y="5730158"/>
              <a:ext cx="2327414" cy="432642"/>
            </a:xfrm>
            <a:prstGeom prst="rect">
              <a:avLst/>
            </a:prstGeom>
            <a:solidFill>
              <a:schemeClr val="bg1"/>
            </a:solidFill>
            <a:ln w="28575">
              <a:solidFill>
                <a:schemeClr val="bg1"/>
              </a:solidFill>
            </a:ln>
          </p:spPr>
          <p:txBody>
            <a:bodyPr lIns="91440" tIns="91440" anchor="ctr"/>
            <a:lstStyle>
              <a:lvl1pPr marL="0" indent="0" algn="l" defTabSz="914400" rtl="0" eaLnBrk="1" latinLnBrk="1" hangingPunct="1">
                <a:lnSpc>
                  <a:spcPct val="90000"/>
                </a:lnSpc>
                <a:spcBef>
                  <a:spcPts val="1000"/>
                </a:spcBef>
                <a:buFontTx/>
                <a:buNone/>
                <a:defRPr sz="3200" b="1" kern="1200">
                  <a:solidFill>
                    <a:schemeClr val="bg1"/>
                  </a:solidFill>
                  <a:latin typeface="+mn-lt"/>
                  <a:ea typeface="+mn-ea"/>
                  <a:cs typeface="+mn-cs"/>
                </a:defRPr>
              </a:lvl1pPr>
              <a:lvl2pPr marL="685800" indent="-228600" algn="l" defTabSz="914400" rtl="0" eaLnBrk="1" latinLnBrk="1"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1"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1"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endParaRPr lang="en-US" altLang="ko-KR" sz="1800" b="0" dirty="0"/>
            </a:p>
          </p:txBody>
        </p:sp>
        <p:grpSp>
          <p:nvGrpSpPr>
            <p:cNvPr id="2" name="Group 1">
              <a:extLst>
                <a:ext uri="{FF2B5EF4-FFF2-40B4-BE49-F238E27FC236}">
                  <a16:creationId xmlns:a16="http://schemas.microsoft.com/office/drawing/2014/main" id="{A9748539-30EC-4AC4-A246-6D5D396232E3}"/>
                </a:ext>
              </a:extLst>
            </p:cNvPr>
            <p:cNvGrpSpPr/>
            <p:nvPr/>
          </p:nvGrpSpPr>
          <p:grpSpPr>
            <a:xfrm>
              <a:off x="9651503" y="5811134"/>
              <a:ext cx="1946518" cy="255871"/>
              <a:chOff x="9691938" y="6194924"/>
              <a:chExt cx="1946518" cy="255871"/>
            </a:xfrm>
          </p:grpSpPr>
          <p:pic>
            <p:nvPicPr>
              <p:cNvPr id="122" name="Picture 121">
                <a:extLst>
                  <a:ext uri="{FF2B5EF4-FFF2-40B4-BE49-F238E27FC236}">
                    <a16:creationId xmlns:a16="http://schemas.microsoft.com/office/drawing/2014/main" id="{FA55D93B-68A5-4936-984A-BA97065421C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bwMode="invGray">
              <a:xfrm>
                <a:off x="9691938" y="6196157"/>
                <a:ext cx="1188720" cy="254638"/>
              </a:xfrm>
              <a:prstGeom prst="rect">
                <a:avLst/>
              </a:prstGeom>
              <a:solidFill>
                <a:schemeClr val="bg1"/>
              </a:solidFill>
            </p:spPr>
          </p:pic>
          <p:pic>
            <p:nvPicPr>
              <p:cNvPr id="123" name="Picture 122" descr="A close up of a sign&#10;&#10;Description generated with high confidence">
                <a:extLst>
                  <a:ext uri="{FF2B5EF4-FFF2-40B4-BE49-F238E27FC236}">
                    <a16:creationId xmlns:a16="http://schemas.microsoft.com/office/drawing/2014/main" id="{97181204-00D4-4A09-B1E7-31E58E303708}"/>
                  </a:ext>
                </a:extLst>
              </p:cNvPr>
              <p:cNvPicPr>
                <a:picLocks noChangeAspect="1"/>
              </p:cNvPicPr>
              <p:nvPr/>
            </p:nvPicPr>
            <p:blipFill>
              <a:blip r:embed="rId4"/>
              <a:stretch>
                <a:fillRect/>
              </a:stretch>
            </p:blipFill>
            <p:spPr>
              <a:xfrm>
                <a:off x="10998376" y="6194924"/>
                <a:ext cx="640080" cy="242556"/>
              </a:xfrm>
              <a:prstGeom prst="rect">
                <a:avLst/>
              </a:prstGeom>
            </p:spPr>
          </p:pic>
        </p:grpSp>
      </p:grpSp>
      <p:sp>
        <p:nvSpPr>
          <p:cNvPr id="6" name="Slide Number Placeholder 5">
            <a:extLst>
              <a:ext uri="{FF2B5EF4-FFF2-40B4-BE49-F238E27FC236}">
                <a16:creationId xmlns:a16="http://schemas.microsoft.com/office/drawing/2014/main" id="{9DAD638F-6FAD-4BA7-8299-678034C272E2}"/>
              </a:ext>
            </a:extLst>
          </p:cNvPr>
          <p:cNvSpPr>
            <a:spLocks noGrp="1"/>
          </p:cNvSpPr>
          <p:nvPr>
            <p:ph type="sldNum" sz="quarter" idx="4"/>
          </p:nvPr>
        </p:nvSpPr>
        <p:spPr>
          <a:xfrm>
            <a:off x="9308691" y="6584946"/>
            <a:ext cx="2901950" cy="371475"/>
          </a:xfrm>
        </p:spPr>
        <p:txBody>
          <a:bodyPr/>
          <a:lstStyle/>
          <a:p>
            <a:fld id="{7EFC24D6-DB8F-6B44-BA5A-9BEC68C15CAA}" type="slidenum">
              <a:rPr lang="en-US" smtClean="0"/>
              <a:pPr/>
              <a:t>1</a:t>
            </a:fld>
            <a:endParaRPr lang="en-US" dirty="0"/>
          </a:p>
        </p:txBody>
      </p:sp>
    </p:spTree>
    <p:extLst>
      <p:ext uri="{BB962C8B-B14F-4D97-AF65-F5344CB8AC3E}">
        <p14:creationId xmlns:p14="http://schemas.microsoft.com/office/powerpoint/2010/main" val="107929426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3B32D7C-ECB3-4525-A006-CC5C8272D602}"/>
              </a:ext>
            </a:extLst>
          </p:cNvPr>
          <p:cNvSpPr/>
          <p:nvPr/>
        </p:nvSpPr>
        <p:spPr bwMode="auto">
          <a:xfrm>
            <a:off x="555239" y="1365673"/>
            <a:ext cx="5422424" cy="4814535"/>
          </a:xfrm>
          <a:prstGeom prst="rect">
            <a:avLst/>
          </a:prstGeom>
          <a:solidFill>
            <a:schemeClr val="tx1"/>
          </a:solidFill>
          <a:ln w="12700">
            <a:solidFill>
              <a:schemeClr val="bg1">
                <a:lumMod val="50000"/>
                <a:lumOff val="50000"/>
              </a:schemeClr>
            </a:solidFill>
            <a:headEnd type="none" w="med" len="med"/>
            <a:tailEnd type="none" w="med" len="med"/>
          </a:ln>
          <a:effectLst>
            <a:outerShdw blurRad="50800" dist="381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34" name="Chart 33">
            <a:extLst>
              <a:ext uri="{FF2B5EF4-FFF2-40B4-BE49-F238E27FC236}">
                <a16:creationId xmlns:a16="http://schemas.microsoft.com/office/drawing/2014/main" id="{1E3302CD-85D5-471C-85B3-EEC7DE8232A1}"/>
              </a:ext>
            </a:extLst>
          </p:cNvPr>
          <p:cNvGraphicFramePr/>
          <p:nvPr>
            <p:extLst>
              <p:ext uri="{D42A27DB-BD31-4B8C-83A1-F6EECF244321}">
                <p14:modId xmlns:p14="http://schemas.microsoft.com/office/powerpoint/2010/main" val="578546781"/>
              </p:ext>
            </p:extLst>
          </p:nvPr>
        </p:nvGraphicFramePr>
        <p:xfrm>
          <a:off x="555239" y="2739563"/>
          <a:ext cx="3287946" cy="3585699"/>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37">
            <a:extLst>
              <a:ext uri="{FF2B5EF4-FFF2-40B4-BE49-F238E27FC236}">
                <a16:creationId xmlns:a16="http://schemas.microsoft.com/office/drawing/2014/main" id="{971260AB-8A5E-4145-8A82-80F7C3355E0D}"/>
              </a:ext>
            </a:extLst>
          </p:cNvPr>
          <p:cNvSpPr/>
          <p:nvPr/>
        </p:nvSpPr>
        <p:spPr bwMode="auto">
          <a:xfrm>
            <a:off x="6331233" y="1363410"/>
            <a:ext cx="5422424" cy="4814535"/>
          </a:xfrm>
          <a:prstGeom prst="rect">
            <a:avLst/>
          </a:prstGeom>
          <a:solidFill>
            <a:schemeClr val="tx1"/>
          </a:solidFill>
          <a:ln w="12700">
            <a:solidFill>
              <a:schemeClr val="bg1">
                <a:lumMod val="50000"/>
                <a:lumOff val="50000"/>
              </a:schemeClr>
            </a:solidFill>
            <a:headEnd type="none" w="med" len="med"/>
            <a:tailEnd type="none" w="med" len="med"/>
          </a:ln>
          <a:effectLst>
            <a:outerShdw blurRad="50800" dist="381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112BBCC1-451C-423D-9150-C516120220F5}"/>
              </a:ext>
            </a:extLst>
          </p:cNvPr>
          <p:cNvSpPr/>
          <p:nvPr/>
        </p:nvSpPr>
        <p:spPr bwMode="auto">
          <a:xfrm>
            <a:off x="555239" y="1373938"/>
            <a:ext cx="2743200" cy="640080"/>
          </a:xfrm>
          <a:prstGeom prst="rect">
            <a:avLst/>
          </a:prstGeom>
          <a:solidFill>
            <a:srgbClr val="3282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3529" dirty="0">
                <a:gradFill>
                  <a:gsLst>
                    <a:gs pos="0">
                      <a:srgbClr val="FFFFFF"/>
                    </a:gs>
                    <a:gs pos="100000">
                      <a:srgbClr val="FFFFFF"/>
                    </a:gs>
                  </a:gsLst>
                  <a:lin ang="5400000" scaled="0"/>
                </a:gradFill>
                <a:latin typeface="Impact" panose="020B0806030902050204" pitchFamily="34" charset="0"/>
                <a:ea typeface="Segoe UI" pitchFamily="34" charset="0"/>
                <a:cs typeface="Segoe UI" pitchFamily="34" charset="0"/>
              </a:rPr>
              <a:t>37</a:t>
            </a:r>
            <a:r>
              <a:rPr lang="en-US" sz="1960"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28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xual</a:t>
            </a:r>
          </a:p>
        </p:txBody>
      </p:sp>
      <p:sp>
        <p:nvSpPr>
          <p:cNvPr id="32" name="Rectangle 31">
            <a:extLst>
              <a:ext uri="{FF2B5EF4-FFF2-40B4-BE49-F238E27FC236}">
                <a16:creationId xmlns:a16="http://schemas.microsoft.com/office/drawing/2014/main" id="{BFB54B6C-FA3C-4E86-9752-83DC0F6CCE9B}"/>
              </a:ext>
            </a:extLst>
          </p:cNvPr>
          <p:cNvSpPr/>
          <p:nvPr/>
        </p:nvSpPr>
        <p:spPr bwMode="auto">
          <a:xfrm>
            <a:off x="6340761" y="1380089"/>
            <a:ext cx="3179757" cy="640080"/>
          </a:xfrm>
          <a:prstGeom prst="rect">
            <a:avLst/>
          </a:prstGeom>
          <a:solidFill>
            <a:srgbClr val="DAA5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3530" dirty="0">
                <a:gradFill>
                  <a:gsLst>
                    <a:gs pos="0">
                      <a:srgbClr val="FFFFFF"/>
                    </a:gs>
                    <a:gs pos="100000">
                      <a:srgbClr val="FFFFFF"/>
                    </a:gs>
                  </a:gsLst>
                  <a:lin ang="5400000" scaled="0"/>
                </a:gradFill>
                <a:latin typeface="Impact" panose="020B0806030902050204" pitchFamily="34" charset="0"/>
                <a:ea typeface="Segoe UI" pitchFamily="34" charset="0"/>
                <a:cs typeface="Arial" panose="020B0604020202020204" pitchFamily="34" charset="0"/>
              </a:rPr>
              <a:t>21</a:t>
            </a:r>
            <a:r>
              <a:rPr lang="en-US" sz="19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28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Reputational</a:t>
            </a:r>
          </a:p>
        </p:txBody>
      </p:sp>
      <p:graphicFrame>
        <p:nvGraphicFramePr>
          <p:cNvPr id="48" name="Chart 47">
            <a:extLst>
              <a:ext uri="{FF2B5EF4-FFF2-40B4-BE49-F238E27FC236}">
                <a16:creationId xmlns:a16="http://schemas.microsoft.com/office/drawing/2014/main" id="{9BA73BF4-3F4D-4A15-BC18-BEDAA965FF91}"/>
              </a:ext>
            </a:extLst>
          </p:cNvPr>
          <p:cNvGraphicFramePr/>
          <p:nvPr>
            <p:extLst>
              <p:ext uri="{D42A27DB-BD31-4B8C-83A1-F6EECF244321}">
                <p14:modId xmlns:p14="http://schemas.microsoft.com/office/powerpoint/2010/main" val="1901189497"/>
              </p:ext>
            </p:extLst>
          </p:nvPr>
        </p:nvGraphicFramePr>
        <p:xfrm>
          <a:off x="6376443" y="3201575"/>
          <a:ext cx="3287946" cy="3123687"/>
        </p:xfrm>
        <a:graphic>
          <a:graphicData uri="http://schemas.openxmlformats.org/drawingml/2006/chart">
            <c:chart xmlns:c="http://schemas.openxmlformats.org/drawingml/2006/chart" xmlns:r="http://schemas.openxmlformats.org/officeDocument/2006/relationships" r:id="rId4"/>
          </a:graphicData>
        </a:graphic>
      </p:graphicFrame>
      <p:grpSp>
        <p:nvGrpSpPr>
          <p:cNvPr id="26" name="Group 25">
            <a:extLst>
              <a:ext uri="{FF2B5EF4-FFF2-40B4-BE49-F238E27FC236}">
                <a16:creationId xmlns:a16="http://schemas.microsoft.com/office/drawing/2014/main" id="{8A9B0D2B-A2B2-4E14-9752-58E4FF572BF4}"/>
              </a:ext>
            </a:extLst>
          </p:cNvPr>
          <p:cNvGrpSpPr/>
          <p:nvPr/>
        </p:nvGrpSpPr>
        <p:grpSpPr>
          <a:xfrm>
            <a:off x="3705541" y="2775472"/>
            <a:ext cx="2302137" cy="3083892"/>
            <a:chOff x="3529799" y="3728232"/>
            <a:chExt cx="2348302" cy="2424288"/>
          </a:xfrm>
        </p:grpSpPr>
        <p:sp>
          <p:nvSpPr>
            <p:cNvPr id="28" name="TextBox 27">
              <a:extLst>
                <a:ext uri="{FF2B5EF4-FFF2-40B4-BE49-F238E27FC236}">
                  <a16:creationId xmlns:a16="http://schemas.microsoft.com/office/drawing/2014/main" id="{39126035-B591-41C3-92A3-0D2986D9D8DE}"/>
                </a:ext>
              </a:extLst>
            </p:cNvPr>
            <p:cNvSpPr txBox="1"/>
            <p:nvPr/>
          </p:nvSpPr>
          <p:spPr>
            <a:xfrm>
              <a:off x="3554976" y="3728232"/>
              <a:ext cx="1726503" cy="475462"/>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Unwanted Sexting</a:t>
              </a:r>
            </a:p>
          </p:txBody>
        </p:sp>
        <p:sp>
          <p:nvSpPr>
            <p:cNvPr id="29" name="TextBox 28">
              <a:extLst>
                <a:ext uri="{FF2B5EF4-FFF2-40B4-BE49-F238E27FC236}">
                  <a16:creationId xmlns:a16="http://schemas.microsoft.com/office/drawing/2014/main" id="{C80F9E66-8E15-4E0A-B7F2-D2964FA325BE}"/>
                </a:ext>
              </a:extLst>
            </p:cNvPr>
            <p:cNvSpPr txBox="1"/>
            <p:nvPr/>
          </p:nvSpPr>
          <p:spPr>
            <a:xfrm>
              <a:off x="3552463" y="4432150"/>
              <a:ext cx="2325638"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Unwanted sexual attention</a:t>
              </a:r>
            </a:p>
          </p:txBody>
        </p:sp>
        <p:sp>
          <p:nvSpPr>
            <p:cNvPr id="30" name="TextBox 29">
              <a:extLst>
                <a:ext uri="{FF2B5EF4-FFF2-40B4-BE49-F238E27FC236}">
                  <a16:creationId xmlns:a16="http://schemas.microsoft.com/office/drawing/2014/main" id="{269A9B2E-C207-4992-B723-153298F99A42}"/>
                </a:ext>
              </a:extLst>
            </p:cNvPr>
            <p:cNvSpPr txBox="1"/>
            <p:nvPr/>
          </p:nvSpPr>
          <p:spPr>
            <a:xfrm>
              <a:off x="3572961" y="4725259"/>
              <a:ext cx="1708518" cy="475462"/>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Sexual solicitation</a:t>
              </a:r>
            </a:p>
          </p:txBody>
        </p:sp>
        <p:sp>
          <p:nvSpPr>
            <p:cNvPr id="33" name="TextBox 32">
              <a:extLst>
                <a:ext uri="{FF2B5EF4-FFF2-40B4-BE49-F238E27FC236}">
                  <a16:creationId xmlns:a16="http://schemas.microsoft.com/office/drawing/2014/main" id="{E23340E6-6416-457E-9D25-87696D3D4B1A}"/>
                </a:ext>
              </a:extLst>
            </p:cNvPr>
            <p:cNvSpPr txBox="1"/>
            <p:nvPr/>
          </p:nvSpPr>
          <p:spPr>
            <a:xfrm>
              <a:off x="3547553" y="5415570"/>
              <a:ext cx="1124667"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Sextortion</a:t>
              </a:r>
            </a:p>
          </p:txBody>
        </p:sp>
        <p:sp>
          <p:nvSpPr>
            <p:cNvPr id="36" name="TextBox 35">
              <a:extLst>
                <a:ext uri="{FF2B5EF4-FFF2-40B4-BE49-F238E27FC236}">
                  <a16:creationId xmlns:a16="http://schemas.microsoft.com/office/drawing/2014/main" id="{F9086B20-ACC6-4DB5-86A3-D1859B5C0B03}"/>
                </a:ext>
              </a:extLst>
            </p:cNvPr>
            <p:cNvSpPr txBox="1"/>
            <p:nvPr/>
          </p:nvSpPr>
          <p:spPr>
            <a:xfrm>
              <a:off x="3529799" y="5677058"/>
              <a:ext cx="1531921" cy="475462"/>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Revenge porn”</a:t>
              </a:r>
            </a:p>
          </p:txBody>
        </p:sp>
      </p:grpSp>
      <p:grpSp>
        <p:nvGrpSpPr>
          <p:cNvPr id="39" name="Group 38">
            <a:extLst>
              <a:ext uri="{FF2B5EF4-FFF2-40B4-BE49-F238E27FC236}">
                <a16:creationId xmlns:a16="http://schemas.microsoft.com/office/drawing/2014/main" id="{C55E3CE6-19C5-48B1-9393-D603093A9005}"/>
              </a:ext>
            </a:extLst>
          </p:cNvPr>
          <p:cNvGrpSpPr/>
          <p:nvPr/>
        </p:nvGrpSpPr>
        <p:grpSpPr>
          <a:xfrm>
            <a:off x="9406082" y="3047796"/>
            <a:ext cx="2112341" cy="2926207"/>
            <a:chOff x="3502216" y="3711989"/>
            <a:chExt cx="2154699" cy="1256669"/>
          </a:xfrm>
        </p:grpSpPr>
        <p:sp>
          <p:nvSpPr>
            <p:cNvPr id="58" name="TextBox 57">
              <a:extLst>
                <a:ext uri="{FF2B5EF4-FFF2-40B4-BE49-F238E27FC236}">
                  <a16:creationId xmlns:a16="http://schemas.microsoft.com/office/drawing/2014/main" id="{271ABE0B-DBBC-4A42-8C62-25003D99F7FF}"/>
                </a:ext>
              </a:extLst>
            </p:cNvPr>
            <p:cNvSpPr txBox="1"/>
            <p:nvPr/>
          </p:nvSpPr>
          <p:spPr>
            <a:xfrm>
              <a:off x="3513763" y="3933413"/>
              <a:ext cx="2143152"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Damage to personal rep</a:t>
              </a:r>
            </a:p>
          </p:txBody>
        </p:sp>
        <p:sp>
          <p:nvSpPr>
            <p:cNvPr id="59" name="TextBox 58">
              <a:extLst>
                <a:ext uri="{FF2B5EF4-FFF2-40B4-BE49-F238E27FC236}">
                  <a16:creationId xmlns:a16="http://schemas.microsoft.com/office/drawing/2014/main" id="{E3D0FC27-16C7-4B9A-AF52-BF31F97A1EE0}"/>
                </a:ext>
              </a:extLst>
            </p:cNvPr>
            <p:cNvSpPr txBox="1"/>
            <p:nvPr/>
          </p:nvSpPr>
          <p:spPr>
            <a:xfrm>
              <a:off x="3502216" y="4124274"/>
              <a:ext cx="1870577"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Damage to work rep</a:t>
              </a:r>
            </a:p>
          </p:txBody>
        </p:sp>
        <p:sp>
          <p:nvSpPr>
            <p:cNvPr id="60" name="TextBox 59">
              <a:extLst>
                <a:ext uri="{FF2B5EF4-FFF2-40B4-BE49-F238E27FC236}">
                  <a16:creationId xmlns:a16="http://schemas.microsoft.com/office/drawing/2014/main" id="{96C6616A-C5EB-40DA-A1B4-8970870309EF}"/>
                </a:ext>
              </a:extLst>
            </p:cNvPr>
            <p:cNvSpPr txBox="1"/>
            <p:nvPr/>
          </p:nvSpPr>
          <p:spPr>
            <a:xfrm>
              <a:off x="3515295" y="3711989"/>
              <a:ext cx="891462"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Doxing</a:t>
              </a:r>
            </a:p>
          </p:txBody>
        </p:sp>
        <p:sp>
          <p:nvSpPr>
            <p:cNvPr id="61" name="TextBox 60">
              <a:extLst>
                <a:ext uri="{FF2B5EF4-FFF2-40B4-BE49-F238E27FC236}">
                  <a16:creationId xmlns:a16="http://schemas.microsoft.com/office/drawing/2014/main" id="{6433137C-D5E7-4173-8047-7895905E6636}"/>
                </a:ext>
              </a:extLst>
            </p:cNvPr>
            <p:cNvSpPr txBox="1"/>
            <p:nvPr/>
          </p:nvSpPr>
          <p:spPr>
            <a:xfrm>
              <a:off x="4204118" y="4479293"/>
              <a:ext cx="369395" cy="489365"/>
            </a:xfrm>
            <a:prstGeom prst="rect">
              <a:avLst/>
            </a:prstGeom>
            <a:noFill/>
          </p:spPr>
          <p:txBody>
            <a:bodyPr wrap="none" lIns="179285" tIns="143428" rIns="179285" bIns="143428" rtlCol="0" anchor="ctr">
              <a:spAutoFit/>
            </a:bodyPr>
            <a:lstStyle/>
            <a:p>
              <a:pPr algn="ctr" defTabSz="914367">
                <a:lnSpc>
                  <a:spcPct val="90000"/>
                </a:lnSpc>
              </a:pPr>
              <a:endParaRPr lang="en-US" sz="1372" dirty="0">
                <a:solidFill>
                  <a:srgbClr val="000000">
                    <a:lumMod val="50000"/>
                    <a:lumOff val="50000"/>
                  </a:srgbClr>
                </a:solidFill>
                <a:latin typeface="Arial" panose="020B0604020202020204" pitchFamily="34" charset="0"/>
                <a:cs typeface="Arial" panose="020B0604020202020204" pitchFamily="34" charset="0"/>
              </a:endParaRPr>
            </a:p>
          </p:txBody>
        </p:sp>
      </p:grpSp>
      <p:sp>
        <p:nvSpPr>
          <p:cNvPr id="62" name="Rectangle 61">
            <a:extLst>
              <a:ext uri="{FF2B5EF4-FFF2-40B4-BE49-F238E27FC236}">
                <a16:creationId xmlns:a16="http://schemas.microsoft.com/office/drawing/2014/main" id="{80A032D8-DB6E-462D-8E5B-F464BEBC0545}"/>
              </a:ext>
            </a:extLst>
          </p:cNvPr>
          <p:cNvSpPr/>
          <p:nvPr/>
        </p:nvSpPr>
        <p:spPr>
          <a:xfrm>
            <a:off x="1556" y="6553495"/>
            <a:ext cx="6094444" cy="241381"/>
          </a:xfrm>
          <a:prstGeom prst="rect">
            <a:avLst/>
          </a:prstGeom>
        </p:spPr>
        <p:txBody>
          <a:bodyPr>
            <a:spAutoFit/>
          </a:bodyPr>
          <a:lstStyle/>
          <a:p>
            <a:pPr defTabSz="914367"/>
            <a:r>
              <a:rPr lang="en-US" sz="980" i="1" dirty="0">
                <a:solidFill>
                  <a:srgbClr val="FFFFFF">
                    <a:lumMod val="50000"/>
                  </a:srgbClr>
                </a:solidFill>
                <a:latin typeface="Segoe UI"/>
              </a:rPr>
              <a:t>Q2: Which of these has ever happened to you or to a friend/family member ONLINE?</a:t>
            </a:r>
          </a:p>
        </p:txBody>
      </p:sp>
      <p:sp>
        <p:nvSpPr>
          <p:cNvPr id="63" name="Text Placeholder 1">
            <a:extLst>
              <a:ext uri="{FF2B5EF4-FFF2-40B4-BE49-F238E27FC236}">
                <a16:creationId xmlns:a16="http://schemas.microsoft.com/office/drawing/2014/main" id="{CAF9088D-1166-4787-8282-93D33127CE0B}"/>
              </a:ext>
            </a:extLst>
          </p:cNvPr>
          <p:cNvSpPr>
            <a:spLocks noGrp="1"/>
          </p:cNvSpPr>
          <p:nvPr>
            <p:ph type="body" sz="quarter" idx="10"/>
          </p:nvPr>
        </p:nvSpPr>
        <p:spPr>
          <a:xfrm>
            <a:off x="323529" y="304601"/>
            <a:ext cx="11573197" cy="794064"/>
          </a:xfrm>
        </p:spPr>
        <p:txBody>
          <a:bodyPr/>
          <a:lstStyle/>
          <a:p>
            <a:pPr algn="l"/>
            <a:r>
              <a:rPr lang="en-US" dirty="0"/>
              <a:t>Sexual &amp; Reputational Risk Trends</a:t>
            </a:r>
          </a:p>
        </p:txBody>
      </p:sp>
      <p:sp>
        <p:nvSpPr>
          <p:cNvPr id="22" name="TextBox 21">
            <a:extLst>
              <a:ext uri="{FF2B5EF4-FFF2-40B4-BE49-F238E27FC236}">
                <a16:creationId xmlns:a16="http://schemas.microsoft.com/office/drawing/2014/main" id="{DDE95F40-3771-4D59-8B04-5BF9BA4C4AC0}"/>
              </a:ext>
            </a:extLst>
          </p:cNvPr>
          <p:cNvSpPr txBox="1"/>
          <p:nvPr/>
        </p:nvSpPr>
        <p:spPr>
          <a:xfrm>
            <a:off x="568831" y="2027047"/>
            <a:ext cx="2164494" cy="566656"/>
          </a:xfrm>
          <a:prstGeom prst="rect">
            <a:avLst/>
          </a:prstGeom>
          <a:noFill/>
        </p:spPr>
        <p:txBody>
          <a:bodyPr wrap="square" lIns="179285" tIns="143428" rIns="179285" bIns="143428" rtlCol="0" anchor="ctr">
            <a:spAutoFit/>
          </a:bodyPr>
          <a:lstStyle/>
          <a:p>
            <a:pPr defTabSz="914367">
              <a:lnSpc>
                <a:spcPct val="90000"/>
              </a:lnSpc>
            </a:pPr>
            <a:r>
              <a:rPr lang="en-US" sz="2000" b="1" dirty="0">
                <a:solidFill>
                  <a:srgbClr val="000000">
                    <a:lumMod val="50000"/>
                    <a:lumOff val="50000"/>
                  </a:srgbClr>
                </a:solidFill>
                <a:latin typeface="Segoe UI"/>
              </a:rPr>
              <a:t>Sexual, </a:t>
            </a:r>
            <a:r>
              <a:rPr lang="en-US" sz="1600" b="1" dirty="0">
                <a:solidFill>
                  <a:srgbClr val="000000">
                    <a:lumMod val="50000"/>
                    <a:lumOff val="50000"/>
                  </a:srgbClr>
                </a:solidFill>
                <a:latin typeface="Segoe UI"/>
              </a:rPr>
              <a:t>+3 YOY</a:t>
            </a:r>
          </a:p>
        </p:txBody>
      </p:sp>
      <p:sp>
        <p:nvSpPr>
          <p:cNvPr id="23" name="TextBox 22">
            <a:extLst>
              <a:ext uri="{FF2B5EF4-FFF2-40B4-BE49-F238E27FC236}">
                <a16:creationId xmlns:a16="http://schemas.microsoft.com/office/drawing/2014/main" id="{9FF3419D-7AA8-435B-9F8A-B7670EF42C58}"/>
              </a:ext>
            </a:extLst>
          </p:cNvPr>
          <p:cNvSpPr txBox="1"/>
          <p:nvPr/>
        </p:nvSpPr>
        <p:spPr>
          <a:xfrm>
            <a:off x="6343589" y="2021114"/>
            <a:ext cx="2818583" cy="566656"/>
          </a:xfrm>
          <a:prstGeom prst="rect">
            <a:avLst/>
          </a:prstGeom>
          <a:noFill/>
        </p:spPr>
        <p:txBody>
          <a:bodyPr wrap="square" lIns="179285" tIns="143428" rIns="179285" bIns="143428" rtlCol="0" anchor="ctr">
            <a:spAutoFit/>
          </a:bodyPr>
          <a:lstStyle/>
          <a:p>
            <a:pPr defTabSz="914367">
              <a:lnSpc>
                <a:spcPct val="90000"/>
              </a:lnSpc>
            </a:pPr>
            <a:r>
              <a:rPr lang="en-US" sz="2000" b="1" dirty="0">
                <a:solidFill>
                  <a:srgbClr val="000000">
                    <a:lumMod val="50000"/>
                    <a:lumOff val="50000"/>
                  </a:srgbClr>
                </a:solidFill>
                <a:latin typeface="Segoe UI"/>
              </a:rPr>
              <a:t>Reputational, </a:t>
            </a:r>
            <a:r>
              <a:rPr lang="en-US" sz="1600" b="1" dirty="0">
                <a:solidFill>
                  <a:srgbClr val="000000">
                    <a:lumMod val="50000"/>
                    <a:lumOff val="50000"/>
                  </a:srgbClr>
                </a:solidFill>
                <a:latin typeface="Segoe UI"/>
              </a:rPr>
              <a:t>+3 YOY</a:t>
            </a:r>
          </a:p>
        </p:txBody>
      </p:sp>
      <p:sp>
        <p:nvSpPr>
          <p:cNvPr id="24" name="TextBox 23">
            <a:extLst>
              <a:ext uri="{FF2B5EF4-FFF2-40B4-BE49-F238E27FC236}">
                <a16:creationId xmlns:a16="http://schemas.microsoft.com/office/drawing/2014/main" id="{793167FB-CB68-4BE3-845F-E2B0C8D9CE1D}"/>
              </a:ext>
            </a:extLst>
          </p:cNvPr>
          <p:cNvSpPr txBox="1"/>
          <p:nvPr/>
        </p:nvSpPr>
        <p:spPr>
          <a:xfrm>
            <a:off x="-79192" y="6249662"/>
            <a:ext cx="2926122" cy="433965"/>
          </a:xfrm>
          <a:prstGeom prst="rect">
            <a:avLst/>
          </a:prstGeom>
          <a:noFill/>
        </p:spPr>
        <p:txBody>
          <a:bodyPr wrap="none" lIns="182880" tIns="146304" rIns="182880" bIns="146304" rtlCol="0">
            <a:spAutoFit/>
          </a:bodyPr>
          <a:lstStyle/>
          <a:p>
            <a:pPr>
              <a:lnSpc>
                <a:spcPct val="90000"/>
              </a:lnSpc>
            </a:pPr>
            <a:r>
              <a:rPr lang="en-US" sz="1000" i="1" dirty="0">
                <a:solidFill>
                  <a:schemeClr val="tx1">
                    <a:lumMod val="50000"/>
                  </a:schemeClr>
                </a:solidFill>
                <a:latin typeface="Arial" panose="020B0604020202020204" pitchFamily="34" charset="0"/>
                <a:cs typeface="Arial" panose="020B0604020202020204" pitchFamily="34" charset="0"/>
              </a:rPr>
              <a:t>* Adjusted for YOY country lineup differences</a:t>
            </a:r>
          </a:p>
        </p:txBody>
      </p:sp>
      <p:sp>
        <p:nvSpPr>
          <p:cNvPr id="25" name="Slide Number Placeholder 2">
            <a:extLst>
              <a:ext uri="{FF2B5EF4-FFF2-40B4-BE49-F238E27FC236}">
                <a16:creationId xmlns:a16="http://schemas.microsoft.com/office/drawing/2014/main" id="{6570B76D-DD13-4941-88A3-ACE715D71682}"/>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387132609"/>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5673213"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sp>
        <p:nvSpPr>
          <p:cNvPr id="6" name="Title 5"/>
          <p:cNvSpPr>
            <a:spLocks noGrp="1"/>
          </p:cNvSpPr>
          <p:nvPr>
            <p:ph type="title"/>
          </p:nvPr>
        </p:nvSpPr>
        <p:spPr>
          <a:xfrm>
            <a:off x="3431455" y="20320"/>
            <a:ext cx="8878529" cy="1179288"/>
          </a:xfrm>
        </p:spPr>
        <p:txBody>
          <a:bodyPr/>
          <a:lstStyle/>
          <a:p>
            <a:r>
              <a:rPr lang="en-US" altLang="ko-KR" sz="4400" b="0" dirty="0"/>
              <a:t>Risks happened more recently</a:t>
            </a:r>
            <a:endParaRPr lang="ko-KR" altLang="en-US" b="0" dirty="0"/>
          </a:p>
        </p:txBody>
      </p:sp>
      <p:sp>
        <p:nvSpPr>
          <p:cNvPr id="58" name="TextBox 57">
            <a:extLst>
              <a:ext uri="{FF2B5EF4-FFF2-40B4-BE49-F238E27FC236}">
                <a16:creationId xmlns:a16="http://schemas.microsoft.com/office/drawing/2014/main" id="{A460E42C-F754-48F2-B399-DDFD4305878D}"/>
              </a:ext>
            </a:extLst>
          </p:cNvPr>
          <p:cNvSpPr txBox="1"/>
          <p:nvPr/>
        </p:nvSpPr>
        <p:spPr>
          <a:xfrm>
            <a:off x="7349505" y="3027193"/>
            <a:ext cx="1271951" cy="584775"/>
          </a:xfrm>
          <a:prstGeom prst="rect">
            <a:avLst/>
          </a:prstGeom>
          <a:noFill/>
        </p:spPr>
        <p:txBody>
          <a:bodyPr wrap="square" rtlCol="0">
            <a:spAutoFit/>
          </a:bodyPr>
          <a:lstStyle/>
          <a:p>
            <a:pPr algn="ctr" defTabSz="1219170" latinLnBrk="1"/>
            <a:r>
              <a:rPr lang="en-US" altLang="ko-KR" sz="3200" dirty="0">
                <a:solidFill>
                  <a:prstClr val="white"/>
                </a:solidFill>
                <a:latin typeface="Arial"/>
                <a:cs typeface="Arial" pitchFamily="34" charset="0"/>
              </a:rPr>
              <a:t>29</a:t>
            </a:r>
            <a:r>
              <a:rPr lang="en-US" altLang="ko-KR" sz="2000" dirty="0">
                <a:solidFill>
                  <a:prstClr val="white"/>
                </a:solidFill>
                <a:latin typeface="Arial"/>
                <a:cs typeface="Arial" pitchFamily="34" charset="0"/>
              </a:rPr>
              <a:t>%</a:t>
            </a:r>
            <a:endParaRPr lang="ko-KR" altLang="en-US" sz="2000" dirty="0">
              <a:solidFill>
                <a:prstClr val="white"/>
              </a:solidFill>
              <a:latin typeface="Arial"/>
              <a:cs typeface="Arial" pitchFamily="34" charset="0"/>
            </a:endParaRPr>
          </a:p>
        </p:txBody>
      </p:sp>
      <p:grpSp>
        <p:nvGrpSpPr>
          <p:cNvPr id="17" name="Group 16">
            <a:extLst>
              <a:ext uri="{FF2B5EF4-FFF2-40B4-BE49-F238E27FC236}">
                <a16:creationId xmlns:a16="http://schemas.microsoft.com/office/drawing/2014/main" id="{D0D06D6A-1876-4DAB-8E2E-48B997D9C837}"/>
              </a:ext>
            </a:extLst>
          </p:cNvPr>
          <p:cNvGrpSpPr/>
          <p:nvPr/>
        </p:nvGrpSpPr>
        <p:grpSpPr>
          <a:xfrm>
            <a:off x="494046" y="1740136"/>
            <a:ext cx="3201687" cy="3200400"/>
            <a:chOff x="664345" y="2188450"/>
            <a:chExt cx="3201687" cy="3200400"/>
          </a:xfrm>
        </p:grpSpPr>
        <p:graphicFrame>
          <p:nvGraphicFramePr>
            <p:cNvPr id="42" name="Chart 41">
              <a:extLst>
                <a:ext uri="{FF2B5EF4-FFF2-40B4-BE49-F238E27FC236}">
                  <a16:creationId xmlns:a16="http://schemas.microsoft.com/office/drawing/2014/main" id="{2E9E445C-F41E-4E82-A0A2-DA0C47903816}"/>
                </a:ext>
              </a:extLst>
            </p:cNvPr>
            <p:cNvGraphicFramePr>
              <a:graphicFrameLocks noChangeAspect="1"/>
            </p:cNvGraphicFramePr>
            <p:nvPr>
              <p:extLst>
                <p:ext uri="{D42A27DB-BD31-4B8C-83A1-F6EECF244321}">
                  <p14:modId xmlns:p14="http://schemas.microsoft.com/office/powerpoint/2010/main" val="406886876"/>
                </p:ext>
              </p:extLst>
            </p:nvPr>
          </p:nvGraphicFramePr>
          <p:xfrm>
            <a:off x="664345" y="2188450"/>
            <a:ext cx="3201687"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EF655F99-9091-47B9-8C96-9C48C2003DBB}"/>
                </a:ext>
              </a:extLst>
            </p:cNvPr>
            <p:cNvSpPr/>
            <p:nvPr/>
          </p:nvSpPr>
          <p:spPr>
            <a:xfrm>
              <a:off x="1693560" y="3326985"/>
              <a:ext cx="1143262" cy="923330"/>
            </a:xfrm>
            <a:prstGeom prst="rect">
              <a:avLst/>
            </a:prstGeom>
          </p:spPr>
          <p:txBody>
            <a:bodyPr wrap="none">
              <a:spAutoFit/>
            </a:bodyPr>
            <a:lstStyle/>
            <a:p>
              <a:pPr algn="ctr"/>
              <a:r>
                <a:rPr lang="en-US" altLang="ko-KR" sz="5400" dirty="0">
                  <a:solidFill>
                    <a:schemeClr val="bg1"/>
                  </a:solidFill>
                  <a:latin typeface="Impact" panose="020B0806030902050204" pitchFamily="34" charset="0"/>
                </a:rPr>
                <a:t>40</a:t>
              </a:r>
              <a:r>
                <a:rPr lang="en-US" altLang="ko-KR" sz="2700" dirty="0">
                  <a:solidFill>
                    <a:schemeClr val="bg1"/>
                  </a:solidFill>
                  <a:latin typeface="Impact" panose="020B0806030902050204" pitchFamily="34" charset="0"/>
                </a:rPr>
                <a:t>%</a:t>
              </a:r>
              <a:endParaRPr lang="ko-KR" altLang="en-US" sz="2700" dirty="0">
                <a:solidFill>
                  <a:schemeClr val="bg1"/>
                </a:solidFill>
                <a:latin typeface="Impact" panose="020B0806030902050204" pitchFamily="34" charset="0"/>
              </a:endParaRPr>
            </a:p>
          </p:txBody>
        </p:sp>
      </p:grpSp>
      <p:sp>
        <p:nvSpPr>
          <p:cNvPr id="45" name="TextBox 44">
            <a:extLst>
              <a:ext uri="{FF2B5EF4-FFF2-40B4-BE49-F238E27FC236}">
                <a16:creationId xmlns:a16="http://schemas.microsoft.com/office/drawing/2014/main" id="{C862E79D-463E-4C6F-B0ED-587186E137E3}"/>
              </a:ext>
            </a:extLst>
          </p:cNvPr>
          <p:cNvSpPr txBox="1">
            <a:spLocks/>
          </p:cNvSpPr>
          <p:nvPr/>
        </p:nvSpPr>
        <p:spPr>
          <a:xfrm>
            <a:off x="424918" y="5043338"/>
            <a:ext cx="3812785" cy="954107"/>
          </a:xfrm>
          <a:prstGeom prst="rect">
            <a:avLst/>
          </a:prstGeom>
          <a:solidFill>
            <a:srgbClr val="28608C">
              <a:alpha val="85000"/>
            </a:srgbClr>
          </a:solidFill>
        </p:spPr>
        <p:txBody>
          <a:bodyPr wrap="square" rtlCol="0" anchor="t">
            <a:spAutoFit/>
          </a:bodyPr>
          <a:lstStyle/>
          <a:p>
            <a:pPr algn="ctr"/>
            <a:r>
              <a:rPr lang="en-US" altLang="ko-KR" sz="2800" dirty="0">
                <a:solidFill>
                  <a:schemeClr val="bg1"/>
                </a:solidFill>
                <a:latin typeface="Arial" panose="020B0604020202020204" pitchFamily="34" charset="0"/>
                <a:cs typeface="Arial" panose="020B0604020202020204" pitchFamily="34" charset="0"/>
              </a:rPr>
              <a:t>Risk happened in the past week/month </a:t>
            </a:r>
            <a:r>
              <a:rPr lang="en-US" altLang="ko-KR" sz="1400" dirty="0">
                <a:solidFill>
                  <a:schemeClr val="bg1"/>
                </a:solidFill>
                <a:latin typeface="Arial" panose="020B0604020202020204" pitchFamily="34" charset="0"/>
                <a:cs typeface="Arial" panose="020B0604020202020204" pitchFamily="34" charset="0"/>
              </a:rPr>
              <a:t>(Any risk)</a:t>
            </a:r>
            <a:endParaRPr lang="ko-KR" altLang="en-US" sz="14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2ACE9B8-5FB9-47E9-9A91-B23FA2726478}"/>
              </a:ext>
            </a:extLst>
          </p:cNvPr>
          <p:cNvSpPr txBox="1"/>
          <p:nvPr/>
        </p:nvSpPr>
        <p:spPr>
          <a:xfrm>
            <a:off x="547670" y="6247401"/>
            <a:ext cx="4237703" cy="428157"/>
          </a:xfrm>
          <a:prstGeom prst="rect">
            <a:avLst/>
          </a:prstGeom>
          <a:noFill/>
        </p:spPr>
        <p:txBody>
          <a:bodyPr wrap="square" lIns="179285" tIns="143428" rIns="179285" bIns="143428" rtlCol="0">
            <a:spAutoFit/>
          </a:bodyPr>
          <a:lstStyle/>
          <a:p>
            <a:pPr>
              <a:lnSpc>
                <a:spcPct val="90000"/>
              </a:lnSpc>
            </a:pPr>
            <a:r>
              <a:rPr lang="en-US" sz="1000" i="1" dirty="0">
                <a:solidFill>
                  <a:schemeClr val="bg1"/>
                </a:solidFill>
              </a:rPr>
              <a:t> Q6: When was the last time these events happened to you</a:t>
            </a:r>
          </a:p>
        </p:txBody>
      </p:sp>
      <p:graphicFrame>
        <p:nvGraphicFramePr>
          <p:cNvPr id="47" name="Chart 46">
            <a:extLst>
              <a:ext uri="{FF2B5EF4-FFF2-40B4-BE49-F238E27FC236}">
                <a16:creationId xmlns:a16="http://schemas.microsoft.com/office/drawing/2014/main" id="{986EFD5F-1C42-42C4-97D4-0AC7D0A4CF6D}"/>
              </a:ext>
            </a:extLst>
          </p:cNvPr>
          <p:cNvGraphicFramePr/>
          <p:nvPr>
            <p:extLst>
              <p:ext uri="{D42A27DB-BD31-4B8C-83A1-F6EECF244321}">
                <p14:modId xmlns:p14="http://schemas.microsoft.com/office/powerpoint/2010/main" val="2402272395"/>
              </p:ext>
            </p:extLst>
          </p:nvPr>
        </p:nvGraphicFramePr>
        <p:xfrm>
          <a:off x="4741581" y="1199607"/>
          <a:ext cx="6885985" cy="4797838"/>
        </p:xfrm>
        <a:graphic>
          <a:graphicData uri="http://schemas.openxmlformats.org/drawingml/2006/chart">
            <c:chart xmlns:c="http://schemas.openxmlformats.org/drawingml/2006/chart" xmlns:r="http://schemas.openxmlformats.org/officeDocument/2006/relationships" r:id="rId4"/>
          </a:graphicData>
        </a:graphic>
      </p:graphicFrame>
      <p:sp>
        <p:nvSpPr>
          <p:cNvPr id="48" name="TextBox 47">
            <a:extLst>
              <a:ext uri="{FF2B5EF4-FFF2-40B4-BE49-F238E27FC236}">
                <a16:creationId xmlns:a16="http://schemas.microsoft.com/office/drawing/2014/main" id="{9D397DD6-C769-490A-9A8A-4D8D42AB6307}"/>
              </a:ext>
            </a:extLst>
          </p:cNvPr>
          <p:cNvSpPr txBox="1"/>
          <p:nvPr/>
        </p:nvSpPr>
        <p:spPr>
          <a:xfrm>
            <a:off x="5432887" y="5043338"/>
            <a:ext cx="1488408" cy="428157"/>
          </a:xfrm>
          <a:prstGeom prst="rect">
            <a:avLst/>
          </a:prstGeom>
          <a:noFill/>
        </p:spPr>
        <p:txBody>
          <a:bodyPr wrap="square" lIns="179285" tIns="143428" rIns="179285" bIns="143428" rtlCol="0">
            <a:spAutoFit/>
          </a:bodyPr>
          <a:lstStyle/>
          <a:p>
            <a:pPr>
              <a:lnSpc>
                <a:spcPct val="90000"/>
              </a:lnSpc>
            </a:pPr>
            <a:r>
              <a:rPr lang="en-US" sz="1000" i="1" dirty="0">
                <a:solidFill>
                  <a:schemeClr val="bg1">
                    <a:lumMod val="50000"/>
                  </a:schemeClr>
                </a:solidFill>
              </a:rPr>
              <a:t>Base: Total sample</a:t>
            </a:r>
          </a:p>
        </p:txBody>
      </p:sp>
      <p:cxnSp>
        <p:nvCxnSpPr>
          <p:cNvPr id="19" name="Straight Connector 18">
            <a:extLst>
              <a:ext uri="{FF2B5EF4-FFF2-40B4-BE49-F238E27FC236}">
                <a16:creationId xmlns:a16="http://schemas.microsoft.com/office/drawing/2014/main" id="{5F8FF860-BD78-4F0C-89A4-9FB41F6FB051}"/>
              </a:ext>
            </a:extLst>
          </p:cNvPr>
          <p:cNvCxnSpPr/>
          <p:nvPr/>
        </p:nvCxnSpPr>
        <p:spPr>
          <a:xfrm flipV="1">
            <a:off x="9468356" y="2507226"/>
            <a:ext cx="806354" cy="648929"/>
          </a:xfrm>
          <a:prstGeom prst="line">
            <a:avLst/>
          </a:prstGeom>
          <a:ln>
            <a:prstDash val="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06A3596F-B0DC-489B-B278-FBE5860910E1}"/>
              </a:ext>
            </a:extLst>
          </p:cNvPr>
          <p:cNvCxnSpPr/>
          <p:nvPr/>
        </p:nvCxnSpPr>
        <p:spPr>
          <a:xfrm flipV="1">
            <a:off x="9468356" y="4438656"/>
            <a:ext cx="796521" cy="153009"/>
          </a:xfrm>
          <a:prstGeom prst="line">
            <a:avLst/>
          </a:prstGeom>
          <a:ln>
            <a:prstDash val="dash"/>
          </a:ln>
        </p:spPr>
        <p:style>
          <a:lnRef idx="1">
            <a:schemeClr val="accent1"/>
          </a:lnRef>
          <a:fillRef idx="0">
            <a:schemeClr val="accent1"/>
          </a:fillRef>
          <a:effectRef idx="0">
            <a:schemeClr val="accent1"/>
          </a:effectRef>
          <a:fontRef idx="minor">
            <a:schemeClr val="tx1"/>
          </a:fontRef>
        </p:style>
      </p:cxnSp>
      <p:sp>
        <p:nvSpPr>
          <p:cNvPr id="15" name="Slide Number Placeholder 2">
            <a:extLst>
              <a:ext uri="{FF2B5EF4-FFF2-40B4-BE49-F238E27FC236}">
                <a16:creationId xmlns:a16="http://schemas.microsoft.com/office/drawing/2014/main" id="{DC414F53-FB02-40DA-9EF3-6A63666C923F}"/>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prstClr val="black">
                    <a:lumMod val="50000"/>
                    <a:lumOff val="50000"/>
                  </a:prstClr>
                </a:solidFill>
                <a:latin typeface="Arial"/>
              </a:rPr>
              <a:pPr algn="r">
                <a:defRPr/>
              </a:pPr>
              <a:t>11</a:t>
            </a:fld>
            <a:endParaRPr lang="en-US" sz="1200" dirty="0">
              <a:solidFill>
                <a:prstClr val="black">
                  <a:lumMod val="50000"/>
                  <a:lumOff val="50000"/>
                </a:prstClr>
              </a:solidFill>
              <a:latin typeface="Arial"/>
            </a:endParaRPr>
          </a:p>
        </p:txBody>
      </p:sp>
    </p:spTree>
    <p:extLst>
      <p:ext uri="{BB962C8B-B14F-4D97-AF65-F5344CB8AC3E}">
        <p14:creationId xmlns:p14="http://schemas.microsoft.com/office/powerpoint/2010/main" val="284135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0" y="0"/>
            <a:ext cx="5673213"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sp>
        <p:nvSpPr>
          <p:cNvPr id="6" name="Title 5"/>
          <p:cNvSpPr>
            <a:spLocks noGrp="1"/>
          </p:cNvSpPr>
          <p:nvPr>
            <p:ph type="title"/>
          </p:nvPr>
        </p:nvSpPr>
        <p:spPr>
          <a:xfrm>
            <a:off x="3695733" y="110752"/>
            <a:ext cx="8496267" cy="1179288"/>
          </a:xfrm>
        </p:spPr>
        <p:txBody>
          <a:bodyPr/>
          <a:lstStyle/>
          <a:p>
            <a:r>
              <a:rPr lang="en-US" altLang="ko-KR" sz="4400" b="0" dirty="0"/>
              <a:t>Three in four experienced risks repeatedly </a:t>
            </a:r>
            <a:r>
              <a:rPr lang="en-US" altLang="ko-KR" sz="3600" b="0" i="1" dirty="0"/>
              <a:t>(two times or more)</a:t>
            </a:r>
            <a:endParaRPr lang="ko-KR" altLang="en-US" b="0" i="1" dirty="0"/>
          </a:p>
        </p:txBody>
      </p:sp>
      <p:sp>
        <p:nvSpPr>
          <p:cNvPr id="58" name="TextBox 57">
            <a:extLst>
              <a:ext uri="{FF2B5EF4-FFF2-40B4-BE49-F238E27FC236}">
                <a16:creationId xmlns:a16="http://schemas.microsoft.com/office/drawing/2014/main" id="{A460E42C-F754-48F2-B399-DDFD4305878D}"/>
              </a:ext>
            </a:extLst>
          </p:cNvPr>
          <p:cNvSpPr txBox="1"/>
          <p:nvPr/>
        </p:nvSpPr>
        <p:spPr>
          <a:xfrm>
            <a:off x="7349505" y="3027193"/>
            <a:ext cx="1271951" cy="584775"/>
          </a:xfrm>
          <a:prstGeom prst="rect">
            <a:avLst/>
          </a:prstGeom>
          <a:noFill/>
        </p:spPr>
        <p:txBody>
          <a:bodyPr wrap="square" rtlCol="0">
            <a:spAutoFit/>
          </a:bodyPr>
          <a:lstStyle/>
          <a:p>
            <a:pPr algn="ctr" defTabSz="1219170" latinLnBrk="1"/>
            <a:r>
              <a:rPr lang="en-US" altLang="ko-KR" sz="3200" dirty="0">
                <a:solidFill>
                  <a:prstClr val="white"/>
                </a:solidFill>
                <a:latin typeface="Arial"/>
                <a:cs typeface="Arial" pitchFamily="34" charset="0"/>
              </a:rPr>
              <a:t>29</a:t>
            </a:r>
            <a:r>
              <a:rPr lang="en-US" altLang="ko-KR" sz="2000" dirty="0">
                <a:solidFill>
                  <a:prstClr val="white"/>
                </a:solidFill>
                <a:latin typeface="Arial"/>
                <a:cs typeface="Arial" pitchFamily="34" charset="0"/>
              </a:rPr>
              <a:t>%</a:t>
            </a:r>
            <a:endParaRPr lang="ko-KR" altLang="en-US" sz="2000" dirty="0">
              <a:solidFill>
                <a:prstClr val="white"/>
              </a:solidFill>
              <a:latin typeface="Arial"/>
              <a:cs typeface="Arial" pitchFamily="34" charset="0"/>
            </a:endParaRPr>
          </a:p>
        </p:txBody>
      </p:sp>
      <p:graphicFrame>
        <p:nvGraphicFramePr>
          <p:cNvPr id="36" name="Chart 35">
            <a:extLst>
              <a:ext uri="{FF2B5EF4-FFF2-40B4-BE49-F238E27FC236}">
                <a16:creationId xmlns:a16="http://schemas.microsoft.com/office/drawing/2014/main" id="{3CC2176A-8F7A-45A5-8C44-E2D4E6105DA7}"/>
              </a:ext>
            </a:extLst>
          </p:cNvPr>
          <p:cNvGraphicFramePr/>
          <p:nvPr>
            <p:extLst>
              <p:ext uri="{D42A27DB-BD31-4B8C-83A1-F6EECF244321}">
                <p14:modId xmlns:p14="http://schemas.microsoft.com/office/powerpoint/2010/main" val="2258238913"/>
              </p:ext>
            </p:extLst>
          </p:nvPr>
        </p:nvGraphicFramePr>
        <p:xfrm>
          <a:off x="5220929" y="1219929"/>
          <a:ext cx="6696417" cy="5361742"/>
        </p:xfrm>
        <a:graphic>
          <a:graphicData uri="http://schemas.openxmlformats.org/drawingml/2006/chart">
            <c:chart xmlns:c="http://schemas.openxmlformats.org/drawingml/2006/chart" xmlns:r="http://schemas.openxmlformats.org/officeDocument/2006/relationships" r:id="rId3"/>
          </a:graphicData>
        </a:graphic>
      </p:graphicFrame>
      <p:grpSp>
        <p:nvGrpSpPr>
          <p:cNvPr id="17" name="Group 16">
            <a:extLst>
              <a:ext uri="{FF2B5EF4-FFF2-40B4-BE49-F238E27FC236}">
                <a16:creationId xmlns:a16="http://schemas.microsoft.com/office/drawing/2014/main" id="{D0D06D6A-1876-4DAB-8E2E-48B997D9C837}"/>
              </a:ext>
            </a:extLst>
          </p:cNvPr>
          <p:cNvGrpSpPr/>
          <p:nvPr/>
        </p:nvGrpSpPr>
        <p:grpSpPr>
          <a:xfrm>
            <a:off x="494046" y="1740136"/>
            <a:ext cx="3201687" cy="3200400"/>
            <a:chOff x="664345" y="2188450"/>
            <a:chExt cx="3201687" cy="3200400"/>
          </a:xfrm>
        </p:grpSpPr>
        <p:graphicFrame>
          <p:nvGraphicFramePr>
            <p:cNvPr id="42" name="Chart 41">
              <a:extLst>
                <a:ext uri="{FF2B5EF4-FFF2-40B4-BE49-F238E27FC236}">
                  <a16:creationId xmlns:a16="http://schemas.microsoft.com/office/drawing/2014/main" id="{2E9E445C-F41E-4E82-A0A2-DA0C47903816}"/>
                </a:ext>
              </a:extLst>
            </p:cNvPr>
            <p:cNvGraphicFramePr>
              <a:graphicFrameLocks noChangeAspect="1"/>
            </p:cNvGraphicFramePr>
            <p:nvPr>
              <p:extLst>
                <p:ext uri="{D42A27DB-BD31-4B8C-83A1-F6EECF244321}">
                  <p14:modId xmlns:p14="http://schemas.microsoft.com/office/powerpoint/2010/main" val="3970544500"/>
                </p:ext>
              </p:extLst>
            </p:nvPr>
          </p:nvGraphicFramePr>
          <p:xfrm>
            <a:off x="664345" y="2188450"/>
            <a:ext cx="3201687"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EF655F99-9091-47B9-8C96-9C48C2003DBB}"/>
                </a:ext>
              </a:extLst>
            </p:cNvPr>
            <p:cNvSpPr/>
            <p:nvPr/>
          </p:nvSpPr>
          <p:spPr>
            <a:xfrm>
              <a:off x="1731229" y="3326985"/>
              <a:ext cx="1067921" cy="923330"/>
            </a:xfrm>
            <a:prstGeom prst="rect">
              <a:avLst/>
            </a:prstGeom>
          </p:spPr>
          <p:txBody>
            <a:bodyPr wrap="none">
              <a:spAutoFit/>
            </a:bodyPr>
            <a:lstStyle/>
            <a:p>
              <a:pPr algn="ctr"/>
              <a:r>
                <a:rPr lang="en-US" altLang="ko-KR" sz="5400" dirty="0">
                  <a:solidFill>
                    <a:schemeClr val="bg1"/>
                  </a:solidFill>
                  <a:latin typeface="Impact" panose="020B0806030902050204" pitchFamily="34" charset="0"/>
                </a:rPr>
                <a:t>75</a:t>
              </a:r>
              <a:r>
                <a:rPr lang="en-US" altLang="ko-KR" sz="2700" dirty="0">
                  <a:solidFill>
                    <a:schemeClr val="bg1"/>
                  </a:solidFill>
                  <a:latin typeface="Impact" panose="020B0806030902050204" pitchFamily="34" charset="0"/>
                </a:rPr>
                <a:t>%</a:t>
              </a:r>
              <a:endParaRPr lang="ko-KR" altLang="en-US" sz="2700" dirty="0">
                <a:solidFill>
                  <a:schemeClr val="bg1"/>
                </a:solidFill>
                <a:latin typeface="Impact" panose="020B0806030902050204" pitchFamily="34" charset="0"/>
              </a:endParaRPr>
            </a:p>
          </p:txBody>
        </p:sp>
      </p:grpSp>
      <p:sp>
        <p:nvSpPr>
          <p:cNvPr id="45" name="TextBox 44">
            <a:extLst>
              <a:ext uri="{FF2B5EF4-FFF2-40B4-BE49-F238E27FC236}">
                <a16:creationId xmlns:a16="http://schemas.microsoft.com/office/drawing/2014/main" id="{C862E79D-463E-4C6F-B0ED-587186E137E3}"/>
              </a:ext>
            </a:extLst>
          </p:cNvPr>
          <p:cNvSpPr txBox="1">
            <a:spLocks/>
          </p:cNvSpPr>
          <p:nvPr/>
        </p:nvSpPr>
        <p:spPr>
          <a:xfrm>
            <a:off x="424918" y="5043338"/>
            <a:ext cx="3812785" cy="954107"/>
          </a:xfrm>
          <a:prstGeom prst="rect">
            <a:avLst/>
          </a:prstGeom>
          <a:solidFill>
            <a:srgbClr val="28608C">
              <a:alpha val="85000"/>
            </a:srgbClr>
          </a:solidFill>
        </p:spPr>
        <p:txBody>
          <a:bodyPr wrap="square" rtlCol="0" anchor="t">
            <a:spAutoFit/>
          </a:bodyPr>
          <a:lstStyle/>
          <a:p>
            <a:pPr algn="ctr"/>
            <a:r>
              <a:rPr lang="en-US" altLang="ko-KR" sz="2800" dirty="0">
                <a:solidFill>
                  <a:schemeClr val="bg1"/>
                </a:solidFill>
                <a:latin typeface="Arial" panose="020B0604020202020204" pitchFamily="34" charset="0"/>
                <a:cs typeface="Arial" panose="020B0604020202020204" pitchFamily="34" charset="0"/>
              </a:rPr>
              <a:t>Experienced a risk 2 or more times </a:t>
            </a:r>
            <a:r>
              <a:rPr lang="en-US" altLang="ko-KR" sz="1400" dirty="0">
                <a:solidFill>
                  <a:schemeClr val="bg1"/>
                </a:solidFill>
                <a:latin typeface="Arial" panose="020B0604020202020204" pitchFamily="34" charset="0"/>
                <a:cs typeface="Arial" panose="020B0604020202020204" pitchFamily="34" charset="0"/>
              </a:rPr>
              <a:t>(Any risk)</a:t>
            </a:r>
            <a:endParaRPr lang="ko-KR" altLang="en-US" sz="14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2ACE9B8-5FB9-47E9-9A91-B23FA2726478}"/>
              </a:ext>
            </a:extLst>
          </p:cNvPr>
          <p:cNvSpPr txBox="1"/>
          <p:nvPr/>
        </p:nvSpPr>
        <p:spPr>
          <a:xfrm>
            <a:off x="7787147" y="6494015"/>
            <a:ext cx="4237703" cy="425400"/>
          </a:xfrm>
          <a:prstGeom prst="rect">
            <a:avLst/>
          </a:prstGeom>
          <a:noFill/>
        </p:spPr>
        <p:txBody>
          <a:bodyPr wrap="square" lIns="179285" tIns="143428" rIns="179285" bIns="143428" rtlCol="0">
            <a:spAutoFit/>
          </a:bodyPr>
          <a:lstStyle/>
          <a:p>
            <a:pPr>
              <a:lnSpc>
                <a:spcPct val="90000"/>
              </a:lnSpc>
            </a:pPr>
            <a:r>
              <a:rPr lang="en-US" sz="1000" i="1" dirty="0">
                <a:solidFill>
                  <a:schemeClr val="bg1">
                    <a:lumMod val="50000"/>
                  </a:schemeClr>
                </a:solidFill>
              </a:rPr>
              <a:t> Q5.2A: How many times did you experience these risks</a:t>
            </a:r>
          </a:p>
        </p:txBody>
      </p:sp>
      <p:sp>
        <p:nvSpPr>
          <p:cNvPr id="2" name="Left Brace 1">
            <a:extLst>
              <a:ext uri="{FF2B5EF4-FFF2-40B4-BE49-F238E27FC236}">
                <a16:creationId xmlns:a16="http://schemas.microsoft.com/office/drawing/2014/main" id="{AE665EAA-C9C3-4077-8A2E-BBB1761C06D0}"/>
              </a:ext>
            </a:extLst>
          </p:cNvPr>
          <p:cNvSpPr/>
          <p:nvPr/>
        </p:nvSpPr>
        <p:spPr>
          <a:xfrm>
            <a:off x="5140545" y="1899138"/>
            <a:ext cx="134842" cy="979533"/>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3" name="TextBox 2">
            <a:extLst>
              <a:ext uri="{FF2B5EF4-FFF2-40B4-BE49-F238E27FC236}">
                <a16:creationId xmlns:a16="http://schemas.microsoft.com/office/drawing/2014/main" id="{A8D61E7C-73C0-40C0-9F8E-6C0E587C5483}"/>
              </a:ext>
            </a:extLst>
          </p:cNvPr>
          <p:cNvSpPr txBox="1"/>
          <p:nvPr/>
        </p:nvSpPr>
        <p:spPr>
          <a:xfrm>
            <a:off x="4189779" y="2065738"/>
            <a:ext cx="910782" cy="646331"/>
          </a:xfrm>
          <a:prstGeom prst="rect">
            <a:avLst/>
          </a:prstGeom>
          <a:noFill/>
        </p:spPr>
        <p:txBody>
          <a:bodyPr wrap="square" rtlCol="0">
            <a:spAutoFit/>
          </a:bodyPr>
          <a:lstStyle/>
          <a:p>
            <a:pPr algn="ctr"/>
            <a:r>
              <a:rPr lang="en-US" dirty="0"/>
              <a:t>Sexual risks</a:t>
            </a:r>
          </a:p>
        </p:txBody>
      </p:sp>
      <p:sp>
        <p:nvSpPr>
          <p:cNvPr id="14" name="Slide Number Placeholder 2">
            <a:extLst>
              <a:ext uri="{FF2B5EF4-FFF2-40B4-BE49-F238E27FC236}">
                <a16:creationId xmlns:a16="http://schemas.microsoft.com/office/drawing/2014/main" id="{211F671A-A095-465D-8440-5F6EFD8DB47B}"/>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prstClr val="black">
                    <a:lumMod val="50000"/>
                    <a:lumOff val="50000"/>
                  </a:prstClr>
                </a:solidFill>
                <a:latin typeface="Arial"/>
              </a:rPr>
              <a:pPr algn="r">
                <a:defRPr/>
              </a:pPr>
              <a:t>12</a:t>
            </a:fld>
            <a:endParaRPr lang="en-US" sz="1200" dirty="0">
              <a:solidFill>
                <a:prstClr val="black">
                  <a:lumMod val="50000"/>
                  <a:lumOff val="50000"/>
                </a:prstClr>
              </a:solidFill>
              <a:latin typeface="Arial"/>
            </a:endParaRPr>
          </a:p>
        </p:txBody>
      </p:sp>
    </p:spTree>
    <p:extLst>
      <p:ext uri="{BB962C8B-B14F-4D97-AF65-F5344CB8AC3E}">
        <p14:creationId xmlns:p14="http://schemas.microsoft.com/office/powerpoint/2010/main" val="40779265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262626">
            <a:alpha val="92000"/>
          </a:srgbClr>
        </a:solidFill>
        <a:effectLst/>
      </p:bgPr>
    </p:bg>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8B0F91B1-C365-4FE0-8489-79745DF6C64B}"/>
              </a:ext>
            </a:extLst>
          </p:cNvPr>
          <p:cNvSpPr txBox="1">
            <a:spLocks/>
          </p:cNvSpPr>
          <p:nvPr/>
        </p:nvSpPr>
        <p:spPr>
          <a:xfrm>
            <a:off x="323529" y="304601"/>
            <a:ext cx="11573197" cy="794064"/>
          </a:xfrm>
          <a:prstGeom prst="rect">
            <a:avLst/>
          </a:prstGeom>
        </p:spPr>
        <p:txBody>
          <a:bodyPr vert="horz" wrap="square" lIns="146304" tIns="91440" rIns="146304" bIns="91440" rtlCol="0" anchor="ctr">
            <a:spAutoFit/>
          </a:bodyPr>
          <a:lstStyle>
            <a:lvl1pPr marL="0"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4400" b="0" kern="1200" spc="0" baseline="0">
                <a:solidFill>
                  <a:schemeClr val="bg1"/>
                </a:solidFill>
                <a:latin typeface="Arial" panose="020B0604020202020204" pitchFamily="34" charset="0"/>
                <a:ea typeface="+mn-ea"/>
                <a:cs typeface="Arial"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defRPr/>
            </a:pPr>
            <a:r>
              <a:rPr kumimoji="0" lang="en-US" sz="4400" b="0" i="0" u="none" strike="noStrike" kern="1200" cap="none" spc="0" normalizeH="0" baseline="0" noProof="0" dirty="0">
                <a:ln>
                  <a:noFill/>
                </a:ln>
                <a:effectLst/>
                <a:uLnTx/>
                <a:uFillTx/>
                <a:latin typeface="Arial" panose="020B0604020202020204" pitchFamily="34" charset="0"/>
                <a:ea typeface="+mn-ea"/>
                <a:cs typeface="Arial" pitchFamily="34" charset="0"/>
              </a:rPr>
              <a:t>Risks are a bigger problem</a:t>
            </a:r>
          </a:p>
        </p:txBody>
      </p:sp>
      <p:sp>
        <p:nvSpPr>
          <p:cNvPr id="9" name="TextBox 8">
            <a:extLst>
              <a:ext uri="{FF2B5EF4-FFF2-40B4-BE49-F238E27FC236}">
                <a16:creationId xmlns:a16="http://schemas.microsoft.com/office/drawing/2014/main" id="{0C2FA5C1-5E8B-45E6-A939-F43C9796CB3C}"/>
              </a:ext>
            </a:extLst>
          </p:cNvPr>
          <p:cNvSpPr txBox="1"/>
          <p:nvPr/>
        </p:nvSpPr>
        <p:spPr>
          <a:xfrm>
            <a:off x="77199" y="6529841"/>
            <a:ext cx="3461246" cy="246221"/>
          </a:xfrm>
          <a:prstGeom prst="rect">
            <a:avLst/>
          </a:prstGeom>
          <a:noFill/>
        </p:spPr>
        <p:txBody>
          <a:bodyPr wrap="square" rtlCol="0">
            <a:spAutoFit/>
          </a:bodyPr>
          <a:lstStyle/>
          <a:p>
            <a:r>
              <a:rPr lang="en-US" sz="1000" i="1" dirty="0">
                <a:solidFill>
                  <a:schemeClr val="bg1"/>
                </a:solidFill>
              </a:rPr>
              <a:t>Q2_014:  How big a problem are &lt;insert risk&gt; online?</a:t>
            </a:r>
          </a:p>
        </p:txBody>
      </p:sp>
      <p:grpSp>
        <p:nvGrpSpPr>
          <p:cNvPr id="2" name="Group 1">
            <a:extLst>
              <a:ext uri="{FF2B5EF4-FFF2-40B4-BE49-F238E27FC236}">
                <a16:creationId xmlns:a16="http://schemas.microsoft.com/office/drawing/2014/main" id="{F421F91A-BEE6-4891-A08A-F3EAFA71FDCA}"/>
              </a:ext>
            </a:extLst>
          </p:cNvPr>
          <p:cNvGrpSpPr/>
          <p:nvPr/>
        </p:nvGrpSpPr>
        <p:grpSpPr>
          <a:xfrm>
            <a:off x="755355" y="1267381"/>
            <a:ext cx="10717158" cy="4854495"/>
            <a:chOff x="432622" y="1407235"/>
            <a:chExt cx="10717158" cy="4854495"/>
          </a:xfrm>
        </p:grpSpPr>
        <p:sp>
          <p:nvSpPr>
            <p:cNvPr id="8" name="TextBox 7">
              <a:extLst>
                <a:ext uri="{FF2B5EF4-FFF2-40B4-BE49-F238E27FC236}">
                  <a16:creationId xmlns:a16="http://schemas.microsoft.com/office/drawing/2014/main" id="{61D6E6C6-E8EF-4313-816B-2B8B3A5FCCB3}"/>
                </a:ext>
              </a:extLst>
            </p:cNvPr>
            <p:cNvSpPr txBox="1"/>
            <p:nvPr/>
          </p:nvSpPr>
          <p:spPr>
            <a:xfrm>
              <a:off x="432622" y="1407235"/>
              <a:ext cx="3554499" cy="627864"/>
            </a:xfrm>
            <a:prstGeom prst="rect">
              <a:avLst/>
            </a:prstGeom>
            <a:noFill/>
          </p:spPr>
          <p:txBody>
            <a:bodyPr wrap="none" lIns="182880" tIns="146304" rIns="182880" bIns="146304" rtlCol="0">
              <a:spAutoFit/>
            </a:bodyPr>
            <a:lstStyle/>
            <a:p>
              <a:pPr>
                <a:lnSpc>
                  <a:spcPct val="90000"/>
                </a:lnSpc>
              </a:pPr>
              <a:r>
                <a:rPr lang="en-US" sz="2400" i="1" dirty="0">
                  <a:solidFill>
                    <a:schemeClr val="bg1"/>
                  </a:solidFill>
                  <a:cs typeface="Arial" panose="020B0604020202020204" pitchFamily="34" charset="0"/>
                </a:rPr>
                <a:t>How big a problem is…</a:t>
              </a:r>
            </a:p>
          </p:txBody>
        </p:sp>
        <p:grpSp>
          <p:nvGrpSpPr>
            <p:cNvPr id="10" name="Group 9">
              <a:extLst>
                <a:ext uri="{FF2B5EF4-FFF2-40B4-BE49-F238E27FC236}">
                  <a16:creationId xmlns:a16="http://schemas.microsoft.com/office/drawing/2014/main" id="{86F5BD3D-DB6F-4A70-91A5-3437D418E613}"/>
                </a:ext>
              </a:extLst>
            </p:cNvPr>
            <p:cNvGrpSpPr/>
            <p:nvPr/>
          </p:nvGrpSpPr>
          <p:grpSpPr>
            <a:xfrm>
              <a:off x="451978" y="3096843"/>
              <a:ext cx="1380827" cy="3091313"/>
              <a:chOff x="-30957" y="2795619"/>
              <a:chExt cx="1380827" cy="3091313"/>
            </a:xfrm>
          </p:grpSpPr>
          <p:sp>
            <p:nvSpPr>
              <p:cNvPr id="11" name="TextBox 10">
                <a:extLst>
                  <a:ext uri="{FF2B5EF4-FFF2-40B4-BE49-F238E27FC236}">
                    <a16:creationId xmlns:a16="http://schemas.microsoft.com/office/drawing/2014/main" id="{A8E8E170-CC3B-4921-84AA-F1C855E61DAE}"/>
                  </a:ext>
                </a:extLst>
              </p:cNvPr>
              <p:cNvSpPr txBox="1"/>
              <p:nvPr/>
            </p:nvSpPr>
            <p:spPr>
              <a:xfrm>
                <a:off x="-30957" y="2795619"/>
                <a:ext cx="1380827" cy="849463"/>
              </a:xfrm>
              <a:prstGeom prst="rect">
                <a:avLst/>
              </a:prstGeom>
              <a:noFill/>
            </p:spPr>
            <p:txBody>
              <a:bodyPr wrap="none" lIns="182880" tIns="146304" rIns="182880" bIns="146304" rtlCol="0">
                <a:spAutoFit/>
              </a:bodyPr>
              <a:lstStyle/>
              <a:p>
                <a:pPr>
                  <a:lnSpc>
                    <a:spcPct val="90000"/>
                  </a:lnSpc>
                </a:pPr>
                <a:r>
                  <a:rPr lang="en-US" sz="2000" b="1" dirty="0">
                    <a:solidFill>
                      <a:srgbClr val="2CB8AE"/>
                    </a:solidFill>
                    <a:cs typeface="Arial" panose="020B0604020202020204" pitchFamily="34" charset="0"/>
                  </a:rPr>
                  <a:t>Big</a:t>
                </a:r>
              </a:p>
              <a:p>
                <a:pPr>
                  <a:lnSpc>
                    <a:spcPct val="90000"/>
                  </a:lnSpc>
                </a:pPr>
                <a:r>
                  <a:rPr lang="en-US" sz="2000" b="1" dirty="0">
                    <a:solidFill>
                      <a:srgbClr val="2CB8AE"/>
                    </a:solidFill>
                    <a:cs typeface="Arial" panose="020B0604020202020204" pitchFamily="34" charset="0"/>
                  </a:rPr>
                  <a:t>problem</a:t>
                </a:r>
              </a:p>
            </p:txBody>
          </p:sp>
          <p:sp>
            <p:nvSpPr>
              <p:cNvPr id="12" name="TextBox 11">
                <a:extLst>
                  <a:ext uri="{FF2B5EF4-FFF2-40B4-BE49-F238E27FC236}">
                    <a16:creationId xmlns:a16="http://schemas.microsoft.com/office/drawing/2014/main" id="{B17945F9-5F6A-4C90-ABCE-782BF663A7BF}"/>
                  </a:ext>
                </a:extLst>
              </p:cNvPr>
              <p:cNvSpPr txBox="1"/>
              <p:nvPr/>
            </p:nvSpPr>
            <p:spPr>
              <a:xfrm>
                <a:off x="-30957" y="3984410"/>
                <a:ext cx="1380827" cy="849463"/>
              </a:xfrm>
              <a:prstGeom prst="rect">
                <a:avLst/>
              </a:prstGeom>
              <a:noFill/>
            </p:spPr>
            <p:txBody>
              <a:bodyPr wrap="none" lIns="182880" tIns="146304" rIns="182880" bIns="146304" rtlCol="0">
                <a:spAutoFit/>
              </a:bodyPr>
              <a:lstStyle/>
              <a:p>
                <a:pPr>
                  <a:lnSpc>
                    <a:spcPct val="90000"/>
                  </a:lnSpc>
                </a:pPr>
                <a:r>
                  <a:rPr lang="en-US" sz="2000" b="1" dirty="0">
                    <a:solidFill>
                      <a:srgbClr val="DAA520"/>
                    </a:solidFill>
                    <a:cs typeface="Arial" panose="020B0604020202020204" pitchFamily="34" charset="0"/>
                  </a:rPr>
                  <a:t>Small</a:t>
                </a:r>
              </a:p>
              <a:p>
                <a:pPr>
                  <a:lnSpc>
                    <a:spcPct val="90000"/>
                  </a:lnSpc>
                </a:pPr>
                <a:r>
                  <a:rPr lang="en-US" sz="2000" b="1" dirty="0">
                    <a:solidFill>
                      <a:srgbClr val="DAA520"/>
                    </a:solidFill>
                    <a:cs typeface="Arial" panose="020B0604020202020204" pitchFamily="34" charset="0"/>
                  </a:rPr>
                  <a:t>problem</a:t>
                </a:r>
              </a:p>
            </p:txBody>
          </p:sp>
          <p:sp>
            <p:nvSpPr>
              <p:cNvPr id="13" name="TextBox 12">
                <a:extLst>
                  <a:ext uri="{FF2B5EF4-FFF2-40B4-BE49-F238E27FC236}">
                    <a16:creationId xmlns:a16="http://schemas.microsoft.com/office/drawing/2014/main" id="{18C3B2DE-6934-4F9F-8296-70A8FB7F1B33}"/>
                  </a:ext>
                </a:extLst>
              </p:cNvPr>
              <p:cNvSpPr txBox="1"/>
              <p:nvPr/>
            </p:nvSpPr>
            <p:spPr>
              <a:xfrm>
                <a:off x="-30957" y="5037469"/>
                <a:ext cx="1380827" cy="849463"/>
              </a:xfrm>
              <a:prstGeom prst="rect">
                <a:avLst/>
              </a:prstGeom>
              <a:noFill/>
            </p:spPr>
            <p:txBody>
              <a:bodyPr wrap="none" lIns="182880" tIns="146304" rIns="182880" bIns="146304" rtlCol="0">
                <a:spAutoFit/>
              </a:bodyPr>
              <a:lstStyle/>
              <a:p>
                <a:pPr>
                  <a:lnSpc>
                    <a:spcPct val="90000"/>
                  </a:lnSpc>
                </a:pPr>
                <a:r>
                  <a:rPr lang="en-US" sz="2000" b="1" dirty="0">
                    <a:solidFill>
                      <a:srgbClr val="5CBE7A"/>
                    </a:solidFill>
                    <a:cs typeface="Arial" panose="020B0604020202020204" pitchFamily="34" charset="0"/>
                  </a:rPr>
                  <a:t>Not a</a:t>
                </a:r>
              </a:p>
              <a:p>
                <a:pPr>
                  <a:lnSpc>
                    <a:spcPct val="90000"/>
                  </a:lnSpc>
                </a:pPr>
                <a:r>
                  <a:rPr lang="en-US" sz="2000" b="1" dirty="0">
                    <a:solidFill>
                      <a:srgbClr val="5CBE7A"/>
                    </a:solidFill>
                    <a:cs typeface="Arial" panose="020B0604020202020204" pitchFamily="34" charset="0"/>
                  </a:rPr>
                  <a:t>problem</a:t>
                </a:r>
              </a:p>
            </p:txBody>
          </p:sp>
        </p:grpSp>
        <p:graphicFrame>
          <p:nvGraphicFramePr>
            <p:cNvPr id="14" name="Chart 13">
              <a:extLst>
                <a:ext uri="{FF2B5EF4-FFF2-40B4-BE49-F238E27FC236}">
                  <a16:creationId xmlns:a16="http://schemas.microsoft.com/office/drawing/2014/main" id="{D71950F1-1179-4037-83BF-0F9ECC54A4CD}"/>
                </a:ext>
              </a:extLst>
            </p:cNvPr>
            <p:cNvGraphicFramePr/>
            <p:nvPr>
              <p:extLst>
                <p:ext uri="{D42A27DB-BD31-4B8C-83A1-F6EECF244321}">
                  <p14:modId xmlns:p14="http://schemas.microsoft.com/office/powerpoint/2010/main" val="4229883455"/>
                </p:ext>
              </p:extLst>
            </p:nvPr>
          </p:nvGraphicFramePr>
          <p:xfrm>
            <a:off x="1877799" y="2052479"/>
            <a:ext cx="2241266" cy="4209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5" name="Chart 14">
              <a:extLst>
                <a:ext uri="{FF2B5EF4-FFF2-40B4-BE49-F238E27FC236}">
                  <a16:creationId xmlns:a16="http://schemas.microsoft.com/office/drawing/2014/main" id="{BACDD9C2-99F2-4219-B99B-90D4412EC94C}"/>
                </a:ext>
              </a:extLst>
            </p:cNvPr>
            <p:cNvGraphicFramePr/>
            <p:nvPr>
              <p:extLst>
                <p:ext uri="{D42A27DB-BD31-4B8C-83A1-F6EECF244321}">
                  <p14:modId xmlns:p14="http://schemas.microsoft.com/office/powerpoint/2010/main" val="2587017701"/>
                </p:ext>
              </p:extLst>
            </p:nvPr>
          </p:nvGraphicFramePr>
          <p:xfrm>
            <a:off x="4221371" y="2051059"/>
            <a:ext cx="2241266" cy="42092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Chart 15">
              <a:extLst>
                <a:ext uri="{FF2B5EF4-FFF2-40B4-BE49-F238E27FC236}">
                  <a16:creationId xmlns:a16="http://schemas.microsoft.com/office/drawing/2014/main" id="{530760A8-C74F-4E81-B531-5807ABF26392}"/>
                </a:ext>
              </a:extLst>
            </p:cNvPr>
            <p:cNvGraphicFramePr/>
            <p:nvPr>
              <p:extLst>
                <p:ext uri="{D42A27DB-BD31-4B8C-83A1-F6EECF244321}">
                  <p14:modId xmlns:p14="http://schemas.microsoft.com/office/powerpoint/2010/main" val="1567011083"/>
                </p:ext>
              </p:extLst>
            </p:nvPr>
          </p:nvGraphicFramePr>
          <p:xfrm>
            <a:off x="6573243" y="2051059"/>
            <a:ext cx="2241266" cy="420925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Chart 16">
              <a:extLst>
                <a:ext uri="{FF2B5EF4-FFF2-40B4-BE49-F238E27FC236}">
                  <a16:creationId xmlns:a16="http://schemas.microsoft.com/office/drawing/2014/main" id="{01A893DA-692F-4DEF-9C54-968E48ADCEE1}"/>
                </a:ext>
              </a:extLst>
            </p:cNvPr>
            <p:cNvGraphicFramePr/>
            <p:nvPr>
              <p:extLst>
                <p:ext uri="{D42A27DB-BD31-4B8C-83A1-F6EECF244321}">
                  <p14:modId xmlns:p14="http://schemas.microsoft.com/office/powerpoint/2010/main" val="300326518"/>
                </p:ext>
              </p:extLst>
            </p:nvPr>
          </p:nvGraphicFramePr>
          <p:xfrm>
            <a:off x="8908514" y="2052478"/>
            <a:ext cx="2241266" cy="4209251"/>
          </p:xfrm>
          <a:graphic>
            <a:graphicData uri="http://schemas.openxmlformats.org/drawingml/2006/chart">
              <c:chart xmlns:c="http://schemas.openxmlformats.org/drawingml/2006/chart" xmlns:r="http://schemas.openxmlformats.org/officeDocument/2006/relationships" r:id="rId6"/>
            </a:graphicData>
          </a:graphic>
        </p:graphicFrame>
      </p:grpSp>
      <p:sp>
        <p:nvSpPr>
          <p:cNvPr id="18" name="Slide Number Placeholder 2">
            <a:extLst>
              <a:ext uri="{FF2B5EF4-FFF2-40B4-BE49-F238E27FC236}">
                <a16:creationId xmlns:a16="http://schemas.microsoft.com/office/drawing/2014/main" id="{36378481-E566-47F2-9A14-9B67135D434E}"/>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latin typeface="Arial"/>
              </a:rPr>
              <a:pPr algn="r">
                <a:defRPr/>
              </a:pPr>
              <a:t>13</a:t>
            </a:fld>
            <a:endParaRPr lang="en-US" sz="1200" dirty="0">
              <a:latin typeface="Arial"/>
            </a:endParaRPr>
          </a:p>
        </p:txBody>
      </p:sp>
    </p:spTree>
    <p:extLst>
      <p:ext uri="{BB962C8B-B14F-4D97-AF65-F5344CB8AC3E}">
        <p14:creationId xmlns:p14="http://schemas.microsoft.com/office/powerpoint/2010/main" val="348221886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44FCF4-741F-49D5-9BDC-8CC24A1E0844}"/>
              </a:ext>
            </a:extLst>
          </p:cNvPr>
          <p:cNvSpPr/>
          <p:nvPr/>
        </p:nvSpPr>
        <p:spPr bwMode="auto">
          <a:xfrm>
            <a:off x="0" y="0"/>
            <a:ext cx="12192000" cy="3575304"/>
          </a:xfrm>
          <a:prstGeom prst="rect">
            <a:avLst/>
          </a:prstGeom>
          <a:blipFill>
            <a:blip r:embed="rId3"/>
            <a:stretch>
              <a:fillRect l="-14642" t="-15495" r="-1701" b="-59183"/>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0C9B51EE-C304-4806-903E-7FAAD5258E04}"/>
              </a:ext>
            </a:extLst>
          </p:cNvPr>
          <p:cNvSpPr txBox="1">
            <a:spLocks/>
          </p:cNvSpPr>
          <p:nvPr/>
        </p:nvSpPr>
        <p:spPr>
          <a:xfrm>
            <a:off x="2720259" y="1357364"/>
            <a:ext cx="8861912" cy="523220"/>
          </a:xfrm>
          <a:prstGeom prst="rect">
            <a:avLst/>
          </a:prstGeom>
          <a:solidFill>
            <a:srgbClr val="28608C">
              <a:alpha val="85000"/>
            </a:srgbClr>
          </a:solidFill>
        </p:spPr>
        <p:txBody>
          <a:bodyPr wrap="square" rtlCol="0" anchor="t">
            <a:spAutoFit/>
          </a:bodyPr>
          <a:lstStyle/>
          <a:p>
            <a:r>
              <a:rPr lang="en-US" altLang="ko-KR" sz="2800" dirty="0">
                <a:latin typeface="Arial" panose="020B0604020202020204" pitchFamily="34" charset="0"/>
                <a:cs typeface="Arial" panose="020B0604020202020204" pitchFamily="34" charset="0"/>
              </a:rPr>
              <a:t>Suffered pain from online risks is up </a:t>
            </a:r>
            <a:r>
              <a:rPr lang="en-US" altLang="ko-KR" sz="2800" b="1" dirty="0">
                <a:latin typeface="Arial" panose="020B0604020202020204" pitchFamily="34" charset="0"/>
                <a:cs typeface="Arial" panose="020B0604020202020204" pitchFamily="34" charset="0"/>
              </a:rPr>
              <a:t>8 points</a:t>
            </a:r>
            <a:endParaRPr lang="ko-KR" altLang="en-US" sz="2800" dirty="0">
              <a:latin typeface="Arial" panose="020B0604020202020204" pitchFamily="34" charset="0"/>
              <a:cs typeface="Arial" panose="020B0604020202020204" pitchFamily="34" charset="0"/>
            </a:endParaRPr>
          </a:p>
        </p:txBody>
      </p:sp>
      <p:grpSp>
        <p:nvGrpSpPr>
          <p:cNvPr id="30" name="Group 29">
            <a:extLst>
              <a:ext uri="{FF2B5EF4-FFF2-40B4-BE49-F238E27FC236}">
                <a16:creationId xmlns:a16="http://schemas.microsoft.com/office/drawing/2014/main" id="{9E596F1C-69AF-4820-9721-F1E5E0ADE9BC}"/>
              </a:ext>
            </a:extLst>
          </p:cNvPr>
          <p:cNvGrpSpPr/>
          <p:nvPr/>
        </p:nvGrpSpPr>
        <p:grpSpPr>
          <a:xfrm>
            <a:off x="1312244" y="3864187"/>
            <a:ext cx="9842450" cy="2153031"/>
            <a:chOff x="1312244" y="4444294"/>
            <a:chExt cx="9842450" cy="2153031"/>
          </a:xfrm>
        </p:grpSpPr>
        <p:grpSp>
          <p:nvGrpSpPr>
            <p:cNvPr id="25" name="Group 24">
              <a:extLst>
                <a:ext uri="{FF2B5EF4-FFF2-40B4-BE49-F238E27FC236}">
                  <a16:creationId xmlns:a16="http://schemas.microsoft.com/office/drawing/2014/main" id="{22AE2DD9-9D8A-4A92-8EFB-9AB78492B58B}"/>
                </a:ext>
              </a:extLst>
            </p:cNvPr>
            <p:cNvGrpSpPr/>
            <p:nvPr/>
          </p:nvGrpSpPr>
          <p:grpSpPr>
            <a:xfrm>
              <a:off x="1392034" y="4444294"/>
              <a:ext cx="9762660" cy="1542264"/>
              <a:chOff x="1726333" y="4444294"/>
              <a:chExt cx="9762660" cy="1542264"/>
            </a:xfrm>
          </p:grpSpPr>
          <p:sp>
            <p:nvSpPr>
              <p:cNvPr id="13" name="TextBox 12">
                <a:extLst>
                  <a:ext uri="{FF2B5EF4-FFF2-40B4-BE49-F238E27FC236}">
                    <a16:creationId xmlns:a16="http://schemas.microsoft.com/office/drawing/2014/main" id="{C81015F2-2ECE-4A25-BBA3-92A22BD6A88C}"/>
                  </a:ext>
                </a:extLst>
              </p:cNvPr>
              <p:cNvSpPr txBox="1"/>
              <p:nvPr/>
            </p:nvSpPr>
            <p:spPr>
              <a:xfrm>
                <a:off x="1726333" y="5358694"/>
                <a:ext cx="1465007" cy="627864"/>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latin typeface="Arial" panose="020B0604020202020204" pitchFamily="34" charset="0"/>
                    <a:cs typeface="Arial" panose="020B0604020202020204" pitchFamily="34" charset="0"/>
                  </a:rPr>
                  <a:t>No pain</a:t>
                </a:r>
              </a:p>
            </p:txBody>
          </p:sp>
          <p:pic>
            <p:nvPicPr>
              <p:cNvPr id="15" name="Picture 14" descr="A close up of a logo&#10;&#10;Description automatically generated">
                <a:extLst>
                  <a:ext uri="{FF2B5EF4-FFF2-40B4-BE49-F238E27FC236}">
                    <a16:creationId xmlns:a16="http://schemas.microsoft.com/office/drawing/2014/main" id="{C8F127CA-C112-40A3-A36E-472291915755}"/>
                  </a:ext>
                </a:extLst>
              </p:cNvPr>
              <p:cNvPicPr>
                <a:picLocks noChangeAspect="1"/>
              </p:cNvPicPr>
              <p:nvPr/>
            </p:nvPicPr>
            <p:blipFill>
              <a:blip r:embed="rId4"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9541653" y="4444294"/>
                <a:ext cx="914400" cy="914400"/>
              </a:xfrm>
              <a:prstGeom prst="rect">
                <a:avLst/>
              </a:prstGeom>
            </p:spPr>
          </p:pic>
          <p:pic>
            <p:nvPicPr>
              <p:cNvPr id="17" name="Picture 16" descr="A close up of a logo&#10;&#10;Description automatically generated">
                <a:extLst>
                  <a:ext uri="{FF2B5EF4-FFF2-40B4-BE49-F238E27FC236}">
                    <a16:creationId xmlns:a16="http://schemas.microsoft.com/office/drawing/2014/main" id="{6643B308-7118-4C06-9601-C31333C2DAE4}"/>
                  </a:ext>
                </a:extLst>
              </p:cNvPr>
              <p:cNvPicPr>
                <a:picLocks noChangeAspect="1"/>
              </p:cNvPicPr>
              <p:nvPr/>
            </p:nvPicPr>
            <p:blipFill>
              <a:blip r:embed="rId5" cstate="print">
                <a:duotone>
                  <a:schemeClr val="accent4">
                    <a:shade val="45000"/>
                    <a:satMod val="135000"/>
                  </a:schemeClr>
                  <a:prstClr val="white"/>
                </a:duotone>
                <a:extLst>
                  <a:ext uri="{28A0092B-C50C-407E-A947-70E740481C1C}">
                    <a14:useLocalDpi xmlns:a14="http://schemas.microsoft.com/office/drawing/2010/main" val="0"/>
                  </a:ext>
                </a:extLst>
              </a:blip>
              <a:stretch>
                <a:fillRect/>
              </a:stretch>
            </p:blipFill>
            <p:spPr>
              <a:xfrm>
                <a:off x="7028314" y="4444294"/>
                <a:ext cx="914400" cy="914400"/>
              </a:xfrm>
              <a:prstGeom prst="rect">
                <a:avLst/>
              </a:prstGeom>
            </p:spPr>
          </p:pic>
          <p:pic>
            <p:nvPicPr>
              <p:cNvPr id="19" name="Picture 18" descr="A close up of a logo&#10;&#10;Description automatically generated">
                <a:extLst>
                  <a:ext uri="{FF2B5EF4-FFF2-40B4-BE49-F238E27FC236}">
                    <a16:creationId xmlns:a16="http://schemas.microsoft.com/office/drawing/2014/main" id="{21FE0D60-A70C-443E-8DAE-AD18250897B9}"/>
                  </a:ext>
                </a:extLst>
              </p:cNvPr>
              <p:cNvPicPr>
                <a:picLocks noChangeAspect="1"/>
              </p:cNvPicPr>
              <p:nvPr/>
            </p:nvPicPr>
            <p:blipFill>
              <a:blip r:embed="rId6"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2001636" y="4444294"/>
                <a:ext cx="914400" cy="914400"/>
              </a:xfrm>
              <a:prstGeom prst="rect">
                <a:avLst/>
              </a:prstGeom>
            </p:spPr>
          </p:pic>
          <p:pic>
            <p:nvPicPr>
              <p:cNvPr id="21" name="Picture 20" descr="A close up of a logo&#10;&#10;Description automatically generated">
                <a:extLst>
                  <a:ext uri="{FF2B5EF4-FFF2-40B4-BE49-F238E27FC236}">
                    <a16:creationId xmlns:a16="http://schemas.microsoft.com/office/drawing/2014/main" id="{1AAF0F86-8F39-400E-994F-8538FCDA36C8}"/>
                  </a:ext>
                </a:extLst>
              </p:cNvPr>
              <p:cNvPicPr>
                <a:picLocks noChangeAspect="1"/>
              </p:cNvPicPr>
              <p:nvPr/>
            </p:nvPicPr>
            <p:blipFill>
              <a:blip r:embed="rId7"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4514975" y="4444294"/>
                <a:ext cx="914400" cy="914400"/>
              </a:xfrm>
              <a:prstGeom prst="rect">
                <a:avLst/>
              </a:prstGeom>
            </p:spPr>
          </p:pic>
          <p:sp>
            <p:nvSpPr>
              <p:cNvPr id="22" name="TextBox 21">
                <a:extLst>
                  <a:ext uri="{FF2B5EF4-FFF2-40B4-BE49-F238E27FC236}">
                    <a16:creationId xmlns:a16="http://schemas.microsoft.com/office/drawing/2014/main" id="{EDE9013E-010B-474C-8FC5-297F36E790F8}"/>
                  </a:ext>
                </a:extLst>
              </p:cNvPr>
              <p:cNvSpPr txBox="1"/>
              <p:nvPr/>
            </p:nvSpPr>
            <p:spPr>
              <a:xfrm>
                <a:off x="4168986" y="5358694"/>
                <a:ext cx="1651711" cy="627864"/>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latin typeface="Arial" panose="020B0604020202020204" pitchFamily="34" charset="0"/>
                    <a:cs typeface="Arial" panose="020B0604020202020204" pitchFamily="34" charset="0"/>
                  </a:rPr>
                  <a:t>Mild pain</a:t>
                </a:r>
              </a:p>
            </p:txBody>
          </p:sp>
          <p:sp>
            <p:nvSpPr>
              <p:cNvPr id="23" name="TextBox 22">
                <a:extLst>
                  <a:ext uri="{FF2B5EF4-FFF2-40B4-BE49-F238E27FC236}">
                    <a16:creationId xmlns:a16="http://schemas.microsoft.com/office/drawing/2014/main" id="{F35FFD24-B143-4191-9F65-A20F571E615F}"/>
                  </a:ext>
                </a:extLst>
              </p:cNvPr>
              <p:cNvSpPr txBox="1"/>
              <p:nvPr/>
            </p:nvSpPr>
            <p:spPr>
              <a:xfrm>
                <a:off x="6371305" y="5358694"/>
                <a:ext cx="2408901" cy="627864"/>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latin typeface="Arial" panose="020B0604020202020204" pitchFamily="34" charset="0"/>
                    <a:cs typeface="Arial" panose="020B0604020202020204" pitchFamily="34" charset="0"/>
                  </a:rPr>
                  <a:t>Moderate pain</a:t>
                </a:r>
              </a:p>
            </p:txBody>
          </p:sp>
          <p:sp>
            <p:nvSpPr>
              <p:cNvPr id="24" name="TextBox 23">
                <a:extLst>
                  <a:ext uri="{FF2B5EF4-FFF2-40B4-BE49-F238E27FC236}">
                    <a16:creationId xmlns:a16="http://schemas.microsoft.com/office/drawing/2014/main" id="{0CAE48BB-E3A4-4A2E-9029-3A101B413AC9}"/>
                  </a:ext>
                </a:extLst>
              </p:cNvPr>
              <p:cNvSpPr txBox="1"/>
              <p:nvPr/>
            </p:nvSpPr>
            <p:spPr>
              <a:xfrm>
                <a:off x="9080092" y="5358694"/>
                <a:ext cx="2408901" cy="627864"/>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latin typeface="Arial" panose="020B0604020202020204" pitchFamily="34" charset="0"/>
                    <a:cs typeface="Arial" panose="020B0604020202020204" pitchFamily="34" charset="0"/>
                  </a:rPr>
                  <a:t>Severe pain</a:t>
                </a:r>
              </a:p>
            </p:txBody>
          </p:sp>
        </p:grpSp>
        <p:sp>
          <p:nvSpPr>
            <p:cNvPr id="26" name="TextBox 25">
              <a:extLst>
                <a:ext uri="{FF2B5EF4-FFF2-40B4-BE49-F238E27FC236}">
                  <a16:creationId xmlns:a16="http://schemas.microsoft.com/office/drawing/2014/main" id="{2C71EE40-D741-4C75-9C3A-409AFE950A55}"/>
                </a:ext>
              </a:extLst>
            </p:cNvPr>
            <p:cNvSpPr txBox="1"/>
            <p:nvPr/>
          </p:nvSpPr>
          <p:spPr>
            <a:xfrm>
              <a:off x="1312244" y="5858661"/>
              <a:ext cx="1786515" cy="738664"/>
            </a:xfrm>
            <a:prstGeom prst="rect">
              <a:avLst/>
            </a:prstGeom>
            <a:noFill/>
          </p:spPr>
          <p:txBody>
            <a:bodyPr wrap="none" lIns="182880" tIns="146304" rIns="182880" bIns="146304" rtlCol="0">
              <a:spAutoFit/>
            </a:bodyPr>
            <a:lstStyle/>
            <a:p>
              <a:pPr>
                <a:lnSpc>
                  <a:spcPct val="90000"/>
                </a:lnSpc>
              </a:pPr>
              <a:r>
                <a:rPr lang="en-US" sz="3200" dirty="0">
                  <a:solidFill>
                    <a:schemeClr val="bg1">
                      <a:lumMod val="65000"/>
                      <a:lumOff val="35000"/>
                    </a:schemeClr>
                  </a:solidFill>
                  <a:latin typeface="Impact" panose="020B0806030902050204" pitchFamily="34" charset="0"/>
                </a:rPr>
                <a:t>8% </a:t>
              </a:r>
              <a:r>
                <a:rPr lang="en-US" dirty="0">
                  <a:solidFill>
                    <a:schemeClr val="bg1">
                      <a:lumMod val="65000"/>
                      <a:lumOff val="35000"/>
                    </a:schemeClr>
                  </a:solidFill>
                </a:rPr>
                <a:t>(-8 YOY)</a:t>
              </a:r>
            </a:p>
          </p:txBody>
        </p:sp>
        <p:sp>
          <p:nvSpPr>
            <p:cNvPr id="27" name="TextBox 26">
              <a:extLst>
                <a:ext uri="{FF2B5EF4-FFF2-40B4-BE49-F238E27FC236}">
                  <a16:creationId xmlns:a16="http://schemas.microsoft.com/office/drawing/2014/main" id="{12348CDD-1893-4FA3-95A7-214B3CA503C4}"/>
                </a:ext>
              </a:extLst>
            </p:cNvPr>
            <p:cNvSpPr txBox="1"/>
            <p:nvPr/>
          </p:nvSpPr>
          <p:spPr>
            <a:xfrm>
              <a:off x="3767284" y="5858661"/>
              <a:ext cx="1970668" cy="738664"/>
            </a:xfrm>
            <a:prstGeom prst="rect">
              <a:avLst/>
            </a:prstGeom>
            <a:noFill/>
          </p:spPr>
          <p:txBody>
            <a:bodyPr wrap="none" lIns="182880" tIns="146304" rIns="182880" bIns="146304" rtlCol="0">
              <a:spAutoFit/>
            </a:bodyPr>
            <a:lstStyle/>
            <a:p>
              <a:pPr>
                <a:lnSpc>
                  <a:spcPct val="90000"/>
                </a:lnSpc>
              </a:pPr>
              <a:r>
                <a:rPr lang="en-US" sz="3200" dirty="0">
                  <a:solidFill>
                    <a:schemeClr val="bg1">
                      <a:lumMod val="65000"/>
                      <a:lumOff val="35000"/>
                    </a:schemeClr>
                  </a:solidFill>
                  <a:latin typeface="Impact" panose="020B0806030902050204" pitchFamily="34" charset="0"/>
                </a:rPr>
                <a:t>24% </a:t>
              </a:r>
              <a:r>
                <a:rPr lang="en-US" dirty="0">
                  <a:solidFill>
                    <a:schemeClr val="bg1">
                      <a:lumMod val="65000"/>
                      <a:lumOff val="35000"/>
                    </a:schemeClr>
                  </a:solidFill>
                </a:rPr>
                <a:t>(-5 YOY)</a:t>
              </a:r>
            </a:p>
          </p:txBody>
        </p:sp>
        <p:sp>
          <p:nvSpPr>
            <p:cNvPr id="28" name="TextBox 27">
              <a:extLst>
                <a:ext uri="{FF2B5EF4-FFF2-40B4-BE49-F238E27FC236}">
                  <a16:creationId xmlns:a16="http://schemas.microsoft.com/office/drawing/2014/main" id="{E239A764-FE60-4AA7-84BF-346F6126FD74}"/>
                </a:ext>
              </a:extLst>
            </p:cNvPr>
            <p:cNvSpPr txBox="1"/>
            <p:nvPr/>
          </p:nvSpPr>
          <p:spPr>
            <a:xfrm>
              <a:off x="6317576" y="5858661"/>
              <a:ext cx="2007729" cy="738664"/>
            </a:xfrm>
            <a:prstGeom prst="rect">
              <a:avLst/>
            </a:prstGeom>
            <a:noFill/>
          </p:spPr>
          <p:txBody>
            <a:bodyPr wrap="none" lIns="182880" tIns="146304" rIns="182880" bIns="146304" rtlCol="0">
              <a:spAutoFit/>
            </a:bodyPr>
            <a:lstStyle/>
            <a:p>
              <a:pPr>
                <a:lnSpc>
                  <a:spcPct val="90000"/>
                </a:lnSpc>
              </a:pPr>
              <a:r>
                <a:rPr lang="en-US" sz="3200" dirty="0">
                  <a:solidFill>
                    <a:schemeClr val="bg1">
                      <a:lumMod val="65000"/>
                      <a:lumOff val="35000"/>
                    </a:schemeClr>
                  </a:solidFill>
                  <a:latin typeface="Impact" panose="020B0806030902050204" pitchFamily="34" charset="0"/>
                </a:rPr>
                <a:t>31% </a:t>
              </a:r>
              <a:r>
                <a:rPr lang="en-US" dirty="0">
                  <a:solidFill>
                    <a:schemeClr val="bg1">
                      <a:lumMod val="65000"/>
                      <a:lumOff val="35000"/>
                    </a:schemeClr>
                  </a:solidFill>
                </a:rPr>
                <a:t>(+4 YOY)</a:t>
              </a:r>
            </a:p>
          </p:txBody>
        </p:sp>
        <p:sp>
          <p:nvSpPr>
            <p:cNvPr id="29" name="TextBox 28">
              <a:extLst>
                <a:ext uri="{FF2B5EF4-FFF2-40B4-BE49-F238E27FC236}">
                  <a16:creationId xmlns:a16="http://schemas.microsoft.com/office/drawing/2014/main" id="{B0FF1BFF-EE52-4EB9-B98B-1F9D62678D8E}"/>
                </a:ext>
              </a:extLst>
            </p:cNvPr>
            <p:cNvSpPr txBox="1"/>
            <p:nvPr/>
          </p:nvSpPr>
          <p:spPr>
            <a:xfrm>
              <a:off x="8745793" y="5855032"/>
              <a:ext cx="2006896" cy="738664"/>
            </a:xfrm>
            <a:prstGeom prst="rect">
              <a:avLst/>
            </a:prstGeom>
            <a:noFill/>
          </p:spPr>
          <p:txBody>
            <a:bodyPr wrap="none" lIns="182880" tIns="146304" rIns="182880" bIns="146304" rtlCol="0">
              <a:spAutoFit/>
            </a:bodyPr>
            <a:lstStyle/>
            <a:p>
              <a:pPr>
                <a:lnSpc>
                  <a:spcPct val="90000"/>
                </a:lnSpc>
              </a:pPr>
              <a:r>
                <a:rPr lang="en-US" sz="3200" dirty="0">
                  <a:solidFill>
                    <a:schemeClr val="bg1">
                      <a:lumMod val="65000"/>
                      <a:lumOff val="35000"/>
                    </a:schemeClr>
                  </a:solidFill>
                  <a:latin typeface="Impact" panose="020B0806030902050204" pitchFamily="34" charset="0"/>
                </a:rPr>
                <a:t>37% </a:t>
              </a:r>
              <a:r>
                <a:rPr lang="en-US" dirty="0">
                  <a:solidFill>
                    <a:schemeClr val="bg1">
                      <a:lumMod val="65000"/>
                      <a:lumOff val="35000"/>
                    </a:schemeClr>
                  </a:solidFill>
                </a:rPr>
                <a:t>(+9 YOY)</a:t>
              </a:r>
            </a:p>
          </p:txBody>
        </p:sp>
      </p:grpSp>
      <p:sp>
        <p:nvSpPr>
          <p:cNvPr id="31" name="Oval 30">
            <a:extLst>
              <a:ext uri="{FF2B5EF4-FFF2-40B4-BE49-F238E27FC236}">
                <a16:creationId xmlns:a16="http://schemas.microsoft.com/office/drawing/2014/main" id="{6005EB83-71E2-439D-A2D7-4C1B469C7BC2}"/>
              </a:ext>
            </a:extLst>
          </p:cNvPr>
          <p:cNvSpPr/>
          <p:nvPr userDrawn="1"/>
        </p:nvSpPr>
        <p:spPr>
          <a:xfrm>
            <a:off x="629031" y="680437"/>
            <a:ext cx="1877075" cy="1877075"/>
          </a:xfrm>
          <a:prstGeom prst="ellipse">
            <a:avLst/>
          </a:prstGeom>
          <a:solidFill>
            <a:srgbClr val="5BC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Oval 31">
            <a:extLst>
              <a:ext uri="{FF2B5EF4-FFF2-40B4-BE49-F238E27FC236}">
                <a16:creationId xmlns:a16="http://schemas.microsoft.com/office/drawing/2014/main" id="{82F3A808-0110-4B11-9C5F-96D1160A1C45}"/>
              </a:ext>
            </a:extLst>
          </p:cNvPr>
          <p:cNvSpPr/>
          <p:nvPr userDrawn="1"/>
        </p:nvSpPr>
        <p:spPr>
          <a:xfrm>
            <a:off x="553400" y="604806"/>
            <a:ext cx="2028337" cy="2028337"/>
          </a:xfrm>
          <a:prstGeom prst="ellipse">
            <a:avLst/>
          </a:prstGeom>
          <a:solidFill>
            <a:srgbClr val="28608C">
              <a:alpha val="407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400" dirty="0">
                <a:latin typeface="Impact" panose="020B0806030902050204" pitchFamily="34" charset="0"/>
              </a:rPr>
              <a:t>92</a:t>
            </a:r>
            <a:r>
              <a:rPr lang="en-US" altLang="ko-KR" sz="2700" dirty="0"/>
              <a:t>%</a:t>
            </a:r>
            <a:endParaRPr lang="ko-KR" altLang="en-US" sz="2700" dirty="0"/>
          </a:p>
        </p:txBody>
      </p:sp>
      <p:sp>
        <p:nvSpPr>
          <p:cNvPr id="33" name="TextBox 32">
            <a:extLst>
              <a:ext uri="{FF2B5EF4-FFF2-40B4-BE49-F238E27FC236}">
                <a16:creationId xmlns:a16="http://schemas.microsoft.com/office/drawing/2014/main" id="{FB852433-5F7D-47C1-A865-5B0B1D53D573}"/>
              </a:ext>
            </a:extLst>
          </p:cNvPr>
          <p:cNvSpPr txBox="1"/>
          <p:nvPr/>
        </p:nvSpPr>
        <p:spPr>
          <a:xfrm>
            <a:off x="-137143" y="6422524"/>
            <a:ext cx="5956552" cy="428157"/>
          </a:xfrm>
          <a:prstGeom prst="rect">
            <a:avLst/>
          </a:prstGeom>
          <a:noFill/>
        </p:spPr>
        <p:txBody>
          <a:bodyPr wrap="none" lIns="179285" tIns="143428" rIns="179285" bIns="143428" rtlCol="0">
            <a:spAutoFit/>
          </a:bodyPr>
          <a:lstStyle/>
          <a:p>
            <a:pPr>
              <a:lnSpc>
                <a:spcPct val="90000"/>
              </a:lnSpc>
            </a:pPr>
            <a:r>
              <a:rPr lang="en-US" sz="1000" i="1" dirty="0">
                <a:solidFill>
                  <a:schemeClr val="tx1">
                    <a:lumMod val="50000"/>
                  </a:schemeClr>
                </a:solidFill>
                <a:latin typeface="Arial" panose="020B0604020202020204" pitchFamily="34" charset="0"/>
                <a:cs typeface="Arial" panose="020B0604020202020204" pitchFamily="34" charset="0"/>
              </a:rPr>
              <a:t>  Q5.1:  How much emotional, psychological or physical pain did you suffer because of &lt;insert risk&gt;</a:t>
            </a:r>
          </a:p>
        </p:txBody>
      </p:sp>
      <p:sp>
        <p:nvSpPr>
          <p:cNvPr id="34" name="Slide Number Placeholder 2">
            <a:extLst>
              <a:ext uri="{FF2B5EF4-FFF2-40B4-BE49-F238E27FC236}">
                <a16:creationId xmlns:a16="http://schemas.microsoft.com/office/drawing/2014/main" id="{8730A6CD-BD88-4AE9-88A3-1FE37460264C}"/>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11914483"/>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0">
            <a:extLst>
              <a:ext uri="{FF2B5EF4-FFF2-40B4-BE49-F238E27FC236}">
                <a16:creationId xmlns:a16="http://schemas.microsoft.com/office/drawing/2014/main" id="{26A75AFF-71A0-425F-9CFA-27B51A41B7B5}"/>
              </a:ext>
            </a:extLst>
          </p:cNvPr>
          <p:cNvSpPr/>
          <p:nvPr/>
        </p:nvSpPr>
        <p:spPr bwMode="auto">
          <a:xfrm>
            <a:off x="0" y="4081795"/>
            <a:ext cx="12192000" cy="2139272"/>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13493488-F255-4EE4-A8E6-EB57BC3B5CE8}"/>
              </a:ext>
            </a:extLst>
          </p:cNvPr>
          <p:cNvSpPr>
            <a:spLocks noGrp="1"/>
          </p:cNvSpPr>
          <p:nvPr>
            <p:ph type="body" sz="quarter" idx="10"/>
          </p:nvPr>
        </p:nvSpPr>
        <p:spPr>
          <a:xfrm>
            <a:off x="323529" y="135325"/>
            <a:ext cx="11573197" cy="1132618"/>
          </a:xfrm>
        </p:spPr>
        <p:txBody>
          <a:bodyPr/>
          <a:lstStyle/>
          <a:p>
            <a:pPr algn="l"/>
            <a:r>
              <a:rPr lang="en-US" dirty="0"/>
              <a:t>The five most painful online risks</a:t>
            </a:r>
          </a:p>
          <a:p>
            <a:pPr algn="l"/>
            <a:r>
              <a:rPr lang="en-US" sz="2000" dirty="0"/>
              <a:t>(% suffered moderate or severe pain, minimum 5% risk incidence)</a:t>
            </a:r>
          </a:p>
        </p:txBody>
      </p:sp>
      <p:grpSp>
        <p:nvGrpSpPr>
          <p:cNvPr id="12" name="Group 11">
            <a:extLst>
              <a:ext uri="{FF2B5EF4-FFF2-40B4-BE49-F238E27FC236}">
                <a16:creationId xmlns:a16="http://schemas.microsoft.com/office/drawing/2014/main" id="{6B67C2D8-58F9-431F-9A36-8B91AA91DA6A}"/>
              </a:ext>
            </a:extLst>
          </p:cNvPr>
          <p:cNvGrpSpPr/>
          <p:nvPr/>
        </p:nvGrpSpPr>
        <p:grpSpPr>
          <a:xfrm>
            <a:off x="565777" y="4263608"/>
            <a:ext cx="11464366" cy="1957459"/>
            <a:chOff x="565777" y="4166017"/>
            <a:chExt cx="11464366" cy="1957459"/>
          </a:xfrm>
        </p:grpSpPr>
        <p:sp>
          <p:nvSpPr>
            <p:cNvPr id="6" name="TextBox 5">
              <a:extLst>
                <a:ext uri="{FF2B5EF4-FFF2-40B4-BE49-F238E27FC236}">
                  <a16:creationId xmlns:a16="http://schemas.microsoft.com/office/drawing/2014/main" id="{5E1C9342-9B7E-4263-A064-E1F1D8F807A7}"/>
                </a:ext>
              </a:extLst>
            </p:cNvPr>
            <p:cNvSpPr txBox="1"/>
            <p:nvPr/>
          </p:nvSpPr>
          <p:spPr>
            <a:xfrm>
              <a:off x="565777" y="4166017"/>
              <a:ext cx="1957555" cy="1957459"/>
            </a:xfrm>
            <a:prstGeom prst="rect">
              <a:avLst/>
            </a:prstGeom>
            <a:noFill/>
          </p:spPr>
          <p:txBody>
            <a:bodyPr wrap="squar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Damage to personal reputation</a:t>
              </a:r>
            </a:p>
            <a:p>
              <a:pPr>
                <a:lnSpc>
                  <a:spcPct val="90000"/>
                </a:lnSpc>
              </a:pPr>
              <a:endParaRPr lang="en-US" sz="2400" dirty="0"/>
            </a:p>
            <a:p>
              <a:pPr>
                <a:lnSpc>
                  <a:spcPct val="90000"/>
                </a:lnSpc>
              </a:pPr>
              <a:r>
                <a:rPr lang="en-US" sz="2400" dirty="0">
                  <a:latin typeface="Arial" panose="020B0604020202020204" pitchFamily="34" charset="0"/>
                  <a:cs typeface="Arial" panose="020B0604020202020204" pitchFamily="34" charset="0"/>
                </a:rPr>
                <a:t>     +6</a:t>
              </a:r>
            </a:p>
          </p:txBody>
        </p:sp>
        <p:sp>
          <p:nvSpPr>
            <p:cNvPr id="8" name="TextBox 7">
              <a:extLst>
                <a:ext uri="{FF2B5EF4-FFF2-40B4-BE49-F238E27FC236}">
                  <a16:creationId xmlns:a16="http://schemas.microsoft.com/office/drawing/2014/main" id="{5BEE0899-AD5F-425D-9A9F-6F5340994EC6}"/>
                </a:ext>
              </a:extLst>
            </p:cNvPr>
            <p:cNvSpPr txBox="1"/>
            <p:nvPr/>
          </p:nvSpPr>
          <p:spPr>
            <a:xfrm>
              <a:off x="2825053" y="4166017"/>
              <a:ext cx="2831225" cy="1957459"/>
            </a:xfrm>
            <a:prstGeom prst="rect">
              <a:avLst/>
            </a:prstGeom>
            <a:noFill/>
          </p:spPr>
          <p:txBody>
            <a:bodyPr wrap="squar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Damage to professional reputation</a:t>
              </a:r>
            </a:p>
            <a:p>
              <a:pPr>
                <a:lnSpc>
                  <a:spcPct val="90000"/>
                </a:lnSpc>
              </a:pPr>
              <a:endParaRPr lang="en-US" sz="2400" dirty="0"/>
            </a:p>
            <a:p>
              <a:pPr>
                <a:lnSpc>
                  <a:spcPct val="90000"/>
                </a:lnSpc>
              </a:pPr>
              <a:r>
                <a:rPr lang="en-US" sz="2400" dirty="0">
                  <a:latin typeface="Arial" panose="020B0604020202020204" pitchFamily="34" charset="0"/>
                  <a:cs typeface="Arial" panose="020B0604020202020204" pitchFamily="34" charset="0"/>
                </a:rPr>
                <a:t>     +6</a:t>
              </a:r>
            </a:p>
          </p:txBody>
        </p:sp>
        <p:sp>
          <p:nvSpPr>
            <p:cNvPr id="9" name="TextBox 8">
              <a:extLst>
                <a:ext uri="{FF2B5EF4-FFF2-40B4-BE49-F238E27FC236}">
                  <a16:creationId xmlns:a16="http://schemas.microsoft.com/office/drawing/2014/main" id="{6D9B65BB-1023-4B74-B195-AB94D9F99417}"/>
                </a:ext>
              </a:extLst>
            </p:cNvPr>
            <p:cNvSpPr txBox="1"/>
            <p:nvPr/>
          </p:nvSpPr>
          <p:spPr>
            <a:xfrm>
              <a:off x="5048915" y="4166017"/>
              <a:ext cx="2244845" cy="1957459"/>
            </a:xfrm>
            <a:prstGeom prst="rect">
              <a:avLst/>
            </a:prstGeom>
            <a:noFill/>
          </p:spPr>
          <p:txBody>
            <a:bodyPr wrap="non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Cyberbullying</a:t>
              </a:r>
            </a:p>
            <a:p>
              <a:pPr>
                <a:lnSpc>
                  <a:spcPct val="90000"/>
                </a:lnSpc>
              </a:pPr>
              <a:endParaRPr lang="en-US" sz="2400" dirty="0"/>
            </a:p>
            <a:p>
              <a:pPr>
                <a:lnSpc>
                  <a:spcPct val="90000"/>
                </a:lnSpc>
              </a:pPr>
              <a:endParaRPr lang="en-US" sz="2400" dirty="0"/>
            </a:p>
            <a:p>
              <a:pPr>
                <a:lnSpc>
                  <a:spcPct val="90000"/>
                </a:lnSpc>
              </a:pPr>
              <a:endParaRPr lang="en-US" sz="2400" dirty="0"/>
            </a:p>
            <a:p>
              <a:pPr>
                <a:lnSpc>
                  <a:spcPct val="90000"/>
                </a:lnSpc>
              </a:pPr>
              <a:r>
                <a:rPr lang="en-US" sz="2400" dirty="0">
                  <a:latin typeface="Arial" panose="020B0604020202020204" pitchFamily="34" charset="0"/>
                  <a:cs typeface="Arial" panose="020B0604020202020204" pitchFamily="34" charset="0"/>
                </a:rPr>
                <a:t>        +6</a:t>
              </a:r>
            </a:p>
          </p:txBody>
        </p:sp>
        <p:sp>
          <p:nvSpPr>
            <p:cNvPr id="10" name="TextBox 9">
              <a:extLst>
                <a:ext uri="{FF2B5EF4-FFF2-40B4-BE49-F238E27FC236}">
                  <a16:creationId xmlns:a16="http://schemas.microsoft.com/office/drawing/2014/main" id="{68565450-5B6F-4DC3-BBBE-C80903694386}"/>
                </a:ext>
              </a:extLst>
            </p:cNvPr>
            <p:cNvSpPr txBox="1"/>
            <p:nvPr/>
          </p:nvSpPr>
          <p:spPr>
            <a:xfrm>
              <a:off x="7657556" y="4166017"/>
              <a:ext cx="1685398" cy="1957459"/>
            </a:xfrm>
            <a:prstGeom prst="rect">
              <a:avLst/>
            </a:prstGeom>
            <a:noFill/>
          </p:spPr>
          <p:txBody>
            <a:bodyPr wrap="non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Misogyny</a:t>
              </a:r>
            </a:p>
            <a:p>
              <a:pPr>
                <a:lnSpc>
                  <a:spcPct val="90000"/>
                </a:lnSpc>
              </a:pPr>
              <a:endParaRPr lang="en-US" sz="2400" dirty="0"/>
            </a:p>
            <a:p>
              <a:pPr>
                <a:lnSpc>
                  <a:spcPct val="90000"/>
                </a:lnSpc>
              </a:pPr>
              <a:endParaRPr lang="en-US" sz="2400" dirty="0"/>
            </a:p>
            <a:p>
              <a:pPr>
                <a:lnSpc>
                  <a:spcPct val="90000"/>
                </a:lnSpc>
              </a:pPr>
              <a:endParaRPr lang="en-US" sz="2400" dirty="0"/>
            </a:p>
            <a:p>
              <a:pPr>
                <a:lnSpc>
                  <a:spcPct val="90000"/>
                </a:lnSpc>
              </a:pPr>
              <a:r>
                <a:rPr lang="en-US" sz="2400" dirty="0">
                  <a:latin typeface="Arial" panose="020B0604020202020204" pitchFamily="34" charset="0"/>
                  <a:cs typeface="Arial" panose="020B0604020202020204" pitchFamily="34" charset="0"/>
                </a:rPr>
                <a:t>    +15</a:t>
              </a:r>
            </a:p>
          </p:txBody>
        </p:sp>
        <p:sp>
          <p:nvSpPr>
            <p:cNvPr id="11" name="TextBox 10">
              <a:extLst>
                <a:ext uri="{FF2B5EF4-FFF2-40B4-BE49-F238E27FC236}">
                  <a16:creationId xmlns:a16="http://schemas.microsoft.com/office/drawing/2014/main" id="{C4C14E70-3998-46BE-A3EE-C307E6B5866C}"/>
                </a:ext>
              </a:extLst>
            </p:cNvPr>
            <p:cNvSpPr txBox="1"/>
            <p:nvPr/>
          </p:nvSpPr>
          <p:spPr>
            <a:xfrm>
              <a:off x="9706750" y="4166017"/>
              <a:ext cx="2323393" cy="1957459"/>
            </a:xfrm>
            <a:prstGeom prst="rect">
              <a:avLst/>
            </a:prstGeom>
            <a:noFill/>
          </p:spPr>
          <p:txBody>
            <a:bodyPr wrap="non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Discrimination</a:t>
              </a:r>
            </a:p>
            <a:p>
              <a:pPr>
                <a:lnSpc>
                  <a:spcPct val="90000"/>
                </a:lnSpc>
              </a:pPr>
              <a:endParaRPr lang="en-US" sz="2400" dirty="0"/>
            </a:p>
            <a:p>
              <a:pPr>
                <a:lnSpc>
                  <a:spcPct val="90000"/>
                </a:lnSpc>
              </a:pPr>
              <a:endParaRPr lang="en-US" sz="2400" dirty="0"/>
            </a:p>
            <a:p>
              <a:pPr>
                <a:lnSpc>
                  <a:spcPct val="90000"/>
                </a:lnSpc>
              </a:pPr>
              <a:endParaRPr lang="en-US" sz="2400" dirty="0"/>
            </a:p>
            <a:p>
              <a:pPr>
                <a:lnSpc>
                  <a:spcPct val="90000"/>
                </a:lnSpc>
              </a:pPr>
              <a:r>
                <a:rPr lang="en-US" sz="2400" dirty="0">
                  <a:latin typeface="Arial" panose="020B0604020202020204" pitchFamily="34" charset="0"/>
                  <a:cs typeface="Arial" panose="020B0604020202020204" pitchFamily="34" charset="0"/>
                </a:rPr>
                <a:t>         +5</a:t>
              </a:r>
            </a:p>
          </p:txBody>
        </p:sp>
      </p:grpSp>
      <p:grpSp>
        <p:nvGrpSpPr>
          <p:cNvPr id="4" name="Group 3">
            <a:extLst>
              <a:ext uri="{FF2B5EF4-FFF2-40B4-BE49-F238E27FC236}">
                <a16:creationId xmlns:a16="http://schemas.microsoft.com/office/drawing/2014/main" id="{7006AB08-B470-408B-A535-B190D7C773CE}"/>
              </a:ext>
            </a:extLst>
          </p:cNvPr>
          <p:cNvGrpSpPr>
            <a:grpSpLocks noChangeAspect="1"/>
          </p:cNvGrpSpPr>
          <p:nvPr/>
        </p:nvGrpSpPr>
        <p:grpSpPr>
          <a:xfrm>
            <a:off x="205209" y="1684026"/>
            <a:ext cx="2286000" cy="2286000"/>
            <a:chOff x="930509" y="1913683"/>
            <a:chExt cx="1828800" cy="1828800"/>
          </a:xfrm>
        </p:grpSpPr>
        <p:graphicFrame>
          <p:nvGraphicFramePr>
            <p:cNvPr id="5" name="Chart 4">
              <a:extLst>
                <a:ext uri="{FF2B5EF4-FFF2-40B4-BE49-F238E27FC236}">
                  <a16:creationId xmlns:a16="http://schemas.microsoft.com/office/drawing/2014/main" id="{F15107CF-77E3-4EB3-8FE2-7FA29503FB73}"/>
                </a:ext>
              </a:extLst>
            </p:cNvPr>
            <p:cNvGraphicFramePr>
              <a:graphicFrameLocks noChangeAspect="1"/>
            </p:cNvGraphicFramePr>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13" name="TextBox 12">
              <a:extLst>
                <a:ext uri="{FF2B5EF4-FFF2-40B4-BE49-F238E27FC236}">
                  <a16:creationId xmlns:a16="http://schemas.microsoft.com/office/drawing/2014/main" id="{ECF0724E-D8CC-4907-AB01-357822970313}"/>
                </a:ext>
              </a:extLst>
            </p:cNvPr>
            <p:cNvSpPr txBox="1"/>
            <p:nvPr/>
          </p:nvSpPr>
          <p:spPr>
            <a:xfrm>
              <a:off x="1499686" y="2562391"/>
              <a:ext cx="690446"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80</a:t>
              </a:r>
            </a:p>
          </p:txBody>
        </p:sp>
      </p:grpSp>
      <p:grpSp>
        <p:nvGrpSpPr>
          <p:cNvPr id="18" name="Group 17">
            <a:extLst>
              <a:ext uri="{FF2B5EF4-FFF2-40B4-BE49-F238E27FC236}">
                <a16:creationId xmlns:a16="http://schemas.microsoft.com/office/drawing/2014/main" id="{F0AA3A83-DAD4-445C-B2D8-AC8475452A4D}"/>
              </a:ext>
            </a:extLst>
          </p:cNvPr>
          <p:cNvGrpSpPr>
            <a:grpSpLocks noChangeAspect="1"/>
          </p:cNvGrpSpPr>
          <p:nvPr/>
        </p:nvGrpSpPr>
        <p:grpSpPr>
          <a:xfrm>
            <a:off x="2562836" y="1684026"/>
            <a:ext cx="2286000" cy="2286000"/>
            <a:chOff x="930509" y="1913683"/>
            <a:chExt cx="1828800" cy="1828800"/>
          </a:xfrm>
        </p:grpSpPr>
        <p:graphicFrame>
          <p:nvGraphicFramePr>
            <p:cNvPr id="19" name="Chart 18">
              <a:extLst>
                <a:ext uri="{FF2B5EF4-FFF2-40B4-BE49-F238E27FC236}">
                  <a16:creationId xmlns:a16="http://schemas.microsoft.com/office/drawing/2014/main" id="{97D8664F-AF89-472F-981F-CDEC8B15B450}"/>
                </a:ext>
              </a:extLst>
            </p:cNvPr>
            <p:cNvGraphicFramePr>
              <a:graphicFrameLocks noChangeAspect="1"/>
            </p:cNvGraphicFramePr>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extBox 19">
              <a:extLst>
                <a:ext uri="{FF2B5EF4-FFF2-40B4-BE49-F238E27FC236}">
                  <a16:creationId xmlns:a16="http://schemas.microsoft.com/office/drawing/2014/main" id="{2195AD8F-3C50-486E-9442-DB35C4827E84}"/>
                </a:ext>
              </a:extLst>
            </p:cNvPr>
            <p:cNvSpPr txBox="1"/>
            <p:nvPr/>
          </p:nvSpPr>
          <p:spPr>
            <a:xfrm>
              <a:off x="1548931" y="2562391"/>
              <a:ext cx="591957"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77</a:t>
              </a:r>
            </a:p>
          </p:txBody>
        </p:sp>
      </p:grpSp>
      <p:grpSp>
        <p:nvGrpSpPr>
          <p:cNvPr id="21" name="Group 20">
            <a:extLst>
              <a:ext uri="{FF2B5EF4-FFF2-40B4-BE49-F238E27FC236}">
                <a16:creationId xmlns:a16="http://schemas.microsoft.com/office/drawing/2014/main" id="{630E53B0-4FCB-4817-B84E-47B810D4D42D}"/>
              </a:ext>
            </a:extLst>
          </p:cNvPr>
          <p:cNvGrpSpPr>
            <a:grpSpLocks noChangeAspect="1"/>
          </p:cNvGrpSpPr>
          <p:nvPr/>
        </p:nvGrpSpPr>
        <p:grpSpPr>
          <a:xfrm>
            <a:off x="4992091" y="1684026"/>
            <a:ext cx="2286000" cy="2286000"/>
            <a:chOff x="930509" y="1913683"/>
            <a:chExt cx="1828800" cy="1828800"/>
          </a:xfrm>
        </p:grpSpPr>
        <p:graphicFrame>
          <p:nvGraphicFramePr>
            <p:cNvPr id="22" name="Chart 21">
              <a:extLst>
                <a:ext uri="{FF2B5EF4-FFF2-40B4-BE49-F238E27FC236}">
                  <a16:creationId xmlns:a16="http://schemas.microsoft.com/office/drawing/2014/main" id="{B92556DA-C089-46B5-B083-810DFEBE0726}"/>
                </a:ext>
              </a:extLst>
            </p:cNvPr>
            <p:cNvGraphicFramePr>
              <a:graphicFrameLocks noChangeAspect="1"/>
            </p:cNvGraphicFramePr>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5"/>
            </a:graphicData>
          </a:graphic>
        </p:graphicFrame>
        <p:sp>
          <p:nvSpPr>
            <p:cNvPr id="23" name="TextBox 22">
              <a:extLst>
                <a:ext uri="{FF2B5EF4-FFF2-40B4-BE49-F238E27FC236}">
                  <a16:creationId xmlns:a16="http://schemas.microsoft.com/office/drawing/2014/main" id="{2E7DBE14-CEDA-46CF-862E-38987731647C}"/>
                </a:ext>
              </a:extLst>
            </p:cNvPr>
            <p:cNvSpPr txBox="1"/>
            <p:nvPr/>
          </p:nvSpPr>
          <p:spPr>
            <a:xfrm>
              <a:off x="1536080" y="2562391"/>
              <a:ext cx="617657"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74</a:t>
              </a:r>
            </a:p>
          </p:txBody>
        </p:sp>
      </p:grpSp>
      <p:grpSp>
        <p:nvGrpSpPr>
          <p:cNvPr id="24" name="Group 23">
            <a:extLst>
              <a:ext uri="{FF2B5EF4-FFF2-40B4-BE49-F238E27FC236}">
                <a16:creationId xmlns:a16="http://schemas.microsoft.com/office/drawing/2014/main" id="{FD077FC4-5472-46FA-946C-F517DD074819}"/>
              </a:ext>
            </a:extLst>
          </p:cNvPr>
          <p:cNvGrpSpPr>
            <a:grpSpLocks noChangeAspect="1"/>
          </p:cNvGrpSpPr>
          <p:nvPr/>
        </p:nvGrpSpPr>
        <p:grpSpPr>
          <a:xfrm>
            <a:off x="7421346" y="1684026"/>
            <a:ext cx="2286000" cy="2286000"/>
            <a:chOff x="930509" y="1913683"/>
            <a:chExt cx="1828800" cy="1828800"/>
          </a:xfrm>
        </p:grpSpPr>
        <p:graphicFrame>
          <p:nvGraphicFramePr>
            <p:cNvPr id="25" name="Chart 24">
              <a:extLst>
                <a:ext uri="{FF2B5EF4-FFF2-40B4-BE49-F238E27FC236}">
                  <a16:creationId xmlns:a16="http://schemas.microsoft.com/office/drawing/2014/main" id="{2A54C4F0-DD8D-4F7E-ACA2-81E871FC511A}"/>
                </a:ext>
              </a:extLst>
            </p:cNvPr>
            <p:cNvGraphicFramePr>
              <a:graphicFrameLocks noChangeAspect="1"/>
            </p:cNvGraphicFramePr>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6"/>
            </a:graphicData>
          </a:graphic>
        </p:graphicFrame>
        <p:sp>
          <p:nvSpPr>
            <p:cNvPr id="26" name="TextBox 25">
              <a:extLst>
                <a:ext uri="{FF2B5EF4-FFF2-40B4-BE49-F238E27FC236}">
                  <a16:creationId xmlns:a16="http://schemas.microsoft.com/office/drawing/2014/main" id="{F96DAA33-662D-487C-A6B8-14AF5A4588AC}"/>
                </a:ext>
              </a:extLst>
            </p:cNvPr>
            <p:cNvSpPr txBox="1"/>
            <p:nvPr/>
          </p:nvSpPr>
          <p:spPr>
            <a:xfrm>
              <a:off x="1550135" y="2562391"/>
              <a:ext cx="589546"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71</a:t>
              </a:r>
            </a:p>
          </p:txBody>
        </p:sp>
      </p:grpSp>
      <p:grpSp>
        <p:nvGrpSpPr>
          <p:cNvPr id="27" name="Group 26">
            <a:extLst>
              <a:ext uri="{FF2B5EF4-FFF2-40B4-BE49-F238E27FC236}">
                <a16:creationId xmlns:a16="http://schemas.microsoft.com/office/drawing/2014/main" id="{2FD4828D-5C86-49E0-89C0-0A8B5CCC9E94}"/>
              </a:ext>
            </a:extLst>
          </p:cNvPr>
          <p:cNvGrpSpPr>
            <a:grpSpLocks noChangeAspect="1"/>
          </p:cNvGrpSpPr>
          <p:nvPr/>
        </p:nvGrpSpPr>
        <p:grpSpPr>
          <a:xfrm>
            <a:off x="9850601" y="1684026"/>
            <a:ext cx="2286000" cy="2286000"/>
            <a:chOff x="930509" y="1913683"/>
            <a:chExt cx="1828800" cy="1828800"/>
          </a:xfrm>
        </p:grpSpPr>
        <p:graphicFrame>
          <p:nvGraphicFramePr>
            <p:cNvPr id="28" name="Chart 27">
              <a:extLst>
                <a:ext uri="{FF2B5EF4-FFF2-40B4-BE49-F238E27FC236}">
                  <a16:creationId xmlns:a16="http://schemas.microsoft.com/office/drawing/2014/main" id="{D29C5C72-9650-42D9-BE2D-5D9FC4BA2980}"/>
                </a:ext>
              </a:extLst>
            </p:cNvPr>
            <p:cNvGraphicFramePr>
              <a:graphicFrameLocks noChangeAspect="1"/>
            </p:cNvGraphicFramePr>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7"/>
            </a:graphicData>
          </a:graphic>
        </p:graphicFrame>
        <p:sp>
          <p:nvSpPr>
            <p:cNvPr id="29" name="TextBox 28">
              <a:extLst>
                <a:ext uri="{FF2B5EF4-FFF2-40B4-BE49-F238E27FC236}">
                  <a16:creationId xmlns:a16="http://schemas.microsoft.com/office/drawing/2014/main" id="{390F20A7-0144-413D-9792-D599CDCF08CC}"/>
                </a:ext>
              </a:extLst>
            </p:cNvPr>
            <p:cNvSpPr txBox="1"/>
            <p:nvPr/>
          </p:nvSpPr>
          <p:spPr>
            <a:xfrm>
              <a:off x="1550135" y="2562391"/>
              <a:ext cx="589546"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71</a:t>
              </a:r>
            </a:p>
          </p:txBody>
        </p:sp>
      </p:grpSp>
      <p:sp>
        <p:nvSpPr>
          <p:cNvPr id="14" name="TextBox 13">
            <a:extLst>
              <a:ext uri="{FF2B5EF4-FFF2-40B4-BE49-F238E27FC236}">
                <a16:creationId xmlns:a16="http://schemas.microsoft.com/office/drawing/2014/main" id="{C36ABBF7-A0B0-41DD-A893-9A56BD2C6772}"/>
              </a:ext>
            </a:extLst>
          </p:cNvPr>
          <p:cNvSpPr txBox="1"/>
          <p:nvPr/>
        </p:nvSpPr>
        <p:spPr>
          <a:xfrm>
            <a:off x="-74357" y="5633982"/>
            <a:ext cx="1142620" cy="544765"/>
          </a:xfrm>
          <a:prstGeom prst="rect">
            <a:avLst/>
          </a:prstGeom>
          <a:noFill/>
        </p:spPr>
        <p:txBody>
          <a:bodyPr wrap="none" lIns="182880" tIns="146304" rIns="182880" bIns="146304" rtlCol="0">
            <a:spAutoFit/>
          </a:bodyPr>
          <a:lstStyle/>
          <a:p>
            <a:pPr>
              <a:lnSpc>
                <a:spcPct val="90000"/>
              </a:lnSpc>
            </a:pPr>
            <a:r>
              <a:rPr lang="en-US" dirty="0">
                <a:latin typeface="Arial" panose="020B0604020202020204" pitchFamily="34" charset="0"/>
                <a:cs typeface="Arial" panose="020B0604020202020204" pitchFamily="34" charset="0"/>
              </a:rPr>
              <a:t>YOY </a:t>
            </a:r>
            <a:r>
              <a:rPr lang="en-US" dirty="0">
                <a:latin typeface="Wingdings 3" panose="05040102010807070707" pitchFamily="18" charset="2"/>
              </a:rPr>
              <a:t>p</a:t>
            </a:r>
            <a:endParaRPr lang="en-US" dirty="0"/>
          </a:p>
        </p:txBody>
      </p:sp>
      <p:sp>
        <p:nvSpPr>
          <p:cNvPr id="30" name="TextBox 29">
            <a:extLst>
              <a:ext uri="{FF2B5EF4-FFF2-40B4-BE49-F238E27FC236}">
                <a16:creationId xmlns:a16="http://schemas.microsoft.com/office/drawing/2014/main" id="{9CDCF4A7-0BF6-457F-8A17-9FBE8CDAA562}"/>
              </a:ext>
            </a:extLst>
          </p:cNvPr>
          <p:cNvSpPr txBox="1"/>
          <p:nvPr/>
        </p:nvSpPr>
        <p:spPr>
          <a:xfrm>
            <a:off x="-29568" y="6368734"/>
            <a:ext cx="5858769" cy="428157"/>
          </a:xfrm>
          <a:prstGeom prst="rect">
            <a:avLst/>
          </a:prstGeom>
          <a:noFill/>
        </p:spPr>
        <p:txBody>
          <a:bodyPr wrap="none" lIns="179285" tIns="143428" rIns="179285" bIns="143428" rtlCol="0">
            <a:spAutoFit/>
          </a:bodyPr>
          <a:lstStyle/>
          <a:p>
            <a:pPr>
              <a:lnSpc>
                <a:spcPct val="90000"/>
              </a:lnSpc>
            </a:pPr>
            <a:r>
              <a:rPr lang="en-US" sz="1000" i="1" dirty="0">
                <a:solidFill>
                  <a:schemeClr val="tx1">
                    <a:lumMod val="50000"/>
                  </a:schemeClr>
                </a:solidFill>
              </a:rPr>
              <a:t>  Q5.1:  How much emotional, psychological or physical pain did you suffer because of &lt;insert risk&gt;</a:t>
            </a:r>
          </a:p>
        </p:txBody>
      </p:sp>
      <p:sp>
        <p:nvSpPr>
          <p:cNvPr id="32" name="Slide Number Placeholder 2">
            <a:extLst>
              <a:ext uri="{FF2B5EF4-FFF2-40B4-BE49-F238E27FC236}">
                <a16:creationId xmlns:a16="http://schemas.microsoft.com/office/drawing/2014/main" id="{A075EE71-DC60-4EBD-993E-728E07DFFAF8}"/>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35456986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144FCF4-741F-49D5-9BDC-8CC24A1E0844}"/>
              </a:ext>
            </a:extLst>
          </p:cNvPr>
          <p:cNvSpPr/>
          <p:nvPr/>
        </p:nvSpPr>
        <p:spPr bwMode="auto">
          <a:xfrm>
            <a:off x="0" y="0"/>
            <a:ext cx="12192000" cy="3575304"/>
          </a:xfrm>
          <a:prstGeom prst="rect">
            <a:avLst/>
          </a:prstGeom>
          <a:blipFill>
            <a:blip r:embed="rId2"/>
            <a:stretch>
              <a:fillRect l="-14642" t="-15495" r="-1701" b="-59183"/>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6" name="TextBox 5">
            <a:extLst>
              <a:ext uri="{FF2B5EF4-FFF2-40B4-BE49-F238E27FC236}">
                <a16:creationId xmlns:a16="http://schemas.microsoft.com/office/drawing/2014/main" id="{0C9B51EE-C304-4806-903E-7FAAD5258E04}"/>
              </a:ext>
            </a:extLst>
          </p:cNvPr>
          <p:cNvSpPr txBox="1">
            <a:spLocks/>
          </p:cNvSpPr>
          <p:nvPr/>
        </p:nvSpPr>
        <p:spPr>
          <a:xfrm>
            <a:off x="2720259" y="1357364"/>
            <a:ext cx="8861912" cy="523220"/>
          </a:xfrm>
          <a:prstGeom prst="rect">
            <a:avLst/>
          </a:prstGeom>
          <a:solidFill>
            <a:srgbClr val="28608C">
              <a:alpha val="85000"/>
            </a:srgbClr>
          </a:solidFill>
        </p:spPr>
        <p:txBody>
          <a:bodyPr wrap="square" rtlCol="0" anchor="t">
            <a:spAutoFit/>
          </a:bodyPr>
          <a:lstStyle/>
          <a:p>
            <a:r>
              <a:rPr lang="en-US" altLang="ko-KR" sz="2800" dirty="0">
                <a:latin typeface="Arial" panose="020B0604020202020204" pitchFamily="34" charset="0"/>
                <a:cs typeface="Arial" panose="020B0604020202020204" pitchFamily="34" charset="0"/>
              </a:rPr>
              <a:t>Worry that risks will happen again is up </a:t>
            </a:r>
            <a:r>
              <a:rPr lang="en-US" altLang="ko-KR" sz="2800" b="1" dirty="0">
                <a:latin typeface="Arial" panose="020B0604020202020204" pitchFamily="34" charset="0"/>
                <a:cs typeface="Arial" panose="020B0604020202020204" pitchFamily="34" charset="0"/>
              </a:rPr>
              <a:t>8 points</a:t>
            </a:r>
            <a:endParaRPr lang="ko-KR" altLang="en-US" sz="2800" dirty="0">
              <a:latin typeface="Arial" panose="020B0604020202020204" pitchFamily="34" charset="0"/>
              <a:cs typeface="Arial" panose="020B0604020202020204" pitchFamily="34" charset="0"/>
            </a:endParaRPr>
          </a:p>
        </p:txBody>
      </p:sp>
      <p:sp>
        <p:nvSpPr>
          <p:cNvPr id="31" name="Oval 30">
            <a:extLst>
              <a:ext uri="{FF2B5EF4-FFF2-40B4-BE49-F238E27FC236}">
                <a16:creationId xmlns:a16="http://schemas.microsoft.com/office/drawing/2014/main" id="{6005EB83-71E2-439D-A2D7-4C1B469C7BC2}"/>
              </a:ext>
            </a:extLst>
          </p:cNvPr>
          <p:cNvSpPr/>
          <p:nvPr userDrawn="1"/>
        </p:nvSpPr>
        <p:spPr>
          <a:xfrm>
            <a:off x="629031" y="680437"/>
            <a:ext cx="1877075" cy="1877075"/>
          </a:xfrm>
          <a:prstGeom prst="ellipse">
            <a:avLst/>
          </a:prstGeom>
          <a:solidFill>
            <a:srgbClr val="5BC5D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2" name="Oval 31">
            <a:extLst>
              <a:ext uri="{FF2B5EF4-FFF2-40B4-BE49-F238E27FC236}">
                <a16:creationId xmlns:a16="http://schemas.microsoft.com/office/drawing/2014/main" id="{82F3A808-0110-4B11-9C5F-96D1160A1C45}"/>
              </a:ext>
            </a:extLst>
          </p:cNvPr>
          <p:cNvSpPr/>
          <p:nvPr userDrawn="1"/>
        </p:nvSpPr>
        <p:spPr>
          <a:xfrm>
            <a:off x="553400" y="604806"/>
            <a:ext cx="2028337" cy="2028337"/>
          </a:xfrm>
          <a:prstGeom prst="ellipse">
            <a:avLst/>
          </a:prstGeom>
          <a:solidFill>
            <a:srgbClr val="28608C">
              <a:alpha val="40784"/>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5400" dirty="0">
                <a:latin typeface="Impact" panose="020B0806030902050204" pitchFamily="34" charset="0"/>
              </a:rPr>
              <a:t>64</a:t>
            </a:r>
            <a:r>
              <a:rPr lang="en-US" altLang="ko-KR" sz="2700" dirty="0"/>
              <a:t>%</a:t>
            </a:r>
            <a:endParaRPr lang="ko-KR" altLang="en-US" sz="2700" dirty="0"/>
          </a:p>
        </p:txBody>
      </p:sp>
      <p:graphicFrame>
        <p:nvGraphicFramePr>
          <p:cNvPr id="33" name="Chart 32">
            <a:extLst>
              <a:ext uri="{FF2B5EF4-FFF2-40B4-BE49-F238E27FC236}">
                <a16:creationId xmlns:a16="http://schemas.microsoft.com/office/drawing/2014/main" id="{344E2A5D-B235-4085-9756-8DADEE28873A}"/>
              </a:ext>
            </a:extLst>
          </p:cNvPr>
          <p:cNvGraphicFramePr/>
          <p:nvPr>
            <p:extLst>
              <p:ext uri="{D42A27DB-BD31-4B8C-83A1-F6EECF244321}">
                <p14:modId xmlns:p14="http://schemas.microsoft.com/office/powerpoint/2010/main" val="3449551797"/>
              </p:ext>
            </p:extLst>
          </p:nvPr>
        </p:nvGraphicFramePr>
        <p:xfrm>
          <a:off x="1524000" y="3650934"/>
          <a:ext cx="9144000" cy="2835591"/>
        </p:xfrm>
        <a:graphic>
          <a:graphicData uri="http://schemas.openxmlformats.org/drawingml/2006/chart">
            <c:chart xmlns:c="http://schemas.openxmlformats.org/drawingml/2006/chart" xmlns:r="http://schemas.openxmlformats.org/officeDocument/2006/relationships" r:id="rId3"/>
          </a:graphicData>
        </a:graphic>
      </p:graphicFrame>
      <p:sp>
        <p:nvSpPr>
          <p:cNvPr id="34" name="TextBox 33">
            <a:extLst>
              <a:ext uri="{FF2B5EF4-FFF2-40B4-BE49-F238E27FC236}">
                <a16:creationId xmlns:a16="http://schemas.microsoft.com/office/drawing/2014/main" id="{73FCB247-B403-4434-99AB-005EA341EAC8}"/>
              </a:ext>
            </a:extLst>
          </p:cNvPr>
          <p:cNvSpPr txBox="1"/>
          <p:nvPr/>
        </p:nvSpPr>
        <p:spPr>
          <a:xfrm>
            <a:off x="0" y="6461770"/>
            <a:ext cx="3996080" cy="425400"/>
          </a:xfrm>
          <a:prstGeom prst="rect">
            <a:avLst/>
          </a:prstGeom>
          <a:noFill/>
        </p:spPr>
        <p:txBody>
          <a:bodyPr wrap="none" lIns="179285" tIns="143428" rIns="179285" bIns="143428" rtlCol="0">
            <a:spAutoFit/>
          </a:bodyPr>
          <a:lstStyle/>
          <a:p>
            <a:pPr>
              <a:lnSpc>
                <a:spcPct val="90000"/>
              </a:lnSpc>
            </a:pPr>
            <a:r>
              <a:rPr lang="en-US" sz="1000" i="1" dirty="0">
                <a:solidFill>
                  <a:schemeClr val="tx1">
                    <a:lumMod val="50000"/>
                  </a:schemeClr>
                </a:solidFill>
                <a:latin typeface="Arial" panose="020B0604020202020204" pitchFamily="34" charset="0"/>
                <a:cs typeface="Arial" panose="020B0604020202020204" pitchFamily="34" charset="0"/>
              </a:rPr>
              <a:t>Q5.7: How much do you worry about this happening to you again</a:t>
            </a:r>
          </a:p>
        </p:txBody>
      </p:sp>
      <p:sp>
        <p:nvSpPr>
          <p:cNvPr id="35" name="TextBox 34">
            <a:extLst>
              <a:ext uri="{FF2B5EF4-FFF2-40B4-BE49-F238E27FC236}">
                <a16:creationId xmlns:a16="http://schemas.microsoft.com/office/drawing/2014/main" id="{EA290993-C0F7-46D2-A876-9701E6C09DD1}"/>
              </a:ext>
            </a:extLst>
          </p:cNvPr>
          <p:cNvSpPr txBox="1"/>
          <p:nvPr/>
        </p:nvSpPr>
        <p:spPr>
          <a:xfrm>
            <a:off x="5294602" y="6207534"/>
            <a:ext cx="1535470" cy="425400"/>
          </a:xfrm>
          <a:prstGeom prst="rect">
            <a:avLst/>
          </a:prstGeom>
          <a:noFill/>
        </p:spPr>
        <p:txBody>
          <a:bodyPr wrap="none" lIns="179285" tIns="143428" rIns="179285" bIns="143428" rtlCol="0">
            <a:spAutoFit/>
          </a:bodyPr>
          <a:lstStyle/>
          <a:p>
            <a:pPr>
              <a:lnSpc>
                <a:spcPct val="90000"/>
              </a:lnSpc>
            </a:pPr>
            <a:r>
              <a:rPr lang="en-US" sz="980" i="1" dirty="0">
                <a:solidFill>
                  <a:schemeClr val="tx1">
                    <a:lumMod val="50000"/>
                  </a:schemeClr>
                </a:solidFill>
              </a:rPr>
              <a:t>Base: experienced risk</a:t>
            </a:r>
          </a:p>
        </p:txBody>
      </p:sp>
      <p:sp>
        <p:nvSpPr>
          <p:cNvPr id="10" name="Slide Number Placeholder 2">
            <a:extLst>
              <a:ext uri="{FF2B5EF4-FFF2-40B4-BE49-F238E27FC236}">
                <a16:creationId xmlns:a16="http://schemas.microsoft.com/office/drawing/2014/main" id="{2ACA2478-75D8-40E4-900F-FC78EA5DD696}"/>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3057440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6381AD-4C2B-4745-99B1-0BBCE6131A71}"/>
              </a:ext>
            </a:extLst>
          </p:cNvPr>
          <p:cNvSpPr>
            <a:spLocks noGrp="1"/>
          </p:cNvSpPr>
          <p:nvPr>
            <p:ph type="body" sz="quarter" idx="10"/>
          </p:nvPr>
        </p:nvSpPr>
        <p:spPr/>
        <p:txBody>
          <a:bodyPr/>
          <a:lstStyle/>
          <a:p>
            <a:pPr algn="l"/>
            <a:r>
              <a:rPr lang="en-US" dirty="0"/>
              <a:t>Topics that drive the most incivility</a:t>
            </a:r>
          </a:p>
        </p:txBody>
      </p:sp>
      <p:sp>
        <p:nvSpPr>
          <p:cNvPr id="45" name="TextBox 44">
            <a:extLst>
              <a:ext uri="{FF2B5EF4-FFF2-40B4-BE49-F238E27FC236}">
                <a16:creationId xmlns:a16="http://schemas.microsoft.com/office/drawing/2014/main" id="{7E1B7C0D-65BE-48B9-84FE-A208939B9CE7}"/>
              </a:ext>
            </a:extLst>
          </p:cNvPr>
          <p:cNvSpPr txBox="1"/>
          <p:nvPr/>
        </p:nvSpPr>
        <p:spPr>
          <a:xfrm>
            <a:off x="-29568" y="6411766"/>
            <a:ext cx="7056212" cy="425400"/>
          </a:xfrm>
          <a:prstGeom prst="rect">
            <a:avLst/>
          </a:prstGeom>
          <a:noFill/>
        </p:spPr>
        <p:txBody>
          <a:bodyPr wrap="none" lIns="179285" tIns="143428" rIns="179285" bIns="143428" rtlCol="0">
            <a:spAutoFit/>
          </a:bodyPr>
          <a:lstStyle/>
          <a:p>
            <a:pPr>
              <a:lnSpc>
                <a:spcPct val="90000"/>
              </a:lnSpc>
            </a:pPr>
            <a:r>
              <a:rPr lang="en-US" sz="1000" i="1" dirty="0">
                <a:solidFill>
                  <a:schemeClr val="bg1">
                    <a:lumMod val="50000"/>
                  </a:schemeClr>
                </a:solidFill>
              </a:rPr>
              <a:t> Q2B: Thinking about your online interactions, which topics have generated the most rude, uncivil or abusive behavior?</a:t>
            </a:r>
          </a:p>
        </p:txBody>
      </p:sp>
      <p:grpSp>
        <p:nvGrpSpPr>
          <p:cNvPr id="40" name="Group 39">
            <a:extLst>
              <a:ext uri="{FF2B5EF4-FFF2-40B4-BE49-F238E27FC236}">
                <a16:creationId xmlns:a16="http://schemas.microsoft.com/office/drawing/2014/main" id="{7DAD09C6-D753-4C29-9318-619C63A14405}"/>
              </a:ext>
            </a:extLst>
          </p:cNvPr>
          <p:cNvGrpSpPr/>
          <p:nvPr/>
        </p:nvGrpSpPr>
        <p:grpSpPr>
          <a:xfrm>
            <a:off x="3100969" y="1667622"/>
            <a:ext cx="1824862" cy="2814954"/>
            <a:chOff x="3100969" y="1667622"/>
            <a:chExt cx="1824862" cy="2814954"/>
          </a:xfrm>
        </p:grpSpPr>
        <p:grpSp>
          <p:nvGrpSpPr>
            <p:cNvPr id="15" name="Group 14">
              <a:extLst>
                <a:ext uri="{FF2B5EF4-FFF2-40B4-BE49-F238E27FC236}">
                  <a16:creationId xmlns:a16="http://schemas.microsoft.com/office/drawing/2014/main" id="{C2120B51-C8E4-4E82-ACFE-A2EA08760279}"/>
                </a:ext>
              </a:extLst>
            </p:cNvPr>
            <p:cNvGrpSpPr/>
            <p:nvPr/>
          </p:nvGrpSpPr>
          <p:grpSpPr>
            <a:xfrm>
              <a:off x="3100969" y="1667622"/>
              <a:ext cx="1824862" cy="2814954"/>
              <a:chOff x="3100969" y="1667622"/>
              <a:chExt cx="1824862" cy="2814954"/>
            </a:xfrm>
          </p:grpSpPr>
          <p:grpSp>
            <p:nvGrpSpPr>
              <p:cNvPr id="11" name="Group 10">
                <a:extLst>
                  <a:ext uri="{FF2B5EF4-FFF2-40B4-BE49-F238E27FC236}">
                    <a16:creationId xmlns:a16="http://schemas.microsoft.com/office/drawing/2014/main" id="{5D5E6FD4-3B83-455D-AA25-33ED7BBDF7DA}"/>
                  </a:ext>
                </a:extLst>
              </p:cNvPr>
              <p:cNvGrpSpPr/>
              <p:nvPr/>
            </p:nvGrpSpPr>
            <p:grpSpPr>
              <a:xfrm>
                <a:off x="3100969" y="3928578"/>
                <a:ext cx="1815812" cy="553998"/>
                <a:chOff x="3017859" y="4283314"/>
                <a:chExt cx="1890849" cy="553998"/>
              </a:xfrm>
            </p:grpSpPr>
            <p:sp>
              <p:nvSpPr>
                <p:cNvPr id="12" name="TextBox 11">
                  <a:extLst>
                    <a:ext uri="{FF2B5EF4-FFF2-40B4-BE49-F238E27FC236}">
                      <a16:creationId xmlns:a16="http://schemas.microsoft.com/office/drawing/2014/main" id="{67F411F5-3CA7-4B38-BEA1-4BA2B38903E8}"/>
                    </a:ext>
                  </a:extLst>
                </p:cNvPr>
                <p:cNvSpPr txBox="1"/>
                <p:nvPr/>
              </p:nvSpPr>
              <p:spPr>
                <a:xfrm>
                  <a:off x="3021856" y="4560313"/>
                  <a:ext cx="1886852" cy="276999"/>
                </a:xfrm>
                <a:prstGeom prst="rect">
                  <a:avLst/>
                </a:prstGeom>
                <a:noFill/>
              </p:spPr>
              <p:txBody>
                <a:bodyPr wrap="square" rtlCol="0">
                  <a:spAutoFit/>
                </a:bodyPr>
                <a:lstStyle/>
                <a:p>
                  <a:pPr algn="ctr"/>
                  <a:endParaRPr lang="ko-KR" altLang="en-US" sz="1200" dirty="0">
                    <a:solidFill>
                      <a:schemeClr val="tx1">
                        <a:lumMod val="65000"/>
                        <a:lumOff val="35000"/>
                      </a:schemeClr>
                    </a:solidFill>
                    <a:cs typeface="Arial" pitchFamily="34" charset="0"/>
                  </a:endParaRPr>
                </a:p>
              </p:txBody>
            </p:sp>
            <p:sp>
              <p:nvSpPr>
                <p:cNvPr id="13" name="TextBox 12">
                  <a:extLst>
                    <a:ext uri="{FF2B5EF4-FFF2-40B4-BE49-F238E27FC236}">
                      <a16:creationId xmlns:a16="http://schemas.microsoft.com/office/drawing/2014/main" id="{E3E9CEBF-3FEB-4099-9B0F-E8D271D1FA6D}"/>
                    </a:ext>
                  </a:extLst>
                </p:cNvPr>
                <p:cNvSpPr txBox="1"/>
                <p:nvPr/>
              </p:nvSpPr>
              <p:spPr>
                <a:xfrm>
                  <a:off x="3017859" y="4283314"/>
                  <a:ext cx="1870812" cy="523220"/>
                </a:xfrm>
                <a:prstGeom prst="rect">
                  <a:avLst/>
                </a:prstGeom>
                <a:noFill/>
              </p:spPr>
              <p:txBody>
                <a:bodyPr wrap="square" rtlCol="0">
                  <a:spAutoFit/>
                </a:bodyPr>
                <a:lstStyle/>
                <a:p>
                  <a:pPr algn="ctr"/>
                  <a:r>
                    <a:rPr lang="en-US" altLang="ko-KR" sz="2800" b="1" dirty="0">
                      <a:solidFill>
                        <a:schemeClr val="accent1"/>
                      </a:solidFill>
                      <a:cs typeface="Arial" pitchFamily="34" charset="0"/>
                    </a:rPr>
                    <a:t>Politics</a:t>
                  </a:r>
                  <a:endParaRPr lang="ko-KR" altLang="en-US" sz="2800" b="1" dirty="0">
                    <a:solidFill>
                      <a:schemeClr val="accent1"/>
                    </a:solidFill>
                    <a:cs typeface="Arial" pitchFamily="34" charset="0"/>
                  </a:endParaRPr>
                </a:p>
              </p:txBody>
            </p:sp>
          </p:grpSp>
          <p:grpSp>
            <p:nvGrpSpPr>
              <p:cNvPr id="23" name="Group 22">
                <a:extLst>
                  <a:ext uri="{FF2B5EF4-FFF2-40B4-BE49-F238E27FC236}">
                    <a16:creationId xmlns:a16="http://schemas.microsoft.com/office/drawing/2014/main" id="{7054BA10-4271-4F32-944E-D6639008169A}"/>
                  </a:ext>
                </a:extLst>
              </p:cNvPr>
              <p:cNvGrpSpPr/>
              <p:nvPr/>
            </p:nvGrpSpPr>
            <p:grpSpPr>
              <a:xfrm>
                <a:off x="3194998" y="1667622"/>
                <a:ext cx="1730833" cy="1879719"/>
                <a:chOff x="3124662" y="1920606"/>
                <a:chExt cx="1730833" cy="1879719"/>
              </a:xfrm>
            </p:grpSpPr>
            <p:sp>
              <p:nvSpPr>
                <p:cNvPr id="24" name="Oval 23">
                  <a:extLst>
                    <a:ext uri="{FF2B5EF4-FFF2-40B4-BE49-F238E27FC236}">
                      <a16:creationId xmlns:a16="http://schemas.microsoft.com/office/drawing/2014/main" id="{BC04F64A-58B1-4BCD-B18E-6A8758AE7C48}"/>
                    </a:ext>
                  </a:extLst>
                </p:cNvPr>
                <p:cNvSpPr/>
                <p:nvPr/>
              </p:nvSpPr>
              <p:spPr>
                <a:xfrm>
                  <a:off x="3124662" y="2167242"/>
                  <a:ext cx="1633083" cy="1633083"/>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5" name="Oval 24">
                  <a:extLst>
                    <a:ext uri="{FF2B5EF4-FFF2-40B4-BE49-F238E27FC236}">
                      <a16:creationId xmlns:a16="http://schemas.microsoft.com/office/drawing/2014/main" id="{E6306495-7A95-4F78-803D-1B0C904A2935}"/>
                    </a:ext>
                  </a:extLst>
                </p:cNvPr>
                <p:cNvSpPr/>
                <p:nvPr/>
              </p:nvSpPr>
              <p:spPr>
                <a:xfrm>
                  <a:off x="4044520" y="1920606"/>
                  <a:ext cx="810975" cy="810975"/>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6" name="TextBox 35">
                <a:extLst>
                  <a:ext uri="{FF2B5EF4-FFF2-40B4-BE49-F238E27FC236}">
                    <a16:creationId xmlns:a16="http://schemas.microsoft.com/office/drawing/2014/main" id="{8E3FBA6C-EB1B-4F31-8E20-0CA84BBE4E3E}"/>
                  </a:ext>
                </a:extLst>
              </p:cNvPr>
              <p:cNvSpPr txBox="1"/>
              <p:nvPr/>
            </p:nvSpPr>
            <p:spPr>
              <a:xfrm>
                <a:off x="3508542" y="245805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31</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grpSp>
        <p:pic>
          <p:nvPicPr>
            <p:cNvPr id="4" name="Picture 3" descr="A close up of a logo&#10;&#10;Description automatically generated">
              <a:extLst>
                <a:ext uri="{FF2B5EF4-FFF2-40B4-BE49-F238E27FC236}">
                  <a16:creationId xmlns:a16="http://schemas.microsoft.com/office/drawing/2014/main" id="{BCB53781-5585-4AE7-88DE-226916ABFC9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56581" y="1800408"/>
              <a:ext cx="571500" cy="457200"/>
            </a:xfrm>
            <a:prstGeom prst="rect">
              <a:avLst/>
            </a:prstGeom>
          </p:spPr>
        </p:pic>
      </p:grpSp>
      <p:grpSp>
        <p:nvGrpSpPr>
          <p:cNvPr id="18" name="Group 17">
            <a:extLst>
              <a:ext uri="{FF2B5EF4-FFF2-40B4-BE49-F238E27FC236}">
                <a16:creationId xmlns:a16="http://schemas.microsoft.com/office/drawing/2014/main" id="{9A9ECA4B-51DC-41D3-9C1E-CC5AB1B6825C}"/>
              </a:ext>
            </a:extLst>
          </p:cNvPr>
          <p:cNvGrpSpPr/>
          <p:nvPr/>
        </p:nvGrpSpPr>
        <p:grpSpPr>
          <a:xfrm>
            <a:off x="749491" y="2650213"/>
            <a:ext cx="2367029" cy="3340469"/>
            <a:chOff x="749491" y="2650213"/>
            <a:chExt cx="2367029" cy="3340469"/>
          </a:xfrm>
        </p:grpSpPr>
        <p:grpSp>
          <p:nvGrpSpPr>
            <p:cNvPr id="6" name="Group 5">
              <a:extLst>
                <a:ext uri="{FF2B5EF4-FFF2-40B4-BE49-F238E27FC236}">
                  <a16:creationId xmlns:a16="http://schemas.microsoft.com/office/drawing/2014/main" id="{69D1F43C-5712-4C25-95AE-1EBD6728FB10}"/>
                </a:ext>
              </a:extLst>
            </p:cNvPr>
            <p:cNvGrpSpPr/>
            <p:nvPr/>
          </p:nvGrpSpPr>
          <p:grpSpPr>
            <a:xfrm>
              <a:off x="749491" y="2650213"/>
              <a:ext cx="2367029" cy="3340469"/>
              <a:chOff x="749491" y="2650213"/>
              <a:chExt cx="2367029" cy="3340469"/>
            </a:xfrm>
          </p:grpSpPr>
          <p:grpSp>
            <p:nvGrpSpPr>
              <p:cNvPr id="3" name="Group 2">
                <a:extLst>
                  <a:ext uri="{FF2B5EF4-FFF2-40B4-BE49-F238E27FC236}">
                    <a16:creationId xmlns:a16="http://schemas.microsoft.com/office/drawing/2014/main" id="{334F75EE-1B30-46C6-AA54-5C35D687F471}"/>
                  </a:ext>
                </a:extLst>
              </p:cNvPr>
              <p:cNvGrpSpPr/>
              <p:nvPr/>
            </p:nvGrpSpPr>
            <p:grpSpPr>
              <a:xfrm>
                <a:off x="749491" y="2650213"/>
                <a:ext cx="2367029" cy="3340469"/>
                <a:chOff x="749491" y="2650213"/>
                <a:chExt cx="2367029" cy="3340469"/>
              </a:xfrm>
            </p:grpSpPr>
            <p:grpSp>
              <p:nvGrpSpPr>
                <p:cNvPr id="8" name="Group 7">
                  <a:extLst>
                    <a:ext uri="{FF2B5EF4-FFF2-40B4-BE49-F238E27FC236}">
                      <a16:creationId xmlns:a16="http://schemas.microsoft.com/office/drawing/2014/main" id="{F42391C7-66A3-4C12-B4C5-DCFACDD11A5C}"/>
                    </a:ext>
                  </a:extLst>
                </p:cNvPr>
                <p:cNvGrpSpPr/>
                <p:nvPr/>
              </p:nvGrpSpPr>
              <p:grpSpPr>
                <a:xfrm>
                  <a:off x="749491" y="4605687"/>
                  <a:ext cx="2367029" cy="1384995"/>
                  <a:chOff x="3017859" y="4283314"/>
                  <a:chExt cx="1890849" cy="1384995"/>
                </a:xfrm>
              </p:grpSpPr>
              <p:sp>
                <p:nvSpPr>
                  <p:cNvPr id="9" name="TextBox 8">
                    <a:extLst>
                      <a:ext uri="{FF2B5EF4-FFF2-40B4-BE49-F238E27FC236}">
                        <a16:creationId xmlns:a16="http://schemas.microsoft.com/office/drawing/2014/main" id="{0895E63C-89D2-4050-A069-71DA9D84F301}"/>
                      </a:ext>
                    </a:extLst>
                  </p:cNvPr>
                  <p:cNvSpPr txBox="1"/>
                  <p:nvPr/>
                </p:nvSpPr>
                <p:spPr>
                  <a:xfrm>
                    <a:off x="3021856" y="4560313"/>
                    <a:ext cx="1886852" cy="276999"/>
                  </a:xfrm>
                  <a:prstGeom prst="rect">
                    <a:avLst/>
                  </a:prstGeom>
                  <a:noFill/>
                </p:spPr>
                <p:txBody>
                  <a:bodyPr wrap="square" rtlCol="0">
                    <a:spAutoFit/>
                  </a:bodyPr>
                  <a:lstStyle/>
                  <a:p>
                    <a:pPr algn="ctr"/>
                    <a:endParaRPr lang="ko-KR" altLang="en-US" sz="1200" dirty="0">
                      <a:solidFill>
                        <a:schemeClr val="tx1">
                          <a:lumMod val="65000"/>
                          <a:lumOff val="35000"/>
                        </a:schemeClr>
                      </a:solidFill>
                      <a:cs typeface="Arial" pitchFamily="34" charset="0"/>
                    </a:endParaRPr>
                  </a:p>
                </p:txBody>
              </p:sp>
              <p:sp>
                <p:nvSpPr>
                  <p:cNvPr id="10" name="TextBox 9">
                    <a:extLst>
                      <a:ext uri="{FF2B5EF4-FFF2-40B4-BE49-F238E27FC236}">
                        <a16:creationId xmlns:a16="http://schemas.microsoft.com/office/drawing/2014/main" id="{652667C1-D1D0-48D8-B57A-7E0B58AC5B0B}"/>
                      </a:ext>
                    </a:extLst>
                  </p:cNvPr>
                  <p:cNvSpPr txBox="1"/>
                  <p:nvPr/>
                </p:nvSpPr>
                <p:spPr>
                  <a:xfrm>
                    <a:off x="3017859" y="4283314"/>
                    <a:ext cx="1870812" cy="1384995"/>
                  </a:xfrm>
                  <a:prstGeom prst="rect">
                    <a:avLst/>
                  </a:prstGeom>
                  <a:noFill/>
                </p:spPr>
                <p:txBody>
                  <a:bodyPr wrap="square" rtlCol="0">
                    <a:spAutoFit/>
                  </a:bodyPr>
                  <a:lstStyle/>
                  <a:p>
                    <a:pPr algn="ctr"/>
                    <a:r>
                      <a:rPr lang="en-US" altLang="ko-KR" sz="2800" b="1" dirty="0">
                        <a:solidFill>
                          <a:schemeClr val="accent6"/>
                        </a:solidFill>
                        <a:cs typeface="Arial" pitchFamily="34" charset="0"/>
                      </a:rPr>
                      <a:t>Physical appearance</a:t>
                    </a:r>
                    <a:endParaRPr lang="ko-KR" altLang="en-US" sz="2800" b="1" dirty="0">
                      <a:solidFill>
                        <a:schemeClr val="accent6"/>
                      </a:solidFill>
                      <a:cs typeface="Arial" pitchFamily="34" charset="0"/>
                    </a:endParaRPr>
                  </a:p>
                </p:txBody>
              </p:sp>
            </p:grpSp>
            <p:grpSp>
              <p:nvGrpSpPr>
                <p:cNvPr id="20" name="Group 19">
                  <a:extLst>
                    <a:ext uri="{FF2B5EF4-FFF2-40B4-BE49-F238E27FC236}">
                      <a16:creationId xmlns:a16="http://schemas.microsoft.com/office/drawing/2014/main" id="{569CCD4E-3557-47D4-9838-D333C260BD4C}"/>
                    </a:ext>
                  </a:extLst>
                </p:cNvPr>
                <p:cNvGrpSpPr/>
                <p:nvPr/>
              </p:nvGrpSpPr>
              <p:grpSpPr>
                <a:xfrm>
                  <a:off x="1116464" y="2650213"/>
                  <a:ext cx="1705060" cy="1796015"/>
                  <a:chOff x="1046128" y="2903197"/>
                  <a:chExt cx="1705060" cy="1796015"/>
                </a:xfrm>
              </p:grpSpPr>
              <p:sp>
                <p:nvSpPr>
                  <p:cNvPr id="21" name="Oval 20">
                    <a:extLst>
                      <a:ext uri="{FF2B5EF4-FFF2-40B4-BE49-F238E27FC236}">
                        <a16:creationId xmlns:a16="http://schemas.microsoft.com/office/drawing/2014/main" id="{34B5EC39-B9E4-4A25-A0DB-5AEC508B1993}"/>
                      </a:ext>
                    </a:extLst>
                  </p:cNvPr>
                  <p:cNvSpPr/>
                  <p:nvPr/>
                </p:nvSpPr>
                <p:spPr>
                  <a:xfrm>
                    <a:off x="1046128" y="3066128"/>
                    <a:ext cx="1633084" cy="1633084"/>
                  </a:xfrm>
                  <a:prstGeom prst="ellipse">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22" name="Oval 21">
                    <a:extLst>
                      <a:ext uri="{FF2B5EF4-FFF2-40B4-BE49-F238E27FC236}">
                        <a16:creationId xmlns:a16="http://schemas.microsoft.com/office/drawing/2014/main" id="{96C43B79-CF60-4417-A2D8-D36C77E9A662}"/>
                      </a:ext>
                    </a:extLst>
                  </p:cNvPr>
                  <p:cNvSpPr/>
                  <p:nvPr/>
                </p:nvSpPr>
                <p:spPr>
                  <a:xfrm>
                    <a:off x="1940213" y="2903197"/>
                    <a:ext cx="810975" cy="810976"/>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grpSp>
          <p:sp>
            <p:nvSpPr>
              <p:cNvPr id="35" name="TextBox 34">
                <a:extLst>
                  <a:ext uri="{FF2B5EF4-FFF2-40B4-BE49-F238E27FC236}">
                    <a16:creationId xmlns:a16="http://schemas.microsoft.com/office/drawing/2014/main" id="{0F140DB4-471E-43A7-AB79-8F7A5E84C6CC}"/>
                  </a:ext>
                </a:extLst>
              </p:cNvPr>
              <p:cNvSpPr txBox="1"/>
              <p:nvPr/>
            </p:nvSpPr>
            <p:spPr>
              <a:xfrm>
                <a:off x="1425284" y="3374528"/>
                <a:ext cx="1015444" cy="769441"/>
              </a:xfrm>
              <a:prstGeom prst="rect">
                <a:avLst/>
              </a:prstGeom>
              <a:noFill/>
            </p:spPr>
            <p:txBody>
              <a:bodyPr wrap="square" rtlCol="0">
                <a:spAutoFit/>
              </a:bodyPr>
              <a:lstStyle/>
              <a:p>
                <a:pPr algn="ctr"/>
                <a:r>
                  <a:rPr lang="en-US" altLang="ko-KR" sz="4400" dirty="0">
                    <a:solidFill>
                      <a:schemeClr val="accent6"/>
                    </a:solidFill>
                    <a:latin typeface="Impact" panose="020B0806030902050204" pitchFamily="34" charset="0"/>
                    <a:cs typeface="Arial" pitchFamily="34" charset="0"/>
                  </a:rPr>
                  <a:t>31</a:t>
                </a:r>
                <a:r>
                  <a:rPr lang="en-US" altLang="ko-KR" sz="1600" dirty="0">
                    <a:solidFill>
                      <a:schemeClr val="accent6"/>
                    </a:solidFill>
                    <a:latin typeface="Impact" panose="020B0806030902050204" pitchFamily="34" charset="0"/>
                    <a:cs typeface="Arial" pitchFamily="34" charset="0"/>
                  </a:rPr>
                  <a:t>%</a:t>
                </a:r>
                <a:endParaRPr lang="ko-KR" altLang="en-US" sz="1600" dirty="0">
                  <a:solidFill>
                    <a:schemeClr val="accent6"/>
                  </a:solidFill>
                  <a:latin typeface="Impact" panose="020B0806030902050204" pitchFamily="34" charset="0"/>
                  <a:cs typeface="Arial" pitchFamily="34" charset="0"/>
                </a:endParaRPr>
              </a:p>
            </p:txBody>
          </p:sp>
        </p:grpSp>
        <p:pic>
          <p:nvPicPr>
            <p:cNvPr id="47" name="Picture 46">
              <a:extLst>
                <a:ext uri="{FF2B5EF4-FFF2-40B4-BE49-F238E27FC236}">
                  <a16:creationId xmlns:a16="http://schemas.microsoft.com/office/drawing/2014/main" id="{E07508E6-A5A2-485A-B247-C9A91CFBD35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091939" y="2730799"/>
              <a:ext cx="640080" cy="640080"/>
            </a:xfrm>
            <a:prstGeom prst="rect">
              <a:avLst/>
            </a:prstGeom>
          </p:spPr>
        </p:pic>
      </p:grpSp>
      <p:grpSp>
        <p:nvGrpSpPr>
          <p:cNvPr id="42" name="Group 41">
            <a:extLst>
              <a:ext uri="{FF2B5EF4-FFF2-40B4-BE49-F238E27FC236}">
                <a16:creationId xmlns:a16="http://schemas.microsoft.com/office/drawing/2014/main" id="{AB8688FD-18C6-4D5E-A40F-A934BC2B0F5A}"/>
              </a:ext>
            </a:extLst>
          </p:cNvPr>
          <p:cNvGrpSpPr/>
          <p:nvPr/>
        </p:nvGrpSpPr>
        <p:grpSpPr>
          <a:xfrm>
            <a:off x="4997451" y="2650214"/>
            <a:ext cx="2263566" cy="2909580"/>
            <a:chOff x="4997451" y="2650214"/>
            <a:chExt cx="2263566" cy="2909580"/>
          </a:xfrm>
        </p:grpSpPr>
        <p:grpSp>
          <p:nvGrpSpPr>
            <p:cNvPr id="17" name="Group 16">
              <a:extLst>
                <a:ext uri="{FF2B5EF4-FFF2-40B4-BE49-F238E27FC236}">
                  <a16:creationId xmlns:a16="http://schemas.microsoft.com/office/drawing/2014/main" id="{E0110434-48E7-4DFF-AC8D-F0CE28974053}"/>
                </a:ext>
              </a:extLst>
            </p:cNvPr>
            <p:cNvGrpSpPr/>
            <p:nvPr/>
          </p:nvGrpSpPr>
          <p:grpSpPr>
            <a:xfrm>
              <a:off x="4997451" y="2650214"/>
              <a:ext cx="2263566" cy="2909580"/>
              <a:chOff x="4997451" y="2650214"/>
              <a:chExt cx="2263566" cy="2909580"/>
            </a:xfrm>
          </p:grpSpPr>
          <p:sp>
            <p:nvSpPr>
              <p:cNvPr id="16" name="TextBox 15">
                <a:extLst>
                  <a:ext uri="{FF2B5EF4-FFF2-40B4-BE49-F238E27FC236}">
                    <a16:creationId xmlns:a16="http://schemas.microsoft.com/office/drawing/2014/main" id="{431862EA-A845-4FD9-8903-823A12CBD958}"/>
                  </a:ext>
                </a:extLst>
              </p:cNvPr>
              <p:cNvSpPr txBox="1"/>
              <p:nvPr/>
            </p:nvSpPr>
            <p:spPr>
              <a:xfrm>
                <a:off x="4997451" y="4605687"/>
                <a:ext cx="2263566" cy="954107"/>
              </a:xfrm>
              <a:prstGeom prst="rect">
                <a:avLst/>
              </a:prstGeom>
              <a:noFill/>
            </p:spPr>
            <p:txBody>
              <a:bodyPr wrap="square" rtlCol="0">
                <a:spAutoFit/>
              </a:bodyPr>
              <a:lstStyle/>
              <a:p>
                <a:pPr algn="ctr"/>
                <a:r>
                  <a:rPr lang="en-US" altLang="ko-KR" sz="2800" b="1" dirty="0">
                    <a:solidFill>
                      <a:schemeClr val="accent2"/>
                    </a:solidFill>
                    <a:cs typeface="Arial" pitchFamily="34" charset="0"/>
                  </a:rPr>
                  <a:t>Sexual orientation</a:t>
                </a:r>
                <a:endParaRPr lang="ko-KR" altLang="en-US" sz="2800" b="1" dirty="0">
                  <a:solidFill>
                    <a:schemeClr val="accent2"/>
                  </a:solidFill>
                  <a:cs typeface="Arial" pitchFamily="34" charset="0"/>
                </a:endParaRPr>
              </a:p>
            </p:txBody>
          </p:sp>
          <p:grpSp>
            <p:nvGrpSpPr>
              <p:cNvPr id="26" name="Group 25">
                <a:extLst>
                  <a:ext uri="{FF2B5EF4-FFF2-40B4-BE49-F238E27FC236}">
                    <a16:creationId xmlns:a16="http://schemas.microsoft.com/office/drawing/2014/main" id="{B96090C9-E3D9-4D51-9547-46995DA5017D}"/>
                  </a:ext>
                </a:extLst>
              </p:cNvPr>
              <p:cNvGrpSpPr/>
              <p:nvPr/>
            </p:nvGrpSpPr>
            <p:grpSpPr>
              <a:xfrm>
                <a:off x="5275170" y="2650214"/>
                <a:ext cx="1771861" cy="1796014"/>
                <a:chOff x="5204834" y="2903198"/>
                <a:chExt cx="1771861" cy="1796014"/>
              </a:xfrm>
            </p:grpSpPr>
            <p:sp>
              <p:nvSpPr>
                <p:cNvPr id="27" name="Oval 26">
                  <a:extLst>
                    <a:ext uri="{FF2B5EF4-FFF2-40B4-BE49-F238E27FC236}">
                      <a16:creationId xmlns:a16="http://schemas.microsoft.com/office/drawing/2014/main" id="{F819AF3E-629F-4345-AC0E-CC7015A51E87}"/>
                    </a:ext>
                  </a:extLst>
                </p:cNvPr>
                <p:cNvSpPr/>
                <p:nvPr/>
              </p:nvSpPr>
              <p:spPr>
                <a:xfrm>
                  <a:off x="5204834" y="3066128"/>
                  <a:ext cx="1633084" cy="1633084"/>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8" name="Oval 27">
                  <a:extLst>
                    <a:ext uri="{FF2B5EF4-FFF2-40B4-BE49-F238E27FC236}">
                      <a16:creationId xmlns:a16="http://schemas.microsoft.com/office/drawing/2014/main" id="{9E80F32B-2984-4B90-8A4D-B9ED07206842}"/>
                    </a:ext>
                  </a:extLst>
                </p:cNvPr>
                <p:cNvSpPr/>
                <p:nvPr/>
              </p:nvSpPr>
              <p:spPr>
                <a:xfrm>
                  <a:off x="6165720" y="2903198"/>
                  <a:ext cx="810975" cy="810975"/>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7" name="TextBox 36">
                <a:extLst>
                  <a:ext uri="{FF2B5EF4-FFF2-40B4-BE49-F238E27FC236}">
                    <a16:creationId xmlns:a16="http://schemas.microsoft.com/office/drawing/2014/main" id="{7508AB5E-AB63-484B-BC1F-4618FA029E63}"/>
                  </a:ext>
                </a:extLst>
              </p:cNvPr>
              <p:cNvSpPr txBox="1"/>
              <p:nvPr/>
            </p:nvSpPr>
            <p:spPr>
              <a:xfrm>
                <a:off x="5591800" y="337452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30</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grpSp>
        <p:pic>
          <p:nvPicPr>
            <p:cNvPr id="49" name="Picture 48">
              <a:extLst>
                <a:ext uri="{FF2B5EF4-FFF2-40B4-BE49-F238E27FC236}">
                  <a16:creationId xmlns:a16="http://schemas.microsoft.com/office/drawing/2014/main" id="{12104C99-B99B-4573-B3C0-D8AA6D276E1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6410712" y="2822976"/>
              <a:ext cx="457200" cy="457200"/>
            </a:xfrm>
            <a:prstGeom prst="rect">
              <a:avLst/>
            </a:prstGeom>
            <a:ln w="12700">
              <a:solidFill>
                <a:schemeClr val="bg1">
                  <a:lumMod val="50000"/>
                  <a:lumOff val="50000"/>
                </a:schemeClr>
              </a:solidFill>
            </a:ln>
          </p:spPr>
        </p:pic>
      </p:grpSp>
      <p:grpSp>
        <p:nvGrpSpPr>
          <p:cNvPr id="43" name="Group 42">
            <a:extLst>
              <a:ext uri="{FF2B5EF4-FFF2-40B4-BE49-F238E27FC236}">
                <a16:creationId xmlns:a16="http://schemas.microsoft.com/office/drawing/2014/main" id="{CA636BFB-95A6-4E4A-9FA3-DE2A7B5A1EEF}"/>
              </a:ext>
            </a:extLst>
          </p:cNvPr>
          <p:cNvGrpSpPr/>
          <p:nvPr/>
        </p:nvGrpSpPr>
        <p:grpSpPr>
          <a:xfrm>
            <a:off x="7273600" y="1667621"/>
            <a:ext cx="1829065" cy="2778607"/>
            <a:chOff x="7273600" y="1667621"/>
            <a:chExt cx="1829065" cy="2778607"/>
          </a:xfrm>
        </p:grpSpPr>
        <p:sp>
          <p:nvSpPr>
            <p:cNvPr id="19" name="TextBox 18">
              <a:extLst>
                <a:ext uri="{FF2B5EF4-FFF2-40B4-BE49-F238E27FC236}">
                  <a16:creationId xmlns:a16="http://schemas.microsoft.com/office/drawing/2014/main" id="{A657097F-4B5B-45EE-A474-3CE322343EA7}"/>
                </a:ext>
              </a:extLst>
            </p:cNvPr>
            <p:cNvSpPr txBox="1"/>
            <p:nvPr/>
          </p:nvSpPr>
          <p:spPr>
            <a:xfrm>
              <a:off x="7273600" y="3923008"/>
              <a:ext cx="1796569" cy="523220"/>
            </a:xfrm>
            <a:prstGeom prst="rect">
              <a:avLst/>
            </a:prstGeom>
            <a:noFill/>
          </p:spPr>
          <p:txBody>
            <a:bodyPr wrap="square" rtlCol="0">
              <a:spAutoFit/>
            </a:bodyPr>
            <a:lstStyle/>
            <a:p>
              <a:pPr algn="ctr"/>
              <a:r>
                <a:rPr lang="en-US" altLang="ko-KR" sz="2800" b="1" dirty="0">
                  <a:solidFill>
                    <a:schemeClr val="accent3"/>
                  </a:solidFill>
                  <a:cs typeface="Arial" pitchFamily="34" charset="0"/>
                </a:rPr>
                <a:t>Religion</a:t>
              </a:r>
              <a:endParaRPr lang="ko-KR" altLang="en-US" sz="2800" b="1" dirty="0">
                <a:solidFill>
                  <a:schemeClr val="accent3"/>
                </a:solidFill>
                <a:cs typeface="Arial" pitchFamily="34" charset="0"/>
              </a:endParaRPr>
            </a:p>
          </p:txBody>
        </p:sp>
        <p:grpSp>
          <p:nvGrpSpPr>
            <p:cNvPr id="32" name="Group 31">
              <a:extLst>
                <a:ext uri="{FF2B5EF4-FFF2-40B4-BE49-F238E27FC236}">
                  <a16:creationId xmlns:a16="http://schemas.microsoft.com/office/drawing/2014/main" id="{CCB319CD-4A4C-4819-B68C-2473E70543BD}"/>
                </a:ext>
              </a:extLst>
            </p:cNvPr>
            <p:cNvGrpSpPr/>
            <p:nvPr/>
          </p:nvGrpSpPr>
          <p:grpSpPr>
            <a:xfrm>
              <a:off x="7355343" y="1667621"/>
              <a:ext cx="1747322" cy="1879720"/>
              <a:chOff x="7285007" y="1920605"/>
              <a:chExt cx="1747322" cy="1879720"/>
            </a:xfrm>
          </p:grpSpPr>
          <p:sp>
            <p:nvSpPr>
              <p:cNvPr id="33" name="Oval 32">
                <a:extLst>
                  <a:ext uri="{FF2B5EF4-FFF2-40B4-BE49-F238E27FC236}">
                    <a16:creationId xmlns:a16="http://schemas.microsoft.com/office/drawing/2014/main" id="{626D569C-3583-40F1-A020-9A816AE5554E}"/>
                  </a:ext>
                </a:extLst>
              </p:cNvPr>
              <p:cNvSpPr/>
              <p:nvPr/>
            </p:nvSpPr>
            <p:spPr>
              <a:xfrm>
                <a:off x="7285007" y="2167241"/>
                <a:ext cx="1633084" cy="1633084"/>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4" name="Oval 33">
                <a:extLst>
                  <a:ext uri="{FF2B5EF4-FFF2-40B4-BE49-F238E27FC236}">
                    <a16:creationId xmlns:a16="http://schemas.microsoft.com/office/drawing/2014/main" id="{A450FF19-C4E3-4CDB-97AF-C5FE2C7AC389}"/>
                  </a:ext>
                </a:extLst>
              </p:cNvPr>
              <p:cNvSpPr/>
              <p:nvPr/>
            </p:nvSpPr>
            <p:spPr>
              <a:xfrm>
                <a:off x="8221353" y="1920605"/>
                <a:ext cx="810976" cy="81097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grpSp>
        <p:sp>
          <p:nvSpPr>
            <p:cNvPr id="38" name="TextBox 37">
              <a:extLst>
                <a:ext uri="{FF2B5EF4-FFF2-40B4-BE49-F238E27FC236}">
                  <a16:creationId xmlns:a16="http://schemas.microsoft.com/office/drawing/2014/main" id="{788FB364-9226-47D1-8B99-DF72B6151BD2}"/>
                </a:ext>
              </a:extLst>
            </p:cNvPr>
            <p:cNvSpPr txBox="1"/>
            <p:nvPr/>
          </p:nvSpPr>
          <p:spPr>
            <a:xfrm>
              <a:off x="7675058" y="245805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6</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pic>
          <p:nvPicPr>
            <p:cNvPr id="51" name="Picture 50" descr="A close up of a logo&#10;&#10;Description automatically generated">
              <a:extLst>
                <a:ext uri="{FF2B5EF4-FFF2-40B4-BE49-F238E27FC236}">
                  <a16:creationId xmlns:a16="http://schemas.microsoft.com/office/drawing/2014/main" id="{C573EFB2-80BD-4741-A272-E859C93548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377137" y="1753069"/>
              <a:ext cx="640080" cy="640080"/>
            </a:xfrm>
            <a:prstGeom prst="rect">
              <a:avLst/>
            </a:prstGeom>
          </p:spPr>
        </p:pic>
      </p:grpSp>
      <p:grpSp>
        <p:nvGrpSpPr>
          <p:cNvPr id="44" name="Group 43">
            <a:extLst>
              <a:ext uri="{FF2B5EF4-FFF2-40B4-BE49-F238E27FC236}">
                <a16:creationId xmlns:a16="http://schemas.microsoft.com/office/drawing/2014/main" id="{BCA16A8B-EB36-40B1-8ACB-F6DEC0A63D97}"/>
              </a:ext>
            </a:extLst>
          </p:cNvPr>
          <p:cNvGrpSpPr/>
          <p:nvPr/>
        </p:nvGrpSpPr>
        <p:grpSpPr>
          <a:xfrm>
            <a:off x="9358133" y="2650214"/>
            <a:ext cx="1914272" cy="2682824"/>
            <a:chOff x="9358133" y="2650214"/>
            <a:chExt cx="1914272" cy="2682824"/>
          </a:xfrm>
        </p:grpSpPr>
        <p:sp>
          <p:nvSpPr>
            <p:cNvPr id="7" name="TextBox 6">
              <a:extLst>
                <a:ext uri="{FF2B5EF4-FFF2-40B4-BE49-F238E27FC236}">
                  <a16:creationId xmlns:a16="http://schemas.microsoft.com/office/drawing/2014/main" id="{C30F0F04-C0E2-48FA-91B1-5D1A3ADEFE6C}"/>
                </a:ext>
              </a:extLst>
            </p:cNvPr>
            <p:cNvSpPr txBox="1"/>
            <p:nvPr/>
          </p:nvSpPr>
          <p:spPr>
            <a:xfrm>
              <a:off x="9358133" y="4809818"/>
              <a:ext cx="1796570" cy="523220"/>
            </a:xfrm>
            <a:prstGeom prst="rect">
              <a:avLst/>
            </a:prstGeom>
            <a:noFill/>
          </p:spPr>
          <p:txBody>
            <a:bodyPr wrap="square" rtlCol="0">
              <a:spAutoFit/>
            </a:bodyPr>
            <a:lstStyle/>
            <a:p>
              <a:pPr algn="ctr"/>
              <a:r>
                <a:rPr lang="en-US" altLang="ko-KR" sz="2800" b="1" dirty="0">
                  <a:solidFill>
                    <a:schemeClr val="accent4"/>
                  </a:solidFill>
                  <a:cs typeface="Arial" pitchFamily="34" charset="0"/>
                </a:rPr>
                <a:t>Race</a:t>
              </a:r>
              <a:endParaRPr lang="ko-KR" altLang="en-US" sz="2800" b="1" dirty="0">
                <a:solidFill>
                  <a:schemeClr val="accent4"/>
                </a:solidFill>
                <a:cs typeface="Arial" pitchFamily="34" charset="0"/>
              </a:endParaRPr>
            </a:p>
          </p:txBody>
        </p:sp>
        <p:grpSp>
          <p:nvGrpSpPr>
            <p:cNvPr id="29" name="Group 28">
              <a:extLst>
                <a:ext uri="{FF2B5EF4-FFF2-40B4-BE49-F238E27FC236}">
                  <a16:creationId xmlns:a16="http://schemas.microsoft.com/office/drawing/2014/main" id="{0DBDC700-B4D3-4279-A7D8-9FD30432BA3B}"/>
                </a:ext>
              </a:extLst>
            </p:cNvPr>
            <p:cNvGrpSpPr/>
            <p:nvPr/>
          </p:nvGrpSpPr>
          <p:grpSpPr>
            <a:xfrm>
              <a:off x="9449497" y="2650214"/>
              <a:ext cx="1822908" cy="1796014"/>
              <a:chOff x="9379161" y="2903198"/>
              <a:chExt cx="1822908" cy="1796014"/>
            </a:xfrm>
          </p:grpSpPr>
          <p:sp>
            <p:nvSpPr>
              <p:cNvPr id="30" name="Oval 29">
                <a:extLst>
                  <a:ext uri="{FF2B5EF4-FFF2-40B4-BE49-F238E27FC236}">
                    <a16:creationId xmlns:a16="http://schemas.microsoft.com/office/drawing/2014/main" id="{3AA3BA34-9735-45EB-BBA4-727226D239B3}"/>
                  </a:ext>
                </a:extLst>
              </p:cNvPr>
              <p:cNvSpPr/>
              <p:nvPr/>
            </p:nvSpPr>
            <p:spPr>
              <a:xfrm>
                <a:off x="9379161" y="3066129"/>
                <a:ext cx="1633084" cy="1633083"/>
              </a:xfrm>
              <a:prstGeom prst="ellips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1" name="Oval 30">
                <a:extLst>
                  <a:ext uri="{FF2B5EF4-FFF2-40B4-BE49-F238E27FC236}">
                    <a16:creationId xmlns:a16="http://schemas.microsoft.com/office/drawing/2014/main" id="{36AE08FC-837F-4A3A-96DC-F95542E7D143}"/>
                  </a:ext>
                </a:extLst>
              </p:cNvPr>
              <p:cNvSpPr/>
              <p:nvPr/>
            </p:nvSpPr>
            <p:spPr>
              <a:xfrm>
                <a:off x="10391094" y="2903198"/>
                <a:ext cx="810975" cy="810975"/>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sp>
          <p:nvSpPr>
            <p:cNvPr id="39" name="TextBox 38">
              <a:extLst>
                <a:ext uri="{FF2B5EF4-FFF2-40B4-BE49-F238E27FC236}">
                  <a16:creationId xmlns:a16="http://schemas.microsoft.com/office/drawing/2014/main" id="{D012FFEF-39B0-49B3-8572-0E0A239632B6}"/>
                </a:ext>
              </a:extLst>
            </p:cNvPr>
            <p:cNvSpPr txBox="1"/>
            <p:nvPr/>
          </p:nvSpPr>
          <p:spPr>
            <a:xfrm>
              <a:off x="9758317" y="337452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5</a:t>
              </a:r>
              <a:r>
                <a:rPr lang="en-US" altLang="ko-KR" sz="2200" dirty="0">
                  <a:solidFill>
                    <a:schemeClr val="accent1"/>
                  </a:solidFill>
                  <a:latin typeface="Impact" panose="020B0806030902050204" pitchFamily="34" charset="0"/>
                  <a:cs typeface="Arial" pitchFamily="34" charset="0"/>
                </a:rPr>
                <a:t>%</a:t>
              </a:r>
              <a:endParaRPr lang="ko-KR" altLang="en-US" sz="2200" dirty="0">
                <a:solidFill>
                  <a:schemeClr val="accent1"/>
                </a:solidFill>
                <a:latin typeface="Impact" panose="020B0806030902050204" pitchFamily="34" charset="0"/>
                <a:cs typeface="Arial" pitchFamily="34" charset="0"/>
              </a:endParaRPr>
            </a:p>
          </p:txBody>
        </p:sp>
        <p:pic>
          <p:nvPicPr>
            <p:cNvPr id="5" name="Picture 4" descr="A picture containing clipart&#10;&#10;Description automatically generated">
              <a:extLst>
                <a:ext uri="{FF2B5EF4-FFF2-40B4-BE49-F238E27FC236}">
                  <a16:creationId xmlns:a16="http://schemas.microsoft.com/office/drawing/2014/main" id="{F27DC2C8-C2E7-4F93-9F23-871E816680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0537413" y="2752229"/>
              <a:ext cx="640080" cy="640080"/>
            </a:xfrm>
            <a:prstGeom prst="rect">
              <a:avLst/>
            </a:prstGeom>
          </p:spPr>
        </p:pic>
      </p:grpSp>
      <p:sp>
        <p:nvSpPr>
          <p:cNvPr id="41" name="Slide Number Placeholder 2">
            <a:extLst>
              <a:ext uri="{FF2B5EF4-FFF2-40B4-BE49-F238E27FC236}">
                <a16:creationId xmlns:a16="http://schemas.microsoft.com/office/drawing/2014/main" id="{90909416-D9E9-4EF3-BCE0-AD922D464276}"/>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6240625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50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0"/>
                                        </p:tgtEl>
                                        <p:attrNameLst>
                                          <p:attrName>style.visibility</p:attrName>
                                        </p:attrNameLst>
                                      </p:cBhvr>
                                      <p:to>
                                        <p:strVal val="visible"/>
                                      </p:to>
                                    </p:set>
                                    <p:animEffect transition="in" filter="fade">
                                      <p:cBhvr>
                                        <p:cTn id="12" dur="500"/>
                                        <p:tgtEl>
                                          <p:spTgt spid="40"/>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nodeType="click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nodeType="clickEffect">
                                  <p:stCondLst>
                                    <p:cond delay="0"/>
                                  </p:stCondLst>
                                  <p:childTnLst>
                                    <p:set>
                                      <p:cBhvr>
                                        <p:cTn id="21" dur="1" fill="hold">
                                          <p:stCondLst>
                                            <p:cond delay="0"/>
                                          </p:stCondLst>
                                        </p:cTn>
                                        <p:tgtEl>
                                          <p:spTgt spid="43"/>
                                        </p:tgtEl>
                                        <p:attrNameLst>
                                          <p:attrName>style.visibility</p:attrName>
                                        </p:attrNameLst>
                                      </p:cBhvr>
                                      <p:to>
                                        <p:strVal val="visible"/>
                                      </p:to>
                                    </p:set>
                                    <p:animEffect transition="in" filter="fade">
                                      <p:cBhvr>
                                        <p:cTn id="22" dur="500"/>
                                        <p:tgtEl>
                                          <p:spTgt spid="43"/>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nodeType="click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a:extLst>
              <a:ext uri="{FF2B5EF4-FFF2-40B4-BE49-F238E27FC236}">
                <a16:creationId xmlns:a16="http://schemas.microsoft.com/office/drawing/2014/main" id="{A5589B46-9C0D-4820-878C-75539531D85F}"/>
              </a:ext>
            </a:extLst>
          </p:cNvPr>
          <p:cNvGrpSpPr/>
          <p:nvPr/>
        </p:nvGrpSpPr>
        <p:grpSpPr>
          <a:xfrm>
            <a:off x="1946787" y="1344954"/>
            <a:ext cx="8927690" cy="4814535"/>
            <a:chOff x="555239" y="1365673"/>
            <a:chExt cx="5422424" cy="4814535"/>
          </a:xfrm>
        </p:grpSpPr>
        <p:sp>
          <p:nvSpPr>
            <p:cNvPr id="47" name="Rectangle 46">
              <a:extLst>
                <a:ext uri="{FF2B5EF4-FFF2-40B4-BE49-F238E27FC236}">
                  <a16:creationId xmlns:a16="http://schemas.microsoft.com/office/drawing/2014/main" id="{20503EAF-5DC2-4DCD-A9F8-817AE106CFF5}"/>
                </a:ext>
              </a:extLst>
            </p:cNvPr>
            <p:cNvSpPr/>
            <p:nvPr/>
          </p:nvSpPr>
          <p:spPr bwMode="auto">
            <a:xfrm>
              <a:off x="555239" y="1365673"/>
              <a:ext cx="5422424" cy="4814535"/>
            </a:xfrm>
            <a:prstGeom prst="rect">
              <a:avLst/>
            </a:prstGeom>
            <a:solidFill>
              <a:schemeClr val="tx1"/>
            </a:solidFill>
            <a:ln w="12700">
              <a:solidFill>
                <a:schemeClr val="bg1">
                  <a:lumMod val="50000"/>
                  <a:lumOff val="50000"/>
                </a:schemeClr>
              </a:solidFill>
              <a:headEnd type="none" w="med" len="med"/>
              <a:tailEnd type="none" w="med" len="med"/>
            </a:ln>
            <a:effectLst>
              <a:outerShdw blurRad="50800" dist="381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CE2E5B64-A36F-4A60-8508-B192629E9810}"/>
                </a:ext>
              </a:extLst>
            </p:cNvPr>
            <p:cNvSpPr/>
            <p:nvPr/>
          </p:nvSpPr>
          <p:spPr bwMode="auto">
            <a:xfrm>
              <a:off x="555239" y="1373938"/>
              <a:ext cx="2103120" cy="640080"/>
            </a:xfrm>
            <a:prstGeom prst="rect">
              <a:avLst/>
            </a:prstGeom>
            <a:solidFill>
              <a:srgbClr val="3282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ources of online risk</a:t>
              </a:r>
            </a:p>
          </p:txBody>
        </p:sp>
      </p:grpSp>
      <p:sp>
        <p:nvSpPr>
          <p:cNvPr id="62" name="Rectangle 61">
            <a:extLst>
              <a:ext uri="{FF2B5EF4-FFF2-40B4-BE49-F238E27FC236}">
                <a16:creationId xmlns:a16="http://schemas.microsoft.com/office/drawing/2014/main" id="{80A032D8-DB6E-462D-8E5B-F464BEBC0545}"/>
              </a:ext>
            </a:extLst>
          </p:cNvPr>
          <p:cNvSpPr/>
          <p:nvPr/>
        </p:nvSpPr>
        <p:spPr>
          <a:xfrm>
            <a:off x="33830" y="6553495"/>
            <a:ext cx="6094444" cy="246221"/>
          </a:xfrm>
          <a:prstGeom prst="rect">
            <a:avLst/>
          </a:prstGeom>
        </p:spPr>
        <p:txBody>
          <a:bodyPr>
            <a:spAutoFit/>
          </a:bodyPr>
          <a:lstStyle/>
          <a:p>
            <a:pPr defTabSz="914367"/>
            <a:r>
              <a:rPr lang="en-US" sz="1000" i="1" dirty="0">
                <a:solidFill>
                  <a:srgbClr val="FFFFFF">
                    <a:lumMod val="50000"/>
                  </a:srgbClr>
                </a:solidFill>
                <a:latin typeface="Arial" panose="020B0604020202020204" pitchFamily="34" charset="0"/>
                <a:cs typeface="Arial" panose="020B0604020202020204" pitchFamily="34" charset="0"/>
              </a:rPr>
              <a:t>Q2: Which of these has ever happened to you or to a friend/family member ONLINE?</a:t>
            </a:r>
          </a:p>
        </p:txBody>
      </p:sp>
      <p:sp>
        <p:nvSpPr>
          <p:cNvPr id="63" name="Text Placeholder 1">
            <a:extLst>
              <a:ext uri="{FF2B5EF4-FFF2-40B4-BE49-F238E27FC236}">
                <a16:creationId xmlns:a16="http://schemas.microsoft.com/office/drawing/2014/main" id="{CAF9088D-1166-4787-8282-93D33127CE0B}"/>
              </a:ext>
            </a:extLst>
          </p:cNvPr>
          <p:cNvSpPr>
            <a:spLocks noGrp="1"/>
          </p:cNvSpPr>
          <p:nvPr>
            <p:ph type="body" sz="quarter" idx="10"/>
          </p:nvPr>
        </p:nvSpPr>
        <p:spPr>
          <a:xfrm>
            <a:off x="323529" y="304601"/>
            <a:ext cx="11573197" cy="794064"/>
          </a:xfrm>
        </p:spPr>
        <p:txBody>
          <a:bodyPr/>
          <a:lstStyle/>
          <a:p>
            <a:pPr algn="l"/>
            <a:r>
              <a:rPr lang="en-US" dirty="0"/>
              <a:t>Risks from family &amp; friends edged higher</a:t>
            </a:r>
          </a:p>
        </p:txBody>
      </p:sp>
      <p:graphicFrame>
        <p:nvGraphicFramePr>
          <p:cNvPr id="6" name="Chart 5">
            <a:extLst>
              <a:ext uri="{FF2B5EF4-FFF2-40B4-BE49-F238E27FC236}">
                <a16:creationId xmlns:a16="http://schemas.microsoft.com/office/drawing/2014/main" id="{79F893EB-850F-462B-BBD9-1374C313769C}"/>
              </a:ext>
            </a:extLst>
          </p:cNvPr>
          <p:cNvGraphicFramePr/>
          <p:nvPr>
            <p:extLst>
              <p:ext uri="{D42A27DB-BD31-4B8C-83A1-F6EECF244321}">
                <p14:modId xmlns:p14="http://schemas.microsoft.com/office/powerpoint/2010/main" val="4180117266"/>
              </p:ext>
            </p:extLst>
          </p:nvPr>
        </p:nvGraphicFramePr>
        <p:xfrm>
          <a:off x="2212258" y="1592826"/>
          <a:ext cx="8504902" cy="4931685"/>
        </p:xfrm>
        <a:graphic>
          <a:graphicData uri="http://schemas.openxmlformats.org/drawingml/2006/chart">
            <c:chart xmlns:c="http://schemas.openxmlformats.org/drawingml/2006/chart" xmlns:r="http://schemas.openxmlformats.org/officeDocument/2006/relationships" r:id="rId3"/>
          </a:graphicData>
        </a:graphic>
      </p:graphicFrame>
      <p:sp>
        <p:nvSpPr>
          <p:cNvPr id="9" name="Speech Bubble: Rectangle with Corners Rounded 8">
            <a:extLst>
              <a:ext uri="{FF2B5EF4-FFF2-40B4-BE49-F238E27FC236}">
                <a16:creationId xmlns:a16="http://schemas.microsoft.com/office/drawing/2014/main" id="{74947377-5240-4100-9DAB-9B8AE88F1CE5}"/>
              </a:ext>
            </a:extLst>
          </p:cNvPr>
          <p:cNvSpPr/>
          <p:nvPr/>
        </p:nvSpPr>
        <p:spPr bwMode="auto">
          <a:xfrm>
            <a:off x="7837714" y="1882588"/>
            <a:ext cx="2651666" cy="790884"/>
          </a:xfrm>
          <a:prstGeom prst="wedgeRoundRectCallout">
            <a:avLst>
              <a:gd name="adj1" fmla="val -39824"/>
              <a:gd name="adj2" fmla="val 112654"/>
              <a:gd name="adj3" fmla="val 16667"/>
            </a:avLst>
          </a:prstGeom>
          <a:solidFill>
            <a:srgbClr val="28608C"/>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2800" b="1"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30%</a:t>
            </a:r>
            <a:r>
              <a:rPr lang="en-US" sz="2000" b="1"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 </a:t>
            </a:r>
            <a:r>
              <a:rPr lang="en-US" sz="16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2 YOY </a:t>
            </a:r>
            <a:r>
              <a:rPr lang="en-US" sz="20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Family &amp; Friends</a:t>
            </a:r>
          </a:p>
        </p:txBody>
      </p:sp>
      <p:sp>
        <p:nvSpPr>
          <p:cNvPr id="2" name="Right Brace 1">
            <a:extLst>
              <a:ext uri="{FF2B5EF4-FFF2-40B4-BE49-F238E27FC236}">
                <a16:creationId xmlns:a16="http://schemas.microsoft.com/office/drawing/2014/main" id="{2576792C-9C25-4463-BADB-A63E4F6FE9EC}"/>
              </a:ext>
            </a:extLst>
          </p:cNvPr>
          <p:cNvSpPr/>
          <p:nvPr/>
        </p:nvSpPr>
        <p:spPr>
          <a:xfrm>
            <a:off x="7837714" y="2853732"/>
            <a:ext cx="221064" cy="575268"/>
          </a:xfrm>
          <a:prstGeom prst="rightBrace">
            <a:avLst/>
          </a:prstGeom>
          <a:ln>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solidFill>
                <a:schemeClr val="bg1"/>
              </a:solidFill>
            </a:endParaRPr>
          </a:p>
        </p:txBody>
      </p:sp>
      <p:sp>
        <p:nvSpPr>
          <p:cNvPr id="16" name="Slide Number Placeholder 2">
            <a:extLst>
              <a:ext uri="{FF2B5EF4-FFF2-40B4-BE49-F238E27FC236}">
                <a16:creationId xmlns:a16="http://schemas.microsoft.com/office/drawing/2014/main" id="{5D63E383-E3F5-4441-98B3-77DAD72880E0}"/>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cxnSp>
        <p:nvCxnSpPr>
          <p:cNvPr id="17" name="Straight Connector 16">
            <a:extLst>
              <a:ext uri="{FF2B5EF4-FFF2-40B4-BE49-F238E27FC236}">
                <a16:creationId xmlns:a16="http://schemas.microsoft.com/office/drawing/2014/main" id="{63A0B785-6660-487B-A562-3A8295162475}"/>
              </a:ext>
            </a:extLst>
          </p:cNvPr>
          <p:cNvCxnSpPr>
            <a:cxnSpLocks/>
          </p:cNvCxnSpPr>
          <p:nvPr/>
        </p:nvCxnSpPr>
        <p:spPr>
          <a:xfrm flipV="1">
            <a:off x="6010506" y="2754352"/>
            <a:ext cx="575141" cy="189444"/>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E8A2CE16-CC3A-41C9-A432-ABB2A7C89AAE}"/>
              </a:ext>
            </a:extLst>
          </p:cNvPr>
          <p:cNvCxnSpPr>
            <a:cxnSpLocks/>
          </p:cNvCxnSpPr>
          <p:nvPr/>
        </p:nvCxnSpPr>
        <p:spPr>
          <a:xfrm flipV="1">
            <a:off x="4387647" y="2954947"/>
            <a:ext cx="563494" cy="503060"/>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EE8128DF-3D28-4366-8AE3-CA26E23C59C1}"/>
              </a:ext>
            </a:extLst>
          </p:cNvPr>
          <p:cNvCxnSpPr>
            <a:cxnSpLocks/>
          </p:cNvCxnSpPr>
          <p:nvPr/>
        </p:nvCxnSpPr>
        <p:spPr>
          <a:xfrm flipV="1">
            <a:off x="4387647" y="3574550"/>
            <a:ext cx="563494" cy="306491"/>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20EA071B-49A2-410A-BB13-01C376A57594}"/>
              </a:ext>
            </a:extLst>
          </p:cNvPr>
          <p:cNvCxnSpPr>
            <a:cxnSpLocks/>
          </p:cNvCxnSpPr>
          <p:nvPr/>
        </p:nvCxnSpPr>
        <p:spPr>
          <a:xfrm flipV="1">
            <a:off x="6021657" y="3479916"/>
            <a:ext cx="563990" cy="112745"/>
          </a:xfrm>
          <a:prstGeom prst="line">
            <a:avLst/>
          </a:prstGeom>
          <a:ln>
            <a:solidFill>
              <a:schemeClr val="bg1"/>
            </a:solidFill>
            <a:prstDash val="sysDash"/>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42503383"/>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262626">
            <a:alpha val="92000"/>
          </a:srgbClr>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5570E26-EA9C-4D53-BE9B-3AE24E8A6D31}"/>
              </a:ext>
            </a:extLst>
          </p:cNvPr>
          <p:cNvSpPr/>
          <p:nvPr/>
        </p:nvSpPr>
        <p:spPr bwMode="auto">
          <a:xfrm>
            <a:off x="10758" y="0"/>
            <a:ext cx="12192000" cy="6858000"/>
          </a:xfrm>
          <a:prstGeom prst="rect">
            <a:avLst/>
          </a:prstGeom>
          <a:solidFill>
            <a:srgbClr val="262626">
              <a:alpha val="92000"/>
            </a:srgbClr>
          </a:solidFill>
          <a:ln w="9525" cap="flat" cmpd="sng" algn="ctr">
            <a:noFill/>
            <a:prstDash val="solid"/>
            <a:headEnd type="none" w="med" len="med"/>
            <a:tailEnd type="none" w="med" len="med"/>
          </a:ln>
          <a:effectLst/>
        </p:spPr>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Text Placeholder 1">
            <a:extLst>
              <a:ext uri="{FF2B5EF4-FFF2-40B4-BE49-F238E27FC236}">
                <a16:creationId xmlns:a16="http://schemas.microsoft.com/office/drawing/2014/main" id="{7C4D5AF0-52AF-4422-B9B4-F1D786180131}"/>
              </a:ext>
            </a:extLst>
          </p:cNvPr>
          <p:cNvSpPr txBox="1">
            <a:spLocks/>
          </p:cNvSpPr>
          <p:nvPr/>
        </p:nvSpPr>
        <p:spPr>
          <a:xfrm>
            <a:off x="323529" y="-97"/>
            <a:ext cx="11573197" cy="1403461"/>
          </a:xfrm>
          <a:prstGeom prst="rect">
            <a:avLst/>
          </a:prstGeom>
        </p:spPr>
        <p:txBody>
          <a:bodyPr vert="horz" wrap="square" lIns="146304" tIns="91440" rIns="146304" bIns="91440" rtlCol="0" anchor="ctr">
            <a:spAutoFit/>
          </a:bodyPr>
          <a:lstStyle>
            <a:lvl1pPr marL="0"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4400" b="0" kern="1200" spc="0" baseline="0">
                <a:solidFill>
                  <a:schemeClr val="bg1"/>
                </a:solidFill>
                <a:latin typeface="Arial" panose="020B0604020202020204" pitchFamily="34" charset="0"/>
                <a:ea typeface="+mn-ea"/>
                <a:cs typeface="Arial"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lvl="0" algn="l">
              <a:defRPr/>
            </a:pPr>
            <a:r>
              <a:rPr lang="en-US" dirty="0">
                <a:solidFill>
                  <a:srgbClr val="FFFFFF"/>
                </a:solidFill>
              </a:rPr>
              <a:t>Familiarity with the perpetrator is associated with more risk &amp; consequences</a:t>
            </a:r>
          </a:p>
        </p:txBody>
      </p:sp>
      <p:sp>
        <p:nvSpPr>
          <p:cNvPr id="6" name="TextBox 5">
            <a:extLst>
              <a:ext uri="{FF2B5EF4-FFF2-40B4-BE49-F238E27FC236}">
                <a16:creationId xmlns:a16="http://schemas.microsoft.com/office/drawing/2014/main" id="{CBBD30AA-E148-4AD8-ABE8-7D02674042B4}"/>
              </a:ext>
            </a:extLst>
          </p:cNvPr>
          <p:cNvSpPr txBox="1"/>
          <p:nvPr/>
        </p:nvSpPr>
        <p:spPr>
          <a:xfrm>
            <a:off x="38194" y="6582635"/>
            <a:ext cx="6974752" cy="246221"/>
          </a:xfrm>
          <a:prstGeom prst="rect">
            <a:avLst/>
          </a:prstGeom>
          <a:noFill/>
        </p:spPr>
        <p:txBody>
          <a:bodyPr wrap="square" rtlCol="0">
            <a:spAutoFit/>
          </a:bodyPr>
          <a:lstStyle/>
          <a:p>
            <a:r>
              <a:rPr lang="en-US" sz="1000" i="1" dirty="0">
                <a:solidFill>
                  <a:srgbClr val="FFFFFF"/>
                </a:solidFill>
                <a:latin typeface="Arial" panose="020B0604020202020204" pitchFamily="34" charset="0"/>
                <a:cs typeface="Arial" panose="020B0604020202020204" pitchFamily="34" charset="0"/>
              </a:rPr>
              <a:t>Q5: Have you ever met the person(s) in real life who treated you in an unsafe or uncivil manner when you were online? ?</a:t>
            </a:r>
          </a:p>
        </p:txBody>
      </p:sp>
      <p:graphicFrame>
        <p:nvGraphicFramePr>
          <p:cNvPr id="8" name="Chart 7">
            <a:extLst>
              <a:ext uri="{FF2B5EF4-FFF2-40B4-BE49-F238E27FC236}">
                <a16:creationId xmlns:a16="http://schemas.microsoft.com/office/drawing/2014/main" id="{B94AAC1A-9BDE-4694-99FC-49E999816CF6}"/>
              </a:ext>
            </a:extLst>
          </p:cNvPr>
          <p:cNvGraphicFramePr/>
          <p:nvPr>
            <p:extLst>
              <p:ext uri="{D42A27DB-BD31-4B8C-83A1-F6EECF244321}">
                <p14:modId xmlns:p14="http://schemas.microsoft.com/office/powerpoint/2010/main" val="1480957101"/>
              </p:ext>
            </p:extLst>
          </p:nvPr>
        </p:nvGraphicFramePr>
        <p:xfrm>
          <a:off x="923931" y="2035097"/>
          <a:ext cx="3291840" cy="420925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190196C2-18A6-49AC-B874-DA5CB5D6DA42}"/>
              </a:ext>
            </a:extLst>
          </p:cNvPr>
          <p:cNvGraphicFramePr/>
          <p:nvPr>
            <p:extLst>
              <p:ext uri="{D42A27DB-BD31-4B8C-83A1-F6EECF244321}">
                <p14:modId xmlns:p14="http://schemas.microsoft.com/office/powerpoint/2010/main" val="2080354270"/>
              </p:ext>
            </p:extLst>
          </p:nvPr>
        </p:nvGraphicFramePr>
        <p:xfrm>
          <a:off x="4495605" y="2035097"/>
          <a:ext cx="3291840" cy="420925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BD568D4B-9C68-4CDF-BF74-674A13D506A2}"/>
              </a:ext>
            </a:extLst>
          </p:cNvPr>
          <p:cNvGraphicFramePr/>
          <p:nvPr>
            <p:extLst>
              <p:ext uri="{D42A27DB-BD31-4B8C-83A1-F6EECF244321}">
                <p14:modId xmlns:p14="http://schemas.microsoft.com/office/powerpoint/2010/main" val="727918832"/>
              </p:ext>
            </p:extLst>
          </p:nvPr>
        </p:nvGraphicFramePr>
        <p:xfrm>
          <a:off x="8067279" y="2035097"/>
          <a:ext cx="3291840" cy="4209251"/>
        </p:xfrm>
        <a:graphic>
          <a:graphicData uri="http://schemas.openxmlformats.org/drawingml/2006/chart">
            <c:chart xmlns:c="http://schemas.openxmlformats.org/drawingml/2006/chart" xmlns:r="http://schemas.openxmlformats.org/officeDocument/2006/relationships" r:id="rId5"/>
          </a:graphicData>
        </a:graphic>
      </p:graphicFrame>
      <p:sp>
        <p:nvSpPr>
          <p:cNvPr id="7" name="TextBox 6">
            <a:extLst>
              <a:ext uri="{FF2B5EF4-FFF2-40B4-BE49-F238E27FC236}">
                <a16:creationId xmlns:a16="http://schemas.microsoft.com/office/drawing/2014/main" id="{0621ABD3-09AE-4E9A-A3D7-35CF75E8FFDF}"/>
              </a:ext>
            </a:extLst>
          </p:cNvPr>
          <p:cNvSpPr txBox="1"/>
          <p:nvPr/>
        </p:nvSpPr>
        <p:spPr>
          <a:xfrm>
            <a:off x="10397880" y="2983005"/>
            <a:ext cx="499618" cy="276999"/>
          </a:xfrm>
          <a:prstGeom prst="rect">
            <a:avLst/>
          </a:prstGeom>
          <a:noFill/>
        </p:spPr>
        <p:txBody>
          <a:bodyPr wrap="square" rtlCol="0">
            <a:spAutoFit/>
          </a:bodyPr>
          <a:lstStyle/>
          <a:p>
            <a:r>
              <a:rPr lang="en-US" sz="1200" b="1" dirty="0">
                <a:solidFill>
                  <a:schemeClr val="bg1"/>
                </a:solidFill>
              </a:rPr>
              <a:t>Met</a:t>
            </a:r>
          </a:p>
        </p:txBody>
      </p:sp>
      <p:sp>
        <p:nvSpPr>
          <p:cNvPr id="11" name="TextBox 10">
            <a:extLst>
              <a:ext uri="{FF2B5EF4-FFF2-40B4-BE49-F238E27FC236}">
                <a16:creationId xmlns:a16="http://schemas.microsoft.com/office/drawing/2014/main" id="{48554CC0-06CF-4EBD-839F-CDF4A415705F}"/>
              </a:ext>
            </a:extLst>
          </p:cNvPr>
          <p:cNvSpPr txBox="1"/>
          <p:nvPr/>
        </p:nvSpPr>
        <p:spPr>
          <a:xfrm>
            <a:off x="10316595" y="4524356"/>
            <a:ext cx="965209" cy="276999"/>
          </a:xfrm>
          <a:prstGeom prst="rect">
            <a:avLst/>
          </a:prstGeom>
          <a:noFill/>
        </p:spPr>
        <p:txBody>
          <a:bodyPr wrap="square" rtlCol="0">
            <a:spAutoFit/>
          </a:bodyPr>
          <a:lstStyle/>
          <a:p>
            <a:r>
              <a:rPr lang="en-US" sz="1200" b="1" dirty="0">
                <a:solidFill>
                  <a:schemeClr val="bg1"/>
                </a:solidFill>
              </a:rPr>
              <a:t>Not met</a:t>
            </a:r>
          </a:p>
        </p:txBody>
      </p:sp>
      <p:sp>
        <p:nvSpPr>
          <p:cNvPr id="12" name="TextBox 11">
            <a:extLst>
              <a:ext uri="{FF2B5EF4-FFF2-40B4-BE49-F238E27FC236}">
                <a16:creationId xmlns:a16="http://schemas.microsoft.com/office/drawing/2014/main" id="{75CC5968-7CFC-45E4-A7CD-3EB0C73709F0}"/>
              </a:ext>
            </a:extLst>
          </p:cNvPr>
          <p:cNvSpPr txBox="1"/>
          <p:nvPr/>
        </p:nvSpPr>
        <p:spPr>
          <a:xfrm>
            <a:off x="7047540" y="2960702"/>
            <a:ext cx="499618" cy="276999"/>
          </a:xfrm>
          <a:prstGeom prst="rect">
            <a:avLst/>
          </a:prstGeom>
          <a:noFill/>
        </p:spPr>
        <p:txBody>
          <a:bodyPr wrap="square" rtlCol="0">
            <a:spAutoFit/>
          </a:bodyPr>
          <a:lstStyle/>
          <a:p>
            <a:r>
              <a:rPr lang="en-US" sz="1200" b="1" dirty="0">
                <a:solidFill>
                  <a:schemeClr val="bg1"/>
                </a:solidFill>
              </a:rPr>
              <a:t>Met</a:t>
            </a:r>
          </a:p>
        </p:txBody>
      </p:sp>
      <p:sp>
        <p:nvSpPr>
          <p:cNvPr id="13" name="TextBox 12">
            <a:extLst>
              <a:ext uri="{FF2B5EF4-FFF2-40B4-BE49-F238E27FC236}">
                <a16:creationId xmlns:a16="http://schemas.microsoft.com/office/drawing/2014/main" id="{15C96191-89E3-4392-8E44-4B4121FBB8D0}"/>
              </a:ext>
            </a:extLst>
          </p:cNvPr>
          <p:cNvSpPr txBox="1"/>
          <p:nvPr/>
        </p:nvSpPr>
        <p:spPr>
          <a:xfrm>
            <a:off x="6868169" y="4963838"/>
            <a:ext cx="821666" cy="276999"/>
          </a:xfrm>
          <a:prstGeom prst="rect">
            <a:avLst/>
          </a:prstGeom>
          <a:noFill/>
        </p:spPr>
        <p:txBody>
          <a:bodyPr wrap="square" rtlCol="0">
            <a:spAutoFit/>
          </a:bodyPr>
          <a:lstStyle/>
          <a:p>
            <a:r>
              <a:rPr lang="en-US" sz="1200" b="1" dirty="0">
                <a:solidFill>
                  <a:schemeClr val="bg1"/>
                </a:solidFill>
              </a:rPr>
              <a:t>Not met</a:t>
            </a:r>
          </a:p>
        </p:txBody>
      </p:sp>
      <p:sp>
        <p:nvSpPr>
          <p:cNvPr id="14" name="Slide Number Placeholder 2">
            <a:extLst>
              <a:ext uri="{FF2B5EF4-FFF2-40B4-BE49-F238E27FC236}">
                <a16:creationId xmlns:a16="http://schemas.microsoft.com/office/drawing/2014/main" id="{E74BD718-9DCC-45FE-9CB6-6C25E3B374F0}"/>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schemeClr val="bg1"/>
                </a:solidFill>
                <a:latin typeface="Arial"/>
              </a:rPr>
              <a:pPr algn="r">
                <a:defRPr/>
              </a:pPr>
              <a:t>19</a:t>
            </a:fld>
            <a:endParaRPr lang="en-US" sz="1200" dirty="0">
              <a:solidFill>
                <a:schemeClr val="bg1"/>
              </a:solidFill>
              <a:latin typeface="Arial"/>
            </a:endParaRPr>
          </a:p>
        </p:txBody>
      </p:sp>
      <p:sp>
        <p:nvSpPr>
          <p:cNvPr id="15" name="TextBox 14">
            <a:extLst>
              <a:ext uri="{FF2B5EF4-FFF2-40B4-BE49-F238E27FC236}">
                <a16:creationId xmlns:a16="http://schemas.microsoft.com/office/drawing/2014/main" id="{344F996D-C282-4649-9D87-D4538DA5D8E1}"/>
              </a:ext>
            </a:extLst>
          </p:cNvPr>
          <p:cNvSpPr txBox="1"/>
          <p:nvPr/>
        </p:nvSpPr>
        <p:spPr>
          <a:xfrm>
            <a:off x="3600876" y="4557809"/>
            <a:ext cx="499618" cy="276999"/>
          </a:xfrm>
          <a:prstGeom prst="rect">
            <a:avLst/>
          </a:prstGeom>
          <a:noFill/>
        </p:spPr>
        <p:txBody>
          <a:bodyPr wrap="square" rtlCol="0">
            <a:spAutoFit/>
          </a:bodyPr>
          <a:lstStyle/>
          <a:p>
            <a:r>
              <a:rPr lang="en-US" sz="1200" b="1" dirty="0">
                <a:solidFill>
                  <a:schemeClr val="bg1"/>
                </a:solidFill>
              </a:rPr>
              <a:t>Met</a:t>
            </a:r>
          </a:p>
        </p:txBody>
      </p:sp>
      <p:sp>
        <p:nvSpPr>
          <p:cNvPr id="16" name="TextBox 15">
            <a:extLst>
              <a:ext uri="{FF2B5EF4-FFF2-40B4-BE49-F238E27FC236}">
                <a16:creationId xmlns:a16="http://schemas.microsoft.com/office/drawing/2014/main" id="{EA8CCA24-F0AA-4469-A8DB-100761B6BF2D}"/>
              </a:ext>
            </a:extLst>
          </p:cNvPr>
          <p:cNvSpPr txBox="1"/>
          <p:nvPr/>
        </p:nvSpPr>
        <p:spPr>
          <a:xfrm>
            <a:off x="3466157" y="2914851"/>
            <a:ext cx="769055" cy="276999"/>
          </a:xfrm>
          <a:prstGeom prst="rect">
            <a:avLst/>
          </a:prstGeom>
          <a:noFill/>
        </p:spPr>
        <p:txBody>
          <a:bodyPr wrap="square" rtlCol="0">
            <a:spAutoFit/>
          </a:bodyPr>
          <a:lstStyle/>
          <a:p>
            <a:r>
              <a:rPr lang="en-US" sz="1200" b="1" dirty="0">
                <a:solidFill>
                  <a:schemeClr val="bg1"/>
                </a:solidFill>
              </a:rPr>
              <a:t>Not met</a:t>
            </a:r>
          </a:p>
        </p:txBody>
      </p:sp>
    </p:spTree>
    <p:extLst>
      <p:ext uri="{BB962C8B-B14F-4D97-AF65-F5344CB8AC3E}">
        <p14:creationId xmlns:p14="http://schemas.microsoft.com/office/powerpoint/2010/main" val="233846439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07409666-EC87-4EDE-BBAA-569B6966E7DA}"/>
              </a:ext>
            </a:extLst>
          </p:cNvPr>
          <p:cNvSpPr>
            <a:spLocks noGrp="1"/>
          </p:cNvSpPr>
          <p:nvPr>
            <p:ph type="body" sz="quarter" idx="10"/>
          </p:nvPr>
        </p:nvSpPr>
        <p:spPr>
          <a:xfrm>
            <a:off x="542590" y="161857"/>
            <a:ext cx="6148762" cy="2108723"/>
          </a:xfrm>
        </p:spPr>
        <p:txBody>
          <a:bodyPr/>
          <a:lstStyle/>
          <a:p>
            <a:pPr algn="l"/>
            <a:r>
              <a:rPr lang="en-US" dirty="0"/>
              <a:t>Study Methodology</a:t>
            </a:r>
          </a:p>
          <a:p>
            <a:pPr algn="l"/>
            <a:r>
              <a:rPr lang="en-US" sz="2400" dirty="0">
                <a:latin typeface="Arial Narrow" panose="020B0604020202020204" pitchFamily="34" charset="0"/>
              </a:rPr>
              <a:t>The 2019 report is based on the views of 12,520 adults and teens questioned across 25 countries</a:t>
            </a:r>
            <a:endParaRPr lang="en-US" dirty="0"/>
          </a:p>
        </p:txBody>
      </p:sp>
      <p:sp>
        <p:nvSpPr>
          <p:cNvPr id="3" name="Slide Number Placeholder 2">
            <a:extLst>
              <a:ext uri="{FF2B5EF4-FFF2-40B4-BE49-F238E27FC236}">
                <a16:creationId xmlns:a16="http://schemas.microsoft.com/office/drawing/2014/main" id="{180C01F1-1300-42C7-866E-88EBFDEFB216}"/>
              </a:ext>
            </a:extLst>
          </p:cNvPr>
          <p:cNvSpPr>
            <a:spLocks noGrp="1"/>
          </p:cNvSpPr>
          <p:nvPr>
            <p:ph type="sldNum" sz="quarter" idx="4"/>
          </p:nvPr>
        </p:nvSpPr>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grpSp>
        <p:nvGrpSpPr>
          <p:cNvPr id="4" name="Group 3">
            <a:extLst>
              <a:ext uri="{FF2B5EF4-FFF2-40B4-BE49-F238E27FC236}">
                <a16:creationId xmlns:a16="http://schemas.microsoft.com/office/drawing/2014/main" id="{7681F2B8-B5BE-40ED-B63B-D66CCA238CC8}"/>
              </a:ext>
            </a:extLst>
          </p:cNvPr>
          <p:cNvGrpSpPr>
            <a:grpSpLocks noChangeAspect="1"/>
          </p:cNvGrpSpPr>
          <p:nvPr/>
        </p:nvGrpSpPr>
        <p:grpSpPr>
          <a:xfrm>
            <a:off x="236518" y="2270580"/>
            <a:ext cx="7243827" cy="4114800"/>
            <a:chOff x="677862" y="1196966"/>
            <a:chExt cx="7500928" cy="4260816"/>
          </a:xfrm>
        </p:grpSpPr>
        <p:sp>
          <p:nvSpPr>
            <p:cNvPr id="5" name="Freeform 4">
              <a:extLst>
                <a:ext uri="{FF2B5EF4-FFF2-40B4-BE49-F238E27FC236}">
                  <a16:creationId xmlns:a16="http://schemas.microsoft.com/office/drawing/2014/main" id="{A4010CA8-8E2E-4F46-B348-FA7EF09CF805}"/>
                </a:ext>
              </a:extLst>
            </p:cNvPr>
            <p:cNvSpPr>
              <a:spLocks/>
            </p:cNvSpPr>
            <p:nvPr>
              <p:custDataLst>
                <p:tags r:id="rId1"/>
              </p:custDataLst>
            </p:nvPr>
          </p:nvSpPr>
          <p:spPr bwMode="auto">
            <a:xfrm>
              <a:off x="2519360" y="5394283"/>
              <a:ext cx="33337" cy="57150"/>
            </a:xfrm>
            <a:custGeom>
              <a:avLst/>
              <a:gdLst>
                <a:gd name="T0" fmla="*/ 0 w 73"/>
                <a:gd name="T1" fmla="*/ 0 h 20"/>
                <a:gd name="T2" fmla="*/ 457 w 73"/>
                <a:gd name="T3" fmla="*/ 14288 h 20"/>
                <a:gd name="T4" fmla="*/ 1827 w 73"/>
                <a:gd name="T5" fmla="*/ 28575 h 20"/>
                <a:gd name="T6" fmla="*/ 3653 w 73"/>
                <a:gd name="T7" fmla="*/ 40005 h 20"/>
                <a:gd name="T8" fmla="*/ 5937 w 73"/>
                <a:gd name="T9" fmla="*/ 57150 h 20"/>
                <a:gd name="T10" fmla="*/ 7307 w 73"/>
                <a:gd name="T11" fmla="*/ 48578 h 20"/>
                <a:gd name="T12" fmla="*/ 8677 w 73"/>
                <a:gd name="T13" fmla="*/ 37148 h 20"/>
                <a:gd name="T14" fmla="*/ 10503 w 73"/>
                <a:gd name="T15" fmla="*/ 31433 h 20"/>
                <a:gd name="T16" fmla="*/ 12330 w 73"/>
                <a:gd name="T17" fmla="*/ 28575 h 20"/>
                <a:gd name="T18" fmla="*/ 16440 w 73"/>
                <a:gd name="T19" fmla="*/ 22860 h 20"/>
                <a:gd name="T20" fmla="*/ 21007 w 73"/>
                <a:gd name="T21" fmla="*/ 20003 h 20"/>
                <a:gd name="T22" fmla="*/ 24660 w 73"/>
                <a:gd name="T23" fmla="*/ 20003 h 20"/>
                <a:gd name="T24" fmla="*/ 28770 w 73"/>
                <a:gd name="T25" fmla="*/ 17145 h 20"/>
                <a:gd name="T26" fmla="*/ 30140 w 73"/>
                <a:gd name="T27" fmla="*/ 14288 h 20"/>
                <a:gd name="T28" fmla="*/ 31510 w 73"/>
                <a:gd name="T29" fmla="*/ 11430 h 20"/>
                <a:gd name="T30" fmla="*/ 32424 w 73"/>
                <a:gd name="T31" fmla="*/ 5715 h 20"/>
                <a:gd name="T32" fmla="*/ 33337 w 73"/>
                <a:gd name="T33" fmla="*/ 0 h 20"/>
                <a:gd name="T34" fmla="*/ 0 w 73"/>
                <a:gd name="T35" fmla="*/ 0 h 2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3" h="20">
                  <a:moveTo>
                    <a:pt x="0" y="0"/>
                  </a:moveTo>
                  <a:lnTo>
                    <a:pt x="1" y="5"/>
                  </a:lnTo>
                  <a:lnTo>
                    <a:pt x="4" y="10"/>
                  </a:lnTo>
                  <a:lnTo>
                    <a:pt x="8" y="14"/>
                  </a:lnTo>
                  <a:lnTo>
                    <a:pt x="13" y="20"/>
                  </a:lnTo>
                  <a:lnTo>
                    <a:pt x="16" y="17"/>
                  </a:lnTo>
                  <a:lnTo>
                    <a:pt x="19" y="13"/>
                  </a:lnTo>
                  <a:lnTo>
                    <a:pt x="23" y="11"/>
                  </a:lnTo>
                  <a:lnTo>
                    <a:pt x="27" y="10"/>
                  </a:lnTo>
                  <a:lnTo>
                    <a:pt x="36" y="8"/>
                  </a:lnTo>
                  <a:lnTo>
                    <a:pt x="46" y="7"/>
                  </a:lnTo>
                  <a:lnTo>
                    <a:pt x="54" y="7"/>
                  </a:lnTo>
                  <a:lnTo>
                    <a:pt x="63" y="6"/>
                  </a:lnTo>
                  <a:lnTo>
                    <a:pt x="66" y="5"/>
                  </a:lnTo>
                  <a:lnTo>
                    <a:pt x="69" y="4"/>
                  </a:lnTo>
                  <a:lnTo>
                    <a:pt x="71" y="2"/>
                  </a:lnTo>
                  <a:lnTo>
                    <a:pt x="73"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 name="Freeform 5">
              <a:extLst>
                <a:ext uri="{FF2B5EF4-FFF2-40B4-BE49-F238E27FC236}">
                  <a16:creationId xmlns:a16="http://schemas.microsoft.com/office/drawing/2014/main" id="{A0CBA301-5D85-4B3B-A2D5-7FEF13255173}"/>
                </a:ext>
              </a:extLst>
            </p:cNvPr>
            <p:cNvSpPr>
              <a:spLocks/>
            </p:cNvSpPr>
            <p:nvPr>
              <p:custDataLst>
                <p:tags r:id="rId2"/>
              </p:custDataLst>
            </p:nvPr>
          </p:nvSpPr>
          <p:spPr bwMode="auto">
            <a:xfrm>
              <a:off x="677862" y="1495414"/>
              <a:ext cx="784224" cy="446085"/>
            </a:xfrm>
            <a:custGeom>
              <a:avLst/>
              <a:gdLst>
                <a:gd name="T0" fmla="*/ 605085 w 1808"/>
                <a:gd name="T1" fmla="*/ 423521 h 850"/>
                <a:gd name="T2" fmla="*/ 604651 w 1808"/>
                <a:gd name="T3" fmla="*/ 395181 h 850"/>
                <a:gd name="T4" fmla="*/ 595543 w 1808"/>
                <a:gd name="T5" fmla="*/ 340076 h 850"/>
                <a:gd name="T6" fmla="*/ 573855 w 1808"/>
                <a:gd name="T7" fmla="*/ 336403 h 850"/>
                <a:gd name="T8" fmla="*/ 548263 w 1808"/>
                <a:gd name="T9" fmla="*/ 335353 h 850"/>
                <a:gd name="T10" fmla="*/ 491876 w 1808"/>
                <a:gd name="T11" fmla="*/ 305439 h 850"/>
                <a:gd name="T12" fmla="*/ 422041 w 1808"/>
                <a:gd name="T13" fmla="*/ 281823 h 850"/>
                <a:gd name="T14" fmla="*/ 409029 w 1808"/>
                <a:gd name="T15" fmla="*/ 264504 h 850"/>
                <a:gd name="T16" fmla="*/ 390811 w 1808"/>
                <a:gd name="T17" fmla="*/ 270802 h 850"/>
                <a:gd name="T18" fmla="*/ 368256 w 1808"/>
                <a:gd name="T19" fmla="*/ 299141 h 850"/>
                <a:gd name="T20" fmla="*/ 292783 w 1808"/>
                <a:gd name="T21" fmla="*/ 324857 h 850"/>
                <a:gd name="T22" fmla="*/ 294084 w 1808"/>
                <a:gd name="T23" fmla="*/ 303340 h 850"/>
                <a:gd name="T24" fmla="*/ 312736 w 1808"/>
                <a:gd name="T25" fmla="*/ 287596 h 850"/>
                <a:gd name="T26" fmla="*/ 340930 w 1808"/>
                <a:gd name="T27" fmla="*/ 286021 h 850"/>
                <a:gd name="T28" fmla="*/ 314037 w 1808"/>
                <a:gd name="T29" fmla="*/ 277099 h 850"/>
                <a:gd name="T30" fmla="*/ 250709 w 1808"/>
                <a:gd name="T31" fmla="*/ 309113 h 850"/>
                <a:gd name="T32" fmla="*/ 237263 w 1808"/>
                <a:gd name="T33" fmla="*/ 328006 h 850"/>
                <a:gd name="T34" fmla="*/ 228154 w 1808"/>
                <a:gd name="T35" fmla="*/ 341126 h 850"/>
                <a:gd name="T36" fmla="*/ 196056 w 1808"/>
                <a:gd name="T37" fmla="*/ 343225 h 850"/>
                <a:gd name="T38" fmla="*/ 166127 w 1808"/>
                <a:gd name="T39" fmla="*/ 368416 h 850"/>
                <a:gd name="T40" fmla="*/ 109306 w 1808"/>
                <a:gd name="T41" fmla="*/ 393607 h 850"/>
                <a:gd name="T42" fmla="*/ 45544 w 1808"/>
                <a:gd name="T43" fmla="*/ 423521 h 850"/>
                <a:gd name="T44" fmla="*/ 1735 w 1808"/>
                <a:gd name="T45" fmla="*/ 426670 h 850"/>
                <a:gd name="T46" fmla="*/ 6073 w 1808"/>
                <a:gd name="T47" fmla="*/ 414075 h 850"/>
                <a:gd name="T48" fmla="*/ 55087 w 1808"/>
                <a:gd name="T49" fmla="*/ 399380 h 850"/>
                <a:gd name="T50" fmla="*/ 114944 w 1808"/>
                <a:gd name="T51" fmla="*/ 365267 h 850"/>
                <a:gd name="T52" fmla="*/ 130126 w 1808"/>
                <a:gd name="T53" fmla="*/ 328531 h 850"/>
                <a:gd name="T54" fmla="*/ 109739 w 1808"/>
                <a:gd name="T55" fmla="*/ 344800 h 850"/>
                <a:gd name="T56" fmla="*/ 65063 w 1808"/>
                <a:gd name="T57" fmla="*/ 337452 h 850"/>
                <a:gd name="T58" fmla="*/ 74605 w 1808"/>
                <a:gd name="T59" fmla="*/ 320134 h 850"/>
                <a:gd name="T60" fmla="*/ 104101 w 1808"/>
                <a:gd name="T61" fmla="*/ 287071 h 850"/>
                <a:gd name="T62" fmla="*/ 65930 w 1808"/>
                <a:gd name="T63" fmla="*/ 301765 h 850"/>
                <a:gd name="T64" fmla="*/ 62027 w 1808"/>
                <a:gd name="T65" fmla="*/ 281298 h 850"/>
                <a:gd name="T66" fmla="*/ 150078 w 1808"/>
                <a:gd name="T67" fmla="*/ 199428 h 850"/>
                <a:gd name="T68" fmla="*/ 192586 w 1808"/>
                <a:gd name="T69" fmla="*/ 200477 h 850"/>
                <a:gd name="T70" fmla="*/ 246805 w 1808"/>
                <a:gd name="T71" fmla="*/ 183158 h 850"/>
                <a:gd name="T72" fmla="*/ 256782 w 1808"/>
                <a:gd name="T73" fmla="*/ 160592 h 850"/>
                <a:gd name="T74" fmla="*/ 219479 w 1808"/>
                <a:gd name="T75" fmla="*/ 173712 h 850"/>
                <a:gd name="T76" fmla="*/ 189984 w 1808"/>
                <a:gd name="T77" fmla="*/ 166889 h 850"/>
                <a:gd name="T78" fmla="*/ 204731 w 1808"/>
                <a:gd name="T79" fmla="*/ 150620 h 850"/>
                <a:gd name="T80" fmla="*/ 308398 w 1808"/>
                <a:gd name="T81" fmla="*/ 124905 h 850"/>
                <a:gd name="T82" fmla="*/ 324881 w 1808"/>
                <a:gd name="T83" fmla="*/ 110210 h 850"/>
                <a:gd name="T84" fmla="*/ 296687 w 1808"/>
                <a:gd name="T85" fmla="*/ 92366 h 850"/>
                <a:gd name="T86" fmla="*/ 320543 w 1808"/>
                <a:gd name="T87" fmla="*/ 57204 h 850"/>
                <a:gd name="T88" fmla="*/ 428548 w 1808"/>
                <a:gd name="T89" fmla="*/ 14170 h 850"/>
                <a:gd name="T90" fmla="*/ 501852 w 1808"/>
                <a:gd name="T91" fmla="*/ 4723 h 850"/>
                <a:gd name="T92" fmla="*/ 553902 w 1808"/>
                <a:gd name="T93" fmla="*/ 1050 h 850"/>
                <a:gd name="T94" fmla="*/ 587301 w 1808"/>
                <a:gd name="T95" fmla="*/ 5248 h 850"/>
                <a:gd name="T96" fmla="*/ 657569 w 1808"/>
                <a:gd name="T97" fmla="*/ 17844 h 850"/>
                <a:gd name="T98" fmla="*/ 763839 w 1808"/>
                <a:gd name="T99" fmla="*/ 21517 h 850"/>
                <a:gd name="T100" fmla="*/ 558240 w 1808"/>
                <a:gd name="T101" fmla="*/ 283397 h 850"/>
                <a:gd name="T102" fmla="*/ 572987 w 1808"/>
                <a:gd name="T103" fmla="*/ 299666 h 850"/>
                <a:gd name="T104" fmla="*/ 575590 w 1808"/>
                <a:gd name="T105" fmla="*/ 315410 h 850"/>
                <a:gd name="T106" fmla="*/ 599446 w 1808"/>
                <a:gd name="T107" fmla="*/ 314361 h 850"/>
                <a:gd name="T108" fmla="*/ 619833 w 1808"/>
                <a:gd name="T109" fmla="*/ 302815 h 850"/>
                <a:gd name="T110" fmla="*/ 639785 w 1808"/>
                <a:gd name="T111" fmla="*/ 350048 h 850"/>
                <a:gd name="T112" fmla="*/ 634147 w 1808"/>
                <a:gd name="T113" fmla="*/ 370515 h 850"/>
                <a:gd name="T114" fmla="*/ 628508 w 1808"/>
                <a:gd name="T115" fmla="*/ 389409 h 850"/>
                <a:gd name="T116" fmla="*/ 640653 w 1808"/>
                <a:gd name="T117" fmla="*/ 410926 h 850"/>
                <a:gd name="T118" fmla="*/ 640653 w 1808"/>
                <a:gd name="T119" fmla="*/ 425620 h 850"/>
                <a:gd name="T120" fmla="*/ 618531 w 1808"/>
                <a:gd name="T121" fmla="*/ 445038 h 85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808" h="850">
                  <a:moveTo>
                    <a:pt x="1410" y="842"/>
                  </a:moveTo>
                  <a:lnTo>
                    <a:pt x="1405" y="841"/>
                  </a:lnTo>
                  <a:lnTo>
                    <a:pt x="1403" y="838"/>
                  </a:lnTo>
                  <a:lnTo>
                    <a:pt x="1401" y="834"/>
                  </a:lnTo>
                  <a:lnTo>
                    <a:pt x="1399" y="830"/>
                  </a:lnTo>
                  <a:lnTo>
                    <a:pt x="1396" y="819"/>
                  </a:lnTo>
                  <a:lnTo>
                    <a:pt x="1395" y="807"/>
                  </a:lnTo>
                  <a:lnTo>
                    <a:pt x="1396" y="795"/>
                  </a:lnTo>
                  <a:lnTo>
                    <a:pt x="1398" y="784"/>
                  </a:lnTo>
                  <a:lnTo>
                    <a:pt x="1400" y="775"/>
                  </a:lnTo>
                  <a:lnTo>
                    <a:pt x="1402" y="769"/>
                  </a:lnTo>
                  <a:lnTo>
                    <a:pt x="1399" y="764"/>
                  </a:lnTo>
                  <a:lnTo>
                    <a:pt x="1396" y="760"/>
                  </a:lnTo>
                  <a:lnTo>
                    <a:pt x="1394" y="753"/>
                  </a:lnTo>
                  <a:lnTo>
                    <a:pt x="1392" y="746"/>
                  </a:lnTo>
                  <a:lnTo>
                    <a:pt x="1390" y="729"/>
                  </a:lnTo>
                  <a:lnTo>
                    <a:pt x="1389" y="708"/>
                  </a:lnTo>
                  <a:lnTo>
                    <a:pt x="1389" y="670"/>
                  </a:lnTo>
                  <a:lnTo>
                    <a:pt x="1389" y="645"/>
                  </a:lnTo>
                  <a:lnTo>
                    <a:pt x="1382" y="647"/>
                  </a:lnTo>
                  <a:lnTo>
                    <a:pt x="1373" y="648"/>
                  </a:lnTo>
                  <a:lnTo>
                    <a:pt x="1362" y="648"/>
                  </a:lnTo>
                  <a:lnTo>
                    <a:pt x="1351" y="648"/>
                  </a:lnTo>
                  <a:lnTo>
                    <a:pt x="1340" y="647"/>
                  </a:lnTo>
                  <a:lnTo>
                    <a:pt x="1332" y="645"/>
                  </a:lnTo>
                  <a:lnTo>
                    <a:pt x="1327" y="644"/>
                  </a:lnTo>
                  <a:lnTo>
                    <a:pt x="1325" y="642"/>
                  </a:lnTo>
                  <a:lnTo>
                    <a:pt x="1323" y="641"/>
                  </a:lnTo>
                  <a:lnTo>
                    <a:pt x="1323" y="638"/>
                  </a:lnTo>
                  <a:lnTo>
                    <a:pt x="1290" y="682"/>
                  </a:lnTo>
                  <a:lnTo>
                    <a:pt x="1284" y="668"/>
                  </a:lnTo>
                  <a:lnTo>
                    <a:pt x="1279" y="659"/>
                  </a:lnTo>
                  <a:lnTo>
                    <a:pt x="1273" y="650"/>
                  </a:lnTo>
                  <a:lnTo>
                    <a:pt x="1268" y="645"/>
                  </a:lnTo>
                  <a:lnTo>
                    <a:pt x="1264" y="639"/>
                  </a:lnTo>
                  <a:lnTo>
                    <a:pt x="1259" y="631"/>
                  </a:lnTo>
                  <a:lnTo>
                    <a:pt x="1257" y="622"/>
                  </a:lnTo>
                  <a:lnTo>
                    <a:pt x="1256" y="608"/>
                  </a:lnTo>
                  <a:lnTo>
                    <a:pt x="1226" y="602"/>
                  </a:lnTo>
                  <a:lnTo>
                    <a:pt x="1195" y="595"/>
                  </a:lnTo>
                  <a:lnTo>
                    <a:pt x="1165" y="588"/>
                  </a:lnTo>
                  <a:lnTo>
                    <a:pt x="1134" y="582"/>
                  </a:lnTo>
                  <a:lnTo>
                    <a:pt x="1104" y="576"/>
                  </a:lnTo>
                  <a:lnTo>
                    <a:pt x="1074" y="569"/>
                  </a:lnTo>
                  <a:lnTo>
                    <a:pt x="1045" y="561"/>
                  </a:lnTo>
                  <a:lnTo>
                    <a:pt x="1018" y="553"/>
                  </a:lnTo>
                  <a:lnTo>
                    <a:pt x="984" y="553"/>
                  </a:lnTo>
                  <a:lnTo>
                    <a:pt x="977" y="546"/>
                  </a:lnTo>
                  <a:lnTo>
                    <a:pt x="973" y="537"/>
                  </a:lnTo>
                  <a:lnTo>
                    <a:pt x="969" y="528"/>
                  </a:lnTo>
                  <a:lnTo>
                    <a:pt x="966" y="521"/>
                  </a:lnTo>
                  <a:lnTo>
                    <a:pt x="962" y="514"/>
                  </a:lnTo>
                  <a:lnTo>
                    <a:pt x="956" y="508"/>
                  </a:lnTo>
                  <a:lnTo>
                    <a:pt x="952" y="506"/>
                  </a:lnTo>
                  <a:lnTo>
                    <a:pt x="948" y="505"/>
                  </a:lnTo>
                  <a:lnTo>
                    <a:pt x="943" y="504"/>
                  </a:lnTo>
                  <a:lnTo>
                    <a:pt x="937" y="503"/>
                  </a:lnTo>
                  <a:lnTo>
                    <a:pt x="929" y="504"/>
                  </a:lnTo>
                  <a:lnTo>
                    <a:pt x="922" y="505"/>
                  </a:lnTo>
                  <a:lnTo>
                    <a:pt x="916" y="507"/>
                  </a:lnTo>
                  <a:lnTo>
                    <a:pt x="910" y="509"/>
                  </a:lnTo>
                  <a:lnTo>
                    <a:pt x="906" y="512"/>
                  </a:lnTo>
                  <a:lnTo>
                    <a:pt x="901" y="516"/>
                  </a:lnTo>
                  <a:lnTo>
                    <a:pt x="898" y="519"/>
                  </a:lnTo>
                  <a:lnTo>
                    <a:pt x="895" y="523"/>
                  </a:lnTo>
                  <a:lnTo>
                    <a:pt x="886" y="539"/>
                  </a:lnTo>
                  <a:lnTo>
                    <a:pt x="877" y="553"/>
                  </a:lnTo>
                  <a:lnTo>
                    <a:pt x="870" y="559"/>
                  </a:lnTo>
                  <a:lnTo>
                    <a:pt x="861" y="564"/>
                  </a:lnTo>
                  <a:lnTo>
                    <a:pt x="849" y="570"/>
                  </a:lnTo>
                  <a:lnTo>
                    <a:pt x="835" y="576"/>
                  </a:lnTo>
                  <a:lnTo>
                    <a:pt x="806" y="587"/>
                  </a:lnTo>
                  <a:lnTo>
                    <a:pt x="772" y="597"/>
                  </a:lnTo>
                  <a:lnTo>
                    <a:pt x="738" y="607"/>
                  </a:lnTo>
                  <a:lnTo>
                    <a:pt x="705" y="614"/>
                  </a:lnTo>
                  <a:lnTo>
                    <a:pt x="689" y="617"/>
                  </a:lnTo>
                  <a:lnTo>
                    <a:pt x="675" y="619"/>
                  </a:lnTo>
                  <a:lnTo>
                    <a:pt x="663" y="620"/>
                  </a:lnTo>
                  <a:lnTo>
                    <a:pt x="652" y="620"/>
                  </a:lnTo>
                  <a:lnTo>
                    <a:pt x="656" y="614"/>
                  </a:lnTo>
                  <a:lnTo>
                    <a:pt x="667" y="597"/>
                  </a:lnTo>
                  <a:lnTo>
                    <a:pt x="673" y="589"/>
                  </a:lnTo>
                  <a:lnTo>
                    <a:pt x="677" y="581"/>
                  </a:lnTo>
                  <a:lnTo>
                    <a:pt x="678" y="578"/>
                  </a:lnTo>
                  <a:lnTo>
                    <a:pt x="679" y="575"/>
                  </a:lnTo>
                  <a:lnTo>
                    <a:pt x="679" y="572"/>
                  </a:lnTo>
                  <a:lnTo>
                    <a:pt x="678" y="571"/>
                  </a:lnTo>
                  <a:lnTo>
                    <a:pt x="689" y="562"/>
                  </a:lnTo>
                  <a:lnTo>
                    <a:pt x="700" y="555"/>
                  </a:lnTo>
                  <a:lnTo>
                    <a:pt x="711" y="551"/>
                  </a:lnTo>
                  <a:lnTo>
                    <a:pt x="721" y="548"/>
                  </a:lnTo>
                  <a:lnTo>
                    <a:pt x="732" y="546"/>
                  </a:lnTo>
                  <a:lnTo>
                    <a:pt x="742" y="546"/>
                  </a:lnTo>
                  <a:lnTo>
                    <a:pt x="751" y="546"/>
                  </a:lnTo>
                  <a:lnTo>
                    <a:pt x="761" y="546"/>
                  </a:lnTo>
                  <a:lnTo>
                    <a:pt x="769" y="546"/>
                  </a:lnTo>
                  <a:lnTo>
                    <a:pt x="778" y="546"/>
                  </a:lnTo>
                  <a:lnTo>
                    <a:pt x="786" y="545"/>
                  </a:lnTo>
                  <a:lnTo>
                    <a:pt x="794" y="543"/>
                  </a:lnTo>
                  <a:lnTo>
                    <a:pt x="800" y="538"/>
                  </a:lnTo>
                  <a:lnTo>
                    <a:pt x="807" y="533"/>
                  </a:lnTo>
                  <a:lnTo>
                    <a:pt x="812" y="525"/>
                  </a:lnTo>
                  <a:lnTo>
                    <a:pt x="818" y="515"/>
                  </a:lnTo>
                  <a:lnTo>
                    <a:pt x="744" y="515"/>
                  </a:lnTo>
                  <a:lnTo>
                    <a:pt x="724" y="528"/>
                  </a:lnTo>
                  <a:lnTo>
                    <a:pt x="705" y="540"/>
                  </a:lnTo>
                  <a:lnTo>
                    <a:pt x="685" y="551"/>
                  </a:lnTo>
                  <a:lnTo>
                    <a:pt x="664" y="560"/>
                  </a:lnTo>
                  <a:lnTo>
                    <a:pt x="643" y="568"/>
                  </a:lnTo>
                  <a:lnTo>
                    <a:pt x="622" y="575"/>
                  </a:lnTo>
                  <a:lnTo>
                    <a:pt x="600" y="582"/>
                  </a:lnTo>
                  <a:lnTo>
                    <a:pt x="578" y="589"/>
                  </a:lnTo>
                  <a:lnTo>
                    <a:pt x="573" y="592"/>
                  </a:lnTo>
                  <a:lnTo>
                    <a:pt x="567" y="594"/>
                  </a:lnTo>
                  <a:lnTo>
                    <a:pt x="564" y="599"/>
                  </a:lnTo>
                  <a:lnTo>
                    <a:pt x="560" y="602"/>
                  </a:lnTo>
                  <a:lnTo>
                    <a:pt x="554" y="609"/>
                  </a:lnTo>
                  <a:lnTo>
                    <a:pt x="550" y="617"/>
                  </a:lnTo>
                  <a:lnTo>
                    <a:pt x="547" y="625"/>
                  </a:lnTo>
                  <a:lnTo>
                    <a:pt x="543" y="633"/>
                  </a:lnTo>
                  <a:lnTo>
                    <a:pt x="541" y="636"/>
                  </a:lnTo>
                  <a:lnTo>
                    <a:pt x="539" y="639"/>
                  </a:lnTo>
                  <a:lnTo>
                    <a:pt x="536" y="642"/>
                  </a:lnTo>
                  <a:lnTo>
                    <a:pt x="532" y="645"/>
                  </a:lnTo>
                  <a:lnTo>
                    <a:pt x="529" y="648"/>
                  </a:lnTo>
                  <a:lnTo>
                    <a:pt x="526" y="650"/>
                  </a:lnTo>
                  <a:lnTo>
                    <a:pt x="521" y="652"/>
                  </a:lnTo>
                  <a:lnTo>
                    <a:pt x="517" y="654"/>
                  </a:lnTo>
                  <a:lnTo>
                    <a:pt x="507" y="655"/>
                  </a:lnTo>
                  <a:lnTo>
                    <a:pt x="496" y="655"/>
                  </a:lnTo>
                  <a:lnTo>
                    <a:pt x="474" y="652"/>
                  </a:lnTo>
                  <a:lnTo>
                    <a:pt x="459" y="651"/>
                  </a:lnTo>
                  <a:lnTo>
                    <a:pt x="452" y="654"/>
                  </a:lnTo>
                  <a:lnTo>
                    <a:pt x="444" y="657"/>
                  </a:lnTo>
                  <a:lnTo>
                    <a:pt x="438" y="661"/>
                  </a:lnTo>
                  <a:lnTo>
                    <a:pt x="430" y="665"/>
                  </a:lnTo>
                  <a:lnTo>
                    <a:pt x="417" y="674"/>
                  </a:lnTo>
                  <a:lnTo>
                    <a:pt x="405" y="684"/>
                  </a:lnTo>
                  <a:lnTo>
                    <a:pt x="394" y="694"/>
                  </a:lnTo>
                  <a:lnTo>
                    <a:pt x="383" y="702"/>
                  </a:lnTo>
                  <a:lnTo>
                    <a:pt x="374" y="708"/>
                  </a:lnTo>
                  <a:lnTo>
                    <a:pt x="367" y="713"/>
                  </a:lnTo>
                  <a:lnTo>
                    <a:pt x="335" y="722"/>
                  </a:lnTo>
                  <a:lnTo>
                    <a:pt x="309" y="729"/>
                  </a:lnTo>
                  <a:lnTo>
                    <a:pt x="287" y="737"/>
                  </a:lnTo>
                  <a:lnTo>
                    <a:pt x="270" y="743"/>
                  </a:lnTo>
                  <a:lnTo>
                    <a:pt x="252" y="750"/>
                  </a:lnTo>
                  <a:lnTo>
                    <a:pt x="235" y="757"/>
                  </a:lnTo>
                  <a:lnTo>
                    <a:pt x="216" y="766"/>
                  </a:lnTo>
                  <a:lnTo>
                    <a:pt x="193" y="775"/>
                  </a:lnTo>
                  <a:lnTo>
                    <a:pt x="168" y="786"/>
                  </a:lnTo>
                  <a:lnTo>
                    <a:pt x="145" y="795"/>
                  </a:lnTo>
                  <a:lnTo>
                    <a:pt x="124" y="802"/>
                  </a:lnTo>
                  <a:lnTo>
                    <a:pt x="105" y="807"/>
                  </a:lnTo>
                  <a:lnTo>
                    <a:pt x="87" y="812"/>
                  </a:lnTo>
                  <a:lnTo>
                    <a:pt x="68" y="818"/>
                  </a:lnTo>
                  <a:lnTo>
                    <a:pt x="48" y="826"/>
                  </a:lnTo>
                  <a:lnTo>
                    <a:pt x="27" y="836"/>
                  </a:lnTo>
                  <a:lnTo>
                    <a:pt x="1" y="824"/>
                  </a:lnTo>
                  <a:lnTo>
                    <a:pt x="4" y="817"/>
                  </a:lnTo>
                  <a:lnTo>
                    <a:pt x="4" y="813"/>
                  </a:lnTo>
                  <a:lnTo>
                    <a:pt x="3" y="810"/>
                  </a:lnTo>
                  <a:lnTo>
                    <a:pt x="2" y="808"/>
                  </a:lnTo>
                  <a:lnTo>
                    <a:pt x="0" y="806"/>
                  </a:lnTo>
                  <a:lnTo>
                    <a:pt x="0" y="803"/>
                  </a:lnTo>
                  <a:lnTo>
                    <a:pt x="2" y="799"/>
                  </a:lnTo>
                  <a:lnTo>
                    <a:pt x="7" y="793"/>
                  </a:lnTo>
                  <a:lnTo>
                    <a:pt x="14" y="789"/>
                  </a:lnTo>
                  <a:lnTo>
                    <a:pt x="21" y="785"/>
                  </a:lnTo>
                  <a:lnTo>
                    <a:pt x="28" y="782"/>
                  </a:lnTo>
                  <a:lnTo>
                    <a:pt x="36" y="779"/>
                  </a:lnTo>
                  <a:lnTo>
                    <a:pt x="52" y="774"/>
                  </a:lnTo>
                  <a:lnTo>
                    <a:pt x="70" y="771"/>
                  </a:lnTo>
                  <a:lnTo>
                    <a:pt x="102" y="766"/>
                  </a:lnTo>
                  <a:lnTo>
                    <a:pt x="127" y="761"/>
                  </a:lnTo>
                  <a:lnTo>
                    <a:pt x="143" y="757"/>
                  </a:lnTo>
                  <a:lnTo>
                    <a:pt x="158" y="751"/>
                  </a:lnTo>
                  <a:lnTo>
                    <a:pt x="173" y="746"/>
                  </a:lnTo>
                  <a:lnTo>
                    <a:pt x="188" y="739"/>
                  </a:lnTo>
                  <a:lnTo>
                    <a:pt x="215" y="726"/>
                  </a:lnTo>
                  <a:lnTo>
                    <a:pt x="240" y="712"/>
                  </a:lnTo>
                  <a:lnTo>
                    <a:pt x="265" y="696"/>
                  </a:lnTo>
                  <a:lnTo>
                    <a:pt x="291" y="681"/>
                  </a:lnTo>
                  <a:lnTo>
                    <a:pt x="315" y="666"/>
                  </a:lnTo>
                  <a:lnTo>
                    <a:pt x="339" y="651"/>
                  </a:lnTo>
                  <a:lnTo>
                    <a:pt x="327" y="643"/>
                  </a:lnTo>
                  <a:lnTo>
                    <a:pt x="317" y="636"/>
                  </a:lnTo>
                  <a:lnTo>
                    <a:pt x="308" y="631"/>
                  </a:lnTo>
                  <a:lnTo>
                    <a:pt x="300" y="626"/>
                  </a:lnTo>
                  <a:lnTo>
                    <a:pt x="292" y="629"/>
                  </a:lnTo>
                  <a:lnTo>
                    <a:pt x="285" y="634"/>
                  </a:lnTo>
                  <a:lnTo>
                    <a:pt x="280" y="639"/>
                  </a:lnTo>
                  <a:lnTo>
                    <a:pt x="273" y="644"/>
                  </a:lnTo>
                  <a:lnTo>
                    <a:pt x="267" y="649"/>
                  </a:lnTo>
                  <a:lnTo>
                    <a:pt x="260" y="654"/>
                  </a:lnTo>
                  <a:lnTo>
                    <a:pt x="253" y="657"/>
                  </a:lnTo>
                  <a:lnTo>
                    <a:pt x="247" y="658"/>
                  </a:lnTo>
                  <a:lnTo>
                    <a:pt x="225" y="657"/>
                  </a:lnTo>
                  <a:lnTo>
                    <a:pt x="192" y="652"/>
                  </a:lnTo>
                  <a:lnTo>
                    <a:pt x="174" y="650"/>
                  </a:lnTo>
                  <a:lnTo>
                    <a:pt x="160" y="646"/>
                  </a:lnTo>
                  <a:lnTo>
                    <a:pt x="155" y="645"/>
                  </a:lnTo>
                  <a:lnTo>
                    <a:pt x="150" y="643"/>
                  </a:lnTo>
                  <a:lnTo>
                    <a:pt x="148" y="641"/>
                  </a:lnTo>
                  <a:lnTo>
                    <a:pt x="147" y="638"/>
                  </a:lnTo>
                  <a:lnTo>
                    <a:pt x="148" y="635"/>
                  </a:lnTo>
                  <a:lnTo>
                    <a:pt x="150" y="631"/>
                  </a:lnTo>
                  <a:lnTo>
                    <a:pt x="155" y="626"/>
                  </a:lnTo>
                  <a:lnTo>
                    <a:pt x="159" y="621"/>
                  </a:lnTo>
                  <a:lnTo>
                    <a:pt x="172" y="610"/>
                  </a:lnTo>
                  <a:lnTo>
                    <a:pt x="189" y="597"/>
                  </a:lnTo>
                  <a:lnTo>
                    <a:pt x="204" y="584"/>
                  </a:lnTo>
                  <a:lnTo>
                    <a:pt x="219" y="571"/>
                  </a:lnTo>
                  <a:lnTo>
                    <a:pt x="226" y="565"/>
                  </a:lnTo>
                  <a:lnTo>
                    <a:pt x="231" y="559"/>
                  </a:lnTo>
                  <a:lnTo>
                    <a:pt x="237" y="553"/>
                  </a:lnTo>
                  <a:lnTo>
                    <a:pt x="240" y="547"/>
                  </a:lnTo>
                  <a:lnTo>
                    <a:pt x="223" y="550"/>
                  </a:lnTo>
                  <a:lnTo>
                    <a:pt x="207" y="556"/>
                  </a:lnTo>
                  <a:lnTo>
                    <a:pt x="191" y="562"/>
                  </a:lnTo>
                  <a:lnTo>
                    <a:pt x="175" y="568"/>
                  </a:lnTo>
                  <a:lnTo>
                    <a:pt x="168" y="571"/>
                  </a:lnTo>
                  <a:lnTo>
                    <a:pt x="160" y="573"/>
                  </a:lnTo>
                  <a:lnTo>
                    <a:pt x="152" y="575"/>
                  </a:lnTo>
                  <a:lnTo>
                    <a:pt x="144" y="576"/>
                  </a:lnTo>
                  <a:lnTo>
                    <a:pt x="135" y="576"/>
                  </a:lnTo>
                  <a:lnTo>
                    <a:pt x="126" y="575"/>
                  </a:lnTo>
                  <a:lnTo>
                    <a:pt x="116" y="574"/>
                  </a:lnTo>
                  <a:lnTo>
                    <a:pt x="107" y="571"/>
                  </a:lnTo>
                  <a:lnTo>
                    <a:pt x="107" y="565"/>
                  </a:lnTo>
                  <a:lnTo>
                    <a:pt x="143" y="536"/>
                  </a:lnTo>
                  <a:lnTo>
                    <a:pt x="182" y="508"/>
                  </a:lnTo>
                  <a:lnTo>
                    <a:pt x="223" y="476"/>
                  </a:lnTo>
                  <a:lnTo>
                    <a:pt x="267" y="442"/>
                  </a:lnTo>
                  <a:lnTo>
                    <a:pt x="286" y="426"/>
                  </a:lnTo>
                  <a:lnTo>
                    <a:pt x="306" y="411"/>
                  </a:lnTo>
                  <a:lnTo>
                    <a:pt x="326" y="395"/>
                  </a:lnTo>
                  <a:lnTo>
                    <a:pt x="346" y="380"/>
                  </a:lnTo>
                  <a:lnTo>
                    <a:pt x="386" y="411"/>
                  </a:lnTo>
                  <a:lnTo>
                    <a:pt x="393" y="405"/>
                  </a:lnTo>
                  <a:lnTo>
                    <a:pt x="399" y="400"/>
                  </a:lnTo>
                  <a:lnTo>
                    <a:pt x="406" y="396"/>
                  </a:lnTo>
                  <a:lnTo>
                    <a:pt x="414" y="393"/>
                  </a:lnTo>
                  <a:lnTo>
                    <a:pt x="428" y="386"/>
                  </a:lnTo>
                  <a:lnTo>
                    <a:pt x="444" y="382"/>
                  </a:lnTo>
                  <a:lnTo>
                    <a:pt x="476" y="374"/>
                  </a:lnTo>
                  <a:lnTo>
                    <a:pt x="509" y="370"/>
                  </a:lnTo>
                  <a:lnTo>
                    <a:pt x="524" y="367"/>
                  </a:lnTo>
                  <a:lnTo>
                    <a:pt x="539" y="363"/>
                  </a:lnTo>
                  <a:lnTo>
                    <a:pt x="552" y="359"/>
                  </a:lnTo>
                  <a:lnTo>
                    <a:pt x="563" y="353"/>
                  </a:lnTo>
                  <a:lnTo>
                    <a:pt x="569" y="349"/>
                  </a:lnTo>
                  <a:lnTo>
                    <a:pt x="574" y="345"/>
                  </a:lnTo>
                  <a:lnTo>
                    <a:pt x="578" y="340"/>
                  </a:lnTo>
                  <a:lnTo>
                    <a:pt x="582" y="335"/>
                  </a:lnTo>
                  <a:lnTo>
                    <a:pt x="585" y="329"/>
                  </a:lnTo>
                  <a:lnTo>
                    <a:pt x="588" y="322"/>
                  </a:lnTo>
                  <a:lnTo>
                    <a:pt x="590" y="314"/>
                  </a:lnTo>
                  <a:lnTo>
                    <a:pt x="592" y="306"/>
                  </a:lnTo>
                  <a:lnTo>
                    <a:pt x="559" y="306"/>
                  </a:lnTo>
                  <a:lnTo>
                    <a:pt x="548" y="312"/>
                  </a:lnTo>
                  <a:lnTo>
                    <a:pt x="535" y="321"/>
                  </a:lnTo>
                  <a:lnTo>
                    <a:pt x="528" y="325"/>
                  </a:lnTo>
                  <a:lnTo>
                    <a:pt x="520" y="328"/>
                  </a:lnTo>
                  <a:lnTo>
                    <a:pt x="513" y="330"/>
                  </a:lnTo>
                  <a:lnTo>
                    <a:pt x="506" y="331"/>
                  </a:lnTo>
                  <a:lnTo>
                    <a:pt x="495" y="330"/>
                  </a:lnTo>
                  <a:lnTo>
                    <a:pt x="485" y="327"/>
                  </a:lnTo>
                  <a:lnTo>
                    <a:pt x="474" y="324"/>
                  </a:lnTo>
                  <a:lnTo>
                    <a:pt x="463" y="321"/>
                  </a:lnTo>
                  <a:lnTo>
                    <a:pt x="453" y="318"/>
                  </a:lnTo>
                  <a:lnTo>
                    <a:pt x="443" y="317"/>
                  </a:lnTo>
                  <a:lnTo>
                    <a:pt x="438" y="318"/>
                  </a:lnTo>
                  <a:lnTo>
                    <a:pt x="433" y="319"/>
                  </a:lnTo>
                  <a:lnTo>
                    <a:pt x="430" y="322"/>
                  </a:lnTo>
                  <a:lnTo>
                    <a:pt x="426" y="325"/>
                  </a:lnTo>
                  <a:lnTo>
                    <a:pt x="432" y="316"/>
                  </a:lnTo>
                  <a:lnTo>
                    <a:pt x="443" y="307"/>
                  </a:lnTo>
                  <a:lnTo>
                    <a:pt x="457" y="297"/>
                  </a:lnTo>
                  <a:lnTo>
                    <a:pt x="472" y="287"/>
                  </a:lnTo>
                  <a:lnTo>
                    <a:pt x="506" y="265"/>
                  </a:lnTo>
                  <a:lnTo>
                    <a:pt x="539" y="244"/>
                  </a:lnTo>
                  <a:lnTo>
                    <a:pt x="698" y="250"/>
                  </a:lnTo>
                  <a:lnTo>
                    <a:pt x="701" y="246"/>
                  </a:lnTo>
                  <a:lnTo>
                    <a:pt x="704" y="243"/>
                  </a:lnTo>
                  <a:lnTo>
                    <a:pt x="708" y="240"/>
                  </a:lnTo>
                  <a:lnTo>
                    <a:pt x="711" y="238"/>
                  </a:lnTo>
                  <a:lnTo>
                    <a:pt x="719" y="236"/>
                  </a:lnTo>
                  <a:lnTo>
                    <a:pt x="728" y="234"/>
                  </a:lnTo>
                  <a:lnTo>
                    <a:pt x="745" y="234"/>
                  </a:lnTo>
                  <a:lnTo>
                    <a:pt x="758" y="232"/>
                  </a:lnTo>
                  <a:lnTo>
                    <a:pt x="756" y="224"/>
                  </a:lnTo>
                  <a:lnTo>
                    <a:pt x="753" y="216"/>
                  </a:lnTo>
                  <a:lnTo>
                    <a:pt x="749" y="210"/>
                  </a:lnTo>
                  <a:lnTo>
                    <a:pt x="742" y="204"/>
                  </a:lnTo>
                  <a:lnTo>
                    <a:pt x="737" y="199"/>
                  </a:lnTo>
                  <a:lnTo>
                    <a:pt x="729" y="195"/>
                  </a:lnTo>
                  <a:lnTo>
                    <a:pt x="721" y="191"/>
                  </a:lnTo>
                  <a:lnTo>
                    <a:pt x="713" y="188"/>
                  </a:lnTo>
                  <a:lnTo>
                    <a:pt x="698" y="182"/>
                  </a:lnTo>
                  <a:lnTo>
                    <a:pt x="684" y="176"/>
                  </a:lnTo>
                  <a:lnTo>
                    <a:pt x="678" y="172"/>
                  </a:lnTo>
                  <a:lnTo>
                    <a:pt x="673" y="168"/>
                  </a:lnTo>
                  <a:lnTo>
                    <a:pt x="668" y="164"/>
                  </a:lnTo>
                  <a:lnTo>
                    <a:pt x="665" y="159"/>
                  </a:lnTo>
                  <a:lnTo>
                    <a:pt x="687" y="143"/>
                  </a:lnTo>
                  <a:lnTo>
                    <a:pt x="712" y="127"/>
                  </a:lnTo>
                  <a:lnTo>
                    <a:pt x="739" y="109"/>
                  </a:lnTo>
                  <a:lnTo>
                    <a:pt x="765" y="90"/>
                  </a:lnTo>
                  <a:lnTo>
                    <a:pt x="812" y="78"/>
                  </a:lnTo>
                  <a:lnTo>
                    <a:pt x="858" y="65"/>
                  </a:lnTo>
                  <a:lnTo>
                    <a:pt x="902" y="52"/>
                  </a:lnTo>
                  <a:lnTo>
                    <a:pt x="945" y="38"/>
                  </a:lnTo>
                  <a:lnTo>
                    <a:pt x="966" y="33"/>
                  </a:lnTo>
                  <a:lnTo>
                    <a:pt x="988" y="27"/>
                  </a:lnTo>
                  <a:lnTo>
                    <a:pt x="1010" y="22"/>
                  </a:lnTo>
                  <a:lnTo>
                    <a:pt x="1033" y="18"/>
                  </a:lnTo>
                  <a:lnTo>
                    <a:pt x="1056" y="15"/>
                  </a:lnTo>
                  <a:lnTo>
                    <a:pt x="1080" y="12"/>
                  </a:lnTo>
                  <a:lnTo>
                    <a:pt x="1104" y="11"/>
                  </a:lnTo>
                  <a:lnTo>
                    <a:pt x="1130" y="10"/>
                  </a:lnTo>
                  <a:lnTo>
                    <a:pt x="1157" y="9"/>
                  </a:lnTo>
                  <a:lnTo>
                    <a:pt x="1176" y="7"/>
                  </a:lnTo>
                  <a:lnTo>
                    <a:pt x="1192" y="5"/>
                  </a:lnTo>
                  <a:lnTo>
                    <a:pt x="1216" y="4"/>
                  </a:lnTo>
                  <a:lnTo>
                    <a:pt x="1241" y="3"/>
                  </a:lnTo>
                  <a:lnTo>
                    <a:pt x="1262" y="0"/>
                  </a:lnTo>
                  <a:lnTo>
                    <a:pt x="1270" y="0"/>
                  </a:lnTo>
                  <a:lnTo>
                    <a:pt x="1277" y="2"/>
                  </a:lnTo>
                  <a:lnTo>
                    <a:pt x="1280" y="3"/>
                  </a:lnTo>
                  <a:lnTo>
                    <a:pt x="1281" y="5"/>
                  </a:lnTo>
                  <a:lnTo>
                    <a:pt x="1282" y="7"/>
                  </a:lnTo>
                  <a:lnTo>
                    <a:pt x="1283" y="10"/>
                  </a:lnTo>
                  <a:lnTo>
                    <a:pt x="1306" y="10"/>
                  </a:lnTo>
                  <a:lnTo>
                    <a:pt x="1333" y="10"/>
                  </a:lnTo>
                  <a:lnTo>
                    <a:pt x="1354" y="10"/>
                  </a:lnTo>
                  <a:lnTo>
                    <a:pt x="1362" y="10"/>
                  </a:lnTo>
                  <a:lnTo>
                    <a:pt x="1380" y="11"/>
                  </a:lnTo>
                  <a:lnTo>
                    <a:pt x="1399" y="12"/>
                  </a:lnTo>
                  <a:lnTo>
                    <a:pt x="1417" y="15"/>
                  </a:lnTo>
                  <a:lnTo>
                    <a:pt x="1437" y="18"/>
                  </a:lnTo>
                  <a:lnTo>
                    <a:pt x="1475" y="26"/>
                  </a:lnTo>
                  <a:lnTo>
                    <a:pt x="1516" y="34"/>
                  </a:lnTo>
                  <a:lnTo>
                    <a:pt x="1557" y="44"/>
                  </a:lnTo>
                  <a:lnTo>
                    <a:pt x="1597" y="52"/>
                  </a:lnTo>
                  <a:lnTo>
                    <a:pt x="1617" y="55"/>
                  </a:lnTo>
                  <a:lnTo>
                    <a:pt x="1637" y="58"/>
                  </a:lnTo>
                  <a:lnTo>
                    <a:pt x="1656" y="59"/>
                  </a:lnTo>
                  <a:lnTo>
                    <a:pt x="1675" y="60"/>
                  </a:lnTo>
                  <a:lnTo>
                    <a:pt x="1761" y="41"/>
                  </a:lnTo>
                  <a:lnTo>
                    <a:pt x="1772" y="46"/>
                  </a:lnTo>
                  <a:lnTo>
                    <a:pt x="1784" y="51"/>
                  </a:lnTo>
                  <a:lnTo>
                    <a:pt x="1797" y="55"/>
                  </a:lnTo>
                  <a:lnTo>
                    <a:pt x="1808" y="60"/>
                  </a:lnTo>
                  <a:lnTo>
                    <a:pt x="1223" y="540"/>
                  </a:lnTo>
                  <a:lnTo>
                    <a:pt x="1258" y="540"/>
                  </a:lnTo>
                  <a:lnTo>
                    <a:pt x="1287" y="540"/>
                  </a:lnTo>
                  <a:lnTo>
                    <a:pt x="1309" y="540"/>
                  </a:lnTo>
                  <a:lnTo>
                    <a:pt x="1329" y="540"/>
                  </a:lnTo>
                  <a:lnTo>
                    <a:pt x="1328" y="547"/>
                  </a:lnTo>
                  <a:lnTo>
                    <a:pt x="1327" y="553"/>
                  </a:lnTo>
                  <a:lnTo>
                    <a:pt x="1325" y="559"/>
                  </a:lnTo>
                  <a:lnTo>
                    <a:pt x="1323" y="565"/>
                  </a:lnTo>
                  <a:lnTo>
                    <a:pt x="1321" y="571"/>
                  </a:lnTo>
                  <a:lnTo>
                    <a:pt x="1318" y="576"/>
                  </a:lnTo>
                  <a:lnTo>
                    <a:pt x="1316" y="583"/>
                  </a:lnTo>
                  <a:lnTo>
                    <a:pt x="1316" y="589"/>
                  </a:lnTo>
                  <a:lnTo>
                    <a:pt x="1317" y="592"/>
                  </a:lnTo>
                  <a:lnTo>
                    <a:pt x="1320" y="595"/>
                  </a:lnTo>
                  <a:lnTo>
                    <a:pt x="1323" y="599"/>
                  </a:lnTo>
                  <a:lnTo>
                    <a:pt x="1327" y="601"/>
                  </a:lnTo>
                  <a:lnTo>
                    <a:pt x="1336" y="606"/>
                  </a:lnTo>
                  <a:lnTo>
                    <a:pt x="1343" y="608"/>
                  </a:lnTo>
                  <a:lnTo>
                    <a:pt x="1351" y="608"/>
                  </a:lnTo>
                  <a:lnTo>
                    <a:pt x="1358" y="607"/>
                  </a:lnTo>
                  <a:lnTo>
                    <a:pt x="1365" y="605"/>
                  </a:lnTo>
                  <a:lnTo>
                    <a:pt x="1371" y="604"/>
                  </a:lnTo>
                  <a:lnTo>
                    <a:pt x="1382" y="599"/>
                  </a:lnTo>
                  <a:lnTo>
                    <a:pt x="1391" y="592"/>
                  </a:lnTo>
                  <a:lnTo>
                    <a:pt x="1400" y="587"/>
                  </a:lnTo>
                  <a:lnTo>
                    <a:pt x="1409" y="582"/>
                  </a:lnTo>
                  <a:lnTo>
                    <a:pt x="1413" y="580"/>
                  </a:lnTo>
                  <a:lnTo>
                    <a:pt x="1417" y="578"/>
                  </a:lnTo>
                  <a:lnTo>
                    <a:pt x="1423" y="577"/>
                  </a:lnTo>
                  <a:lnTo>
                    <a:pt x="1429" y="577"/>
                  </a:lnTo>
                  <a:lnTo>
                    <a:pt x="1441" y="596"/>
                  </a:lnTo>
                  <a:lnTo>
                    <a:pt x="1457" y="617"/>
                  </a:lnTo>
                  <a:lnTo>
                    <a:pt x="1465" y="629"/>
                  </a:lnTo>
                  <a:lnTo>
                    <a:pt x="1470" y="643"/>
                  </a:lnTo>
                  <a:lnTo>
                    <a:pt x="1472" y="650"/>
                  </a:lnTo>
                  <a:lnTo>
                    <a:pt x="1474" y="659"/>
                  </a:lnTo>
                  <a:lnTo>
                    <a:pt x="1475" y="667"/>
                  </a:lnTo>
                  <a:lnTo>
                    <a:pt x="1475" y="676"/>
                  </a:lnTo>
                  <a:lnTo>
                    <a:pt x="1475" y="681"/>
                  </a:lnTo>
                  <a:lnTo>
                    <a:pt x="1474" y="686"/>
                  </a:lnTo>
                  <a:lnTo>
                    <a:pt x="1473" y="690"/>
                  </a:lnTo>
                  <a:lnTo>
                    <a:pt x="1471" y="694"/>
                  </a:lnTo>
                  <a:lnTo>
                    <a:pt x="1467" y="700"/>
                  </a:lnTo>
                  <a:lnTo>
                    <a:pt x="1462" y="706"/>
                  </a:lnTo>
                  <a:lnTo>
                    <a:pt x="1457" y="713"/>
                  </a:lnTo>
                  <a:lnTo>
                    <a:pt x="1454" y="719"/>
                  </a:lnTo>
                  <a:lnTo>
                    <a:pt x="1451" y="723"/>
                  </a:lnTo>
                  <a:lnTo>
                    <a:pt x="1450" y="727"/>
                  </a:lnTo>
                  <a:lnTo>
                    <a:pt x="1449" y="732"/>
                  </a:lnTo>
                  <a:lnTo>
                    <a:pt x="1449" y="737"/>
                  </a:lnTo>
                  <a:lnTo>
                    <a:pt x="1449" y="742"/>
                  </a:lnTo>
                  <a:lnTo>
                    <a:pt x="1450" y="746"/>
                  </a:lnTo>
                  <a:lnTo>
                    <a:pt x="1452" y="750"/>
                  </a:lnTo>
                  <a:lnTo>
                    <a:pt x="1455" y="754"/>
                  </a:lnTo>
                  <a:lnTo>
                    <a:pt x="1459" y="761"/>
                  </a:lnTo>
                  <a:lnTo>
                    <a:pt x="1466" y="769"/>
                  </a:lnTo>
                  <a:lnTo>
                    <a:pt x="1471" y="775"/>
                  </a:lnTo>
                  <a:lnTo>
                    <a:pt x="1477" y="783"/>
                  </a:lnTo>
                  <a:lnTo>
                    <a:pt x="1479" y="786"/>
                  </a:lnTo>
                  <a:lnTo>
                    <a:pt x="1481" y="790"/>
                  </a:lnTo>
                  <a:lnTo>
                    <a:pt x="1482" y="794"/>
                  </a:lnTo>
                  <a:lnTo>
                    <a:pt x="1482" y="799"/>
                  </a:lnTo>
                  <a:lnTo>
                    <a:pt x="1482" y="802"/>
                  </a:lnTo>
                  <a:lnTo>
                    <a:pt x="1480" y="807"/>
                  </a:lnTo>
                  <a:lnTo>
                    <a:pt x="1477" y="811"/>
                  </a:lnTo>
                  <a:lnTo>
                    <a:pt x="1473" y="816"/>
                  </a:lnTo>
                  <a:lnTo>
                    <a:pt x="1463" y="826"/>
                  </a:lnTo>
                  <a:lnTo>
                    <a:pt x="1452" y="835"/>
                  </a:lnTo>
                  <a:lnTo>
                    <a:pt x="1446" y="839"/>
                  </a:lnTo>
                  <a:lnTo>
                    <a:pt x="1439" y="843"/>
                  </a:lnTo>
                  <a:lnTo>
                    <a:pt x="1433" y="846"/>
                  </a:lnTo>
                  <a:lnTo>
                    <a:pt x="1426" y="848"/>
                  </a:lnTo>
                  <a:lnTo>
                    <a:pt x="1419" y="850"/>
                  </a:lnTo>
                  <a:lnTo>
                    <a:pt x="1414" y="850"/>
                  </a:lnTo>
                  <a:lnTo>
                    <a:pt x="1407" y="850"/>
                  </a:lnTo>
                  <a:lnTo>
                    <a:pt x="1402" y="848"/>
                  </a:lnTo>
                  <a:lnTo>
                    <a:pt x="1410" y="84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 name="Freeform 6">
              <a:extLst>
                <a:ext uri="{FF2B5EF4-FFF2-40B4-BE49-F238E27FC236}">
                  <a16:creationId xmlns:a16="http://schemas.microsoft.com/office/drawing/2014/main" id="{86A0B07B-0C65-4AF5-94DA-3C6B910282A8}"/>
                </a:ext>
              </a:extLst>
            </p:cNvPr>
            <p:cNvSpPr>
              <a:spLocks/>
            </p:cNvSpPr>
            <p:nvPr>
              <p:custDataLst>
                <p:tags r:id="rId3"/>
              </p:custDataLst>
            </p:nvPr>
          </p:nvSpPr>
          <p:spPr bwMode="auto">
            <a:xfrm>
              <a:off x="1138237" y="2111359"/>
              <a:ext cx="1381123" cy="769932"/>
            </a:xfrm>
            <a:custGeom>
              <a:avLst/>
              <a:gdLst>
                <a:gd name="T0" fmla="*/ 1273680 w 3175"/>
                <a:gd name="T1" fmla="*/ 184639 h 1472"/>
                <a:gd name="T2" fmla="*/ 1259760 w 3175"/>
                <a:gd name="T3" fmla="*/ 230145 h 1472"/>
                <a:gd name="T4" fmla="*/ 1236705 w 3175"/>
                <a:gd name="T5" fmla="*/ 241652 h 1472"/>
                <a:gd name="T6" fmla="*/ 1160145 w 3175"/>
                <a:gd name="T7" fmla="*/ 296050 h 1472"/>
                <a:gd name="T8" fmla="*/ 1128825 w 3175"/>
                <a:gd name="T9" fmla="*/ 305988 h 1472"/>
                <a:gd name="T10" fmla="*/ 1117950 w 3175"/>
                <a:gd name="T11" fmla="*/ 354109 h 1472"/>
                <a:gd name="T12" fmla="*/ 1093590 w 3175"/>
                <a:gd name="T13" fmla="*/ 324818 h 1472"/>
                <a:gd name="T14" fmla="*/ 1087065 w 3175"/>
                <a:gd name="T15" fmla="*/ 360908 h 1472"/>
                <a:gd name="T16" fmla="*/ 1072275 w 3175"/>
                <a:gd name="T17" fmla="*/ 389153 h 1472"/>
                <a:gd name="T18" fmla="*/ 1074885 w 3175"/>
                <a:gd name="T19" fmla="*/ 430475 h 1472"/>
                <a:gd name="T20" fmla="*/ 1014420 w 3175"/>
                <a:gd name="T21" fmla="*/ 485396 h 1472"/>
                <a:gd name="T22" fmla="*/ 941775 w 3175"/>
                <a:gd name="T23" fmla="*/ 546593 h 1472"/>
                <a:gd name="T24" fmla="*/ 918720 w 3175"/>
                <a:gd name="T25" fmla="*/ 625052 h 1472"/>
                <a:gd name="T26" fmla="*/ 914805 w 3175"/>
                <a:gd name="T27" fmla="*/ 762092 h 1472"/>
                <a:gd name="T28" fmla="*/ 881310 w 3175"/>
                <a:gd name="T29" fmla="*/ 739601 h 1472"/>
                <a:gd name="T30" fmla="*/ 866955 w 3175"/>
                <a:gd name="T31" fmla="*/ 693572 h 1472"/>
                <a:gd name="T32" fmla="*/ 852165 w 3175"/>
                <a:gd name="T33" fmla="*/ 619298 h 1472"/>
                <a:gd name="T34" fmla="*/ 796920 w 3175"/>
                <a:gd name="T35" fmla="*/ 610929 h 1472"/>
                <a:gd name="T36" fmla="*/ 719055 w 3175"/>
                <a:gd name="T37" fmla="*/ 597853 h 1472"/>
                <a:gd name="T38" fmla="*/ 702960 w 3175"/>
                <a:gd name="T39" fmla="*/ 620344 h 1472"/>
                <a:gd name="T40" fmla="*/ 673380 w 3175"/>
                <a:gd name="T41" fmla="*/ 647543 h 1472"/>
                <a:gd name="T42" fmla="*/ 624660 w 3175"/>
                <a:gd name="T43" fmla="*/ 623482 h 1472"/>
                <a:gd name="T44" fmla="*/ 535485 w 3175"/>
                <a:gd name="T45" fmla="*/ 665327 h 1472"/>
                <a:gd name="T46" fmla="*/ 504600 w 3175"/>
                <a:gd name="T47" fmla="*/ 728094 h 1472"/>
                <a:gd name="T48" fmla="*/ 469800 w 3175"/>
                <a:gd name="T49" fmla="*/ 722863 h 1472"/>
                <a:gd name="T50" fmla="*/ 451095 w 3175"/>
                <a:gd name="T51" fmla="*/ 641789 h 1472"/>
                <a:gd name="T52" fmla="*/ 408900 w 3175"/>
                <a:gd name="T53" fmla="*/ 622436 h 1472"/>
                <a:gd name="T54" fmla="*/ 377145 w 3175"/>
                <a:gd name="T55" fmla="*/ 637605 h 1472"/>
                <a:gd name="T56" fmla="*/ 340170 w 3175"/>
                <a:gd name="T57" fmla="*/ 568562 h 1472"/>
                <a:gd name="T58" fmla="*/ 291450 w 3175"/>
                <a:gd name="T59" fmla="*/ 557054 h 1472"/>
                <a:gd name="T60" fmla="*/ 200970 w 3175"/>
                <a:gd name="T61" fmla="*/ 557054 h 1472"/>
                <a:gd name="T62" fmla="*/ 95700 w 3175"/>
                <a:gd name="T63" fmla="*/ 531425 h 1472"/>
                <a:gd name="T64" fmla="*/ 38280 w 3175"/>
                <a:gd name="T65" fmla="*/ 481211 h 1472"/>
                <a:gd name="T66" fmla="*/ 16965 w 3175"/>
                <a:gd name="T67" fmla="*/ 443551 h 1472"/>
                <a:gd name="T68" fmla="*/ 12615 w 3175"/>
                <a:gd name="T69" fmla="*/ 346263 h 1472"/>
                <a:gd name="T70" fmla="*/ 0 w 3175"/>
                <a:gd name="T71" fmla="*/ 315926 h 1472"/>
                <a:gd name="T72" fmla="*/ 61335 w 3175"/>
                <a:gd name="T73" fmla="*/ 175747 h 1472"/>
                <a:gd name="T74" fmla="*/ 107445 w 3175"/>
                <a:gd name="T75" fmla="*/ 92058 h 1472"/>
                <a:gd name="T76" fmla="*/ 154425 w 3175"/>
                <a:gd name="T77" fmla="*/ 53352 h 1472"/>
                <a:gd name="T78" fmla="*/ 163560 w 3175"/>
                <a:gd name="T79" fmla="*/ 62767 h 1472"/>
                <a:gd name="T80" fmla="*/ 794745 w 3175"/>
                <a:gd name="T81" fmla="*/ 0 h 1472"/>
                <a:gd name="T82" fmla="*/ 837810 w 3175"/>
                <a:gd name="T83" fmla="*/ 28768 h 1472"/>
                <a:gd name="T84" fmla="*/ 876525 w 3175"/>
                <a:gd name="T85" fmla="*/ 36091 h 1472"/>
                <a:gd name="T86" fmla="*/ 839115 w 3175"/>
                <a:gd name="T87" fmla="*/ 66951 h 1472"/>
                <a:gd name="T88" fmla="*/ 859995 w 3175"/>
                <a:gd name="T89" fmla="*/ 86827 h 1472"/>
                <a:gd name="T90" fmla="*/ 910890 w 3175"/>
                <a:gd name="T91" fmla="*/ 81074 h 1472"/>
                <a:gd name="T92" fmla="*/ 993540 w 3175"/>
                <a:gd name="T93" fmla="*/ 100950 h 1472"/>
                <a:gd name="T94" fmla="*/ 964395 w 3175"/>
                <a:gd name="T95" fmla="*/ 106703 h 1472"/>
                <a:gd name="T96" fmla="*/ 907845 w 3175"/>
                <a:gd name="T97" fmla="*/ 138087 h 1472"/>
                <a:gd name="T98" fmla="*/ 879135 w 3175"/>
                <a:gd name="T99" fmla="*/ 185685 h 1472"/>
                <a:gd name="T100" fmla="*/ 875220 w 3175"/>
                <a:gd name="T101" fmla="*/ 235898 h 1472"/>
                <a:gd name="T102" fmla="*/ 903060 w 3175"/>
                <a:gd name="T103" fmla="*/ 218114 h 1472"/>
                <a:gd name="T104" fmla="*/ 959175 w 3175"/>
                <a:gd name="T105" fmla="*/ 131810 h 1472"/>
                <a:gd name="T106" fmla="*/ 986145 w 3175"/>
                <a:gd name="T107" fmla="*/ 158486 h 1472"/>
                <a:gd name="T108" fmla="*/ 1000065 w 3175"/>
                <a:gd name="T109" fmla="*/ 206084 h 1472"/>
                <a:gd name="T110" fmla="*/ 959610 w 3175"/>
                <a:gd name="T111" fmla="*/ 237467 h 1472"/>
                <a:gd name="T112" fmla="*/ 1007895 w 3175"/>
                <a:gd name="T113" fmla="*/ 239036 h 1472"/>
                <a:gd name="T114" fmla="*/ 1117950 w 3175"/>
                <a:gd name="T115" fmla="*/ 195100 h 1472"/>
                <a:gd name="T116" fmla="*/ 1187550 w 3175"/>
                <a:gd name="T117" fmla="*/ 131810 h 1472"/>
                <a:gd name="T118" fmla="*/ 1311960 w 3175"/>
                <a:gd name="T119" fmla="*/ 106180 h 1472"/>
                <a:gd name="T120" fmla="*/ 1364160 w 3175"/>
                <a:gd name="T121" fmla="*/ 61721 h 1472"/>
                <a:gd name="T122" fmla="*/ 1369815 w 3175"/>
                <a:gd name="T123" fmla="*/ 96242 h 147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75" h="1472">
                  <a:moveTo>
                    <a:pt x="3155" y="258"/>
                  </a:moveTo>
                  <a:lnTo>
                    <a:pt x="3129" y="270"/>
                  </a:lnTo>
                  <a:lnTo>
                    <a:pt x="3104" y="281"/>
                  </a:lnTo>
                  <a:lnTo>
                    <a:pt x="3079" y="291"/>
                  </a:lnTo>
                  <a:lnTo>
                    <a:pt x="3055" y="300"/>
                  </a:lnTo>
                  <a:lnTo>
                    <a:pt x="3032" y="309"/>
                  </a:lnTo>
                  <a:lnTo>
                    <a:pt x="3008" y="317"/>
                  </a:lnTo>
                  <a:lnTo>
                    <a:pt x="2983" y="326"/>
                  </a:lnTo>
                  <a:lnTo>
                    <a:pt x="2956" y="333"/>
                  </a:lnTo>
                  <a:lnTo>
                    <a:pt x="2948" y="337"/>
                  </a:lnTo>
                  <a:lnTo>
                    <a:pt x="2940" y="341"/>
                  </a:lnTo>
                  <a:lnTo>
                    <a:pt x="2933" y="347"/>
                  </a:lnTo>
                  <a:lnTo>
                    <a:pt x="2928" y="353"/>
                  </a:lnTo>
                  <a:lnTo>
                    <a:pt x="2917" y="366"/>
                  </a:lnTo>
                  <a:lnTo>
                    <a:pt x="2909" y="382"/>
                  </a:lnTo>
                  <a:lnTo>
                    <a:pt x="2900" y="397"/>
                  </a:lnTo>
                  <a:lnTo>
                    <a:pt x="2894" y="410"/>
                  </a:lnTo>
                  <a:lnTo>
                    <a:pt x="2889" y="416"/>
                  </a:lnTo>
                  <a:lnTo>
                    <a:pt x="2885" y="422"/>
                  </a:lnTo>
                  <a:lnTo>
                    <a:pt x="2881" y="427"/>
                  </a:lnTo>
                  <a:lnTo>
                    <a:pt x="2876" y="431"/>
                  </a:lnTo>
                  <a:lnTo>
                    <a:pt x="2876" y="436"/>
                  </a:lnTo>
                  <a:lnTo>
                    <a:pt x="2877" y="440"/>
                  </a:lnTo>
                  <a:lnTo>
                    <a:pt x="2880" y="445"/>
                  </a:lnTo>
                  <a:lnTo>
                    <a:pt x="2883" y="450"/>
                  </a:lnTo>
                  <a:lnTo>
                    <a:pt x="2896" y="440"/>
                  </a:lnTo>
                  <a:lnTo>
                    <a:pt x="2909" y="431"/>
                  </a:lnTo>
                  <a:lnTo>
                    <a:pt x="2910" y="438"/>
                  </a:lnTo>
                  <a:lnTo>
                    <a:pt x="2910" y="443"/>
                  </a:lnTo>
                  <a:lnTo>
                    <a:pt x="2909" y="448"/>
                  </a:lnTo>
                  <a:lnTo>
                    <a:pt x="2907" y="451"/>
                  </a:lnTo>
                  <a:lnTo>
                    <a:pt x="2905" y="455"/>
                  </a:lnTo>
                  <a:lnTo>
                    <a:pt x="2902" y="457"/>
                  </a:lnTo>
                  <a:lnTo>
                    <a:pt x="2898" y="459"/>
                  </a:lnTo>
                  <a:lnTo>
                    <a:pt x="2894" y="460"/>
                  </a:lnTo>
                  <a:lnTo>
                    <a:pt x="2883" y="462"/>
                  </a:lnTo>
                  <a:lnTo>
                    <a:pt x="2871" y="462"/>
                  </a:lnTo>
                  <a:lnTo>
                    <a:pt x="2858" y="462"/>
                  </a:lnTo>
                  <a:lnTo>
                    <a:pt x="2843" y="462"/>
                  </a:lnTo>
                  <a:lnTo>
                    <a:pt x="2820" y="463"/>
                  </a:lnTo>
                  <a:lnTo>
                    <a:pt x="2796" y="466"/>
                  </a:lnTo>
                  <a:lnTo>
                    <a:pt x="2773" y="470"/>
                  </a:lnTo>
                  <a:lnTo>
                    <a:pt x="2750" y="476"/>
                  </a:lnTo>
                  <a:lnTo>
                    <a:pt x="2728" y="483"/>
                  </a:lnTo>
                  <a:lnTo>
                    <a:pt x="2708" y="491"/>
                  </a:lnTo>
                  <a:lnTo>
                    <a:pt x="2691" y="498"/>
                  </a:lnTo>
                  <a:lnTo>
                    <a:pt x="2678" y="505"/>
                  </a:lnTo>
                  <a:lnTo>
                    <a:pt x="2678" y="542"/>
                  </a:lnTo>
                  <a:lnTo>
                    <a:pt x="2675" y="549"/>
                  </a:lnTo>
                  <a:lnTo>
                    <a:pt x="2673" y="555"/>
                  </a:lnTo>
                  <a:lnTo>
                    <a:pt x="2670" y="561"/>
                  </a:lnTo>
                  <a:lnTo>
                    <a:pt x="2667" y="566"/>
                  </a:lnTo>
                  <a:lnTo>
                    <a:pt x="2658" y="575"/>
                  </a:lnTo>
                  <a:lnTo>
                    <a:pt x="2649" y="584"/>
                  </a:lnTo>
                  <a:lnTo>
                    <a:pt x="2639" y="592"/>
                  </a:lnTo>
                  <a:lnTo>
                    <a:pt x="2628" y="602"/>
                  </a:lnTo>
                  <a:lnTo>
                    <a:pt x="2619" y="611"/>
                  </a:lnTo>
                  <a:lnTo>
                    <a:pt x="2611" y="622"/>
                  </a:lnTo>
                  <a:lnTo>
                    <a:pt x="2611" y="613"/>
                  </a:lnTo>
                  <a:lnTo>
                    <a:pt x="2611" y="604"/>
                  </a:lnTo>
                  <a:lnTo>
                    <a:pt x="2606" y="603"/>
                  </a:lnTo>
                  <a:lnTo>
                    <a:pt x="2602" y="600"/>
                  </a:lnTo>
                  <a:lnTo>
                    <a:pt x="2598" y="595"/>
                  </a:lnTo>
                  <a:lnTo>
                    <a:pt x="2596" y="590"/>
                  </a:lnTo>
                  <a:lnTo>
                    <a:pt x="2595" y="585"/>
                  </a:lnTo>
                  <a:lnTo>
                    <a:pt x="2595" y="580"/>
                  </a:lnTo>
                  <a:lnTo>
                    <a:pt x="2595" y="576"/>
                  </a:lnTo>
                  <a:lnTo>
                    <a:pt x="2597" y="573"/>
                  </a:lnTo>
                  <a:lnTo>
                    <a:pt x="2578" y="573"/>
                  </a:lnTo>
                  <a:lnTo>
                    <a:pt x="2575" y="587"/>
                  </a:lnTo>
                  <a:lnTo>
                    <a:pt x="2574" y="600"/>
                  </a:lnTo>
                  <a:lnTo>
                    <a:pt x="2574" y="610"/>
                  </a:lnTo>
                  <a:lnTo>
                    <a:pt x="2574" y="619"/>
                  </a:lnTo>
                  <a:lnTo>
                    <a:pt x="2577" y="633"/>
                  </a:lnTo>
                  <a:lnTo>
                    <a:pt x="2578" y="646"/>
                  </a:lnTo>
                  <a:lnTo>
                    <a:pt x="2577" y="658"/>
                  </a:lnTo>
                  <a:lnTo>
                    <a:pt x="2574" y="668"/>
                  </a:lnTo>
                  <a:lnTo>
                    <a:pt x="2570" y="677"/>
                  </a:lnTo>
                  <a:lnTo>
                    <a:pt x="2564" y="685"/>
                  </a:lnTo>
                  <a:lnTo>
                    <a:pt x="2559" y="693"/>
                  </a:lnTo>
                  <a:lnTo>
                    <a:pt x="2552" y="700"/>
                  </a:lnTo>
                  <a:lnTo>
                    <a:pt x="2545" y="707"/>
                  </a:lnTo>
                  <a:lnTo>
                    <a:pt x="2537" y="715"/>
                  </a:lnTo>
                  <a:lnTo>
                    <a:pt x="2538" y="684"/>
                  </a:lnTo>
                  <a:lnTo>
                    <a:pt x="2538" y="657"/>
                  </a:lnTo>
                  <a:lnTo>
                    <a:pt x="2540" y="630"/>
                  </a:lnTo>
                  <a:lnTo>
                    <a:pt x="2544" y="604"/>
                  </a:lnTo>
                  <a:lnTo>
                    <a:pt x="2535" y="607"/>
                  </a:lnTo>
                  <a:lnTo>
                    <a:pt x="2527" y="611"/>
                  </a:lnTo>
                  <a:lnTo>
                    <a:pt x="2519" y="615"/>
                  </a:lnTo>
                  <a:lnTo>
                    <a:pt x="2514" y="621"/>
                  </a:lnTo>
                  <a:lnTo>
                    <a:pt x="2510" y="628"/>
                  </a:lnTo>
                  <a:lnTo>
                    <a:pt x="2506" y="635"/>
                  </a:lnTo>
                  <a:lnTo>
                    <a:pt x="2505" y="643"/>
                  </a:lnTo>
                  <a:lnTo>
                    <a:pt x="2504" y="653"/>
                  </a:lnTo>
                  <a:lnTo>
                    <a:pt x="2491" y="653"/>
                  </a:lnTo>
                  <a:lnTo>
                    <a:pt x="2478" y="653"/>
                  </a:lnTo>
                  <a:lnTo>
                    <a:pt x="2478" y="658"/>
                  </a:lnTo>
                  <a:lnTo>
                    <a:pt x="2479" y="662"/>
                  </a:lnTo>
                  <a:lnTo>
                    <a:pt x="2480" y="666"/>
                  </a:lnTo>
                  <a:lnTo>
                    <a:pt x="2482" y="670"/>
                  </a:lnTo>
                  <a:lnTo>
                    <a:pt x="2486" y="678"/>
                  </a:lnTo>
                  <a:lnTo>
                    <a:pt x="2493" y="684"/>
                  </a:lnTo>
                  <a:lnTo>
                    <a:pt x="2499" y="690"/>
                  </a:lnTo>
                  <a:lnTo>
                    <a:pt x="2505" y="695"/>
                  </a:lnTo>
                  <a:lnTo>
                    <a:pt x="2512" y="699"/>
                  </a:lnTo>
                  <a:lnTo>
                    <a:pt x="2517" y="702"/>
                  </a:lnTo>
                  <a:lnTo>
                    <a:pt x="2517" y="727"/>
                  </a:lnTo>
                  <a:lnTo>
                    <a:pt x="2496" y="730"/>
                  </a:lnTo>
                  <a:lnTo>
                    <a:pt x="2479" y="730"/>
                  </a:lnTo>
                  <a:lnTo>
                    <a:pt x="2472" y="730"/>
                  </a:lnTo>
                  <a:lnTo>
                    <a:pt x="2466" y="730"/>
                  </a:lnTo>
                  <a:lnTo>
                    <a:pt x="2458" y="731"/>
                  </a:lnTo>
                  <a:lnTo>
                    <a:pt x="2451" y="733"/>
                  </a:lnTo>
                  <a:lnTo>
                    <a:pt x="2455" y="737"/>
                  </a:lnTo>
                  <a:lnTo>
                    <a:pt x="2459" y="741"/>
                  </a:lnTo>
                  <a:lnTo>
                    <a:pt x="2465" y="744"/>
                  </a:lnTo>
                  <a:lnTo>
                    <a:pt x="2471" y="747"/>
                  </a:lnTo>
                  <a:lnTo>
                    <a:pt x="2483" y="750"/>
                  </a:lnTo>
                  <a:lnTo>
                    <a:pt x="2491" y="751"/>
                  </a:lnTo>
                  <a:lnTo>
                    <a:pt x="2492" y="756"/>
                  </a:lnTo>
                  <a:lnTo>
                    <a:pt x="2493" y="760"/>
                  </a:lnTo>
                  <a:lnTo>
                    <a:pt x="2495" y="765"/>
                  </a:lnTo>
                  <a:lnTo>
                    <a:pt x="2499" y="769"/>
                  </a:lnTo>
                  <a:lnTo>
                    <a:pt x="2505" y="777"/>
                  </a:lnTo>
                  <a:lnTo>
                    <a:pt x="2511" y="782"/>
                  </a:lnTo>
                  <a:lnTo>
                    <a:pt x="2500" y="792"/>
                  </a:lnTo>
                  <a:lnTo>
                    <a:pt x="2489" y="802"/>
                  </a:lnTo>
                  <a:lnTo>
                    <a:pt x="2480" y="812"/>
                  </a:lnTo>
                  <a:lnTo>
                    <a:pt x="2471" y="823"/>
                  </a:lnTo>
                  <a:lnTo>
                    <a:pt x="2456" y="841"/>
                  </a:lnTo>
                  <a:lnTo>
                    <a:pt x="2441" y="859"/>
                  </a:lnTo>
                  <a:lnTo>
                    <a:pt x="2434" y="867"/>
                  </a:lnTo>
                  <a:lnTo>
                    <a:pt x="2425" y="876"/>
                  </a:lnTo>
                  <a:lnTo>
                    <a:pt x="2416" y="884"/>
                  </a:lnTo>
                  <a:lnTo>
                    <a:pt x="2406" y="892"/>
                  </a:lnTo>
                  <a:lnTo>
                    <a:pt x="2395" y="899"/>
                  </a:lnTo>
                  <a:lnTo>
                    <a:pt x="2382" y="905"/>
                  </a:lnTo>
                  <a:lnTo>
                    <a:pt x="2368" y="912"/>
                  </a:lnTo>
                  <a:lnTo>
                    <a:pt x="2351" y="917"/>
                  </a:lnTo>
                  <a:lnTo>
                    <a:pt x="2346" y="919"/>
                  </a:lnTo>
                  <a:lnTo>
                    <a:pt x="2339" y="923"/>
                  </a:lnTo>
                  <a:lnTo>
                    <a:pt x="2332" y="928"/>
                  </a:lnTo>
                  <a:lnTo>
                    <a:pt x="2324" y="935"/>
                  </a:lnTo>
                  <a:lnTo>
                    <a:pt x="2307" y="950"/>
                  </a:lnTo>
                  <a:lnTo>
                    <a:pt x="2289" y="967"/>
                  </a:lnTo>
                  <a:lnTo>
                    <a:pt x="2271" y="984"/>
                  </a:lnTo>
                  <a:lnTo>
                    <a:pt x="2255" y="999"/>
                  </a:lnTo>
                  <a:lnTo>
                    <a:pt x="2248" y="1006"/>
                  </a:lnTo>
                  <a:lnTo>
                    <a:pt x="2242" y="1011"/>
                  </a:lnTo>
                  <a:lnTo>
                    <a:pt x="2236" y="1014"/>
                  </a:lnTo>
                  <a:lnTo>
                    <a:pt x="2232" y="1016"/>
                  </a:lnTo>
                  <a:lnTo>
                    <a:pt x="2208" y="1025"/>
                  </a:lnTo>
                  <a:lnTo>
                    <a:pt x="2186" y="1034"/>
                  </a:lnTo>
                  <a:lnTo>
                    <a:pt x="2175" y="1039"/>
                  </a:lnTo>
                  <a:lnTo>
                    <a:pt x="2165" y="1045"/>
                  </a:lnTo>
                  <a:lnTo>
                    <a:pt x="2156" y="1051"/>
                  </a:lnTo>
                  <a:lnTo>
                    <a:pt x="2147" y="1057"/>
                  </a:lnTo>
                  <a:lnTo>
                    <a:pt x="2140" y="1064"/>
                  </a:lnTo>
                  <a:lnTo>
                    <a:pt x="2133" y="1072"/>
                  </a:lnTo>
                  <a:lnTo>
                    <a:pt x="2126" y="1080"/>
                  </a:lnTo>
                  <a:lnTo>
                    <a:pt x="2122" y="1090"/>
                  </a:lnTo>
                  <a:lnTo>
                    <a:pt x="2118" y="1101"/>
                  </a:lnTo>
                  <a:lnTo>
                    <a:pt x="2114" y="1113"/>
                  </a:lnTo>
                  <a:lnTo>
                    <a:pt x="2113" y="1125"/>
                  </a:lnTo>
                  <a:lnTo>
                    <a:pt x="2112" y="1139"/>
                  </a:lnTo>
                  <a:lnTo>
                    <a:pt x="2112" y="1151"/>
                  </a:lnTo>
                  <a:lnTo>
                    <a:pt x="2112" y="1174"/>
                  </a:lnTo>
                  <a:lnTo>
                    <a:pt x="2112" y="1195"/>
                  </a:lnTo>
                  <a:lnTo>
                    <a:pt x="2112" y="1207"/>
                  </a:lnTo>
                  <a:lnTo>
                    <a:pt x="2114" y="1223"/>
                  </a:lnTo>
                  <a:lnTo>
                    <a:pt x="2118" y="1240"/>
                  </a:lnTo>
                  <a:lnTo>
                    <a:pt x="2120" y="1249"/>
                  </a:lnTo>
                  <a:lnTo>
                    <a:pt x="2121" y="1259"/>
                  </a:lnTo>
                  <a:lnTo>
                    <a:pt x="2121" y="1270"/>
                  </a:lnTo>
                  <a:lnTo>
                    <a:pt x="2119" y="1281"/>
                  </a:lnTo>
                  <a:lnTo>
                    <a:pt x="2132" y="1343"/>
                  </a:lnTo>
                  <a:lnTo>
                    <a:pt x="2126" y="1379"/>
                  </a:lnTo>
                  <a:lnTo>
                    <a:pt x="2118" y="1417"/>
                  </a:lnTo>
                  <a:lnTo>
                    <a:pt x="2112" y="1435"/>
                  </a:lnTo>
                  <a:lnTo>
                    <a:pt x="2105" y="1450"/>
                  </a:lnTo>
                  <a:lnTo>
                    <a:pt x="2103" y="1457"/>
                  </a:lnTo>
                  <a:lnTo>
                    <a:pt x="2100" y="1463"/>
                  </a:lnTo>
                  <a:lnTo>
                    <a:pt x="2096" y="1468"/>
                  </a:lnTo>
                  <a:lnTo>
                    <a:pt x="2092" y="1472"/>
                  </a:lnTo>
                  <a:lnTo>
                    <a:pt x="2059" y="1472"/>
                  </a:lnTo>
                  <a:lnTo>
                    <a:pt x="2058" y="1464"/>
                  </a:lnTo>
                  <a:lnTo>
                    <a:pt x="2057" y="1456"/>
                  </a:lnTo>
                  <a:lnTo>
                    <a:pt x="2055" y="1450"/>
                  </a:lnTo>
                  <a:lnTo>
                    <a:pt x="2053" y="1445"/>
                  </a:lnTo>
                  <a:lnTo>
                    <a:pt x="2047" y="1437"/>
                  </a:lnTo>
                  <a:lnTo>
                    <a:pt x="2040" y="1430"/>
                  </a:lnTo>
                  <a:lnTo>
                    <a:pt x="2033" y="1425"/>
                  </a:lnTo>
                  <a:lnTo>
                    <a:pt x="2029" y="1418"/>
                  </a:lnTo>
                  <a:lnTo>
                    <a:pt x="2026" y="1414"/>
                  </a:lnTo>
                  <a:lnTo>
                    <a:pt x="2025" y="1410"/>
                  </a:lnTo>
                  <a:lnTo>
                    <a:pt x="2025" y="1405"/>
                  </a:lnTo>
                  <a:lnTo>
                    <a:pt x="2026" y="1398"/>
                  </a:lnTo>
                  <a:lnTo>
                    <a:pt x="2026" y="1373"/>
                  </a:lnTo>
                  <a:lnTo>
                    <a:pt x="2022" y="1373"/>
                  </a:lnTo>
                  <a:lnTo>
                    <a:pt x="2019" y="1372"/>
                  </a:lnTo>
                  <a:lnTo>
                    <a:pt x="2015" y="1370"/>
                  </a:lnTo>
                  <a:lnTo>
                    <a:pt x="2012" y="1367"/>
                  </a:lnTo>
                  <a:lnTo>
                    <a:pt x="2007" y="1361"/>
                  </a:lnTo>
                  <a:lnTo>
                    <a:pt x="2002" y="1353"/>
                  </a:lnTo>
                  <a:lnTo>
                    <a:pt x="1998" y="1344"/>
                  </a:lnTo>
                  <a:lnTo>
                    <a:pt x="1995" y="1335"/>
                  </a:lnTo>
                  <a:lnTo>
                    <a:pt x="1993" y="1326"/>
                  </a:lnTo>
                  <a:lnTo>
                    <a:pt x="1992" y="1318"/>
                  </a:lnTo>
                  <a:lnTo>
                    <a:pt x="1992" y="1298"/>
                  </a:lnTo>
                  <a:lnTo>
                    <a:pt x="1992" y="1281"/>
                  </a:lnTo>
                  <a:lnTo>
                    <a:pt x="1992" y="1265"/>
                  </a:lnTo>
                  <a:lnTo>
                    <a:pt x="1992" y="1244"/>
                  </a:lnTo>
                  <a:lnTo>
                    <a:pt x="1991" y="1234"/>
                  </a:lnTo>
                  <a:lnTo>
                    <a:pt x="1989" y="1224"/>
                  </a:lnTo>
                  <a:lnTo>
                    <a:pt x="1985" y="1212"/>
                  </a:lnTo>
                  <a:lnTo>
                    <a:pt x="1978" y="1201"/>
                  </a:lnTo>
                  <a:lnTo>
                    <a:pt x="1974" y="1196"/>
                  </a:lnTo>
                  <a:lnTo>
                    <a:pt x="1969" y="1191"/>
                  </a:lnTo>
                  <a:lnTo>
                    <a:pt x="1964" y="1187"/>
                  </a:lnTo>
                  <a:lnTo>
                    <a:pt x="1959" y="1184"/>
                  </a:lnTo>
                  <a:lnTo>
                    <a:pt x="1953" y="1181"/>
                  </a:lnTo>
                  <a:lnTo>
                    <a:pt x="1947" y="1178"/>
                  </a:lnTo>
                  <a:lnTo>
                    <a:pt x="1940" y="1177"/>
                  </a:lnTo>
                  <a:lnTo>
                    <a:pt x="1933" y="1177"/>
                  </a:lnTo>
                  <a:lnTo>
                    <a:pt x="1918" y="1177"/>
                  </a:lnTo>
                  <a:lnTo>
                    <a:pt x="1906" y="1177"/>
                  </a:lnTo>
                  <a:lnTo>
                    <a:pt x="1897" y="1177"/>
                  </a:lnTo>
                  <a:lnTo>
                    <a:pt x="1894" y="1177"/>
                  </a:lnTo>
                  <a:lnTo>
                    <a:pt x="1880" y="1176"/>
                  </a:lnTo>
                  <a:lnTo>
                    <a:pt x="1869" y="1175"/>
                  </a:lnTo>
                  <a:lnTo>
                    <a:pt x="1857" y="1173"/>
                  </a:lnTo>
                  <a:lnTo>
                    <a:pt x="1845" y="1171"/>
                  </a:lnTo>
                  <a:lnTo>
                    <a:pt x="1832" y="1168"/>
                  </a:lnTo>
                  <a:lnTo>
                    <a:pt x="1818" y="1166"/>
                  </a:lnTo>
                  <a:lnTo>
                    <a:pt x="1804" y="1165"/>
                  </a:lnTo>
                  <a:lnTo>
                    <a:pt x="1787" y="1164"/>
                  </a:lnTo>
                  <a:lnTo>
                    <a:pt x="1773" y="1164"/>
                  </a:lnTo>
                  <a:lnTo>
                    <a:pt x="1762" y="1162"/>
                  </a:lnTo>
                  <a:lnTo>
                    <a:pt x="1753" y="1159"/>
                  </a:lnTo>
                  <a:lnTo>
                    <a:pt x="1745" y="1155"/>
                  </a:lnTo>
                  <a:lnTo>
                    <a:pt x="1738" y="1151"/>
                  </a:lnTo>
                  <a:lnTo>
                    <a:pt x="1731" y="1148"/>
                  </a:lnTo>
                  <a:lnTo>
                    <a:pt x="1722" y="1146"/>
                  </a:lnTo>
                  <a:lnTo>
                    <a:pt x="1713" y="1145"/>
                  </a:lnTo>
                  <a:lnTo>
                    <a:pt x="1688" y="1144"/>
                  </a:lnTo>
                  <a:lnTo>
                    <a:pt x="1653" y="1143"/>
                  </a:lnTo>
                  <a:lnTo>
                    <a:pt x="1644" y="1144"/>
                  </a:lnTo>
                  <a:lnTo>
                    <a:pt x="1636" y="1144"/>
                  </a:lnTo>
                  <a:lnTo>
                    <a:pt x="1628" y="1146"/>
                  </a:lnTo>
                  <a:lnTo>
                    <a:pt x="1621" y="1148"/>
                  </a:lnTo>
                  <a:lnTo>
                    <a:pt x="1616" y="1151"/>
                  </a:lnTo>
                  <a:lnTo>
                    <a:pt x="1611" y="1155"/>
                  </a:lnTo>
                  <a:lnTo>
                    <a:pt x="1608" y="1159"/>
                  </a:lnTo>
                  <a:lnTo>
                    <a:pt x="1607" y="1164"/>
                  </a:lnTo>
                  <a:lnTo>
                    <a:pt x="1608" y="1169"/>
                  </a:lnTo>
                  <a:lnTo>
                    <a:pt x="1608" y="1173"/>
                  </a:lnTo>
                  <a:lnTo>
                    <a:pt x="1610" y="1176"/>
                  </a:lnTo>
                  <a:lnTo>
                    <a:pt x="1611" y="1180"/>
                  </a:lnTo>
                  <a:lnTo>
                    <a:pt x="1616" y="1186"/>
                  </a:lnTo>
                  <a:lnTo>
                    <a:pt x="1621" y="1192"/>
                  </a:lnTo>
                  <a:lnTo>
                    <a:pt x="1627" y="1197"/>
                  </a:lnTo>
                  <a:lnTo>
                    <a:pt x="1632" y="1204"/>
                  </a:lnTo>
                  <a:lnTo>
                    <a:pt x="1638" y="1212"/>
                  </a:lnTo>
                  <a:lnTo>
                    <a:pt x="1641" y="1220"/>
                  </a:lnTo>
                  <a:lnTo>
                    <a:pt x="1628" y="1221"/>
                  </a:lnTo>
                  <a:lnTo>
                    <a:pt x="1615" y="1223"/>
                  </a:lnTo>
                  <a:lnTo>
                    <a:pt x="1601" y="1226"/>
                  </a:lnTo>
                  <a:lnTo>
                    <a:pt x="1589" y="1229"/>
                  </a:lnTo>
                  <a:lnTo>
                    <a:pt x="1577" y="1232"/>
                  </a:lnTo>
                  <a:lnTo>
                    <a:pt x="1565" y="1235"/>
                  </a:lnTo>
                  <a:lnTo>
                    <a:pt x="1555" y="1237"/>
                  </a:lnTo>
                  <a:lnTo>
                    <a:pt x="1548" y="1238"/>
                  </a:lnTo>
                  <a:lnTo>
                    <a:pt x="1544" y="1237"/>
                  </a:lnTo>
                  <a:lnTo>
                    <a:pt x="1539" y="1233"/>
                  </a:lnTo>
                  <a:lnTo>
                    <a:pt x="1533" y="1228"/>
                  </a:lnTo>
                  <a:lnTo>
                    <a:pt x="1528" y="1222"/>
                  </a:lnTo>
                  <a:lnTo>
                    <a:pt x="1516" y="1210"/>
                  </a:lnTo>
                  <a:lnTo>
                    <a:pt x="1508" y="1201"/>
                  </a:lnTo>
                  <a:lnTo>
                    <a:pt x="1474" y="1214"/>
                  </a:lnTo>
                  <a:lnTo>
                    <a:pt x="1468" y="1213"/>
                  </a:lnTo>
                  <a:lnTo>
                    <a:pt x="1461" y="1210"/>
                  </a:lnTo>
                  <a:lnTo>
                    <a:pt x="1454" y="1205"/>
                  </a:lnTo>
                  <a:lnTo>
                    <a:pt x="1448" y="1201"/>
                  </a:lnTo>
                  <a:lnTo>
                    <a:pt x="1441" y="1196"/>
                  </a:lnTo>
                  <a:lnTo>
                    <a:pt x="1436" y="1192"/>
                  </a:lnTo>
                  <a:lnTo>
                    <a:pt x="1428" y="1190"/>
                  </a:lnTo>
                  <a:lnTo>
                    <a:pt x="1421" y="1189"/>
                  </a:lnTo>
                  <a:lnTo>
                    <a:pt x="1406" y="1190"/>
                  </a:lnTo>
                  <a:lnTo>
                    <a:pt x="1390" y="1192"/>
                  </a:lnTo>
                  <a:lnTo>
                    <a:pt x="1372" y="1197"/>
                  </a:lnTo>
                  <a:lnTo>
                    <a:pt x="1354" y="1203"/>
                  </a:lnTo>
                  <a:lnTo>
                    <a:pt x="1337" y="1211"/>
                  </a:lnTo>
                  <a:lnTo>
                    <a:pt x="1318" y="1219"/>
                  </a:lnTo>
                  <a:lnTo>
                    <a:pt x="1301" y="1228"/>
                  </a:lnTo>
                  <a:lnTo>
                    <a:pt x="1283" y="1238"/>
                  </a:lnTo>
                  <a:lnTo>
                    <a:pt x="1265" y="1249"/>
                  </a:lnTo>
                  <a:lnTo>
                    <a:pt x="1248" y="1259"/>
                  </a:lnTo>
                  <a:lnTo>
                    <a:pt x="1231" y="1272"/>
                  </a:lnTo>
                  <a:lnTo>
                    <a:pt x="1217" y="1283"/>
                  </a:lnTo>
                  <a:lnTo>
                    <a:pt x="1203" y="1294"/>
                  </a:lnTo>
                  <a:lnTo>
                    <a:pt x="1190" y="1304"/>
                  </a:lnTo>
                  <a:lnTo>
                    <a:pt x="1179" y="1314"/>
                  </a:lnTo>
                  <a:lnTo>
                    <a:pt x="1169" y="1325"/>
                  </a:lnTo>
                  <a:lnTo>
                    <a:pt x="1166" y="1328"/>
                  </a:lnTo>
                  <a:lnTo>
                    <a:pt x="1163" y="1333"/>
                  </a:lnTo>
                  <a:lnTo>
                    <a:pt x="1162" y="1337"/>
                  </a:lnTo>
                  <a:lnTo>
                    <a:pt x="1161" y="1342"/>
                  </a:lnTo>
                  <a:lnTo>
                    <a:pt x="1161" y="1354"/>
                  </a:lnTo>
                  <a:lnTo>
                    <a:pt x="1161" y="1366"/>
                  </a:lnTo>
                  <a:lnTo>
                    <a:pt x="1161" y="1379"/>
                  </a:lnTo>
                  <a:lnTo>
                    <a:pt x="1160" y="1392"/>
                  </a:lnTo>
                  <a:lnTo>
                    <a:pt x="1159" y="1399"/>
                  </a:lnTo>
                  <a:lnTo>
                    <a:pt x="1157" y="1405"/>
                  </a:lnTo>
                  <a:lnTo>
                    <a:pt x="1153" y="1411"/>
                  </a:lnTo>
                  <a:lnTo>
                    <a:pt x="1149" y="1417"/>
                  </a:lnTo>
                  <a:lnTo>
                    <a:pt x="1143" y="1416"/>
                  </a:lnTo>
                  <a:lnTo>
                    <a:pt x="1136" y="1415"/>
                  </a:lnTo>
                  <a:lnTo>
                    <a:pt x="1129" y="1414"/>
                  </a:lnTo>
                  <a:lnTo>
                    <a:pt x="1124" y="1412"/>
                  </a:lnTo>
                  <a:lnTo>
                    <a:pt x="1111" y="1408"/>
                  </a:lnTo>
                  <a:lnTo>
                    <a:pt x="1100" y="1401"/>
                  </a:lnTo>
                  <a:lnTo>
                    <a:pt x="1090" y="1394"/>
                  </a:lnTo>
                  <a:lnTo>
                    <a:pt x="1082" y="1386"/>
                  </a:lnTo>
                  <a:lnTo>
                    <a:pt x="1080" y="1382"/>
                  </a:lnTo>
                  <a:lnTo>
                    <a:pt x="1078" y="1377"/>
                  </a:lnTo>
                  <a:lnTo>
                    <a:pt x="1077" y="1372"/>
                  </a:lnTo>
                  <a:lnTo>
                    <a:pt x="1076" y="1367"/>
                  </a:lnTo>
                  <a:lnTo>
                    <a:pt x="1076" y="1356"/>
                  </a:lnTo>
                  <a:lnTo>
                    <a:pt x="1074" y="1344"/>
                  </a:lnTo>
                  <a:lnTo>
                    <a:pt x="1072" y="1330"/>
                  </a:lnTo>
                  <a:lnTo>
                    <a:pt x="1070" y="1315"/>
                  </a:lnTo>
                  <a:lnTo>
                    <a:pt x="1066" y="1300"/>
                  </a:lnTo>
                  <a:lnTo>
                    <a:pt x="1061" y="1285"/>
                  </a:lnTo>
                  <a:lnTo>
                    <a:pt x="1057" y="1270"/>
                  </a:lnTo>
                  <a:lnTo>
                    <a:pt x="1051" y="1254"/>
                  </a:lnTo>
                  <a:lnTo>
                    <a:pt x="1044" y="1240"/>
                  </a:lnTo>
                  <a:lnTo>
                    <a:pt x="1037" y="1227"/>
                  </a:lnTo>
                  <a:lnTo>
                    <a:pt x="1028" y="1215"/>
                  </a:lnTo>
                  <a:lnTo>
                    <a:pt x="1020" y="1203"/>
                  </a:lnTo>
                  <a:lnTo>
                    <a:pt x="1015" y="1199"/>
                  </a:lnTo>
                  <a:lnTo>
                    <a:pt x="1010" y="1195"/>
                  </a:lnTo>
                  <a:lnTo>
                    <a:pt x="1005" y="1191"/>
                  </a:lnTo>
                  <a:lnTo>
                    <a:pt x="1000" y="1188"/>
                  </a:lnTo>
                  <a:lnTo>
                    <a:pt x="994" y="1186"/>
                  </a:lnTo>
                  <a:lnTo>
                    <a:pt x="988" y="1184"/>
                  </a:lnTo>
                  <a:lnTo>
                    <a:pt x="982" y="1183"/>
                  </a:lnTo>
                  <a:lnTo>
                    <a:pt x="977" y="1183"/>
                  </a:lnTo>
                  <a:lnTo>
                    <a:pt x="964" y="1183"/>
                  </a:lnTo>
                  <a:lnTo>
                    <a:pt x="951" y="1186"/>
                  </a:lnTo>
                  <a:lnTo>
                    <a:pt x="940" y="1190"/>
                  </a:lnTo>
                  <a:lnTo>
                    <a:pt x="931" y="1195"/>
                  </a:lnTo>
                  <a:lnTo>
                    <a:pt x="926" y="1199"/>
                  </a:lnTo>
                  <a:lnTo>
                    <a:pt x="922" y="1202"/>
                  </a:lnTo>
                  <a:lnTo>
                    <a:pt x="919" y="1206"/>
                  </a:lnTo>
                  <a:lnTo>
                    <a:pt x="915" y="1212"/>
                  </a:lnTo>
                  <a:lnTo>
                    <a:pt x="913" y="1216"/>
                  </a:lnTo>
                  <a:lnTo>
                    <a:pt x="911" y="1221"/>
                  </a:lnTo>
                  <a:lnTo>
                    <a:pt x="910" y="1227"/>
                  </a:lnTo>
                  <a:lnTo>
                    <a:pt x="910" y="1232"/>
                  </a:lnTo>
                  <a:lnTo>
                    <a:pt x="883" y="1232"/>
                  </a:lnTo>
                  <a:lnTo>
                    <a:pt x="878" y="1229"/>
                  </a:lnTo>
                  <a:lnTo>
                    <a:pt x="872" y="1225"/>
                  </a:lnTo>
                  <a:lnTo>
                    <a:pt x="867" y="1219"/>
                  </a:lnTo>
                  <a:lnTo>
                    <a:pt x="861" y="1212"/>
                  </a:lnTo>
                  <a:lnTo>
                    <a:pt x="850" y="1196"/>
                  </a:lnTo>
                  <a:lnTo>
                    <a:pt x="839" y="1179"/>
                  </a:lnTo>
                  <a:lnTo>
                    <a:pt x="830" y="1161"/>
                  </a:lnTo>
                  <a:lnTo>
                    <a:pt x="821" y="1144"/>
                  </a:lnTo>
                  <a:lnTo>
                    <a:pt x="814" y="1131"/>
                  </a:lnTo>
                  <a:lnTo>
                    <a:pt x="810" y="1121"/>
                  </a:lnTo>
                  <a:lnTo>
                    <a:pt x="805" y="1120"/>
                  </a:lnTo>
                  <a:lnTo>
                    <a:pt x="801" y="1118"/>
                  </a:lnTo>
                  <a:lnTo>
                    <a:pt x="798" y="1115"/>
                  </a:lnTo>
                  <a:lnTo>
                    <a:pt x="794" y="1111"/>
                  </a:lnTo>
                  <a:lnTo>
                    <a:pt x="789" y="1100"/>
                  </a:lnTo>
                  <a:lnTo>
                    <a:pt x="782" y="1087"/>
                  </a:lnTo>
                  <a:lnTo>
                    <a:pt x="779" y="1081"/>
                  </a:lnTo>
                  <a:lnTo>
                    <a:pt x="775" y="1075"/>
                  </a:lnTo>
                  <a:lnTo>
                    <a:pt x="770" y="1069"/>
                  </a:lnTo>
                  <a:lnTo>
                    <a:pt x="765" y="1064"/>
                  </a:lnTo>
                  <a:lnTo>
                    <a:pt x="757" y="1060"/>
                  </a:lnTo>
                  <a:lnTo>
                    <a:pt x="749" y="1056"/>
                  </a:lnTo>
                  <a:lnTo>
                    <a:pt x="741" y="1054"/>
                  </a:lnTo>
                  <a:lnTo>
                    <a:pt x="731" y="1054"/>
                  </a:lnTo>
                  <a:lnTo>
                    <a:pt x="718" y="1054"/>
                  </a:lnTo>
                  <a:lnTo>
                    <a:pt x="706" y="1055"/>
                  </a:lnTo>
                  <a:lnTo>
                    <a:pt x="696" y="1057"/>
                  </a:lnTo>
                  <a:lnTo>
                    <a:pt x="687" y="1059"/>
                  </a:lnTo>
                  <a:lnTo>
                    <a:pt x="670" y="1065"/>
                  </a:lnTo>
                  <a:lnTo>
                    <a:pt x="656" y="1072"/>
                  </a:lnTo>
                  <a:lnTo>
                    <a:pt x="642" y="1078"/>
                  </a:lnTo>
                  <a:lnTo>
                    <a:pt x="624" y="1084"/>
                  </a:lnTo>
                  <a:lnTo>
                    <a:pt x="615" y="1087"/>
                  </a:lnTo>
                  <a:lnTo>
                    <a:pt x="604" y="1088"/>
                  </a:lnTo>
                  <a:lnTo>
                    <a:pt x="591" y="1089"/>
                  </a:lnTo>
                  <a:lnTo>
                    <a:pt x="577" y="1090"/>
                  </a:lnTo>
                  <a:lnTo>
                    <a:pt x="555" y="1089"/>
                  </a:lnTo>
                  <a:lnTo>
                    <a:pt x="533" y="1086"/>
                  </a:lnTo>
                  <a:lnTo>
                    <a:pt x="514" y="1083"/>
                  </a:lnTo>
                  <a:lnTo>
                    <a:pt x="496" y="1078"/>
                  </a:lnTo>
                  <a:lnTo>
                    <a:pt x="478" y="1072"/>
                  </a:lnTo>
                  <a:lnTo>
                    <a:pt x="462" y="1065"/>
                  </a:lnTo>
                  <a:lnTo>
                    <a:pt x="445" y="1058"/>
                  </a:lnTo>
                  <a:lnTo>
                    <a:pt x="430" y="1051"/>
                  </a:lnTo>
                  <a:lnTo>
                    <a:pt x="415" y="1043"/>
                  </a:lnTo>
                  <a:lnTo>
                    <a:pt x="398" y="1035"/>
                  </a:lnTo>
                  <a:lnTo>
                    <a:pt x="383" y="1028"/>
                  </a:lnTo>
                  <a:lnTo>
                    <a:pt x="366" y="1023"/>
                  </a:lnTo>
                  <a:lnTo>
                    <a:pt x="350" y="1017"/>
                  </a:lnTo>
                  <a:lnTo>
                    <a:pt x="331" y="1014"/>
                  </a:lnTo>
                  <a:lnTo>
                    <a:pt x="312" y="1011"/>
                  </a:lnTo>
                  <a:lnTo>
                    <a:pt x="292" y="1010"/>
                  </a:lnTo>
                  <a:lnTo>
                    <a:pt x="263" y="1012"/>
                  </a:lnTo>
                  <a:lnTo>
                    <a:pt x="234" y="1015"/>
                  </a:lnTo>
                  <a:lnTo>
                    <a:pt x="220" y="1016"/>
                  </a:lnTo>
                  <a:lnTo>
                    <a:pt x="205" y="1015"/>
                  </a:lnTo>
                  <a:lnTo>
                    <a:pt x="189" y="1014"/>
                  </a:lnTo>
                  <a:lnTo>
                    <a:pt x="172" y="1010"/>
                  </a:lnTo>
                  <a:lnTo>
                    <a:pt x="173" y="998"/>
                  </a:lnTo>
                  <a:lnTo>
                    <a:pt x="175" y="988"/>
                  </a:lnTo>
                  <a:lnTo>
                    <a:pt x="175" y="982"/>
                  </a:lnTo>
                  <a:lnTo>
                    <a:pt x="175" y="979"/>
                  </a:lnTo>
                  <a:lnTo>
                    <a:pt x="174" y="975"/>
                  </a:lnTo>
                  <a:lnTo>
                    <a:pt x="172" y="973"/>
                  </a:lnTo>
                  <a:lnTo>
                    <a:pt x="141" y="952"/>
                  </a:lnTo>
                  <a:lnTo>
                    <a:pt x="107" y="931"/>
                  </a:lnTo>
                  <a:lnTo>
                    <a:pt x="97" y="925"/>
                  </a:lnTo>
                  <a:lnTo>
                    <a:pt x="88" y="920"/>
                  </a:lnTo>
                  <a:lnTo>
                    <a:pt x="79" y="916"/>
                  </a:lnTo>
                  <a:lnTo>
                    <a:pt x="69" y="912"/>
                  </a:lnTo>
                  <a:lnTo>
                    <a:pt x="59" y="909"/>
                  </a:lnTo>
                  <a:lnTo>
                    <a:pt x="48" y="907"/>
                  </a:lnTo>
                  <a:lnTo>
                    <a:pt x="37" y="906"/>
                  </a:lnTo>
                  <a:lnTo>
                    <a:pt x="26" y="905"/>
                  </a:lnTo>
                  <a:lnTo>
                    <a:pt x="27" y="899"/>
                  </a:lnTo>
                  <a:lnTo>
                    <a:pt x="28" y="893"/>
                  </a:lnTo>
                  <a:lnTo>
                    <a:pt x="30" y="888"/>
                  </a:lnTo>
                  <a:lnTo>
                    <a:pt x="32" y="883"/>
                  </a:lnTo>
                  <a:lnTo>
                    <a:pt x="37" y="874"/>
                  </a:lnTo>
                  <a:lnTo>
                    <a:pt x="39" y="868"/>
                  </a:lnTo>
                  <a:lnTo>
                    <a:pt x="39" y="848"/>
                  </a:lnTo>
                  <a:lnTo>
                    <a:pt x="36" y="826"/>
                  </a:lnTo>
                  <a:lnTo>
                    <a:pt x="32" y="801"/>
                  </a:lnTo>
                  <a:lnTo>
                    <a:pt x="29" y="777"/>
                  </a:lnTo>
                  <a:lnTo>
                    <a:pt x="24" y="752"/>
                  </a:lnTo>
                  <a:lnTo>
                    <a:pt x="19" y="729"/>
                  </a:lnTo>
                  <a:lnTo>
                    <a:pt x="16" y="707"/>
                  </a:lnTo>
                  <a:lnTo>
                    <a:pt x="13" y="690"/>
                  </a:lnTo>
                  <a:lnTo>
                    <a:pt x="17" y="687"/>
                  </a:lnTo>
                  <a:lnTo>
                    <a:pt x="25" y="680"/>
                  </a:lnTo>
                  <a:lnTo>
                    <a:pt x="28" y="675"/>
                  </a:lnTo>
                  <a:lnTo>
                    <a:pt x="29" y="669"/>
                  </a:lnTo>
                  <a:lnTo>
                    <a:pt x="30" y="666"/>
                  </a:lnTo>
                  <a:lnTo>
                    <a:pt x="29" y="662"/>
                  </a:lnTo>
                  <a:lnTo>
                    <a:pt x="28" y="658"/>
                  </a:lnTo>
                  <a:lnTo>
                    <a:pt x="26" y="653"/>
                  </a:lnTo>
                  <a:lnTo>
                    <a:pt x="21" y="658"/>
                  </a:lnTo>
                  <a:lnTo>
                    <a:pt x="16" y="663"/>
                  </a:lnTo>
                  <a:lnTo>
                    <a:pt x="12" y="669"/>
                  </a:lnTo>
                  <a:lnTo>
                    <a:pt x="6" y="677"/>
                  </a:lnTo>
                  <a:lnTo>
                    <a:pt x="4" y="672"/>
                  </a:lnTo>
                  <a:lnTo>
                    <a:pt x="3" y="667"/>
                  </a:lnTo>
                  <a:lnTo>
                    <a:pt x="2" y="660"/>
                  </a:lnTo>
                  <a:lnTo>
                    <a:pt x="1" y="653"/>
                  </a:lnTo>
                  <a:lnTo>
                    <a:pt x="0" y="639"/>
                  </a:lnTo>
                  <a:lnTo>
                    <a:pt x="0" y="628"/>
                  </a:lnTo>
                  <a:lnTo>
                    <a:pt x="0" y="604"/>
                  </a:lnTo>
                  <a:lnTo>
                    <a:pt x="2" y="581"/>
                  </a:lnTo>
                  <a:lnTo>
                    <a:pt x="3" y="570"/>
                  </a:lnTo>
                  <a:lnTo>
                    <a:pt x="5" y="558"/>
                  </a:lnTo>
                  <a:lnTo>
                    <a:pt x="8" y="545"/>
                  </a:lnTo>
                  <a:lnTo>
                    <a:pt x="13" y="529"/>
                  </a:lnTo>
                  <a:lnTo>
                    <a:pt x="26" y="514"/>
                  </a:lnTo>
                  <a:lnTo>
                    <a:pt x="38" y="499"/>
                  </a:lnTo>
                  <a:lnTo>
                    <a:pt x="50" y="482"/>
                  </a:lnTo>
                  <a:lnTo>
                    <a:pt x="61" y="467"/>
                  </a:lnTo>
                  <a:lnTo>
                    <a:pt x="81" y="434"/>
                  </a:lnTo>
                  <a:lnTo>
                    <a:pt x="101" y="401"/>
                  </a:lnTo>
                  <a:lnTo>
                    <a:pt x="119" y="368"/>
                  </a:lnTo>
                  <a:lnTo>
                    <a:pt x="141" y="336"/>
                  </a:lnTo>
                  <a:lnTo>
                    <a:pt x="152" y="321"/>
                  </a:lnTo>
                  <a:lnTo>
                    <a:pt x="164" y="305"/>
                  </a:lnTo>
                  <a:lnTo>
                    <a:pt x="177" y="291"/>
                  </a:lnTo>
                  <a:lnTo>
                    <a:pt x="193" y="277"/>
                  </a:lnTo>
                  <a:lnTo>
                    <a:pt x="198" y="271"/>
                  </a:lnTo>
                  <a:lnTo>
                    <a:pt x="204" y="265"/>
                  </a:lnTo>
                  <a:lnTo>
                    <a:pt x="208" y="257"/>
                  </a:lnTo>
                  <a:lnTo>
                    <a:pt x="213" y="250"/>
                  </a:lnTo>
                  <a:lnTo>
                    <a:pt x="219" y="234"/>
                  </a:lnTo>
                  <a:lnTo>
                    <a:pt x="227" y="218"/>
                  </a:lnTo>
                  <a:lnTo>
                    <a:pt x="233" y="200"/>
                  </a:lnTo>
                  <a:lnTo>
                    <a:pt x="242" y="184"/>
                  </a:lnTo>
                  <a:lnTo>
                    <a:pt x="247" y="176"/>
                  </a:lnTo>
                  <a:lnTo>
                    <a:pt x="252" y="169"/>
                  </a:lnTo>
                  <a:lnTo>
                    <a:pt x="259" y="161"/>
                  </a:lnTo>
                  <a:lnTo>
                    <a:pt x="265" y="154"/>
                  </a:lnTo>
                  <a:lnTo>
                    <a:pt x="266" y="131"/>
                  </a:lnTo>
                  <a:lnTo>
                    <a:pt x="270" y="109"/>
                  </a:lnTo>
                  <a:lnTo>
                    <a:pt x="274" y="89"/>
                  </a:lnTo>
                  <a:lnTo>
                    <a:pt x="278" y="73"/>
                  </a:lnTo>
                  <a:lnTo>
                    <a:pt x="299" y="74"/>
                  </a:lnTo>
                  <a:lnTo>
                    <a:pt x="326" y="77"/>
                  </a:lnTo>
                  <a:lnTo>
                    <a:pt x="349" y="79"/>
                  </a:lnTo>
                  <a:lnTo>
                    <a:pt x="359" y="80"/>
                  </a:lnTo>
                  <a:lnTo>
                    <a:pt x="357" y="91"/>
                  </a:lnTo>
                  <a:lnTo>
                    <a:pt x="355" y="102"/>
                  </a:lnTo>
                  <a:lnTo>
                    <a:pt x="352" y="112"/>
                  </a:lnTo>
                  <a:lnTo>
                    <a:pt x="349" y="121"/>
                  </a:lnTo>
                  <a:lnTo>
                    <a:pt x="344" y="130"/>
                  </a:lnTo>
                  <a:lnTo>
                    <a:pt x="341" y="138"/>
                  </a:lnTo>
                  <a:lnTo>
                    <a:pt x="339" y="146"/>
                  </a:lnTo>
                  <a:lnTo>
                    <a:pt x="339" y="154"/>
                  </a:lnTo>
                  <a:lnTo>
                    <a:pt x="343" y="153"/>
                  </a:lnTo>
                  <a:lnTo>
                    <a:pt x="348" y="150"/>
                  </a:lnTo>
                  <a:lnTo>
                    <a:pt x="352" y="147"/>
                  </a:lnTo>
                  <a:lnTo>
                    <a:pt x="356" y="144"/>
                  </a:lnTo>
                  <a:lnTo>
                    <a:pt x="364" y="137"/>
                  </a:lnTo>
                  <a:lnTo>
                    <a:pt x="371" y="129"/>
                  </a:lnTo>
                  <a:lnTo>
                    <a:pt x="376" y="120"/>
                  </a:lnTo>
                  <a:lnTo>
                    <a:pt x="381" y="110"/>
                  </a:lnTo>
                  <a:lnTo>
                    <a:pt x="385" y="99"/>
                  </a:lnTo>
                  <a:lnTo>
                    <a:pt x="388" y="87"/>
                  </a:lnTo>
                  <a:lnTo>
                    <a:pt x="394" y="66"/>
                  </a:lnTo>
                  <a:lnTo>
                    <a:pt x="396" y="48"/>
                  </a:lnTo>
                  <a:lnTo>
                    <a:pt x="398" y="35"/>
                  </a:lnTo>
                  <a:lnTo>
                    <a:pt x="398" y="30"/>
                  </a:lnTo>
                  <a:lnTo>
                    <a:pt x="1827" y="30"/>
                  </a:lnTo>
                  <a:lnTo>
                    <a:pt x="1825" y="21"/>
                  </a:lnTo>
                  <a:lnTo>
                    <a:pt x="1823" y="13"/>
                  </a:lnTo>
                  <a:lnTo>
                    <a:pt x="1821" y="5"/>
                  </a:lnTo>
                  <a:lnTo>
                    <a:pt x="1820" y="0"/>
                  </a:lnTo>
                  <a:lnTo>
                    <a:pt x="1827" y="0"/>
                  </a:lnTo>
                  <a:lnTo>
                    <a:pt x="1853" y="0"/>
                  </a:lnTo>
                  <a:lnTo>
                    <a:pt x="1854" y="11"/>
                  </a:lnTo>
                  <a:lnTo>
                    <a:pt x="1856" y="21"/>
                  </a:lnTo>
                  <a:lnTo>
                    <a:pt x="1861" y="30"/>
                  </a:lnTo>
                  <a:lnTo>
                    <a:pt x="1866" y="38"/>
                  </a:lnTo>
                  <a:lnTo>
                    <a:pt x="1873" y="46"/>
                  </a:lnTo>
                  <a:lnTo>
                    <a:pt x="1881" y="51"/>
                  </a:lnTo>
                  <a:lnTo>
                    <a:pt x="1886" y="53"/>
                  </a:lnTo>
                  <a:lnTo>
                    <a:pt x="1890" y="54"/>
                  </a:lnTo>
                  <a:lnTo>
                    <a:pt x="1895" y="55"/>
                  </a:lnTo>
                  <a:lnTo>
                    <a:pt x="1900" y="55"/>
                  </a:lnTo>
                  <a:lnTo>
                    <a:pt x="1910" y="55"/>
                  </a:lnTo>
                  <a:lnTo>
                    <a:pt x="1926" y="55"/>
                  </a:lnTo>
                  <a:lnTo>
                    <a:pt x="1935" y="56"/>
                  </a:lnTo>
                  <a:lnTo>
                    <a:pt x="1944" y="58"/>
                  </a:lnTo>
                  <a:lnTo>
                    <a:pt x="1952" y="61"/>
                  </a:lnTo>
                  <a:lnTo>
                    <a:pt x="1958" y="64"/>
                  </a:lnTo>
                  <a:lnTo>
                    <a:pt x="1965" y="68"/>
                  </a:lnTo>
                  <a:lnTo>
                    <a:pt x="1972" y="71"/>
                  </a:lnTo>
                  <a:lnTo>
                    <a:pt x="1979" y="73"/>
                  </a:lnTo>
                  <a:lnTo>
                    <a:pt x="1986" y="73"/>
                  </a:lnTo>
                  <a:lnTo>
                    <a:pt x="1992" y="72"/>
                  </a:lnTo>
                  <a:lnTo>
                    <a:pt x="1999" y="67"/>
                  </a:lnTo>
                  <a:lnTo>
                    <a:pt x="2003" y="63"/>
                  </a:lnTo>
                  <a:lnTo>
                    <a:pt x="2006" y="61"/>
                  </a:lnTo>
                  <a:lnTo>
                    <a:pt x="2015" y="69"/>
                  </a:lnTo>
                  <a:lnTo>
                    <a:pt x="2024" y="75"/>
                  </a:lnTo>
                  <a:lnTo>
                    <a:pt x="2035" y="81"/>
                  </a:lnTo>
                  <a:lnTo>
                    <a:pt x="2046" y="86"/>
                  </a:lnTo>
                  <a:lnTo>
                    <a:pt x="2038" y="93"/>
                  </a:lnTo>
                  <a:lnTo>
                    <a:pt x="2031" y="100"/>
                  </a:lnTo>
                  <a:lnTo>
                    <a:pt x="2021" y="104"/>
                  </a:lnTo>
                  <a:lnTo>
                    <a:pt x="2011" y="108"/>
                  </a:lnTo>
                  <a:lnTo>
                    <a:pt x="1989" y="114"/>
                  </a:lnTo>
                  <a:lnTo>
                    <a:pt x="1967" y="118"/>
                  </a:lnTo>
                  <a:lnTo>
                    <a:pt x="1956" y="120"/>
                  </a:lnTo>
                  <a:lnTo>
                    <a:pt x="1946" y="122"/>
                  </a:lnTo>
                  <a:lnTo>
                    <a:pt x="1937" y="125"/>
                  </a:lnTo>
                  <a:lnTo>
                    <a:pt x="1929" y="128"/>
                  </a:lnTo>
                  <a:lnTo>
                    <a:pt x="1922" y="133"/>
                  </a:lnTo>
                  <a:lnTo>
                    <a:pt x="1918" y="138"/>
                  </a:lnTo>
                  <a:lnTo>
                    <a:pt x="1916" y="141"/>
                  </a:lnTo>
                  <a:lnTo>
                    <a:pt x="1914" y="145"/>
                  </a:lnTo>
                  <a:lnTo>
                    <a:pt x="1913" y="149"/>
                  </a:lnTo>
                  <a:lnTo>
                    <a:pt x="1913" y="154"/>
                  </a:lnTo>
                  <a:lnTo>
                    <a:pt x="1926" y="155"/>
                  </a:lnTo>
                  <a:lnTo>
                    <a:pt x="1937" y="156"/>
                  </a:lnTo>
                  <a:lnTo>
                    <a:pt x="1946" y="158"/>
                  </a:lnTo>
                  <a:lnTo>
                    <a:pt x="1954" y="160"/>
                  </a:lnTo>
                  <a:lnTo>
                    <a:pt x="1962" y="162"/>
                  </a:lnTo>
                  <a:lnTo>
                    <a:pt x="1969" y="164"/>
                  </a:lnTo>
                  <a:lnTo>
                    <a:pt x="1977" y="166"/>
                  </a:lnTo>
                  <a:lnTo>
                    <a:pt x="1986" y="166"/>
                  </a:lnTo>
                  <a:lnTo>
                    <a:pt x="1996" y="165"/>
                  </a:lnTo>
                  <a:lnTo>
                    <a:pt x="2011" y="161"/>
                  </a:lnTo>
                  <a:lnTo>
                    <a:pt x="2028" y="155"/>
                  </a:lnTo>
                  <a:lnTo>
                    <a:pt x="2047" y="147"/>
                  </a:lnTo>
                  <a:lnTo>
                    <a:pt x="2067" y="140"/>
                  </a:lnTo>
                  <a:lnTo>
                    <a:pt x="2087" y="135"/>
                  </a:lnTo>
                  <a:lnTo>
                    <a:pt x="2104" y="130"/>
                  </a:lnTo>
                  <a:lnTo>
                    <a:pt x="2119" y="129"/>
                  </a:lnTo>
                  <a:lnTo>
                    <a:pt x="2109" y="140"/>
                  </a:lnTo>
                  <a:lnTo>
                    <a:pt x="2101" y="147"/>
                  </a:lnTo>
                  <a:lnTo>
                    <a:pt x="2097" y="151"/>
                  </a:lnTo>
                  <a:lnTo>
                    <a:pt x="2094" y="155"/>
                  </a:lnTo>
                  <a:lnTo>
                    <a:pt x="2093" y="160"/>
                  </a:lnTo>
                  <a:lnTo>
                    <a:pt x="2092" y="166"/>
                  </a:lnTo>
                  <a:lnTo>
                    <a:pt x="2102" y="166"/>
                  </a:lnTo>
                  <a:lnTo>
                    <a:pt x="2112" y="166"/>
                  </a:lnTo>
                  <a:lnTo>
                    <a:pt x="2121" y="167"/>
                  </a:lnTo>
                  <a:lnTo>
                    <a:pt x="2138" y="169"/>
                  </a:lnTo>
                  <a:lnTo>
                    <a:pt x="2163" y="172"/>
                  </a:lnTo>
                  <a:lnTo>
                    <a:pt x="2191" y="175"/>
                  </a:lnTo>
                  <a:lnTo>
                    <a:pt x="2221" y="179"/>
                  </a:lnTo>
                  <a:lnTo>
                    <a:pt x="2248" y="182"/>
                  </a:lnTo>
                  <a:lnTo>
                    <a:pt x="2270" y="184"/>
                  </a:lnTo>
                  <a:lnTo>
                    <a:pt x="2286" y="184"/>
                  </a:lnTo>
                  <a:lnTo>
                    <a:pt x="2284" y="193"/>
                  </a:lnTo>
                  <a:lnTo>
                    <a:pt x="2282" y="199"/>
                  </a:lnTo>
                  <a:lnTo>
                    <a:pt x="2279" y="205"/>
                  </a:lnTo>
                  <a:lnTo>
                    <a:pt x="2275" y="210"/>
                  </a:lnTo>
                  <a:lnTo>
                    <a:pt x="2269" y="212"/>
                  </a:lnTo>
                  <a:lnTo>
                    <a:pt x="2262" y="214"/>
                  </a:lnTo>
                  <a:lnTo>
                    <a:pt x="2255" y="215"/>
                  </a:lnTo>
                  <a:lnTo>
                    <a:pt x="2245" y="216"/>
                  </a:lnTo>
                  <a:lnTo>
                    <a:pt x="2238" y="215"/>
                  </a:lnTo>
                  <a:lnTo>
                    <a:pt x="2233" y="214"/>
                  </a:lnTo>
                  <a:lnTo>
                    <a:pt x="2228" y="212"/>
                  </a:lnTo>
                  <a:lnTo>
                    <a:pt x="2225" y="210"/>
                  </a:lnTo>
                  <a:lnTo>
                    <a:pt x="2222" y="206"/>
                  </a:lnTo>
                  <a:lnTo>
                    <a:pt x="2217" y="204"/>
                  </a:lnTo>
                  <a:lnTo>
                    <a:pt x="2212" y="203"/>
                  </a:lnTo>
                  <a:lnTo>
                    <a:pt x="2205" y="203"/>
                  </a:lnTo>
                  <a:lnTo>
                    <a:pt x="2194" y="203"/>
                  </a:lnTo>
                  <a:lnTo>
                    <a:pt x="2185" y="205"/>
                  </a:lnTo>
                  <a:lnTo>
                    <a:pt x="2175" y="209"/>
                  </a:lnTo>
                  <a:lnTo>
                    <a:pt x="2166" y="213"/>
                  </a:lnTo>
                  <a:lnTo>
                    <a:pt x="2149" y="223"/>
                  </a:lnTo>
                  <a:lnTo>
                    <a:pt x="2135" y="234"/>
                  </a:lnTo>
                  <a:lnTo>
                    <a:pt x="2121" y="245"/>
                  </a:lnTo>
                  <a:lnTo>
                    <a:pt x="2108" y="255"/>
                  </a:lnTo>
                  <a:lnTo>
                    <a:pt x="2100" y="258"/>
                  </a:lnTo>
                  <a:lnTo>
                    <a:pt x="2093" y="261"/>
                  </a:lnTo>
                  <a:lnTo>
                    <a:pt x="2087" y="264"/>
                  </a:lnTo>
                  <a:lnTo>
                    <a:pt x="2079" y="265"/>
                  </a:lnTo>
                  <a:lnTo>
                    <a:pt x="2073" y="266"/>
                  </a:lnTo>
                  <a:lnTo>
                    <a:pt x="2068" y="268"/>
                  </a:lnTo>
                  <a:lnTo>
                    <a:pt x="2066" y="271"/>
                  </a:lnTo>
                  <a:lnTo>
                    <a:pt x="2064" y="276"/>
                  </a:lnTo>
                  <a:lnTo>
                    <a:pt x="2063" y="285"/>
                  </a:lnTo>
                  <a:lnTo>
                    <a:pt x="2059" y="295"/>
                  </a:lnTo>
                  <a:lnTo>
                    <a:pt x="2056" y="304"/>
                  </a:lnTo>
                  <a:lnTo>
                    <a:pt x="2053" y="312"/>
                  </a:lnTo>
                  <a:lnTo>
                    <a:pt x="2048" y="321"/>
                  </a:lnTo>
                  <a:lnTo>
                    <a:pt x="2043" y="328"/>
                  </a:lnTo>
                  <a:lnTo>
                    <a:pt x="2032" y="342"/>
                  </a:lnTo>
                  <a:lnTo>
                    <a:pt x="2021" y="355"/>
                  </a:lnTo>
                  <a:lnTo>
                    <a:pt x="2015" y="362"/>
                  </a:lnTo>
                  <a:lnTo>
                    <a:pt x="2010" y="369"/>
                  </a:lnTo>
                  <a:lnTo>
                    <a:pt x="2006" y="378"/>
                  </a:lnTo>
                  <a:lnTo>
                    <a:pt x="2001" y="386"/>
                  </a:lnTo>
                  <a:lnTo>
                    <a:pt x="1998" y="394"/>
                  </a:lnTo>
                  <a:lnTo>
                    <a:pt x="1995" y="404"/>
                  </a:lnTo>
                  <a:lnTo>
                    <a:pt x="1993" y="414"/>
                  </a:lnTo>
                  <a:lnTo>
                    <a:pt x="1992" y="424"/>
                  </a:lnTo>
                  <a:lnTo>
                    <a:pt x="1993" y="432"/>
                  </a:lnTo>
                  <a:lnTo>
                    <a:pt x="1997" y="438"/>
                  </a:lnTo>
                  <a:lnTo>
                    <a:pt x="2001" y="443"/>
                  </a:lnTo>
                  <a:lnTo>
                    <a:pt x="2007" y="447"/>
                  </a:lnTo>
                  <a:lnTo>
                    <a:pt x="2012" y="451"/>
                  </a:lnTo>
                  <a:lnTo>
                    <a:pt x="2018" y="453"/>
                  </a:lnTo>
                  <a:lnTo>
                    <a:pt x="2022" y="455"/>
                  </a:lnTo>
                  <a:lnTo>
                    <a:pt x="2026" y="456"/>
                  </a:lnTo>
                  <a:lnTo>
                    <a:pt x="2032" y="455"/>
                  </a:lnTo>
                  <a:lnTo>
                    <a:pt x="2037" y="454"/>
                  </a:lnTo>
                  <a:lnTo>
                    <a:pt x="2043" y="453"/>
                  </a:lnTo>
                  <a:lnTo>
                    <a:pt x="2047" y="451"/>
                  </a:lnTo>
                  <a:lnTo>
                    <a:pt x="2052" y="448"/>
                  </a:lnTo>
                  <a:lnTo>
                    <a:pt x="2056" y="445"/>
                  </a:lnTo>
                  <a:lnTo>
                    <a:pt x="2060" y="441"/>
                  </a:lnTo>
                  <a:lnTo>
                    <a:pt x="2064" y="437"/>
                  </a:lnTo>
                  <a:lnTo>
                    <a:pt x="2070" y="427"/>
                  </a:lnTo>
                  <a:lnTo>
                    <a:pt x="2076" y="417"/>
                  </a:lnTo>
                  <a:lnTo>
                    <a:pt x="2080" y="405"/>
                  </a:lnTo>
                  <a:lnTo>
                    <a:pt x="2085" y="393"/>
                  </a:lnTo>
                  <a:lnTo>
                    <a:pt x="2092" y="368"/>
                  </a:lnTo>
                  <a:lnTo>
                    <a:pt x="2100" y="344"/>
                  </a:lnTo>
                  <a:lnTo>
                    <a:pt x="2103" y="333"/>
                  </a:lnTo>
                  <a:lnTo>
                    <a:pt x="2108" y="323"/>
                  </a:lnTo>
                  <a:lnTo>
                    <a:pt x="2113" y="314"/>
                  </a:lnTo>
                  <a:lnTo>
                    <a:pt x="2119" y="307"/>
                  </a:lnTo>
                  <a:lnTo>
                    <a:pt x="2135" y="295"/>
                  </a:lnTo>
                  <a:lnTo>
                    <a:pt x="2152" y="283"/>
                  </a:lnTo>
                  <a:lnTo>
                    <a:pt x="2169" y="273"/>
                  </a:lnTo>
                  <a:lnTo>
                    <a:pt x="2188" y="262"/>
                  </a:lnTo>
                  <a:lnTo>
                    <a:pt x="2205" y="252"/>
                  </a:lnTo>
                  <a:lnTo>
                    <a:pt x="2223" y="243"/>
                  </a:lnTo>
                  <a:lnTo>
                    <a:pt x="2238" y="233"/>
                  </a:lnTo>
                  <a:lnTo>
                    <a:pt x="2251" y="222"/>
                  </a:lnTo>
                  <a:lnTo>
                    <a:pt x="2266" y="237"/>
                  </a:lnTo>
                  <a:lnTo>
                    <a:pt x="2278" y="249"/>
                  </a:lnTo>
                  <a:lnTo>
                    <a:pt x="2283" y="255"/>
                  </a:lnTo>
                  <a:lnTo>
                    <a:pt x="2288" y="261"/>
                  </a:lnTo>
                  <a:lnTo>
                    <a:pt x="2293" y="269"/>
                  </a:lnTo>
                  <a:lnTo>
                    <a:pt x="2299" y="277"/>
                  </a:lnTo>
                  <a:lnTo>
                    <a:pt x="2289" y="284"/>
                  </a:lnTo>
                  <a:lnTo>
                    <a:pt x="2281" y="290"/>
                  </a:lnTo>
                  <a:lnTo>
                    <a:pt x="2273" y="296"/>
                  </a:lnTo>
                  <a:lnTo>
                    <a:pt x="2267" y="303"/>
                  </a:lnTo>
                  <a:lnTo>
                    <a:pt x="2260" y="310"/>
                  </a:lnTo>
                  <a:lnTo>
                    <a:pt x="2255" y="318"/>
                  </a:lnTo>
                  <a:lnTo>
                    <a:pt x="2250" y="328"/>
                  </a:lnTo>
                  <a:lnTo>
                    <a:pt x="2245" y="339"/>
                  </a:lnTo>
                  <a:lnTo>
                    <a:pt x="2259" y="338"/>
                  </a:lnTo>
                  <a:lnTo>
                    <a:pt x="2271" y="336"/>
                  </a:lnTo>
                  <a:lnTo>
                    <a:pt x="2284" y="334"/>
                  </a:lnTo>
                  <a:lnTo>
                    <a:pt x="2299" y="333"/>
                  </a:lnTo>
                  <a:lnTo>
                    <a:pt x="2299" y="347"/>
                  </a:lnTo>
                  <a:lnTo>
                    <a:pt x="2299" y="363"/>
                  </a:lnTo>
                  <a:lnTo>
                    <a:pt x="2299" y="380"/>
                  </a:lnTo>
                  <a:lnTo>
                    <a:pt x="2299" y="394"/>
                  </a:lnTo>
                  <a:lnTo>
                    <a:pt x="2293" y="399"/>
                  </a:lnTo>
                  <a:lnTo>
                    <a:pt x="2288" y="404"/>
                  </a:lnTo>
                  <a:lnTo>
                    <a:pt x="2281" y="411"/>
                  </a:lnTo>
                  <a:lnTo>
                    <a:pt x="2276" y="418"/>
                  </a:lnTo>
                  <a:lnTo>
                    <a:pt x="2250" y="426"/>
                  </a:lnTo>
                  <a:lnTo>
                    <a:pt x="2228" y="435"/>
                  </a:lnTo>
                  <a:lnTo>
                    <a:pt x="2219" y="439"/>
                  </a:lnTo>
                  <a:lnTo>
                    <a:pt x="2212" y="443"/>
                  </a:lnTo>
                  <a:lnTo>
                    <a:pt x="2206" y="446"/>
                  </a:lnTo>
                  <a:lnTo>
                    <a:pt x="2205" y="450"/>
                  </a:lnTo>
                  <a:lnTo>
                    <a:pt x="2205" y="452"/>
                  </a:lnTo>
                  <a:lnTo>
                    <a:pt x="2206" y="454"/>
                  </a:lnTo>
                  <a:lnTo>
                    <a:pt x="2209" y="456"/>
                  </a:lnTo>
                  <a:lnTo>
                    <a:pt x="2212" y="458"/>
                  </a:lnTo>
                  <a:lnTo>
                    <a:pt x="2219" y="463"/>
                  </a:lnTo>
                  <a:lnTo>
                    <a:pt x="2227" y="466"/>
                  </a:lnTo>
                  <a:lnTo>
                    <a:pt x="2236" y="469"/>
                  </a:lnTo>
                  <a:lnTo>
                    <a:pt x="2245" y="472"/>
                  </a:lnTo>
                  <a:lnTo>
                    <a:pt x="2253" y="473"/>
                  </a:lnTo>
                  <a:lnTo>
                    <a:pt x="2258" y="474"/>
                  </a:lnTo>
                  <a:lnTo>
                    <a:pt x="2265" y="473"/>
                  </a:lnTo>
                  <a:lnTo>
                    <a:pt x="2273" y="472"/>
                  </a:lnTo>
                  <a:lnTo>
                    <a:pt x="2283" y="469"/>
                  </a:lnTo>
                  <a:lnTo>
                    <a:pt x="2293" y="466"/>
                  </a:lnTo>
                  <a:lnTo>
                    <a:pt x="2317" y="457"/>
                  </a:lnTo>
                  <a:lnTo>
                    <a:pt x="2343" y="447"/>
                  </a:lnTo>
                  <a:lnTo>
                    <a:pt x="2369" y="436"/>
                  </a:lnTo>
                  <a:lnTo>
                    <a:pt x="2393" y="425"/>
                  </a:lnTo>
                  <a:lnTo>
                    <a:pt x="2415" y="415"/>
                  </a:lnTo>
                  <a:lnTo>
                    <a:pt x="2433" y="408"/>
                  </a:lnTo>
                  <a:lnTo>
                    <a:pt x="2439" y="407"/>
                  </a:lnTo>
                  <a:lnTo>
                    <a:pt x="2446" y="405"/>
                  </a:lnTo>
                  <a:lnTo>
                    <a:pt x="2452" y="403"/>
                  </a:lnTo>
                  <a:lnTo>
                    <a:pt x="2458" y="400"/>
                  </a:lnTo>
                  <a:lnTo>
                    <a:pt x="2530" y="382"/>
                  </a:lnTo>
                  <a:lnTo>
                    <a:pt x="2544" y="380"/>
                  </a:lnTo>
                  <a:lnTo>
                    <a:pt x="2557" y="378"/>
                  </a:lnTo>
                  <a:lnTo>
                    <a:pt x="2570" y="373"/>
                  </a:lnTo>
                  <a:lnTo>
                    <a:pt x="2583" y="369"/>
                  </a:lnTo>
                  <a:lnTo>
                    <a:pt x="2597" y="364"/>
                  </a:lnTo>
                  <a:lnTo>
                    <a:pt x="2611" y="357"/>
                  </a:lnTo>
                  <a:lnTo>
                    <a:pt x="2625" y="350"/>
                  </a:lnTo>
                  <a:lnTo>
                    <a:pt x="2638" y="342"/>
                  </a:lnTo>
                  <a:lnTo>
                    <a:pt x="2651" y="334"/>
                  </a:lnTo>
                  <a:lnTo>
                    <a:pt x="2664" y="324"/>
                  </a:lnTo>
                  <a:lnTo>
                    <a:pt x="2676" y="313"/>
                  </a:lnTo>
                  <a:lnTo>
                    <a:pt x="2689" y="303"/>
                  </a:lnTo>
                  <a:lnTo>
                    <a:pt x="2701" y="291"/>
                  </a:lnTo>
                  <a:lnTo>
                    <a:pt x="2710" y="279"/>
                  </a:lnTo>
                  <a:lnTo>
                    <a:pt x="2721" y="266"/>
                  </a:lnTo>
                  <a:lnTo>
                    <a:pt x="2730" y="252"/>
                  </a:lnTo>
                  <a:lnTo>
                    <a:pt x="2817" y="252"/>
                  </a:lnTo>
                  <a:lnTo>
                    <a:pt x="2850" y="248"/>
                  </a:lnTo>
                  <a:lnTo>
                    <a:pt x="2880" y="246"/>
                  </a:lnTo>
                  <a:lnTo>
                    <a:pt x="2906" y="244"/>
                  </a:lnTo>
                  <a:lnTo>
                    <a:pt x="2931" y="241"/>
                  </a:lnTo>
                  <a:lnTo>
                    <a:pt x="2942" y="239"/>
                  </a:lnTo>
                  <a:lnTo>
                    <a:pt x="2954" y="237"/>
                  </a:lnTo>
                  <a:lnTo>
                    <a:pt x="2965" y="234"/>
                  </a:lnTo>
                  <a:lnTo>
                    <a:pt x="2975" y="230"/>
                  </a:lnTo>
                  <a:lnTo>
                    <a:pt x="2986" y="225"/>
                  </a:lnTo>
                  <a:lnTo>
                    <a:pt x="2996" y="219"/>
                  </a:lnTo>
                  <a:lnTo>
                    <a:pt x="3006" y="212"/>
                  </a:lnTo>
                  <a:lnTo>
                    <a:pt x="3016" y="203"/>
                  </a:lnTo>
                  <a:lnTo>
                    <a:pt x="3028" y="190"/>
                  </a:lnTo>
                  <a:lnTo>
                    <a:pt x="3038" y="177"/>
                  </a:lnTo>
                  <a:lnTo>
                    <a:pt x="3048" y="162"/>
                  </a:lnTo>
                  <a:lnTo>
                    <a:pt x="3059" y="148"/>
                  </a:lnTo>
                  <a:lnTo>
                    <a:pt x="3064" y="142"/>
                  </a:lnTo>
                  <a:lnTo>
                    <a:pt x="3070" y="136"/>
                  </a:lnTo>
                  <a:lnTo>
                    <a:pt x="3075" y="130"/>
                  </a:lnTo>
                  <a:lnTo>
                    <a:pt x="3082" y="126"/>
                  </a:lnTo>
                  <a:lnTo>
                    <a:pt x="3089" y="122"/>
                  </a:lnTo>
                  <a:lnTo>
                    <a:pt x="3097" y="119"/>
                  </a:lnTo>
                  <a:lnTo>
                    <a:pt x="3106" y="117"/>
                  </a:lnTo>
                  <a:lnTo>
                    <a:pt x="3116" y="117"/>
                  </a:lnTo>
                  <a:lnTo>
                    <a:pt x="3136" y="118"/>
                  </a:lnTo>
                  <a:lnTo>
                    <a:pt x="3153" y="119"/>
                  </a:lnTo>
                  <a:lnTo>
                    <a:pt x="3160" y="120"/>
                  </a:lnTo>
                  <a:lnTo>
                    <a:pt x="3165" y="119"/>
                  </a:lnTo>
                  <a:lnTo>
                    <a:pt x="3171" y="119"/>
                  </a:lnTo>
                  <a:lnTo>
                    <a:pt x="3175" y="117"/>
                  </a:lnTo>
                  <a:lnTo>
                    <a:pt x="3175" y="125"/>
                  </a:lnTo>
                  <a:lnTo>
                    <a:pt x="3172" y="134"/>
                  </a:lnTo>
                  <a:lnTo>
                    <a:pt x="3168" y="144"/>
                  </a:lnTo>
                  <a:lnTo>
                    <a:pt x="3164" y="156"/>
                  </a:lnTo>
                  <a:lnTo>
                    <a:pt x="3160" y="165"/>
                  </a:lnTo>
                  <a:lnTo>
                    <a:pt x="3155" y="174"/>
                  </a:lnTo>
                  <a:lnTo>
                    <a:pt x="3152" y="181"/>
                  </a:lnTo>
                  <a:lnTo>
                    <a:pt x="3149" y="184"/>
                  </a:lnTo>
                  <a:lnTo>
                    <a:pt x="3149" y="252"/>
                  </a:lnTo>
                  <a:lnTo>
                    <a:pt x="3155" y="258"/>
                  </a:lnTo>
                </a:path>
              </a:pathLst>
            </a:custGeom>
            <a:solidFill>
              <a:srgbClr val="3282BE"/>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 name="Freeform 7">
              <a:extLst>
                <a:ext uri="{FF2B5EF4-FFF2-40B4-BE49-F238E27FC236}">
                  <a16:creationId xmlns:a16="http://schemas.microsoft.com/office/drawing/2014/main" id="{7442B765-C1B5-49D6-8A01-14458D10C9D7}"/>
                </a:ext>
              </a:extLst>
            </p:cNvPr>
            <p:cNvSpPr>
              <a:spLocks/>
            </p:cNvSpPr>
            <p:nvPr>
              <p:custDataLst>
                <p:tags r:id="rId4"/>
              </p:custDataLst>
            </p:nvPr>
          </p:nvSpPr>
          <p:spPr bwMode="auto">
            <a:xfrm>
              <a:off x="1971673" y="3662334"/>
              <a:ext cx="339725" cy="590545"/>
            </a:xfrm>
            <a:custGeom>
              <a:avLst/>
              <a:gdLst>
                <a:gd name="T0" fmla="*/ 252627 w 784"/>
                <a:gd name="T1" fmla="*/ 145020 h 1128"/>
                <a:gd name="T2" fmla="*/ 237894 w 784"/>
                <a:gd name="T3" fmla="*/ 154443 h 1128"/>
                <a:gd name="T4" fmla="*/ 209728 w 784"/>
                <a:gd name="T5" fmla="*/ 202609 h 1128"/>
                <a:gd name="T6" fmla="*/ 201495 w 784"/>
                <a:gd name="T7" fmla="*/ 239257 h 1128"/>
                <a:gd name="T8" fmla="*/ 208428 w 784"/>
                <a:gd name="T9" fmla="*/ 273286 h 1128"/>
                <a:gd name="T10" fmla="*/ 229661 w 784"/>
                <a:gd name="T11" fmla="*/ 309411 h 1128"/>
                <a:gd name="T12" fmla="*/ 250894 w 784"/>
                <a:gd name="T13" fmla="*/ 322499 h 1128"/>
                <a:gd name="T14" fmla="*/ 270827 w 784"/>
                <a:gd name="T15" fmla="*/ 314122 h 1128"/>
                <a:gd name="T16" fmla="*/ 283393 w 784"/>
                <a:gd name="T17" fmla="*/ 341870 h 1128"/>
                <a:gd name="T18" fmla="*/ 291193 w 784"/>
                <a:gd name="T19" fmla="*/ 357576 h 1128"/>
                <a:gd name="T20" fmla="*/ 309392 w 784"/>
                <a:gd name="T21" fmla="*/ 359670 h 1128"/>
                <a:gd name="T22" fmla="*/ 324559 w 784"/>
                <a:gd name="T23" fmla="*/ 372759 h 1128"/>
                <a:gd name="T24" fmla="*/ 333658 w 784"/>
                <a:gd name="T25" fmla="*/ 395794 h 1128"/>
                <a:gd name="T26" fmla="*/ 329759 w 784"/>
                <a:gd name="T27" fmla="*/ 413594 h 1128"/>
                <a:gd name="T28" fmla="*/ 329325 w 784"/>
                <a:gd name="T29" fmla="*/ 431918 h 1128"/>
                <a:gd name="T30" fmla="*/ 334525 w 784"/>
                <a:gd name="T31" fmla="*/ 461760 h 1128"/>
                <a:gd name="T32" fmla="*/ 328459 w 784"/>
                <a:gd name="T33" fmla="*/ 487937 h 1128"/>
                <a:gd name="T34" fmla="*/ 333658 w 784"/>
                <a:gd name="T35" fmla="*/ 520396 h 1128"/>
                <a:gd name="T36" fmla="*/ 330625 w 784"/>
                <a:gd name="T37" fmla="*/ 551808 h 1128"/>
                <a:gd name="T38" fmla="*/ 299426 w 784"/>
                <a:gd name="T39" fmla="*/ 587409 h 1128"/>
                <a:gd name="T40" fmla="*/ 280793 w 784"/>
                <a:gd name="T41" fmla="*/ 577462 h 1128"/>
                <a:gd name="T42" fmla="*/ 260860 w 784"/>
                <a:gd name="T43" fmla="*/ 552855 h 1128"/>
                <a:gd name="T44" fmla="*/ 200628 w 784"/>
                <a:gd name="T45" fmla="*/ 522490 h 1128"/>
                <a:gd name="T46" fmla="*/ 184162 w 784"/>
                <a:gd name="T47" fmla="*/ 506261 h 1128"/>
                <a:gd name="T48" fmla="*/ 143430 w 784"/>
                <a:gd name="T49" fmla="*/ 468042 h 1128"/>
                <a:gd name="T50" fmla="*/ 137797 w 784"/>
                <a:gd name="T51" fmla="*/ 453907 h 1128"/>
                <a:gd name="T52" fmla="*/ 142130 w 784"/>
                <a:gd name="T53" fmla="*/ 426683 h 1128"/>
                <a:gd name="T54" fmla="*/ 125664 w 784"/>
                <a:gd name="T55" fmla="*/ 407312 h 1128"/>
                <a:gd name="T56" fmla="*/ 112231 w 784"/>
                <a:gd name="T57" fmla="*/ 390035 h 1128"/>
                <a:gd name="T58" fmla="*/ 105297 w 784"/>
                <a:gd name="T59" fmla="*/ 360717 h 1128"/>
                <a:gd name="T60" fmla="*/ 66298 w 784"/>
                <a:gd name="T61" fmla="*/ 277475 h 1128"/>
                <a:gd name="T62" fmla="*/ 51999 w 784"/>
                <a:gd name="T63" fmla="*/ 254963 h 1128"/>
                <a:gd name="T64" fmla="*/ 38999 w 784"/>
                <a:gd name="T65" fmla="*/ 226168 h 1128"/>
                <a:gd name="T66" fmla="*/ 9533 w 784"/>
                <a:gd name="T67" fmla="*/ 207844 h 1128"/>
                <a:gd name="T68" fmla="*/ 0 w 784"/>
                <a:gd name="T69" fmla="*/ 190044 h 1128"/>
                <a:gd name="T70" fmla="*/ 5633 w 784"/>
                <a:gd name="T71" fmla="*/ 144496 h 1128"/>
                <a:gd name="T72" fmla="*/ 12133 w 784"/>
                <a:gd name="T73" fmla="*/ 128790 h 1128"/>
                <a:gd name="T74" fmla="*/ 31199 w 784"/>
                <a:gd name="T75" fmla="*/ 116225 h 1128"/>
                <a:gd name="T76" fmla="*/ 41166 w 784"/>
                <a:gd name="T77" fmla="*/ 142402 h 1128"/>
                <a:gd name="T78" fmla="*/ 68465 w 784"/>
                <a:gd name="T79" fmla="*/ 160726 h 1128"/>
                <a:gd name="T80" fmla="*/ 79731 w 784"/>
                <a:gd name="T81" fmla="*/ 141879 h 1128"/>
                <a:gd name="T82" fmla="*/ 87098 w 784"/>
                <a:gd name="T83" fmla="*/ 117796 h 1128"/>
                <a:gd name="T84" fmla="*/ 116997 w 784"/>
                <a:gd name="T85" fmla="*/ 89001 h 1128"/>
                <a:gd name="T86" fmla="*/ 149063 w 784"/>
                <a:gd name="T87" fmla="*/ 62824 h 1128"/>
                <a:gd name="T88" fmla="*/ 154696 w 784"/>
                <a:gd name="T89" fmla="*/ 36648 h 1128"/>
                <a:gd name="T90" fmla="*/ 150363 w 784"/>
                <a:gd name="T91" fmla="*/ 2618 h 1128"/>
                <a:gd name="T92" fmla="*/ 182862 w 784"/>
                <a:gd name="T93" fmla="*/ 27747 h 1128"/>
                <a:gd name="T94" fmla="*/ 202362 w 784"/>
                <a:gd name="T95" fmla="*/ 56018 h 1128"/>
                <a:gd name="T96" fmla="*/ 219261 w 784"/>
                <a:gd name="T97" fmla="*/ 80625 h 1128"/>
                <a:gd name="T98" fmla="*/ 243094 w 784"/>
                <a:gd name="T99" fmla="*/ 82195 h 1128"/>
                <a:gd name="T100" fmla="*/ 267360 w 784"/>
                <a:gd name="T101" fmla="*/ 78007 h 1128"/>
                <a:gd name="T102" fmla="*/ 277327 w 784"/>
                <a:gd name="T103" fmla="*/ 81672 h 1128"/>
                <a:gd name="T104" fmla="*/ 283393 w 784"/>
                <a:gd name="T105" fmla="*/ 101043 h 1128"/>
                <a:gd name="T106" fmla="*/ 271693 w 784"/>
                <a:gd name="T107" fmla="*/ 109943 h 1128"/>
                <a:gd name="T108" fmla="*/ 271693 w 784"/>
                <a:gd name="T109" fmla="*/ 125649 h 112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1128">
                  <a:moveTo>
                    <a:pt x="644" y="259"/>
                  </a:moveTo>
                  <a:lnTo>
                    <a:pt x="632" y="265"/>
                  </a:lnTo>
                  <a:lnTo>
                    <a:pt x="621" y="270"/>
                  </a:lnTo>
                  <a:lnTo>
                    <a:pt x="611" y="273"/>
                  </a:lnTo>
                  <a:lnTo>
                    <a:pt x="602" y="275"/>
                  </a:lnTo>
                  <a:lnTo>
                    <a:pt x="583" y="277"/>
                  </a:lnTo>
                  <a:lnTo>
                    <a:pt x="564" y="278"/>
                  </a:lnTo>
                  <a:lnTo>
                    <a:pt x="560" y="278"/>
                  </a:lnTo>
                  <a:lnTo>
                    <a:pt x="557" y="280"/>
                  </a:lnTo>
                  <a:lnTo>
                    <a:pt x="554" y="284"/>
                  </a:lnTo>
                  <a:lnTo>
                    <a:pt x="552" y="287"/>
                  </a:lnTo>
                  <a:lnTo>
                    <a:pt x="549" y="295"/>
                  </a:lnTo>
                  <a:lnTo>
                    <a:pt x="545" y="302"/>
                  </a:lnTo>
                  <a:lnTo>
                    <a:pt x="529" y="318"/>
                  </a:lnTo>
                  <a:lnTo>
                    <a:pt x="515" y="335"/>
                  </a:lnTo>
                  <a:lnTo>
                    <a:pt x="502" y="354"/>
                  </a:lnTo>
                  <a:lnTo>
                    <a:pt x="490" y="376"/>
                  </a:lnTo>
                  <a:lnTo>
                    <a:pt x="484" y="387"/>
                  </a:lnTo>
                  <a:lnTo>
                    <a:pt x="480" y="398"/>
                  </a:lnTo>
                  <a:lnTo>
                    <a:pt x="475" y="410"/>
                  </a:lnTo>
                  <a:lnTo>
                    <a:pt x="471" y="422"/>
                  </a:lnTo>
                  <a:lnTo>
                    <a:pt x="469" y="434"/>
                  </a:lnTo>
                  <a:lnTo>
                    <a:pt x="467" y="445"/>
                  </a:lnTo>
                  <a:lnTo>
                    <a:pt x="465" y="457"/>
                  </a:lnTo>
                  <a:lnTo>
                    <a:pt x="464" y="468"/>
                  </a:lnTo>
                  <a:lnTo>
                    <a:pt x="465" y="478"/>
                  </a:lnTo>
                  <a:lnTo>
                    <a:pt x="468" y="488"/>
                  </a:lnTo>
                  <a:lnTo>
                    <a:pt x="471" y="498"/>
                  </a:lnTo>
                  <a:lnTo>
                    <a:pt x="475" y="510"/>
                  </a:lnTo>
                  <a:lnTo>
                    <a:pt x="481" y="522"/>
                  </a:lnTo>
                  <a:lnTo>
                    <a:pt x="486" y="535"/>
                  </a:lnTo>
                  <a:lnTo>
                    <a:pt x="494" y="547"/>
                  </a:lnTo>
                  <a:lnTo>
                    <a:pt x="502" y="559"/>
                  </a:lnTo>
                  <a:lnTo>
                    <a:pt x="510" y="570"/>
                  </a:lnTo>
                  <a:lnTo>
                    <a:pt x="520" y="581"/>
                  </a:lnTo>
                  <a:lnTo>
                    <a:pt x="530" y="591"/>
                  </a:lnTo>
                  <a:lnTo>
                    <a:pt x="540" y="600"/>
                  </a:lnTo>
                  <a:lnTo>
                    <a:pt x="551" y="607"/>
                  </a:lnTo>
                  <a:lnTo>
                    <a:pt x="562" y="612"/>
                  </a:lnTo>
                  <a:lnTo>
                    <a:pt x="568" y="614"/>
                  </a:lnTo>
                  <a:lnTo>
                    <a:pt x="573" y="615"/>
                  </a:lnTo>
                  <a:lnTo>
                    <a:pt x="579" y="616"/>
                  </a:lnTo>
                  <a:lnTo>
                    <a:pt x="584" y="616"/>
                  </a:lnTo>
                  <a:lnTo>
                    <a:pt x="594" y="615"/>
                  </a:lnTo>
                  <a:lnTo>
                    <a:pt x="602" y="613"/>
                  </a:lnTo>
                  <a:lnTo>
                    <a:pt x="610" y="609"/>
                  </a:lnTo>
                  <a:lnTo>
                    <a:pt x="617" y="604"/>
                  </a:lnTo>
                  <a:lnTo>
                    <a:pt x="625" y="600"/>
                  </a:lnTo>
                  <a:lnTo>
                    <a:pt x="632" y="596"/>
                  </a:lnTo>
                  <a:lnTo>
                    <a:pt x="641" y="593"/>
                  </a:lnTo>
                  <a:lnTo>
                    <a:pt x="651" y="592"/>
                  </a:lnTo>
                  <a:lnTo>
                    <a:pt x="653" y="614"/>
                  </a:lnTo>
                  <a:lnTo>
                    <a:pt x="654" y="645"/>
                  </a:lnTo>
                  <a:lnTo>
                    <a:pt x="654" y="653"/>
                  </a:lnTo>
                  <a:lnTo>
                    <a:pt x="655" y="660"/>
                  </a:lnTo>
                  <a:lnTo>
                    <a:pt x="658" y="667"/>
                  </a:lnTo>
                  <a:lnTo>
                    <a:pt x="660" y="672"/>
                  </a:lnTo>
                  <a:lnTo>
                    <a:pt x="663" y="677"/>
                  </a:lnTo>
                  <a:lnTo>
                    <a:pt x="666" y="681"/>
                  </a:lnTo>
                  <a:lnTo>
                    <a:pt x="672" y="683"/>
                  </a:lnTo>
                  <a:lnTo>
                    <a:pt x="677" y="684"/>
                  </a:lnTo>
                  <a:lnTo>
                    <a:pt x="687" y="684"/>
                  </a:lnTo>
                  <a:lnTo>
                    <a:pt x="697" y="684"/>
                  </a:lnTo>
                  <a:lnTo>
                    <a:pt x="703" y="684"/>
                  </a:lnTo>
                  <a:lnTo>
                    <a:pt x="708" y="685"/>
                  </a:lnTo>
                  <a:lnTo>
                    <a:pt x="714" y="687"/>
                  </a:lnTo>
                  <a:lnTo>
                    <a:pt x="720" y="689"/>
                  </a:lnTo>
                  <a:lnTo>
                    <a:pt x="726" y="692"/>
                  </a:lnTo>
                  <a:lnTo>
                    <a:pt x="732" y="696"/>
                  </a:lnTo>
                  <a:lnTo>
                    <a:pt x="738" y="701"/>
                  </a:lnTo>
                  <a:lnTo>
                    <a:pt x="743" y="706"/>
                  </a:lnTo>
                  <a:lnTo>
                    <a:pt x="749" y="712"/>
                  </a:lnTo>
                  <a:lnTo>
                    <a:pt x="754" y="717"/>
                  </a:lnTo>
                  <a:lnTo>
                    <a:pt x="759" y="724"/>
                  </a:lnTo>
                  <a:lnTo>
                    <a:pt x="763" y="731"/>
                  </a:lnTo>
                  <a:lnTo>
                    <a:pt x="765" y="738"/>
                  </a:lnTo>
                  <a:lnTo>
                    <a:pt x="769" y="746"/>
                  </a:lnTo>
                  <a:lnTo>
                    <a:pt x="770" y="756"/>
                  </a:lnTo>
                  <a:lnTo>
                    <a:pt x="771" y="765"/>
                  </a:lnTo>
                  <a:lnTo>
                    <a:pt x="770" y="773"/>
                  </a:lnTo>
                  <a:lnTo>
                    <a:pt x="769" y="779"/>
                  </a:lnTo>
                  <a:lnTo>
                    <a:pt x="766" y="784"/>
                  </a:lnTo>
                  <a:lnTo>
                    <a:pt x="764" y="787"/>
                  </a:lnTo>
                  <a:lnTo>
                    <a:pt x="761" y="790"/>
                  </a:lnTo>
                  <a:lnTo>
                    <a:pt x="759" y="794"/>
                  </a:lnTo>
                  <a:lnTo>
                    <a:pt x="758" y="797"/>
                  </a:lnTo>
                  <a:lnTo>
                    <a:pt x="758" y="801"/>
                  </a:lnTo>
                  <a:lnTo>
                    <a:pt x="758" y="809"/>
                  </a:lnTo>
                  <a:lnTo>
                    <a:pt x="759" y="818"/>
                  </a:lnTo>
                  <a:lnTo>
                    <a:pt x="760" y="825"/>
                  </a:lnTo>
                  <a:lnTo>
                    <a:pt x="761" y="831"/>
                  </a:lnTo>
                  <a:lnTo>
                    <a:pt x="765" y="844"/>
                  </a:lnTo>
                  <a:lnTo>
                    <a:pt x="771" y="856"/>
                  </a:lnTo>
                  <a:lnTo>
                    <a:pt x="774" y="866"/>
                  </a:lnTo>
                  <a:lnTo>
                    <a:pt x="777" y="875"/>
                  </a:lnTo>
                  <a:lnTo>
                    <a:pt x="772" y="882"/>
                  </a:lnTo>
                  <a:lnTo>
                    <a:pt x="769" y="889"/>
                  </a:lnTo>
                  <a:lnTo>
                    <a:pt x="765" y="897"/>
                  </a:lnTo>
                  <a:lnTo>
                    <a:pt x="762" y="904"/>
                  </a:lnTo>
                  <a:lnTo>
                    <a:pt x="760" y="912"/>
                  </a:lnTo>
                  <a:lnTo>
                    <a:pt x="759" y="922"/>
                  </a:lnTo>
                  <a:lnTo>
                    <a:pt x="758" y="932"/>
                  </a:lnTo>
                  <a:lnTo>
                    <a:pt x="758" y="943"/>
                  </a:lnTo>
                  <a:lnTo>
                    <a:pt x="758" y="956"/>
                  </a:lnTo>
                  <a:lnTo>
                    <a:pt x="760" y="967"/>
                  </a:lnTo>
                  <a:lnTo>
                    <a:pt x="762" y="978"/>
                  </a:lnTo>
                  <a:lnTo>
                    <a:pt x="765" y="986"/>
                  </a:lnTo>
                  <a:lnTo>
                    <a:pt x="770" y="994"/>
                  </a:lnTo>
                  <a:lnTo>
                    <a:pt x="774" y="1000"/>
                  </a:lnTo>
                  <a:lnTo>
                    <a:pt x="778" y="1006"/>
                  </a:lnTo>
                  <a:lnTo>
                    <a:pt x="784" y="1011"/>
                  </a:lnTo>
                  <a:lnTo>
                    <a:pt x="775" y="1026"/>
                  </a:lnTo>
                  <a:lnTo>
                    <a:pt x="769" y="1041"/>
                  </a:lnTo>
                  <a:lnTo>
                    <a:pt x="763" y="1054"/>
                  </a:lnTo>
                  <a:lnTo>
                    <a:pt x="759" y="1067"/>
                  </a:lnTo>
                  <a:lnTo>
                    <a:pt x="753" y="1080"/>
                  </a:lnTo>
                  <a:lnTo>
                    <a:pt x="747" y="1095"/>
                  </a:lnTo>
                  <a:lnTo>
                    <a:pt x="737" y="1110"/>
                  </a:lnTo>
                  <a:lnTo>
                    <a:pt x="723" y="1128"/>
                  </a:lnTo>
                  <a:lnTo>
                    <a:pt x="691" y="1122"/>
                  </a:lnTo>
                  <a:lnTo>
                    <a:pt x="681" y="1121"/>
                  </a:lnTo>
                  <a:lnTo>
                    <a:pt x="673" y="1119"/>
                  </a:lnTo>
                  <a:lnTo>
                    <a:pt x="665" y="1116"/>
                  </a:lnTo>
                  <a:lnTo>
                    <a:pt x="659" y="1113"/>
                  </a:lnTo>
                  <a:lnTo>
                    <a:pt x="653" y="1108"/>
                  </a:lnTo>
                  <a:lnTo>
                    <a:pt x="648" y="1103"/>
                  </a:lnTo>
                  <a:lnTo>
                    <a:pt x="642" y="1098"/>
                  </a:lnTo>
                  <a:lnTo>
                    <a:pt x="638" y="1092"/>
                  </a:lnTo>
                  <a:lnTo>
                    <a:pt x="627" y="1079"/>
                  </a:lnTo>
                  <a:lnTo>
                    <a:pt x="616" y="1067"/>
                  </a:lnTo>
                  <a:lnTo>
                    <a:pt x="609" y="1061"/>
                  </a:lnTo>
                  <a:lnTo>
                    <a:pt x="602" y="1056"/>
                  </a:lnTo>
                  <a:lnTo>
                    <a:pt x="594" y="1052"/>
                  </a:lnTo>
                  <a:lnTo>
                    <a:pt x="584" y="1048"/>
                  </a:lnTo>
                  <a:lnTo>
                    <a:pt x="554" y="1038"/>
                  </a:lnTo>
                  <a:lnTo>
                    <a:pt x="507" y="1018"/>
                  </a:lnTo>
                  <a:lnTo>
                    <a:pt x="483" y="1008"/>
                  </a:lnTo>
                  <a:lnTo>
                    <a:pt x="463" y="998"/>
                  </a:lnTo>
                  <a:lnTo>
                    <a:pt x="456" y="993"/>
                  </a:lnTo>
                  <a:lnTo>
                    <a:pt x="450" y="988"/>
                  </a:lnTo>
                  <a:lnTo>
                    <a:pt x="446" y="984"/>
                  </a:lnTo>
                  <a:lnTo>
                    <a:pt x="445" y="980"/>
                  </a:lnTo>
                  <a:lnTo>
                    <a:pt x="436" y="975"/>
                  </a:lnTo>
                  <a:lnTo>
                    <a:pt x="425" y="967"/>
                  </a:lnTo>
                  <a:lnTo>
                    <a:pt x="413" y="956"/>
                  </a:lnTo>
                  <a:lnTo>
                    <a:pt x="398" y="944"/>
                  </a:lnTo>
                  <a:lnTo>
                    <a:pt x="383" y="931"/>
                  </a:lnTo>
                  <a:lnTo>
                    <a:pt x="367" y="916"/>
                  </a:lnTo>
                  <a:lnTo>
                    <a:pt x="349" y="904"/>
                  </a:lnTo>
                  <a:lnTo>
                    <a:pt x="331" y="894"/>
                  </a:lnTo>
                  <a:lnTo>
                    <a:pt x="326" y="890"/>
                  </a:lnTo>
                  <a:lnTo>
                    <a:pt x="323" y="886"/>
                  </a:lnTo>
                  <a:lnTo>
                    <a:pt x="319" y="882"/>
                  </a:lnTo>
                  <a:lnTo>
                    <a:pt x="318" y="877"/>
                  </a:lnTo>
                  <a:lnTo>
                    <a:pt x="318" y="872"/>
                  </a:lnTo>
                  <a:lnTo>
                    <a:pt x="318" y="867"/>
                  </a:lnTo>
                  <a:lnTo>
                    <a:pt x="319" y="860"/>
                  </a:lnTo>
                  <a:lnTo>
                    <a:pt x="321" y="854"/>
                  </a:lnTo>
                  <a:lnTo>
                    <a:pt x="324" y="842"/>
                  </a:lnTo>
                  <a:lnTo>
                    <a:pt x="327" y="829"/>
                  </a:lnTo>
                  <a:lnTo>
                    <a:pt x="328" y="822"/>
                  </a:lnTo>
                  <a:lnTo>
                    <a:pt x="328" y="815"/>
                  </a:lnTo>
                  <a:lnTo>
                    <a:pt x="327" y="808"/>
                  </a:lnTo>
                  <a:lnTo>
                    <a:pt x="325" y="801"/>
                  </a:lnTo>
                  <a:lnTo>
                    <a:pt x="318" y="795"/>
                  </a:lnTo>
                  <a:lnTo>
                    <a:pt x="310" y="789"/>
                  </a:lnTo>
                  <a:lnTo>
                    <a:pt x="300" y="784"/>
                  </a:lnTo>
                  <a:lnTo>
                    <a:pt x="290" y="778"/>
                  </a:lnTo>
                  <a:lnTo>
                    <a:pt x="279" y="772"/>
                  </a:lnTo>
                  <a:lnTo>
                    <a:pt x="270" y="765"/>
                  </a:lnTo>
                  <a:lnTo>
                    <a:pt x="266" y="761"/>
                  </a:lnTo>
                  <a:lnTo>
                    <a:pt x="263" y="757"/>
                  </a:lnTo>
                  <a:lnTo>
                    <a:pt x="260" y="751"/>
                  </a:lnTo>
                  <a:lnTo>
                    <a:pt x="259" y="745"/>
                  </a:lnTo>
                  <a:lnTo>
                    <a:pt x="255" y="735"/>
                  </a:lnTo>
                  <a:lnTo>
                    <a:pt x="251" y="725"/>
                  </a:lnTo>
                  <a:lnTo>
                    <a:pt x="249" y="716"/>
                  </a:lnTo>
                  <a:lnTo>
                    <a:pt x="248" y="707"/>
                  </a:lnTo>
                  <a:lnTo>
                    <a:pt x="246" y="697"/>
                  </a:lnTo>
                  <a:lnTo>
                    <a:pt x="243" y="689"/>
                  </a:lnTo>
                  <a:lnTo>
                    <a:pt x="238" y="681"/>
                  </a:lnTo>
                  <a:lnTo>
                    <a:pt x="232" y="672"/>
                  </a:lnTo>
                  <a:lnTo>
                    <a:pt x="211" y="635"/>
                  </a:lnTo>
                  <a:lnTo>
                    <a:pt x="192" y="603"/>
                  </a:lnTo>
                  <a:lnTo>
                    <a:pt x="174" y="570"/>
                  </a:lnTo>
                  <a:lnTo>
                    <a:pt x="153" y="530"/>
                  </a:lnTo>
                  <a:lnTo>
                    <a:pt x="146" y="521"/>
                  </a:lnTo>
                  <a:lnTo>
                    <a:pt x="138" y="513"/>
                  </a:lnTo>
                  <a:lnTo>
                    <a:pt x="134" y="508"/>
                  </a:lnTo>
                  <a:lnTo>
                    <a:pt x="129" y="502"/>
                  </a:lnTo>
                  <a:lnTo>
                    <a:pt x="124" y="496"/>
                  </a:lnTo>
                  <a:lnTo>
                    <a:pt x="120" y="487"/>
                  </a:lnTo>
                  <a:lnTo>
                    <a:pt x="116" y="478"/>
                  </a:lnTo>
                  <a:lnTo>
                    <a:pt x="113" y="467"/>
                  </a:lnTo>
                  <a:lnTo>
                    <a:pt x="109" y="458"/>
                  </a:lnTo>
                  <a:lnTo>
                    <a:pt x="103" y="448"/>
                  </a:lnTo>
                  <a:lnTo>
                    <a:pt x="98" y="440"/>
                  </a:lnTo>
                  <a:lnTo>
                    <a:pt x="90" y="432"/>
                  </a:lnTo>
                  <a:lnTo>
                    <a:pt x="82" y="425"/>
                  </a:lnTo>
                  <a:lnTo>
                    <a:pt x="72" y="419"/>
                  </a:lnTo>
                  <a:lnTo>
                    <a:pt x="52" y="411"/>
                  </a:lnTo>
                  <a:lnTo>
                    <a:pt x="31" y="403"/>
                  </a:lnTo>
                  <a:lnTo>
                    <a:pt x="26" y="400"/>
                  </a:lnTo>
                  <a:lnTo>
                    <a:pt x="22" y="397"/>
                  </a:lnTo>
                  <a:lnTo>
                    <a:pt x="17" y="393"/>
                  </a:lnTo>
                  <a:lnTo>
                    <a:pt x="13" y="389"/>
                  </a:lnTo>
                  <a:lnTo>
                    <a:pt x="9" y="384"/>
                  </a:lnTo>
                  <a:lnTo>
                    <a:pt x="5" y="378"/>
                  </a:lnTo>
                  <a:lnTo>
                    <a:pt x="2" y="372"/>
                  </a:lnTo>
                  <a:lnTo>
                    <a:pt x="0" y="363"/>
                  </a:lnTo>
                  <a:lnTo>
                    <a:pt x="20" y="345"/>
                  </a:lnTo>
                  <a:lnTo>
                    <a:pt x="15" y="331"/>
                  </a:lnTo>
                  <a:lnTo>
                    <a:pt x="14" y="317"/>
                  </a:lnTo>
                  <a:lnTo>
                    <a:pt x="13" y="301"/>
                  </a:lnTo>
                  <a:lnTo>
                    <a:pt x="13" y="284"/>
                  </a:lnTo>
                  <a:lnTo>
                    <a:pt x="13" y="276"/>
                  </a:lnTo>
                  <a:lnTo>
                    <a:pt x="14" y="270"/>
                  </a:lnTo>
                  <a:lnTo>
                    <a:pt x="16" y="264"/>
                  </a:lnTo>
                  <a:lnTo>
                    <a:pt x="19" y="259"/>
                  </a:lnTo>
                  <a:lnTo>
                    <a:pt x="21" y="254"/>
                  </a:lnTo>
                  <a:lnTo>
                    <a:pt x="24" y="249"/>
                  </a:lnTo>
                  <a:lnTo>
                    <a:pt x="28" y="246"/>
                  </a:lnTo>
                  <a:lnTo>
                    <a:pt x="32" y="243"/>
                  </a:lnTo>
                  <a:lnTo>
                    <a:pt x="41" y="237"/>
                  </a:lnTo>
                  <a:lnTo>
                    <a:pt x="49" y="231"/>
                  </a:lnTo>
                  <a:lnTo>
                    <a:pt x="58" y="224"/>
                  </a:lnTo>
                  <a:lnTo>
                    <a:pt x="66" y="216"/>
                  </a:lnTo>
                  <a:lnTo>
                    <a:pt x="72" y="222"/>
                  </a:lnTo>
                  <a:lnTo>
                    <a:pt x="79" y="228"/>
                  </a:lnTo>
                  <a:lnTo>
                    <a:pt x="83" y="235"/>
                  </a:lnTo>
                  <a:lnTo>
                    <a:pt x="86" y="240"/>
                  </a:lnTo>
                  <a:lnTo>
                    <a:pt x="86" y="252"/>
                  </a:lnTo>
                  <a:lnTo>
                    <a:pt x="86" y="265"/>
                  </a:lnTo>
                  <a:lnTo>
                    <a:pt x="95" y="272"/>
                  </a:lnTo>
                  <a:lnTo>
                    <a:pt x="116" y="287"/>
                  </a:lnTo>
                  <a:lnTo>
                    <a:pt x="128" y="294"/>
                  </a:lnTo>
                  <a:lnTo>
                    <a:pt x="139" y="301"/>
                  </a:lnTo>
                  <a:lnTo>
                    <a:pt x="148" y="306"/>
                  </a:lnTo>
                  <a:lnTo>
                    <a:pt x="153" y="308"/>
                  </a:lnTo>
                  <a:lnTo>
                    <a:pt x="158" y="307"/>
                  </a:lnTo>
                  <a:lnTo>
                    <a:pt x="164" y="303"/>
                  </a:lnTo>
                  <a:lnTo>
                    <a:pt x="169" y="298"/>
                  </a:lnTo>
                  <a:lnTo>
                    <a:pt x="174" y="291"/>
                  </a:lnTo>
                  <a:lnTo>
                    <a:pt x="179" y="284"/>
                  </a:lnTo>
                  <a:lnTo>
                    <a:pt x="182" y="277"/>
                  </a:lnTo>
                  <a:lnTo>
                    <a:pt x="184" y="271"/>
                  </a:lnTo>
                  <a:lnTo>
                    <a:pt x="185" y="265"/>
                  </a:lnTo>
                  <a:lnTo>
                    <a:pt x="187" y="259"/>
                  </a:lnTo>
                  <a:lnTo>
                    <a:pt x="188" y="251"/>
                  </a:lnTo>
                  <a:lnTo>
                    <a:pt x="190" y="244"/>
                  </a:lnTo>
                  <a:lnTo>
                    <a:pt x="193" y="238"/>
                  </a:lnTo>
                  <a:lnTo>
                    <a:pt x="201" y="225"/>
                  </a:lnTo>
                  <a:lnTo>
                    <a:pt x="212" y="213"/>
                  </a:lnTo>
                  <a:lnTo>
                    <a:pt x="222" y="202"/>
                  </a:lnTo>
                  <a:lnTo>
                    <a:pt x="234" y="192"/>
                  </a:lnTo>
                  <a:lnTo>
                    <a:pt x="244" y="184"/>
                  </a:lnTo>
                  <a:lnTo>
                    <a:pt x="252" y="179"/>
                  </a:lnTo>
                  <a:lnTo>
                    <a:pt x="270" y="170"/>
                  </a:lnTo>
                  <a:lnTo>
                    <a:pt x="289" y="160"/>
                  </a:lnTo>
                  <a:lnTo>
                    <a:pt x="306" y="150"/>
                  </a:lnTo>
                  <a:lnTo>
                    <a:pt x="323" y="138"/>
                  </a:lnTo>
                  <a:lnTo>
                    <a:pt x="330" y="133"/>
                  </a:lnTo>
                  <a:lnTo>
                    <a:pt x="337" y="126"/>
                  </a:lnTo>
                  <a:lnTo>
                    <a:pt x="344" y="120"/>
                  </a:lnTo>
                  <a:lnTo>
                    <a:pt x="348" y="113"/>
                  </a:lnTo>
                  <a:lnTo>
                    <a:pt x="352" y="106"/>
                  </a:lnTo>
                  <a:lnTo>
                    <a:pt x="356" y="98"/>
                  </a:lnTo>
                  <a:lnTo>
                    <a:pt x="358" y="90"/>
                  </a:lnTo>
                  <a:lnTo>
                    <a:pt x="358" y="80"/>
                  </a:lnTo>
                  <a:lnTo>
                    <a:pt x="357" y="70"/>
                  </a:lnTo>
                  <a:lnTo>
                    <a:pt x="355" y="58"/>
                  </a:lnTo>
                  <a:lnTo>
                    <a:pt x="350" y="46"/>
                  </a:lnTo>
                  <a:lnTo>
                    <a:pt x="345" y="34"/>
                  </a:lnTo>
                  <a:lnTo>
                    <a:pt x="336" y="12"/>
                  </a:lnTo>
                  <a:lnTo>
                    <a:pt x="331" y="0"/>
                  </a:lnTo>
                  <a:lnTo>
                    <a:pt x="347" y="5"/>
                  </a:lnTo>
                  <a:lnTo>
                    <a:pt x="360" y="11"/>
                  </a:lnTo>
                  <a:lnTo>
                    <a:pt x="374" y="18"/>
                  </a:lnTo>
                  <a:lnTo>
                    <a:pt x="386" y="26"/>
                  </a:lnTo>
                  <a:lnTo>
                    <a:pt x="398" y="35"/>
                  </a:lnTo>
                  <a:lnTo>
                    <a:pt x="411" y="44"/>
                  </a:lnTo>
                  <a:lnTo>
                    <a:pt x="422" y="53"/>
                  </a:lnTo>
                  <a:lnTo>
                    <a:pt x="431" y="62"/>
                  </a:lnTo>
                  <a:lnTo>
                    <a:pt x="438" y="68"/>
                  </a:lnTo>
                  <a:lnTo>
                    <a:pt x="445" y="75"/>
                  </a:lnTo>
                  <a:lnTo>
                    <a:pt x="451" y="82"/>
                  </a:lnTo>
                  <a:lnTo>
                    <a:pt x="457" y="91"/>
                  </a:lnTo>
                  <a:lnTo>
                    <a:pt x="467" y="107"/>
                  </a:lnTo>
                  <a:lnTo>
                    <a:pt x="476" y="123"/>
                  </a:lnTo>
                  <a:lnTo>
                    <a:pt x="481" y="130"/>
                  </a:lnTo>
                  <a:lnTo>
                    <a:pt x="486" y="137"/>
                  </a:lnTo>
                  <a:lnTo>
                    <a:pt x="493" y="144"/>
                  </a:lnTo>
                  <a:lnTo>
                    <a:pt x="498" y="150"/>
                  </a:lnTo>
                  <a:lnTo>
                    <a:pt x="506" y="154"/>
                  </a:lnTo>
                  <a:lnTo>
                    <a:pt x="513" y="158"/>
                  </a:lnTo>
                  <a:lnTo>
                    <a:pt x="521" y="160"/>
                  </a:lnTo>
                  <a:lnTo>
                    <a:pt x="531" y="161"/>
                  </a:lnTo>
                  <a:lnTo>
                    <a:pt x="541" y="160"/>
                  </a:lnTo>
                  <a:lnTo>
                    <a:pt x="551" y="159"/>
                  </a:lnTo>
                  <a:lnTo>
                    <a:pt x="561" y="157"/>
                  </a:lnTo>
                  <a:lnTo>
                    <a:pt x="571" y="155"/>
                  </a:lnTo>
                  <a:lnTo>
                    <a:pt x="581" y="152"/>
                  </a:lnTo>
                  <a:lnTo>
                    <a:pt x="591" y="150"/>
                  </a:lnTo>
                  <a:lnTo>
                    <a:pt x="601" y="149"/>
                  </a:lnTo>
                  <a:lnTo>
                    <a:pt x="610" y="148"/>
                  </a:lnTo>
                  <a:lnTo>
                    <a:pt x="617" y="149"/>
                  </a:lnTo>
                  <a:lnTo>
                    <a:pt x="624" y="151"/>
                  </a:lnTo>
                  <a:lnTo>
                    <a:pt x="628" y="151"/>
                  </a:lnTo>
                  <a:lnTo>
                    <a:pt x="631" y="151"/>
                  </a:lnTo>
                  <a:lnTo>
                    <a:pt x="635" y="150"/>
                  </a:lnTo>
                  <a:lnTo>
                    <a:pt x="638" y="148"/>
                  </a:lnTo>
                  <a:lnTo>
                    <a:pt x="640" y="156"/>
                  </a:lnTo>
                  <a:lnTo>
                    <a:pt x="648" y="167"/>
                  </a:lnTo>
                  <a:lnTo>
                    <a:pt x="654" y="177"/>
                  </a:lnTo>
                  <a:lnTo>
                    <a:pt x="658" y="185"/>
                  </a:lnTo>
                  <a:lnTo>
                    <a:pt x="657" y="188"/>
                  </a:lnTo>
                  <a:lnTo>
                    <a:pt x="655" y="191"/>
                  </a:lnTo>
                  <a:lnTo>
                    <a:pt x="654" y="193"/>
                  </a:lnTo>
                  <a:lnTo>
                    <a:pt x="652" y="195"/>
                  </a:lnTo>
                  <a:lnTo>
                    <a:pt x="647" y="200"/>
                  </a:lnTo>
                  <a:lnTo>
                    <a:pt x="641" y="203"/>
                  </a:lnTo>
                  <a:lnTo>
                    <a:pt x="635" y="206"/>
                  </a:lnTo>
                  <a:lnTo>
                    <a:pt x="629" y="209"/>
                  </a:lnTo>
                  <a:lnTo>
                    <a:pt x="627" y="210"/>
                  </a:lnTo>
                  <a:lnTo>
                    <a:pt x="626" y="212"/>
                  </a:lnTo>
                  <a:lnTo>
                    <a:pt x="625" y="214"/>
                  </a:lnTo>
                  <a:lnTo>
                    <a:pt x="624" y="216"/>
                  </a:lnTo>
                  <a:lnTo>
                    <a:pt x="625" y="226"/>
                  </a:lnTo>
                  <a:lnTo>
                    <a:pt x="626" y="234"/>
                  </a:lnTo>
                  <a:lnTo>
                    <a:pt x="627" y="240"/>
                  </a:lnTo>
                  <a:lnTo>
                    <a:pt x="629" y="244"/>
                  </a:lnTo>
                  <a:lnTo>
                    <a:pt x="636" y="251"/>
                  </a:lnTo>
                  <a:lnTo>
                    <a:pt x="644" y="25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 name="Freeform 8">
              <a:extLst>
                <a:ext uri="{FF2B5EF4-FFF2-40B4-BE49-F238E27FC236}">
                  <a16:creationId xmlns:a16="http://schemas.microsoft.com/office/drawing/2014/main" id="{E8604C06-4A75-40BC-A08B-A5630A0206BA}"/>
                </a:ext>
              </a:extLst>
            </p:cNvPr>
            <p:cNvSpPr>
              <a:spLocks/>
            </p:cNvSpPr>
            <p:nvPr>
              <p:custDataLst>
                <p:tags r:id="rId5"/>
              </p:custDataLst>
            </p:nvPr>
          </p:nvSpPr>
          <p:spPr bwMode="auto">
            <a:xfrm>
              <a:off x="2271711" y="4225892"/>
              <a:ext cx="261937" cy="1130291"/>
            </a:xfrm>
            <a:custGeom>
              <a:avLst/>
              <a:gdLst>
                <a:gd name="T0" fmla="*/ 183093 w 598"/>
                <a:gd name="T1" fmla="*/ 1058543 h 2158"/>
                <a:gd name="T2" fmla="*/ 149803 w 598"/>
                <a:gd name="T3" fmla="*/ 1023974 h 2158"/>
                <a:gd name="T4" fmla="*/ 148489 w 598"/>
                <a:gd name="T5" fmla="*/ 991500 h 2158"/>
                <a:gd name="T6" fmla="*/ 151118 w 598"/>
                <a:gd name="T7" fmla="*/ 965312 h 2158"/>
                <a:gd name="T8" fmla="*/ 158564 w 598"/>
                <a:gd name="T9" fmla="*/ 938076 h 2158"/>
                <a:gd name="T10" fmla="*/ 155060 w 598"/>
                <a:gd name="T11" fmla="*/ 911363 h 2158"/>
                <a:gd name="T12" fmla="*/ 145423 w 598"/>
                <a:gd name="T13" fmla="*/ 881508 h 2158"/>
                <a:gd name="T14" fmla="*/ 132721 w 598"/>
                <a:gd name="T15" fmla="*/ 828084 h 2158"/>
                <a:gd name="T16" fmla="*/ 98993 w 598"/>
                <a:gd name="T17" fmla="*/ 764707 h 2158"/>
                <a:gd name="T18" fmla="*/ 90232 w 598"/>
                <a:gd name="T19" fmla="*/ 723329 h 2158"/>
                <a:gd name="T20" fmla="*/ 95051 w 598"/>
                <a:gd name="T21" fmla="*/ 680380 h 2158"/>
                <a:gd name="T22" fmla="*/ 91109 w 598"/>
                <a:gd name="T23" fmla="*/ 646858 h 2158"/>
                <a:gd name="T24" fmla="*/ 81034 w 598"/>
                <a:gd name="T25" fmla="*/ 610194 h 2158"/>
                <a:gd name="T26" fmla="*/ 92423 w 598"/>
                <a:gd name="T27" fmla="*/ 588196 h 2158"/>
                <a:gd name="T28" fmla="*/ 85414 w 598"/>
                <a:gd name="T29" fmla="*/ 566721 h 2158"/>
                <a:gd name="T30" fmla="*/ 92423 w 598"/>
                <a:gd name="T31" fmla="*/ 536866 h 2158"/>
                <a:gd name="T32" fmla="*/ 91985 w 598"/>
                <a:gd name="T33" fmla="*/ 520106 h 2158"/>
                <a:gd name="T34" fmla="*/ 81910 w 598"/>
                <a:gd name="T35" fmla="*/ 485537 h 2158"/>
                <a:gd name="T36" fmla="*/ 59571 w 598"/>
                <a:gd name="T37" fmla="*/ 446254 h 2158"/>
                <a:gd name="T38" fmla="*/ 58695 w 598"/>
                <a:gd name="T39" fmla="*/ 359308 h 2158"/>
                <a:gd name="T40" fmla="*/ 80158 w 598"/>
                <a:gd name="T41" fmla="*/ 305883 h 2158"/>
                <a:gd name="T42" fmla="*/ 82786 w 598"/>
                <a:gd name="T43" fmla="*/ 273409 h 2158"/>
                <a:gd name="T44" fmla="*/ 70083 w 598"/>
                <a:gd name="T45" fmla="*/ 240411 h 2158"/>
                <a:gd name="T46" fmla="*/ 79720 w 598"/>
                <a:gd name="T47" fmla="*/ 212651 h 2158"/>
                <a:gd name="T48" fmla="*/ 100307 w 598"/>
                <a:gd name="T49" fmla="*/ 181225 h 2158"/>
                <a:gd name="T50" fmla="*/ 87604 w 598"/>
                <a:gd name="T51" fmla="*/ 161322 h 2158"/>
                <a:gd name="T52" fmla="*/ 64827 w 598"/>
                <a:gd name="T53" fmla="*/ 116277 h 2158"/>
                <a:gd name="T54" fmla="*/ 56505 w 598"/>
                <a:gd name="T55" fmla="*/ 65472 h 2158"/>
                <a:gd name="T56" fmla="*/ 39860 w 598"/>
                <a:gd name="T57" fmla="*/ 19380 h 2158"/>
                <a:gd name="T58" fmla="*/ 0 w 598"/>
                <a:gd name="T59" fmla="*/ 23046 h 2158"/>
                <a:gd name="T60" fmla="*/ 13579 w 598"/>
                <a:gd name="T61" fmla="*/ 104754 h 2158"/>
                <a:gd name="T62" fmla="*/ 18397 w 598"/>
                <a:gd name="T63" fmla="*/ 159227 h 2158"/>
                <a:gd name="T64" fmla="*/ 11827 w 598"/>
                <a:gd name="T65" fmla="*/ 195891 h 2158"/>
                <a:gd name="T66" fmla="*/ 22777 w 598"/>
                <a:gd name="T67" fmla="*/ 274457 h 2158"/>
                <a:gd name="T68" fmla="*/ 20149 w 598"/>
                <a:gd name="T69" fmla="*/ 339928 h 2158"/>
                <a:gd name="T70" fmla="*/ 15769 w 598"/>
                <a:gd name="T71" fmla="*/ 376068 h 2158"/>
                <a:gd name="T72" fmla="*/ 22777 w 598"/>
                <a:gd name="T73" fmla="*/ 401733 h 2158"/>
                <a:gd name="T74" fmla="*/ 28033 w 598"/>
                <a:gd name="T75" fmla="*/ 456205 h 2158"/>
                <a:gd name="T76" fmla="*/ 35480 w 598"/>
                <a:gd name="T77" fmla="*/ 478204 h 2158"/>
                <a:gd name="T78" fmla="*/ 31976 w 598"/>
                <a:gd name="T79" fmla="*/ 547342 h 2158"/>
                <a:gd name="T80" fmla="*/ 27595 w 598"/>
                <a:gd name="T81" fmla="*/ 603385 h 2158"/>
                <a:gd name="T82" fmla="*/ 17521 w 598"/>
                <a:gd name="T83" fmla="*/ 622241 h 2158"/>
                <a:gd name="T84" fmla="*/ 26281 w 598"/>
                <a:gd name="T85" fmla="*/ 658905 h 2158"/>
                <a:gd name="T86" fmla="*/ 46430 w 598"/>
                <a:gd name="T87" fmla="*/ 703426 h 2158"/>
                <a:gd name="T88" fmla="*/ 40736 w 598"/>
                <a:gd name="T89" fmla="*/ 731186 h 2158"/>
                <a:gd name="T90" fmla="*/ 46430 w 598"/>
                <a:gd name="T91" fmla="*/ 758946 h 2158"/>
                <a:gd name="T92" fmla="*/ 71836 w 598"/>
                <a:gd name="T93" fmla="*/ 768374 h 2158"/>
                <a:gd name="T94" fmla="*/ 91547 w 598"/>
                <a:gd name="T95" fmla="*/ 849034 h 2158"/>
                <a:gd name="T96" fmla="*/ 99431 w 598"/>
                <a:gd name="T97" fmla="*/ 895126 h 2158"/>
                <a:gd name="T98" fmla="*/ 66141 w 598"/>
                <a:gd name="T99" fmla="*/ 916077 h 2158"/>
                <a:gd name="T100" fmla="*/ 90671 w 598"/>
                <a:gd name="T101" fmla="*/ 930219 h 2158"/>
                <a:gd name="T102" fmla="*/ 109505 w 598"/>
                <a:gd name="T103" fmla="*/ 953265 h 2158"/>
                <a:gd name="T104" fmla="*/ 120456 w 598"/>
                <a:gd name="T105" fmla="*/ 979977 h 2158"/>
                <a:gd name="T106" fmla="*/ 134911 w 598"/>
                <a:gd name="T107" fmla="*/ 1027117 h 2158"/>
                <a:gd name="T108" fmla="*/ 157250 w 598"/>
                <a:gd name="T109" fmla="*/ 1054353 h 2158"/>
                <a:gd name="T110" fmla="*/ 172143 w 598"/>
                <a:gd name="T111" fmla="*/ 1072685 h 2158"/>
                <a:gd name="T112" fmla="*/ 185721 w 598"/>
                <a:gd name="T113" fmla="*/ 1086303 h 2158"/>
                <a:gd name="T114" fmla="*/ 203680 w 598"/>
                <a:gd name="T115" fmla="*/ 1105159 h 2158"/>
                <a:gd name="T116" fmla="*/ 227333 w 598"/>
                <a:gd name="T117" fmla="*/ 1120872 h 2158"/>
                <a:gd name="T118" fmla="*/ 235656 w 598"/>
                <a:gd name="T119" fmla="*/ 1126634 h 2158"/>
                <a:gd name="T120" fmla="*/ 256681 w 598"/>
                <a:gd name="T121" fmla="*/ 1098874 h 2158"/>
                <a:gd name="T122" fmla="*/ 258871 w 598"/>
                <a:gd name="T123" fmla="*/ 1084732 h 215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98" h="2158">
                  <a:moveTo>
                    <a:pt x="491" y="2046"/>
                  </a:moveTo>
                  <a:lnTo>
                    <a:pt x="480" y="2045"/>
                  </a:lnTo>
                  <a:lnTo>
                    <a:pt x="469" y="2043"/>
                  </a:lnTo>
                  <a:lnTo>
                    <a:pt x="456" y="2039"/>
                  </a:lnTo>
                  <a:lnTo>
                    <a:pt x="444" y="2034"/>
                  </a:lnTo>
                  <a:lnTo>
                    <a:pt x="431" y="2028"/>
                  </a:lnTo>
                  <a:lnTo>
                    <a:pt x="418" y="2021"/>
                  </a:lnTo>
                  <a:lnTo>
                    <a:pt x="405" y="2013"/>
                  </a:lnTo>
                  <a:lnTo>
                    <a:pt x="392" y="2003"/>
                  </a:lnTo>
                  <a:lnTo>
                    <a:pt x="379" y="1994"/>
                  </a:lnTo>
                  <a:lnTo>
                    <a:pt x="368" y="1985"/>
                  </a:lnTo>
                  <a:lnTo>
                    <a:pt x="357" y="1976"/>
                  </a:lnTo>
                  <a:lnTo>
                    <a:pt x="349" y="1966"/>
                  </a:lnTo>
                  <a:lnTo>
                    <a:pt x="342" y="1955"/>
                  </a:lnTo>
                  <a:lnTo>
                    <a:pt x="337" y="1946"/>
                  </a:lnTo>
                  <a:lnTo>
                    <a:pt x="333" y="1937"/>
                  </a:lnTo>
                  <a:lnTo>
                    <a:pt x="332" y="1929"/>
                  </a:lnTo>
                  <a:lnTo>
                    <a:pt x="332" y="1919"/>
                  </a:lnTo>
                  <a:lnTo>
                    <a:pt x="333" y="1909"/>
                  </a:lnTo>
                  <a:lnTo>
                    <a:pt x="336" y="1900"/>
                  </a:lnTo>
                  <a:lnTo>
                    <a:pt x="339" y="1893"/>
                  </a:lnTo>
                  <a:lnTo>
                    <a:pt x="341" y="1887"/>
                  </a:lnTo>
                  <a:lnTo>
                    <a:pt x="343" y="1880"/>
                  </a:lnTo>
                  <a:lnTo>
                    <a:pt x="344" y="1874"/>
                  </a:lnTo>
                  <a:lnTo>
                    <a:pt x="345" y="1868"/>
                  </a:lnTo>
                  <a:lnTo>
                    <a:pt x="345" y="1863"/>
                  </a:lnTo>
                  <a:lnTo>
                    <a:pt x="345" y="1855"/>
                  </a:lnTo>
                  <a:lnTo>
                    <a:pt x="345" y="1843"/>
                  </a:lnTo>
                  <a:lnTo>
                    <a:pt x="345" y="1824"/>
                  </a:lnTo>
                  <a:lnTo>
                    <a:pt x="345" y="1818"/>
                  </a:lnTo>
                  <a:lnTo>
                    <a:pt x="348" y="1812"/>
                  </a:lnTo>
                  <a:lnTo>
                    <a:pt x="351" y="1807"/>
                  </a:lnTo>
                  <a:lnTo>
                    <a:pt x="355" y="1802"/>
                  </a:lnTo>
                  <a:lnTo>
                    <a:pt x="359" y="1797"/>
                  </a:lnTo>
                  <a:lnTo>
                    <a:pt x="362" y="1791"/>
                  </a:lnTo>
                  <a:lnTo>
                    <a:pt x="364" y="1783"/>
                  </a:lnTo>
                  <a:lnTo>
                    <a:pt x="365" y="1775"/>
                  </a:lnTo>
                  <a:lnTo>
                    <a:pt x="364" y="1768"/>
                  </a:lnTo>
                  <a:lnTo>
                    <a:pt x="363" y="1762"/>
                  </a:lnTo>
                  <a:lnTo>
                    <a:pt x="362" y="1756"/>
                  </a:lnTo>
                  <a:lnTo>
                    <a:pt x="360" y="1750"/>
                  </a:lnTo>
                  <a:lnTo>
                    <a:pt x="354" y="1740"/>
                  </a:lnTo>
                  <a:lnTo>
                    <a:pt x="349" y="1728"/>
                  </a:lnTo>
                  <a:lnTo>
                    <a:pt x="342" y="1718"/>
                  </a:lnTo>
                  <a:lnTo>
                    <a:pt x="337" y="1707"/>
                  </a:lnTo>
                  <a:lnTo>
                    <a:pt x="334" y="1702"/>
                  </a:lnTo>
                  <a:lnTo>
                    <a:pt x="333" y="1696"/>
                  </a:lnTo>
                  <a:lnTo>
                    <a:pt x="332" y="1690"/>
                  </a:lnTo>
                  <a:lnTo>
                    <a:pt x="332" y="1683"/>
                  </a:lnTo>
                  <a:lnTo>
                    <a:pt x="331" y="1670"/>
                  </a:lnTo>
                  <a:lnTo>
                    <a:pt x="330" y="1659"/>
                  </a:lnTo>
                  <a:lnTo>
                    <a:pt x="329" y="1648"/>
                  </a:lnTo>
                  <a:lnTo>
                    <a:pt x="327" y="1638"/>
                  </a:lnTo>
                  <a:lnTo>
                    <a:pt x="320" y="1617"/>
                  </a:lnTo>
                  <a:lnTo>
                    <a:pt x="312" y="1599"/>
                  </a:lnTo>
                  <a:lnTo>
                    <a:pt x="303" y="1581"/>
                  </a:lnTo>
                  <a:lnTo>
                    <a:pt x="292" y="1563"/>
                  </a:lnTo>
                  <a:lnTo>
                    <a:pt x="281" y="1547"/>
                  </a:lnTo>
                  <a:lnTo>
                    <a:pt x="269" y="1530"/>
                  </a:lnTo>
                  <a:lnTo>
                    <a:pt x="256" y="1514"/>
                  </a:lnTo>
                  <a:lnTo>
                    <a:pt x="245" y="1496"/>
                  </a:lnTo>
                  <a:lnTo>
                    <a:pt x="235" y="1478"/>
                  </a:lnTo>
                  <a:lnTo>
                    <a:pt x="226" y="1460"/>
                  </a:lnTo>
                  <a:lnTo>
                    <a:pt x="221" y="1449"/>
                  </a:lnTo>
                  <a:lnTo>
                    <a:pt x="217" y="1439"/>
                  </a:lnTo>
                  <a:lnTo>
                    <a:pt x="214" y="1428"/>
                  </a:lnTo>
                  <a:lnTo>
                    <a:pt x="210" y="1417"/>
                  </a:lnTo>
                  <a:lnTo>
                    <a:pt x="208" y="1406"/>
                  </a:lnTo>
                  <a:lnTo>
                    <a:pt x="207" y="1393"/>
                  </a:lnTo>
                  <a:lnTo>
                    <a:pt x="206" y="1381"/>
                  </a:lnTo>
                  <a:lnTo>
                    <a:pt x="206" y="1368"/>
                  </a:lnTo>
                  <a:lnTo>
                    <a:pt x="206" y="1355"/>
                  </a:lnTo>
                  <a:lnTo>
                    <a:pt x="207" y="1342"/>
                  </a:lnTo>
                  <a:lnTo>
                    <a:pt x="209" y="1331"/>
                  </a:lnTo>
                  <a:lnTo>
                    <a:pt x="213" y="1320"/>
                  </a:lnTo>
                  <a:lnTo>
                    <a:pt x="215" y="1309"/>
                  </a:lnTo>
                  <a:lnTo>
                    <a:pt x="217" y="1299"/>
                  </a:lnTo>
                  <a:lnTo>
                    <a:pt x="218" y="1287"/>
                  </a:lnTo>
                  <a:lnTo>
                    <a:pt x="219" y="1276"/>
                  </a:lnTo>
                  <a:lnTo>
                    <a:pt x="218" y="1268"/>
                  </a:lnTo>
                  <a:lnTo>
                    <a:pt x="217" y="1261"/>
                  </a:lnTo>
                  <a:lnTo>
                    <a:pt x="216" y="1254"/>
                  </a:lnTo>
                  <a:lnTo>
                    <a:pt x="214" y="1248"/>
                  </a:lnTo>
                  <a:lnTo>
                    <a:pt x="208" y="1235"/>
                  </a:lnTo>
                  <a:lnTo>
                    <a:pt x="203" y="1223"/>
                  </a:lnTo>
                  <a:lnTo>
                    <a:pt x="196" y="1210"/>
                  </a:lnTo>
                  <a:lnTo>
                    <a:pt x="191" y="1197"/>
                  </a:lnTo>
                  <a:lnTo>
                    <a:pt x="188" y="1190"/>
                  </a:lnTo>
                  <a:lnTo>
                    <a:pt x="187" y="1183"/>
                  </a:lnTo>
                  <a:lnTo>
                    <a:pt x="186" y="1174"/>
                  </a:lnTo>
                  <a:lnTo>
                    <a:pt x="185" y="1165"/>
                  </a:lnTo>
                  <a:lnTo>
                    <a:pt x="186" y="1158"/>
                  </a:lnTo>
                  <a:lnTo>
                    <a:pt x="189" y="1152"/>
                  </a:lnTo>
                  <a:lnTo>
                    <a:pt x="194" y="1146"/>
                  </a:lnTo>
                  <a:lnTo>
                    <a:pt x="199" y="1141"/>
                  </a:lnTo>
                  <a:lnTo>
                    <a:pt x="204" y="1135"/>
                  </a:lnTo>
                  <a:lnTo>
                    <a:pt x="208" y="1129"/>
                  </a:lnTo>
                  <a:lnTo>
                    <a:pt x="211" y="1123"/>
                  </a:lnTo>
                  <a:lnTo>
                    <a:pt x="213" y="1115"/>
                  </a:lnTo>
                  <a:lnTo>
                    <a:pt x="211" y="1109"/>
                  </a:lnTo>
                  <a:lnTo>
                    <a:pt x="209" y="1103"/>
                  </a:lnTo>
                  <a:lnTo>
                    <a:pt x="206" y="1097"/>
                  </a:lnTo>
                  <a:lnTo>
                    <a:pt x="203" y="1092"/>
                  </a:lnTo>
                  <a:lnTo>
                    <a:pt x="198" y="1087"/>
                  </a:lnTo>
                  <a:lnTo>
                    <a:pt x="195" y="1082"/>
                  </a:lnTo>
                  <a:lnTo>
                    <a:pt x="193" y="1078"/>
                  </a:lnTo>
                  <a:lnTo>
                    <a:pt x="192" y="1073"/>
                  </a:lnTo>
                  <a:lnTo>
                    <a:pt x="195" y="1064"/>
                  </a:lnTo>
                  <a:lnTo>
                    <a:pt x="203" y="1049"/>
                  </a:lnTo>
                  <a:lnTo>
                    <a:pt x="206" y="1041"/>
                  </a:lnTo>
                  <a:lnTo>
                    <a:pt x="209" y="1033"/>
                  </a:lnTo>
                  <a:lnTo>
                    <a:pt x="211" y="1025"/>
                  </a:lnTo>
                  <a:lnTo>
                    <a:pt x="213" y="1018"/>
                  </a:lnTo>
                  <a:lnTo>
                    <a:pt x="203" y="1018"/>
                  </a:lnTo>
                  <a:lnTo>
                    <a:pt x="192" y="1018"/>
                  </a:lnTo>
                  <a:lnTo>
                    <a:pt x="198" y="1012"/>
                  </a:lnTo>
                  <a:lnTo>
                    <a:pt x="205" y="1003"/>
                  </a:lnTo>
                  <a:lnTo>
                    <a:pt x="207" y="998"/>
                  </a:lnTo>
                  <a:lnTo>
                    <a:pt x="210" y="993"/>
                  </a:lnTo>
                  <a:lnTo>
                    <a:pt x="211" y="987"/>
                  </a:lnTo>
                  <a:lnTo>
                    <a:pt x="213" y="980"/>
                  </a:lnTo>
                  <a:lnTo>
                    <a:pt x="211" y="970"/>
                  </a:lnTo>
                  <a:lnTo>
                    <a:pt x="208" y="961"/>
                  </a:lnTo>
                  <a:lnTo>
                    <a:pt x="205" y="951"/>
                  </a:lnTo>
                  <a:lnTo>
                    <a:pt x="199" y="943"/>
                  </a:lnTo>
                  <a:lnTo>
                    <a:pt x="187" y="927"/>
                  </a:lnTo>
                  <a:lnTo>
                    <a:pt x="172" y="910"/>
                  </a:lnTo>
                  <a:lnTo>
                    <a:pt x="165" y="902"/>
                  </a:lnTo>
                  <a:lnTo>
                    <a:pt x="158" y="892"/>
                  </a:lnTo>
                  <a:lnTo>
                    <a:pt x="151" y="883"/>
                  </a:lnTo>
                  <a:lnTo>
                    <a:pt x="144" y="874"/>
                  </a:lnTo>
                  <a:lnTo>
                    <a:pt x="140" y="863"/>
                  </a:lnTo>
                  <a:lnTo>
                    <a:pt x="136" y="852"/>
                  </a:lnTo>
                  <a:lnTo>
                    <a:pt x="134" y="839"/>
                  </a:lnTo>
                  <a:lnTo>
                    <a:pt x="132" y="826"/>
                  </a:lnTo>
                  <a:lnTo>
                    <a:pt x="132" y="794"/>
                  </a:lnTo>
                  <a:lnTo>
                    <a:pt x="132" y="766"/>
                  </a:lnTo>
                  <a:lnTo>
                    <a:pt x="132" y="736"/>
                  </a:lnTo>
                  <a:lnTo>
                    <a:pt x="132" y="697"/>
                  </a:lnTo>
                  <a:lnTo>
                    <a:pt x="134" y="686"/>
                  </a:lnTo>
                  <a:lnTo>
                    <a:pt x="135" y="675"/>
                  </a:lnTo>
                  <a:lnTo>
                    <a:pt x="138" y="665"/>
                  </a:lnTo>
                  <a:lnTo>
                    <a:pt x="141" y="655"/>
                  </a:lnTo>
                  <a:lnTo>
                    <a:pt x="151" y="637"/>
                  </a:lnTo>
                  <a:lnTo>
                    <a:pt x="162" y="619"/>
                  </a:lnTo>
                  <a:lnTo>
                    <a:pt x="173" y="602"/>
                  </a:lnTo>
                  <a:lnTo>
                    <a:pt x="183" y="584"/>
                  </a:lnTo>
                  <a:lnTo>
                    <a:pt x="186" y="575"/>
                  </a:lnTo>
                  <a:lnTo>
                    <a:pt x="189" y="564"/>
                  </a:lnTo>
                  <a:lnTo>
                    <a:pt x="192" y="554"/>
                  </a:lnTo>
                  <a:lnTo>
                    <a:pt x="192" y="543"/>
                  </a:lnTo>
                  <a:lnTo>
                    <a:pt x="192" y="535"/>
                  </a:lnTo>
                  <a:lnTo>
                    <a:pt x="191" y="528"/>
                  </a:lnTo>
                  <a:lnTo>
                    <a:pt x="189" y="522"/>
                  </a:lnTo>
                  <a:lnTo>
                    <a:pt x="187" y="516"/>
                  </a:lnTo>
                  <a:lnTo>
                    <a:pt x="182" y="504"/>
                  </a:lnTo>
                  <a:lnTo>
                    <a:pt x="175" y="493"/>
                  </a:lnTo>
                  <a:lnTo>
                    <a:pt x="170" y="483"/>
                  </a:lnTo>
                  <a:lnTo>
                    <a:pt x="164" y="472"/>
                  </a:lnTo>
                  <a:lnTo>
                    <a:pt x="162" y="466"/>
                  </a:lnTo>
                  <a:lnTo>
                    <a:pt x="160" y="459"/>
                  </a:lnTo>
                  <a:lnTo>
                    <a:pt x="160" y="451"/>
                  </a:lnTo>
                  <a:lnTo>
                    <a:pt x="159" y="444"/>
                  </a:lnTo>
                  <a:lnTo>
                    <a:pt x="160" y="436"/>
                  </a:lnTo>
                  <a:lnTo>
                    <a:pt x="162" y="429"/>
                  </a:lnTo>
                  <a:lnTo>
                    <a:pt x="165" y="423"/>
                  </a:lnTo>
                  <a:lnTo>
                    <a:pt x="171" y="417"/>
                  </a:lnTo>
                  <a:lnTo>
                    <a:pt x="182" y="406"/>
                  </a:lnTo>
                  <a:lnTo>
                    <a:pt x="195" y="394"/>
                  </a:lnTo>
                  <a:lnTo>
                    <a:pt x="203" y="388"/>
                  </a:lnTo>
                  <a:lnTo>
                    <a:pt x="209" y="381"/>
                  </a:lnTo>
                  <a:lnTo>
                    <a:pt x="215" y="374"/>
                  </a:lnTo>
                  <a:lnTo>
                    <a:pt x="220" y="365"/>
                  </a:lnTo>
                  <a:lnTo>
                    <a:pt x="226" y="356"/>
                  </a:lnTo>
                  <a:lnTo>
                    <a:pt x="229" y="346"/>
                  </a:lnTo>
                  <a:lnTo>
                    <a:pt x="231" y="334"/>
                  </a:lnTo>
                  <a:lnTo>
                    <a:pt x="232" y="321"/>
                  </a:lnTo>
                  <a:lnTo>
                    <a:pt x="227" y="320"/>
                  </a:lnTo>
                  <a:lnTo>
                    <a:pt x="221" y="319"/>
                  </a:lnTo>
                  <a:lnTo>
                    <a:pt x="216" y="318"/>
                  </a:lnTo>
                  <a:lnTo>
                    <a:pt x="210" y="315"/>
                  </a:lnTo>
                  <a:lnTo>
                    <a:pt x="200" y="308"/>
                  </a:lnTo>
                  <a:lnTo>
                    <a:pt x="192" y="300"/>
                  </a:lnTo>
                  <a:lnTo>
                    <a:pt x="183" y="289"/>
                  </a:lnTo>
                  <a:lnTo>
                    <a:pt x="174" y="276"/>
                  </a:lnTo>
                  <a:lnTo>
                    <a:pt x="166" y="264"/>
                  </a:lnTo>
                  <a:lnTo>
                    <a:pt x="160" y="250"/>
                  </a:lnTo>
                  <a:lnTo>
                    <a:pt x="153" y="237"/>
                  </a:lnTo>
                  <a:lnTo>
                    <a:pt x="148" y="222"/>
                  </a:lnTo>
                  <a:lnTo>
                    <a:pt x="143" y="209"/>
                  </a:lnTo>
                  <a:lnTo>
                    <a:pt x="140" y="196"/>
                  </a:lnTo>
                  <a:lnTo>
                    <a:pt x="135" y="174"/>
                  </a:lnTo>
                  <a:lnTo>
                    <a:pt x="132" y="160"/>
                  </a:lnTo>
                  <a:lnTo>
                    <a:pt x="132" y="148"/>
                  </a:lnTo>
                  <a:lnTo>
                    <a:pt x="131" y="137"/>
                  </a:lnTo>
                  <a:lnTo>
                    <a:pt x="129" y="125"/>
                  </a:lnTo>
                  <a:lnTo>
                    <a:pt x="128" y="114"/>
                  </a:lnTo>
                  <a:lnTo>
                    <a:pt x="125" y="103"/>
                  </a:lnTo>
                  <a:lnTo>
                    <a:pt x="121" y="93"/>
                  </a:lnTo>
                  <a:lnTo>
                    <a:pt x="118" y="84"/>
                  </a:lnTo>
                  <a:lnTo>
                    <a:pt x="114" y="74"/>
                  </a:lnTo>
                  <a:lnTo>
                    <a:pt x="103" y="55"/>
                  </a:lnTo>
                  <a:lnTo>
                    <a:pt x="91" y="37"/>
                  </a:lnTo>
                  <a:lnTo>
                    <a:pt x="75" y="19"/>
                  </a:lnTo>
                  <a:lnTo>
                    <a:pt x="59" y="0"/>
                  </a:lnTo>
                  <a:lnTo>
                    <a:pt x="54" y="14"/>
                  </a:lnTo>
                  <a:lnTo>
                    <a:pt x="49" y="25"/>
                  </a:lnTo>
                  <a:lnTo>
                    <a:pt x="41" y="37"/>
                  </a:lnTo>
                  <a:lnTo>
                    <a:pt x="32" y="50"/>
                  </a:lnTo>
                  <a:lnTo>
                    <a:pt x="0" y="44"/>
                  </a:lnTo>
                  <a:lnTo>
                    <a:pt x="0" y="62"/>
                  </a:lnTo>
                  <a:lnTo>
                    <a:pt x="2" y="81"/>
                  </a:lnTo>
                  <a:lnTo>
                    <a:pt x="4" y="98"/>
                  </a:lnTo>
                  <a:lnTo>
                    <a:pt x="7" y="114"/>
                  </a:lnTo>
                  <a:lnTo>
                    <a:pt x="14" y="145"/>
                  </a:lnTo>
                  <a:lnTo>
                    <a:pt x="23" y="173"/>
                  </a:lnTo>
                  <a:lnTo>
                    <a:pt x="31" y="200"/>
                  </a:lnTo>
                  <a:lnTo>
                    <a:pt x="39" y="227"/>
                  </a:lnTo>
                  <a:lnTo>
                    <a:pt x="41" y="241"/>
                  </a:lnTo>
                  <a:lnTo>
                    <a:pt x="45" y="255"/>
                  </a:lnTo>
                  <a:lnTo>
                    <a:pt x="46" y="269"/>
                  </a:lnTo>
                  <a:lnTo>
                    <a:pt x="46" y="283"/>
                  </a:lnTo>
                  <a:lnTo>
                    <a:pt x="46" y="295"/>
                  </a:lnTo>
                  <a:lnTo>
                    <a:pt x="42" y="304"/>
                  </a:lnTo>
                  <a:lnTo>
                    <a:pt x="40" y="313"/>
                  </a:lnTo>
                  <a:lnTo>
                    <a:pt x="36" y="320"/>
                  </a:lnTo>
                  <a:lnTo>
                    <a:pt x="32" y="327"/>
                  </a:lnTo>
                  <a:lnTo>
                    <a:pt x="29" y="335"/>
                  </a:lnTo>
                  <a:lnTo>
                    <a:pt x="27" y="342"/>
                  </a:lnTo>
                  <a:lnTo>
                    <a:pt x="26" y="352"/>
                  </a:lnTo>
                  <a:lnTo>
                    <a:pt x="27" y="374"/>
                  </a:lnTo>
                  <a:lnTo>
                    <a:pt x="30" y="395"/>
                  </a:lnTo>
                  <a:lnTo>
                    <a:pt x="35" y="416"/>
                  </a:lnTo>
                  <a:lnTo>
                    <a:pt x="39" y="435"/>
                  </a:lnTo>
                  <a:lnTo>
                    <a:pt x="45" y="457"/>
                  </a:lnTo>
                  <a:lnTo>
                    <a:pt x="49" y="477"/>
                  </a:lnTo>
                  <a:lnTo>
                    <a:pt x="51" y="500"/>
                  </a:lnTo>
                  <a:lnTo>
                    <a:pt x="52" y="524"/>
                  </a:lnTo>
                  <a:lnTo>
                    <a:pt x="51" y="553"/>
                  </a:lnTo>
                  <a:lnTo>
                    <a:pt x="49" y="572"/>
                  </a:lnTo>
                  <a:lnTo>
                    <a:pt x="47" y="588"/>
                  </a:lnTo>
                  <a:lnTo>
                    <a:pt x="46" y="610"/>
                  </a:lnTo>
                  <a:lnTo>
                    <a:pt x="46" y="622"/>
                  </a:lnTo>
                  <a:lnTo>
                    <a:pt x="46" y="635"/>
                  </a:lnTo>
                  <a:lnTo>
                    <a:pt x="46" y="649"/>
                  </a:lnTo>
                  <a:lnTo>
                    <a:pt x="46" y="660"/>
                  </a:lnTo>
                  <a:lnTo>
                    <a:pt x="41" y="666"/>
                  </a:lnTo>
                  <a:lnTo>
                    <a:pt x="37" y="675"/>
                  </a:lnTo>
                  <a:lnTo>
                    <a:pt x="34" y="687"/>
                  </a:lnTo>
                  <a:lnTo>
                    <a:pt x="32" y="697"/>
                  </a:lnTo>
                  <a:lnTo>
                    <a:pt x="34" y="709"/>
                  </a:lnTo>
                  <a:lnTo>
                    <a:pt x="36" y="718"/>
                  </a:lnTo>
                  <a:lnTo>
                    <a:pt x="39" y="725"/>
                  </a:lnTo>
                  <a:lnTo>
                    <a:pt x="42" y="731"/>
                  </a:lnTo>
                  <a:lnTo>
                    <a:pt x="47" y="737"/>
                  </a:lnTo>
                  <a:lnTo>
                    <a:pt x="50" y="741"/>
                  </a:lnTo>
                  <a:lnTo>
                    <a:pt x="52" y="746"/>
                  </a:lnTo>
                  <a:lnTo>
                    <a:pt x="52" y="752"/>
                  </a:lnTo>
                  <a:lnTo>
                    <a:pt x="52" y="767"/>
                  </a:lnTo>
                  <a:lnTo>
                    <a:pt x="52" y="782"/>
                  </a:lnTo>
                  <a:lnTo>
                    <a:pt x="52" y="797"/>
                  </a:lnTo>
                  <a:lnTo>
                    <a:pt x="52" y="808"/>
                  </a:lnTo>
                  <a:lnTo>
                    <a:pt x="53" y="822"/>
                  </a:lnTo>
                  <a:lnTo>
                    <a:pt x="58" y="847"/>
                  </a:lnTo>
                  <a:lnTo>
                    <a:pt x="60" y="860"/>
                  </a:lnTo>
                  <a:lnTo>
                    <a:pt x="64" y="871"/>
                  </a:lnTo>
                  <a:lnTo>
                    <a:pt x="65" y="875"/>
                  </a:lnTo>
                  <a:lnTo>
                    <a:pt x="68" y="879"/>
                  </a:lnTo>
                  <a:lnTo>
                    <a:pt x="70" y="881"/>
                  </a:lnTo>
                  <a:lnTo>
                    <a:pt x="73" y="881"/>
                  </a:lnTo>
                  <a:lnTo>
                    <a:pt x="76" y="894"/>
                  </a:lnTo>
                  <a:lnTo>
                    <a:pt x="80" y="905"/>
                  </a:lnTo>
                  <a:lnTo>
                    <a:pt x="81" y="913"/>
                  </a:lnTo>
                  <a:lnTo>
                    <a:pt x="81" y="921"/>
                  </a:lnTo>
                  <a:lnTo>
                    <a:pt x="80" y="936"/>
                  </a:lnTo>
                  <a:lnTo>
                    <a:pt x="80" y="956"/>
                  </a:lnTo>
                  <a:lnTo>
                    <a:pt x="79" y="980"/>
                  </a:lnTo>
                  <a:lnTo>
                    <a:pt x="78" y="1002"/>
                  </a:lnTo>
                  <a:lnTo>
                    <a:pt x="75" y="1024"/>
                  </a:lnTo>
                  <a:lnTo>
                    <a:pt x="73" y="1045"/>
                  </a:lnTo>
                  <a:lnTo>
                    <a:pt x="70" y="1065"/>
                  </a:lnTo>
                  <a:lnTo>
                    <a:pt x="68" y="1087"/>
                  </a:lnTo>
                  <a:lnTo>
                    <a:pt x="67" y="1110"/>
                  </a:lnTo>
                  <a:lnTo>
                    <a:pt x="67" y="1135"/>
                  </a:lnTo>
                  <a:lnTo>
                    <a:pt x="65" y="1141"/>
                  </a:lnTo>
                  <a:lnTo>
                    <a:pt x="64" y="1147"/>
                  </a:lnTo>
                  <a:lnTo>
                    <a:pt x="63" y="1152"/>
                  </a:lnTo>
                  <a:lnTo>
                    <a:pt x="62" y="1156"/>
                  </a:lnTo>
                  <a:lnTo>
                    <a:pt x="58" y="1163"/>
                  </a:lnTo>
                  <a:lnTo>
                    <a:pt x="52" y="1169"/>
                  </a:lnTo>
                  <a:lnTo>
                    <a:pt x="48" y="1175"/>
                  </a:lnTo>
                  <a:lnTo>
                    <a:pt x="43" y="1181"/>
                  </a:lnTo>
                  <a:lnTo>
                    <a:pt x="41" y="1185"/>
                  </a:lnTo>
                  <a:lnTo>
                    <a:pt x="40" y="1188"/>
                  </a:lnTo>
                  <a:lnTo>
                    <a:pt x="40" y="1192"/>
                  </a:lnTo>
                  <a:lnTo>
                    <a:pt x="39" y="1196"/>
                  </a:lnTo>
                  <a:lnTo>
                    <a:pt x="40" y="1205"/>
                  </a:lnTo>
                  <a:lnTo>
                    <a:pt x="42" y="1215"/>
                  </a:lnTo>
                  <a:lnTo>
                    <a:pt x="46" y="1225"/>
                  </a:lnTo>
                  <a:lnTo>
                    <a:pt x="50" y="1237"/>
                  </a:lnTo>
                  <a:lnTo>
                    <a:pt x="60" y="1258"/>
                  </a:lnTo>
                  <a:lnTo>
                    <a:pt x="73" y="1279"/>
                  </a:lnTo>
                  <a:lnTo>
                    <a:pt x="85" y="1299"/>
                  </a:lnTo>
                  <a:lnTo>
                    <a:pt x="95" y="1317"/>
                  </a:lnTo>
                  <a:lnTo>
                    <a:pt x="99" y="1325"/>
                  </a:lnTo>
                  <a:lnTo>
                    <a:pt x="103" y="1332"/>
                  </a:lnTo>
                  <a:lnTo>
                    <a:pt x="105" y="1338"/>
                  </a:lnTo>
                  <a:lnTo>
                    <a:pt x="106" y="1343"/>
                  </a:lnTo>
                  <a:lnTo>
                    <a:pt x="105" y="1351"/>
                  </a:lnTo>
                  <a:lnTo>
                    <a:pt x="104" y="1358"/>
                  </a:lnTo>
                  <a:lnTo>
                    <a:pt x="102" y="1365"/>
                  </a:lnTo>
                  <a:lnTo>
                    <a:pt x="99" y="1372"/>
                  </a:lnTo>
                  <a:lnTo>
                    <a:pt x="97" y="1380"/>
                  </a:lnTo>
                  <a:lnTo>
                    <a:pt x="95" y="1388"/>
                  </a:lnTo>
                  <a:lnTo>
                    <a:pt x="93" y="1396"/>
                  </a:lnTo>
                  <a:lnTo>
                    <a:pt x="93" y="1406"/>
                  </a:lnTo>
                  <a:lnTo>
                    <a:pt x="93" y="1415"/>
                  </a:lnTo>
                  <a:lnTo>
                    <a:pt x="94" y="1424"/>
                  </a:lnTo>
                  <a:lnTo>
                    <a:pt x="96" y="1432"/>
                  </a:lnTo>
                  <a:lnTo>
                    <a:pt x="98" y="1438"/>
                  </a:lnTo>
                  <a:lnTo>
                    <a:pt x="102" y="1444"/>
                  </a:lnTo>
                  <a:lnTo>
                    <a:pt x="106" y="1449"/>
                  </a:lnTo>
                  <a:lnTo>
                    <a:pt x="112" y="1453"/>
                  </a:lnTo>
                  <a:lnTo>
                    <a:pt x="117" y="1457"/>
                  </a:lnTo>
                  <a:lnTo>
                    <a:pt x="123" y="1460"/>
                  </a:lnTo>
                  <a:lnTo>
                    <a:pt x="130" y="1463"/>
                  </a:lnTo>
                  <a:lnTo>
                    <a:pt x="138" y="1464"/>
                  </a:lnTo>
                  <a:lnTo>
                    <a:pt x="146" y="1465"/>
                  </a:lnTo>
                  <a:lnTo>
                    <a:pt x="164" y="1467"/>
                  </a:lnTo>
                  <a:lnTo>
                    <a:pt x="185" y="1467"/>
                  </a:lnTo>
                  <a:lnTo>
                    <a:pt x="191" y="1501"/>
                  </a:lnTo>
                  <a:lnTo>
                    <a:pt x="195" y="1531"/>
                  </a:lnTo>
                  <a:lnTo>
                    <a:pt x="197" y="1559"/>
                  </a:lnTo>
                  <a:lnTo>
                    <a:pt x="199" y="1590"/>
                  </a:lnTo>
                  <a:lnTo>
                    <a:pt x="202" y="1602"/>
                  </a:lnTo>
                  <a:lnTo>
                    <a:pt x="209" y="1621"/>
                  </a:lnTo>
                  <a:lnTo>
                    <a:pt x="216" y="1643"/>
                  </a:lnTo>
                  <a:lnTo>
                    <a:pt x="219" y="1658"/>
                  </a:lnTo>
                  <a:lnTo>
                    <a:pt x="219" y="1668"/>
                  </a:lnTo>
                  <a:lnTo>
                    <a:pt x="220" y="1679"/>
                  </a:lnTo>
                  <a:lnTo>
                    <a:pt x="221" y="1687"/>
                  </a:lnTo>
                  <a:lnTo>
                    <a:pt x="222" y="1694"/>
                  </a:lnTo>
                  <a:lnTo>
                    <a:pt x="227" y="1709"/>
                  </a:lnTo>
                  <a:lnTo>
                    <a:pt x="232" y="1725"/>
                  </a:lnTo>
                  <a:lnTo>
                    <a:pt x="202" y="1732"/>
                  </a:lnTo>
                  <a:lnTo>
                    <a:pt x="173" y="1739"/>
                  </a:lnTo>
                  <a:lnTo>
                    <a:pt x="166" y="1740"/>
                  </a:lnTo>
                  <a:lnTo>
                    <a:pt x="161" y="1743"/>
                  </a:lnTo>
                  <a:lnTo>
                    <a:pt x="155" y="1745"/>
                  </a:lnTo>
                  <a:lnTo>
                    <a:pt x="151" y="1749"/>
                  </a:lnTo>
                  <a:lnTo>
                    <a:pt x="147" y="1752"/>
                  </a:lnTo>
                  <a:lnTo>
                    <a:pt x="143" y="1757"/>
                  </a:lnTo>
                  <a:lnTo>
                    <a:pt x="141" y="1762"/>
                  </a:lnTo>
                  <a:lnTo>
                    <a:pt x="139" y="1769"/>
                  </a:lnTo>
                  <a:lnTo>
                    <a:pt x="164" y="1770"/>
                  </a:lnTo>
                  <a:lnTo>
                    <a:pt x="193" y="1773"/>
                  </a:lnTo>
                  <a:lnTo>
                    <a:pt x="207" y="1776"/>
                  </a:lnTo>
                  <a:lnTo>
                    <a:pt x="218" y="1779"/>
                  </a:lnTo>
                  <a:lnTo>
                    <a:pt x="224" y="1781"/>
                  </a:lnTo>
                  <a:lnTo>
                    <a:pt x="227" y="1783"/>
                  </a:lnTo>
                  <a:lnTo>
                    <a:pt x="230" y="1785"/>
                  </a:lnTo>
                  <a:lnTo>
                    <a:pt x="232" y="1787"/>
                  </a:lnTo>
                  <a:lnTo>
                    <a:pt x="243" y="1807"/>
                  </a:lnTo>
                  <a:lnTo>
                    <a:pt x="250" y="1820"/>
                  </a:lnTo>
                  <a:lnTo>
                    <a:pt x="253" y="1825"/>
                  </a:lnTo>
                  <a:lnTo>
                    <a:pt x="258" y="1828"/>
                  </a:lnTo>
                  <a:lnTo>
                    <a:pt x="263" y="1830"/>
                  </a:lnTo>
                  <a:lnTo>
                    <a:pt x="272" y="1830"/>
                  </a:lnTo>
                  <a:lnTo>
                    <a:pt x="272" y="1843"/>
                  </a:lnTo>
                  <a:lnTo>
                    <a:pt x="273" y="1857"/>
                  </a:lnTo>
                  <a:lnTo>
                    <a:pt x="275" y="1871"/>
                  </a:lnTo>
                  <a:lnTo>
                    <a:pt x="278" y="1884"/>
                  </a:lnTo>
                  <a:lnTo>
                    <a:pt x="282" y="1898"/>
                  </a:lnTo>
                  <a:lnTo>
                    <a:pt x="285" y="1912"/>
                  </a:lnTo>
                  <a:lnTo>
                    <a:pt x="289" y="1925"/>
                  </a:lnTo>
                  <a:lnTo>
                    <a:pt x="295" y="1937"/>
                  </a:lnTo>
                  <a:lnTo>
                    <a:pt x="301" y="1949"/>
                  </a:lnTo>
                  <a:lnTo>
                    <a:pt x="308" y="1961"/>
                  </a:lnTo>
                  <a:lnTo>
                    <a:pt x="315" y="1971"/>
                  </a:lnTo>
                  <a:lnTo>
                    <a:pt x="322" y="1980"/>
                  </a:lnTo>
                  <a:lnTo>
                    <a:pt x="330" y="1988"/>
                  </a:lnTo>
                  <a:lnTo>
                    <a:pt x="339" y="1995"/>
                  </a:lnTo>
                  <a:lnTo>
                    <a:pt x="349" y="2000"/>
                  </a:lnTo>
                  <a:lnTo>
                    <a:pt x="359" y="2003"/>
                  </a:lnTo>
                  <a:lnTo>
                    <a:pt x="359" y="2013"/>
                  </a:lnTo>
                  <a:lnTo>
                    <a:pt x="361" y="2021"/>
                  </a:lnTo>
                  <a:lnTo>
                    <a:pt x="364" y="2028"/>
                  </a:lnTo>
                  <a:lnTo>
                    <a:pt x="368" y="2034"/>
                  </a:lnTo>
                  <a:lnTo>
                    <a:pt x="374" y="2038"/>
                  </a:lnTo>
                  <a:lnTo>
                    <a:pt x="379" y="2042"/>
                  </a:lnTo>
                  <a:lnTo>
                    <a:pt x="386" y="2046"/>
                  </a:lnTo>
                  <a:lnTo>
                    <a:pt x="393" y="2048"/>
                  </a:lnTo>
                  <a:lnTo>
                    <a:pt x="407" y="2053"/>
                  </a:lnTo>
                  <a:lnTo>
                    <a:pt x="420" y="2057"/>
                  </a:lnTo>
                  <a:lnTo>
                    <a:pt x="426" y="2060"/>
                  </a:lnTo>
                  <a:lnTo>
                    <a:pt x="431" y="2063"/>
                  </a:lnTo>
                  <a:lnTo>
                    <a:pt x="435" y="2066"/>
                  </a:lnTo>
                  <a:lnTo>
                    <a:pt x="438" y="2071"/>
                  </a:lnTo>
                  <a:lnTo>
                    <a:pt x="424" y="2074"/>
                  </a:lnTo>
                  <a:lnTo>
                    <a:pt x="411" y="2077"/>
                  </a:lnTo>
                  <a:lnTo>
                    <a:pt x="415" y="2084"/>
                  </a:lnTo>
                  <a:lnTo>
                    <a:pt x="421" y="2091"/>
                  </a:lnTo>
                  <a:lnTo>
                    <a:pt x="429" y="2097"/>
                  </a:lnTo>
                  <a:lnTo>
                    <a:pt x="440" y="2102"/>
                  </a:lnTo>
                  <a:lnTo>
                    <a:pt x="452" y="2107"/>
                  </a:lnTo>
                  <a:lnTo>
                    <a:pt x="465" y="2110"/>
                  </a:lnTo>
                  <a:lnTo>
                    <a:pt x="480" y="2113"/>
                  </a:lnTo>
                  <a:lnTo>
                    <a:pt x="498" y="2114"/>
                  </a:lnTo>
                  <a:lnTo>
                    <a:pt x="502" y="2117"/>
                  </a:lnTo>
                  <a:lnTo>
                    <a:pt x="507" y="2121"/>
                  </a:lnTo>
                  <a:lnTo>
                    <a:pt x="510" y="2127"/>
                  </a:lnTo>
                  <a:lnTo>
                    <a:pt x="513" y="2131"/>
                  </a:lnTo>
                  <a:lnTo>
                    <a:pt x="519" y="2140"/>
                  </a:lnTo>
                  <a:lnTo>
                    <a:pt x="522" y="2149"/>
                  </a:lnTo>
                  <a:lnTo>
                    <a:pt x="527" y="2155"/>
                  </a:lnTo>
                  <a:lnTo>
                    <a:pt x="530" y="2158"/>
                  </a:lnTo>
                  <a:lnTo>
                    <a:pt x="531" y="2158"/>
                  </a:lnTo>
                  <a:lnTo>
                    <a:pt x="533" y="2157"/>
                  </a:lnTo>
                  <a:lnTo>
                    <a:pt x="535" y="2155"/>
                  </a:lnTo>
                  <a:lnTo>
                    <a:pt x="538" y="2151"/>
                  </a:lnTo>
                  <a:lnTo>
                    <a:pt x="543" y="2137"/>
                  </a:lnTo>
                  <a:lnTo>
                    <a:pt x="547" y="2125"/>
                  </a:lnTo>
                  <a:lnTo>
                    <a:pt x="554" y="2116"/>
                  </a:lnTo>
                  <a:lnTo>
                    <a:pt x="561" y="2109"/>
                  </a:lnTo>
                  <a:lnTo>
                    <a:pt x="567" y="2104"/>
                  </a:lnTo>
                  <a:lnTo>
                    <a:pt x="576" y="2101"/>
                  </a:lnTo>
                  <a:lnTo>
                    <a:pt x="586" y="2098"/>
                  </a:lnTo>
                  <a:lnTo>
                    <a:pt x="598" y="2095"/>
                  </a:lnTo>
                  <a:lnTo>
                    <a:pt x="592" y="2087"/>
                  </a:lnTo>
                  <a:lnTo>
                    <a:pt x="589" y="2081"/>
                  </a:lnTo>
                  <a:lnTo>
                    <a:pt x="588" y="2078"/>
                  </a:lnTo>
                  <a:lnTo>
                    <a:pt x="588" y="2076"/>
                  </a:lnTo>
                  <a:lnTo>
                    <a:pt x="589" y="2074"/>
                  </a:lnTo>
                  <a:lnTo>
                    <a:pt x="591" y="2071"/>
                  </a:lnTo>
                  <a:lnTo>
                    <a:pt x="491" y="204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 name="Freeform 9">
              <a:extLst>
                <a:ext uri="{FF2B5EF4-FFF2-40B4-BE49-F238E27FC236}">
                  <a16:creationId xmlns:a16="http://schemas.microsoft.com/office/drawing/2014/main" id="{0E52A38A-5800-43A8-9C2A-F6AB02B2674C}"/>
                </a:ext>
              </a:extLst>
            </p:cNvPr>
            <p:cNvSpPr>
              <a:spLocks/>
            </p:cNvSpPr>
            <p:nvPr>
              <p:custDataLst>
                <p:tags r:id="rId6"/>
              </p:custDataLst>
            </p:nvPr>
          </p:nvSpPr>
          <p:spPr bwMode="auto">
            <a:xfrm>
              <a:off x="2176461" y="3508348"/>
              <a:ext cx="966786" cy="1203315"/>
            </a:xfrm>
            <a:custGeom>
              <a:avLst/>
              <a:gdLst>
                <a:gd name="T0" fmla="*/ 191099 w 2226"/>
                <a:gd name="T1" fmla="*/ 470410 h 2292"/>
                <a:gd name="T2" fmla="*/ 219329 w 2226"/>
                <a:gd name="T3" fmla="*/ 517136 h 2292"/>
                <a:gd name="T4" fmla="*/ 248429 w 2226"/>
                <a:gd name="T5" fmla="*/ 553361 h 2292"/>
                <a:gd name="T6" fmla="*/ 310970 w 2226"/>
                <a:gd name="T7" fmla="*/ 576462 h 2292"/>
                <a:gd name="T8" fmla="*/ 346584 w 2226"/>
                <a:gd name="T9" fmla="*/ 632113 h 2292"/>
                <a:gd name="T10" fmla="*/ 367431 w 2226"/>
                <a:gd name="T11" fmla="*/ 678314 h 2292"/>
                <a:gd name="T12" fmla="*/ 407823 w 2226"/>
                <a:gd name="T13" fmla="*/ 711390 h 2292"/>
                <a:gd name="T14" fmla="*/ 415640 w 2226"/>
                <a:gd name="T15" fmla="*/ 769666 h 2292"/>
                <a:gd name="T16" fmla="*/ 423892 w 2226"/>
                <a:gd name="T17" fmla="*/ 809042 h 2292"/>
                <a:gd name="T18" fmla="*/ 430841 w 2226"/>
                <a:gd name="T19" fmla="*/ 856818 h 2292"/>
                <a:gd name="T20" fmla="*/ 491211 w 2226"/>
                <a:gd name="T21" fmla="*/ 891469 h 2292"/>
                <a:gd name="T22" fmla="*/ 518139 w 2226"/>
                <a:gd name="T23" fmla="*/ 947645 h 2292"/>
                <a:gd name="T24" fmla="*/ 539855 w 2226"/>
                <a:gd name="T25" fmla="*/ 978620 h 2292"/>
                <a:gd name="T26" fmla="*/ 513796 w 2226"/>
                <a:gd name="T27" fmla="*/ 1051597 h 2292"/>
                <a:gd name="T28" fmla="*/ 470798 w 2226"/>
                <a:gd name="T29" fmla="*/ 1117223 h 2292"/>
                <a:gd name="T30" fmla="*/ 512493 w 2226"/>
                <a:gd name="T31" fmla="*/ 1134549 h 2292"/>
                <a:gd name="T32" fmla="*/ 562873 w 2226"/>
                <a:gd name="T33" fmla="*/ 1172874 h 2292"/>
                <a:gd name="T34" fmla="*/ 616294 w 2226"/>
                <a:gd name="T35" fmla="*/ 1153974 h 2292"/>
                <a:gd name="T36" fmla="*/ 659291 w 2226"/>
                <a:gd name="T37" fmla="*/ 1068922 h 2292"/>
                <a:gd name="T38" fmla="*/ 656686 w 2226"/>
                <a:gd name="T39" fmla="*/ 1006971 h 2292"/>
                <a:gd name="T40" fmla="*/ 677967 w 2226"/>
                <a:gd name="T41" fmla="*/ 941345 h 2292"/>
                <a:gd name="T42" fmla="*/ 740943 w 2226"/>
                <a:gd name="T43" fmla="*/ 906694 h 2292"/>
                <a:gd name="T44" fmla="*/ 780900 w 2226"/>
                <a:gd name="T45" fmla="*/ 882543 h 2292"/>
                <a:gd name="T46" fmla="*/ 823897 w 2226"/>
                <a:gd name="T47" fmla="*/ 861543 h 2292"/>
                <a:gd name="T48" fmla="*/ 860814 w 2226"/>
                <a:gd name="T49" fmla="*/ 735015 h 2292"/>
                <a:gd name="T50" fmla="*/ 874712 w 2226"/>
                <a:gd name="T51" fmla="*/ 676214 h 2292"/>
                <a:gd name="T52" fmla="*/ 869500 w 2226"/>
                <a:gd name="T53" fmla="*/ 572262 h 2292"/>
                <a:gd name="T54" fmla="*/ 900337 w 2226"/>
                <a:gd name="T55" fmla="*/ 529736 h 2292"/>
                <a:gd name="T56" fmla="*/ 951152 w 2226"/>
                <a:gd name="T57" fmla="*/ 460435 h 2292"/>
                <a:gd name="T58" fmla="*/ 965050 w 2226"/>
                <a:gd name="T59" fmla="*/ 384308 h 2292"/>
                <a:gd name="T60" fmla="*/ 936819 w 2226"/>
                <a:gd name="T61" fmla="*/ 314482 h 2292"/>
                <a:gd name="T62" fmla="*/ 894256 w 2226"/>
                <a:gd name="T63" fmla="*/ 295581 h 2292"/>
                <a:gd name="T64" fmla="*/ 834321 w 2226"/>
                <a:gd name="T65" fmla="*/ 242555 h 2292"/>
                <a:gd name="T66" fmla="*/ 756578 w 2226"/>
                <a:gd name="T67" fmla="*/ 236255 h 2292"/>
                <a:gd name="T68" fmla="*/ 725307 w 2226"/>
                <a:gd name="T69" fmla="*/ 234680 h 2292"/>
                <a:gd name="T70" fmla="*/ 710541 w 2226"/>
                <a:gd name="T71" fmla="*/ 206854 h 2292"/>
                <a:gd name="T72" fmla="*/ 656686 w 2226"/>
                <a:gd name="T73" fmla="*/ 182704 h 2292"/>
                <a:gd name="T74" fmla="*/ 612820 w 2226"/>
                <a:gd name="T75" fmla="*/ 214729 h 2292"/>
                <a:gd name="T76" fmla="*/ 581115 w 2226"/>
                <a:gd name="T77" fmla="*/ 212629 h 2292"/>
                <a:gd name="T78" fmla="*/ 541592 w 2226"/>
                <a:gd name="T79" fmla="*/ 201604 h 2292"/>
                <a:gd name="T80" fmla="*/ 571994 w 2226"/>
                <a:gd name="T81" fmla="*/ 140703 h 2292"/>
                <a:gd name="T82" fmla="*/ 581115 w 2226"/>
                <a:gd name="T83" fmla="*/ 96602 h 2292"/>
                <a:gd name="T84" fmla="*/ 560702 w 2226"/>
                <a:gd name="T85" fmla="*/ 35701 h 2292"/>
                <a:gd name="T86" fmla="*/ 488171 w 2226"/>
                <a:gd name="T87" fmla="*/ 70876 h 2292"/>
                <a:gd name="T88" fmla="*/ 435619 w 2226"/>
                <a:gd name="T89" fmla="*/ 89252 h 2292"/>
                <a:gd name="T90" fmla="*/ 416943 w 2226"/>
                <a:gd name="T91" fmla="*/ 98177 h 2292"/>
                <a:gd name="T92" fmla="*/ 352664 w 2226"/>
                <a:gd name="T93" fmla="*/ 92402 h 2292"/>
                <a:gd name="T94" fmla="*/ 352230 w 2226"/>
                <a:gd name="T95" fmla="*/ 35176 h 2292"/>
                <a:gd name="T96" fmla="*/ 323565 w 2226"/>
                <a:gd name="T97" fmla="*/ 0 h 2292"/>
                <a:gd name="T98" fmla="*/ 304021 w 2226"/>
                <a:gd name="T99" fmla="*/ 16275 h 2292"/>
                <a:gd name="T100" fmla="*/ 255812 w 2226"/>
                <a:gd name="T101" fmla="*/ 36751 h 2292"/>
                <a:gd name="T102" fmla="*/ 243217 w 2226"/>
                <a:gd name="T103" fmla="*/ 103952 h 2292"/>
                <a:gd name="T104" fmla="*/ 196745 w 2226"/>
                <a:gd name="T105" fmla="*/ 135453 h 2292"/>
                <a:gd name="T106" fmla="*/ 124214 w 2226"/>
                <a:gd name="T107" fmla="*/ 103427 h 2292"/>
                <a:gd name="T108" fmla="*/ 109882 w 2226"/>
                <a:gd name="T109" fmla="*/ 126003 h 2292"/>
                <a:gd name="T110" fmla="*/ 85995 w 2226"/>
                <a:gd name="T111" fmla="*/ 163278 h 2292"/>
                <a:gd name="T112" fmla="*/ 106842 w 2226"/>
                <a:gd name="T113" fmla="*/ 203704 h 2292"/>
                <a:gd name="T114" fmla="*/ 84257 w 2226"/>
                <a:gd name="T115" fmla="*/ 294006 h 2292"/>
                <a:gd name="T116" fmla="*/ 43432 w 2226"/>
                <a:gd name="T117" fmla="*/ 297681 h 2292"/>
                <a:gd name="T118" fmla="*/ 6949 w 2226"/>
                <a:gd name="T119" fmla="*/ 360682 h 2292"/>
                <a:gd name="T120" fmla="*/ 9555 w 2226"/>
                <a:gd name="T121" fmla="*/ 432609 h 2292"/>
                <a:gd name="T122" fmla="*/ 52118 w 2226"/>
                <a:gd name="T123" fmla="*/ 475135 h 2292"/>
                <a:gd name="T124" fmla="*/ 82954 w 2226"/>
                <a:gd name="T125" fmla="*/ 498235 h 229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2226" h="2292">
                  <a:moveTo>
                    <a:pt x="233" y="973"/>
                  </a:moveTo>
                  <a:lnTo>
                    <a:pt x="313" y="967"/>
                  </a:lnTo>
                  <a:lnTo>
                    <a:pt x="323" y="963"/>
                  </a:lnTo>
                  <a:lnTo>
                    <a:pt x="332" y="959"/>
                  </a:lnTo>
                  <a:lnTo>
                    <a:pt x="342" y="953"/>
                  </a:lnTo>
                  <a:lnTo>
                    <a:pt x="351" y="948"/>
                  </a:lnTo>
                  <a:lnTo>
                    <a:pt x="368" y="936"/>
                  </a:lnTo>
                  <a:lnTo>
                    <a:pt x="386" y="923"/>
                  </a:lnTo>
                  <a:lnTo>
                    <a:pt x="403" y="911"/>
                  </a:lnTo>
                  <a:lnTo>
                    <a:pt x="421" y="902"/>
                  </a:lnTo>
                  <a:lnTo>
                    <a:pt x="431" y="898"/>
                  </a:lnTo>
                  <a:lnTo>
                    <a:pt x="440" y="896"/>
                  </a:lnTo>
                  <a:lnTo>
                    <a:pt x="449" y="894"/>
                  </a:lnTo>
                  <a:lnTo>
                    <a:pt x="459" y="893"/>
                  </a:lnTo>
                  <a:lnTo>
                    <a:pt x="467" y="894"/>
                  </a:lnTo>
                  <a:lnTo>
                    <a:pt x="474" y="896"/>
                  </a:lnTo>
                  <a:lnTo>
                    <a:pt x="480" y="899"/>
                  </a:lnTo>
                  <a:lnTo>
                    <a:pt x="485" y="902"/>
                  </a:lnTo>
                  <a:lnTo>
                    <a:pt x="489" y="907"/>
                  </a:lnTo>
                  <a:lnTo>
                    <a:pt x="492" y="912"/>
                  </a:lnTo>
                  <a:lnTo>
                    <a:pt x="496" y="918"/>
                  </a:lnTo>
                  <a:lnTo>
                    <a:pt x="498" y="925"/>
                  </a:lnTo>
                  <a:lnTo>
                    <a:pt x="502" y="956"/>
                  </a:lnTo>
                  <a:lnTo>
                    <a:pt x="505" y="985"/>
                  </a:lnTo>
                  <a:lnTo>
                    <a:pt x="509" y="994"/>
                  </a:lnTo>
                  <a:lnTo>
                    <a:pt x="512" y="1001"/>
                  </a:lnTo>
                  <a:lnTo>
                    <a:pt x="515" y="1008"/>
                  </a:lnTo>
                  <a:lnTo>
                    <a:pt x="520" y="1015"/>
                  </a:lnTo>
                  <a:lnTo>
                    <a:pt x="525" y="1022"/>
                  </a:lnTo>
                  <a:lnTo>
                    <a:pt x="531" y="1028"/>
                  </a:lnTo>
                  <a:lnTo>
                    <a:pt x="536" y="1033"/>
                  </a:lnTo>
                  <a:lnTo>
                    <a:pt x="543" y="1038"/>
                  </a:lnTo>
                  <a:lnTo>
                    <a:pt x="549" y="1044"/>
                  </a:lnTo>
                  <a:lnTo>
                    <a:pt x="557" y="1048"/>
                  </a:lnTo>
                  <a:lnTo>
                    <a:pt x="564" y="1051"/>
                  </a:lnTo>
                  <a:lnTo>
                    <a:pt x="572" y="1054"/>
                  </a:lnTo>
                  <a:lnTo>
                    <a:pt x="580" y="1057"/>
                  </a:lnTo>
                  <a:lnTo>
                    <a:pt x="588" y="1058"/>
                  </a:lnTo>
                  <a:lnTo>
                    <a:pt x="597" y="1059"/>
                  </a:lnTo>
                  <a:lnTo>
                    <a:pt x="605" y="1060"/>
                  </a:lnTo>
                  <a:lnTo>
                    <a:pt x="614" y="1060"/>
                  </a:lnTo>
                  <a:lnTo>
                    <a:pt x="625" y="1063"/>
                  </a:lnTo>
                  <a:lnTo>
                    <a:pt x="638" y="1066"/>
                  </a:lnTo>
                  <a:lnTo>
                    <a:pt x="653" y="1071"/>
                  </a:lnTo>
                  <a:lnTo>
                    <a:pt x="668" y="1076"/>
                  </a:lnTo>
                  <a:lnTo>
                    <a:pt x="683" y="1083"/>
                  </a:lnTo>
                  <a:lnTo>
                    <a:pt x="700" y="1090"/>
                  </a:lnTo>
                  <a:lnTo>
                    <a:pt x="716" y="1098"/>
                  </a:lnTo>
                  <a:lnTo>
                    <a:pt x="733" y="1108"/>
                  </a:lnTo>
                  <a:lnTo>
                    <a:pt x="747" y="1116"/>
                  </a:lnTo>
                  <a:lnTo>
                    <a:pt x="761" y="1126"/>
                  </a:lnTo>
                  <a:lnTo>
                    <a:pt x="773" y="1135"/>
                  </a:lnTo>
                  <a:lnTo>
                    <a:pt x="783" y="1144"/>
                  </a:lnTo>
                  <a:lnTo>
                    <a:pt x="791" y="1153"/>
                  </a:lnTo>
                  <a:lnTo>
                    <a:pt x="794" y="1158"/>
                  </a:lnTo>
                  <a:lnTo>
                    <a:pt x="796" y="1162"/>
                  </a:lnTo>
                  <a:lnTo>
                    <a:pt x="798" y="1167"/>
                  </a:lnTo>
                  <a:lnTo>
                    <a:pt x="798" y="1171"/>
                  </a:lnTo>
                  <a:lnTo>
                    <a:pt x="798" y="1190"/>
                  </a:lnTo>
                  <a:lnTo>
                    <a:pt x="798" y="1204"/>
                  </a:lnTo>
                  <a:lnTo>
                    <a:pt x="798" y="1214"/>
                  </a:lnTo>
                  <a:lnTo>
                    <a:pt x="798" y="1220"/>
                  </a:lnTo>
                  <a:lnTo>
                    <a:pt x="799" y="1229"/>
                  </a:lnTo>
                  <a:lnTo>
                    <a:pt x="803" y="1242"/>
                  </a:lnTo>
                  <a:lnTo>
                    <a:pt x="806" y="1249"/>
                  </a:lnTo>
                  <a:lnTo>
                    <a:pt x="810" y="1256"/>
                  </a:lnTo>
                  <a:lnTo>
                    <a:pt x="814" y="1263"/>
                  </a:lnTo>
                  <a:lnTo>
                    <a:pt x="818" y="1271"/>
                  </a:lnTo>
                  <a:lnTo>
                    <a:pt x="824" y="1277"/>
                  </a:lnTo>
                  <a:lnTo>
                    <a:pt x="830" y="1283"/>
                  </a:lnTo>
                  <a:lnTo>
                    <a:pt x="838" y="1288"/>
                  </a:lnTo>
                  <a:lnTo>
                    <a:pt x="846" y="1292"/>
                  </a:lnTo>
                  <a:lnTo>
                    <a:pt x="854" y="1295"/>
                  </a:lnTo>
                  <a:lnTo>
                    <a:pt x="863" y="1296"/>
                  </a:lnTo>
                  <a:lnTo>
                    <a:pt x="873" y="1296"/>
                  </a:lnTo>
                  <a:lnTo>
                    <a:pt x="884" y="1294"/>
                  </a:lnTo>
                  <a:lnTo>
                    <a:pt x="917" y="1294"/>
                  </a:lnTo>
                  <a:lnTo>
                    <a:pt x="918" y="1306"/>
                  </a:lnTo>
                  <a:lnTo>
                    <a:pt x="919" y="1317"/>
                  </a:lnTo>
                  <a:lnTo>
                    <a:pt x="923" y="1328"/>
                  </a:lnTo>
                  <a:lnTo>
                    <a:pt x="926" y="1336"/>
                  </a:lnTo>
                  <a:lnTo>
                    <a:pt x="929" y="1343"/>
                  </a:lnTo>
                  <a:lnTo>
                    <a:pt x="935" y="1349"/>
                  </a:lnTo>
                  <a:lnTo>
                    <a:pt x="939" y="1355"/>
                  </a:lnTo>
                  <a:lnTo>
                    <a:pt x="944" y="1360"/>
                  </a:lnTo>
                  <a:lnTo>
                    <a:pt x="953" y="1371"/>
                  </a:lnTo>
                  <a:lnTo>
                    <a:pt x="962" y="1385"/>
                  </a:lnTo>
                  <a:lnTo>
                    <a:pt x="965" y="1392"/>
                  </a:lnTo>
                  <a:lnTo>
                    <a:pt x="969" y="1401"/>
                  </a:lnTo>
                  <a:lnTo>
                    <a:pt x="970" y="1411"/>
                  </a:lnTo>
                  <a:lnTo>
                    <a:pt x="971" y="1423"/>
                  </a:lnTo>
                  <a:lnTo>
                    <a:pt x="970" y="1434"/>
                  </a:lnTo>
                  <a:lnTo>
                    <a:pt x="968" y="1443"/>
                  </a:lnTo>
                  <a:lnTo>
                    <a:pt x="964" y="1452"/>
                  </a:lnTo>
                  <a:lnTo>
                    <a:pt x="961" y="1459"/>
                  </a:lnTo>
                  <a:lnTo>
                    <a:pt x="957" y="1466"/>
                  </a:lnTo>
                  <a:lnTo>
                    <a:pt x="953" y="1474"/>
                  </a:lnTo>
                  <a:lnTo>
                    <a:pt x="951" y="1482"/>
                  </a:lnTo>
                  <a:lnTo>
                    <a:pt x="951" y="1491"/>
                  </a:lnTo>
                  <a:lnTo>
                    <a:pt x="951" y="1498"/>
                  </a:lnTo>
                  <a:lnTo>
                    <a:pt x="952" y="1503"/>
                  </a:lnTo>
                  <a:lnTo>
                    <a:pt x="953" y="1509"/>
                  </a:lnTo>
                  <a:lnTo>
                    <a:pt x="955" y="1513"/>
                  </a:lnTo>
                  <a:lnTo>
                    <a:pt x="959" y="1521"/>
                  </a:lnTo>
                  <a:lnTo>
                    <a:pt x="964" y="1527"/>
                  </a:lnTo>
                  <a:lnTo>
                    <a:pt x="969" y="1533"/>
                  </a:lnTo>
                  <a:lnTo>
                    <a:pt x="973" y="1537"/>
                  </a:lnTo>
                  <a:lnTo>
                    <a:pt x="976" y="1541"/>
                  </a:lnTo>
                  <a:lnTo>
                    <a:pt x="978" y="1547"/>
                  </a:lnTo>
                  <a:lnTo>
                    <a:pt x="979" y="1555"/>
                  </a:lnTo>
                  <a:lnTo>
                    <a:pt x="979" y="1564"/>
                  </a:lnTo>
                  <a:lnTo>
                    <a:pt x="979" y="1572"/>
                  </a:lnTo>
                  <a:lnTo>
                    <a:pt x="978" y="1580"/>
                  </a:lnTo>
                  <a:lnTo>
                    <a:pt x="976" y="1588"/>
                  </a:lnTo>
                  <a:lnTo>
                    <a:pt x="975" y="1596"/>
                  </a:lnTo>
                  <a:lnTo>
                    <a:pt x="975" y="1605"/>
                  </a:lnTo>
                  <a:lnTo>
                    <a:pt x="978" y="1614"/>
                  </a:lnTo>
                  <a:lnTo>
                    <a:pt x="981" y="1621"/>
                  </a:lnTo>
                  <a:lnTo>
                    <a:pt x="985" y="1627"/>
                  </a:lnTo>
                  <a:lnTo>
                    <a:pt x="992" y="1632"/>
                  </a:lnTo>
                  <a:lnTo>
                    <a:pt x="998" y="1637"/>
                  </a:lnTo>
                  <a:lnTo>
                    <a:pt x="1016" y="1645"/>
                  </a:lnTo>
                  <a:lnTo>
                    <a:pt x="1036" y="1653"/>
                  </a:lnTo>
                  <a:lnTo>
                    <a:pt x="1057" y="1661"/>
                  </a:lnTo>
                  <a:lnTo>
                    <a:pt x="1077" y="1669"/>
                  </a:lnTo>
                  <a:lnTo>
                    <a:pt x="1086" y="1673"/>
                  </a:lnTo>
                  <a:lnTo>
                    <a:pt x="1095" y="1678"/>
                  </a:lnTo>
                  <a:lnTo>
                    <a:pt x="1104" y="1682"/>
                  </a:lnTo>
                  <a:lnTo>
                    <a:pt x="1110" y="1688"/>
                  </a:lnTo>
                  <a:lnTo>
                    <a:pt x="1116" y="1692"/>
                  </a:lnTo>
                  <a:lnTo>
                    <a:pt x="1124" y="1695"/>
                  </a:lnTo>
                  <a:lnTo>
                    <a:pt x="1131" y="1698"/>
                  </a:lnTo>
                  <a:lnTo>
                    <a:pt x="1140" y="1700"/>
                  </a:lnTo>
                  <a:lnTo>
                    <a:pt x="1149" y="1702"/>
                  </a:lnTo>
                  <a:lnTo>
                    <a:pt x="1157" y="1705"/>
                  </a:lnTo>
                  <a:lnTo>
                    <a:pt x="1164" y="1708"/>
                  </a:lnTo>
                  <a:lnTo>
                    <a:pt x="1170" y="1713"/>
                  </a:lnTo>
                  <a:lnTo>
                    <a:pt x="1176" y="1721"/>
                  </a:lnTo>
                  <a:lnTo>
                    <a:pt x="1181" y="1729"/>
                  </a:lnTo>
                  <a:lnTo>
                    <a:pt x="1185" y="1739"/>
                  </a:lnTo>
                  <a:lnTo>
                    <a:pt x="1187" y="1749"/>
                  </a:lnTo>
                  <a:lnTo>
                    <a:pt x="1189" y="1772"/>
                  </a:lnTo>
                  <a:lnTo>
                    <a:pt x="1192" y="1794"/>
                  </a:lnTo>
                  <a:lnTo>
                    <a:pt x="1193" y="1805"/>
                  </a:lnTo>
                  <a:lnTo>
                    <a:pt x="1195" y="1815"/>
                  </a:lnTo>
                  <a:lnTo>
                    <a:pt x="1198" y="1825"/>
                  </a:lnTo>
                  <a:lnTo>
                    <a:pt x="1204" y="1832"/>
                  </a:lnTo>
                  <a:lnTo>
                    <a:pt x="1207" y="1836"/>
                  </a:lnTo>
                  <a:lnTo>
                    <a:pt x="1210" y="1839"/>
                  </a:lnTo>
                  <a:lnTo>
                    <a:pt x="1214" y="1842"/>
                  </a:lnTo>
                  <a:lnTo>
                    <a:pt x="1219" y="1844"/>
                  </a:lnTo>
                  <a:lnTo>
                    <a:pt x="1224" y="1846"/>
                  </a:lnTo>
                  <a:lnTo>
                    <a:pt x="1229" y="1847"/>
                  </a:lnTo>
                  <a:lnTo>
                    <a:pt x="1236" y="1848"/>
                  </a:lnTo>
                  <a:lnTo>
                    <a:pt x="1243" y="1848"/>
                  </a:lnTo>
                  <a:lnTo>
                    <a:pt x="1243" y="1864"/>
                  </a:lnTo>
                  <a:lnTo>
                    <a:pt x="1243" y="1879"/>
                  </a:lnTo>
                  <a:lnTo>
                    <a:pt x="1243" y="1891"/>
                  </a:lnTo>
                  <a:lnTo>
                    <a:pt x="1243" y="1904"/>
                  </a:lnTo>
                  <a:lnTo>
                    <a:pt x="1243" y="1921"/>
                  </a:lnTo>
                  <a:lnTo>
                    <a:pt x="1243" y="1942"/>
                  </a:lnTo>
                  <a:lnTo>
                    <a:pt x="1243" y="1961"/>
                  </a:lnTo>
                  <a:lnTo>
                    <a:pt x="1243" y="1971"/>
                  </a:lnTo>
                  <a:lnTo>
                    <a:pt x="1232" y="1974"/>
                  </a:lnTo>
                  <a:lnTo>
                    <a:pt x="1221" y="1979"/>
                  </a:lnTo>
                  <a:lnTo>
                    <a:pt x="1208" y="1985"/>
                  </a:lnTo>
                  <a:lnTo>
                    <a:pt x="1196" y="1994"/>
                  </a:lnTo>
                  <a:lnTo>
                    <a:pt x="1183" y="2003"/>
                  </a:lnTo>
                  <a:lnTo>
                    <a:pt x="1170" y="2013"/>
                  </a:lnTo>
                  <a:lnTo>
                    <a:pt x="1157" y="2023"/>
                  </a:lnTo>
                  <a:lnTo>
                    <a:pt x="1143" y="2034"/>
                  </a:lnTo>
                  <a:lnTo>
                    <a:pt x="1131" y="2047"/>
                  </a:lnTo>
                  <a:lnTo>
                    <a:pt x="1120" y="2059"/>
                  </a:lnTo>
                  <a:lnTo>
                    <a:pt x="1109" y="2070"/>
                  </a:lnTo>
                  <a:lnTo>
                    <a:pt x="1101" y="2082"/>
                  </a:lnTo>
                  <a:lnTo>
                    <a:pt x="1094" y="2094"/>
                  </a:lnTo>
                  <a:lnTo>
                    <a:pt x="1088" y="2106"/>
                  </a:lnTo>
                  <a:lnTo>
                    <a:pt x="1085" y="2116"/>
                  </a:lnTo>
                  <a:lnTo>
                    <a:pt x="1084" y="2125"/>
                  </a:lnTo>
                  <a:lnTo>
                    <a:pt x="1084" y="2128"/>
                  </a:lnTo>
                  <a:lnTo>
                    <a:pt x="1086" y="2130"/>
                  </a:lnTo>
                  <a:lnTo>
                    <a:pt x="1088" y="2132"/>
                  </a:lnTo>
                  <a:lnTo>
                    <a:pt x="1092" y="2133"/>
                  </a:lnTo>
                  <a:lnTo>
                    <a:pt x="1101" y="2137"/>
                  </a:lnTo>
                  <a:lnTo>
                    <a:pt x="1110" y="2139"/>
                  </a:lnTo>
                  <a:lnTo>
                    <a:pt x="1131" y="2142"/>
                  </a:lnTo>
                  <a:lnTo>
                    <a:pt x="1143" y="2144"/>
                  </a:lnTo>
                  <a:lnTo>
                    <a:pt x="1151" y="2145"/>
                  </a:lnTo>
                  <a:lnTo>
                    <a:pt x="1158" y="2147"/>
                  </a:lnTo>
                  <a:lnTo>
                    <a:pt x="1163" y="2150"/>
                  </a:lnTo>
                  <a:lnTo>
                    <a:pt x="1169" y="2153"/>
                  </a:lnTo>
                  <a:lnTo>
                    <a:pt x="1180" y="2161"/>
                  </a:lnTo>
                  <a:lnTo>
                    <a:pt x="1189" y="2170"/>
                  </a:lnTo>
                  <a:lnTo>
                    <a:pt x="1200" y="2178"/>
                  </a:lnTo>
                  <a:lnTo>
                    <a:pt x="1210" y="2186"/>
                  </a:lnTo>
                  <a:lnTo>
                    <a:pt x="1216" y="2190"/>
                  </a:lnTo>
                  <a:lnTo>
                    <a:pt x="1222" y="2193"/>
                  </a:lnTo>
                  <a:lnTo>
                    <a:pt x="1229" y="2197"/>
                  </a:lnTo>
                  <a:lnTo>
                    <a:pt x="1237" y="2199"/>
                  </a:lnTo>
                  <a:lnTo>
                    <a:pt x="1248" y="2203"/>
                  </a:lnTo>
                  <a:lnTo>
                    <a:pt x="1258" y="2208"/>
                  </a:lnTo>
                  <a:lnTo>
                    <a:pt x="1267" y="2214"/>
                  </a:lnTo>
                  <a:lnTo>
                    <a:pt x="1277" y="2220"/>
                  </a:lnTo>
                  <a:lnTo>
                    <a:pt x="1296" y="2234"/>
                  </a:lnTo>
                  <a:lnTo>
                    <a:pt x="1312" y="2248"/>
                  </a:lnTo>
                  <a:lnTo>
                    <a:pt x="1327" y="2262"/>
                  </a:lnTo>
                  <a:lnTo>
                    <a:pt x="1340" y="2275"/>
                  </a:lnTo>
                  <a:lnTo>
                    <a:pt x="1352" y="2285"/>
                  </a:lnTo>
                  <a:lnTo>
                    <a:pt x="1363" y="2292"/>
                  </a:lnTo>
                  <a:lnTo>
                    <a:pt x="1370" y="2276"/>
                  </a:lnTo>
                  <a:lnTo>
                    <a:pt x="1377" y="2261"/>
                  </a:lnTo>
                  <a:lnTo>
                    <a:pt x="1385" y="2248"/>
                  </a:lnTo>
                  <a:lnTo>
                    <a:pt x="1394" y="2235"/>
                  </a:lnTo>
                  <a:lnTo>
                    <a:pt x="1401" y="2223"/>
                  </a:lnTo>
                  <a:lnTo>
                    <a:pt x="1410" y="2210"/>
                  </a:lnTo>
                  <a:lnTo>
                    <a:pt x="1419" y="2198"/>
                  </a:lnTo>
                  <a:lnTo>
                    <a:pt x="1429" y="2187"/>
                  </a:lnTo>
                  <a:lnTo>
                    <a:pt x="1439" y="2160"/>
                  </a:lnTo>
                  <a:lnTo>
                    <a:pt x="1449" y="2138"/>
                  </a:lnTo>
                  <a:lnTo>
                    <a:pt x="1459" y="2116"/>
                  </a:lnTo>
                  <a:lnTo>
                    <a:pt x="1468" y="2088"/>
                  </a:lnTo>
                  <a:lnTo>
                    <a:pt x="1472" y="2082"/>
                  </a:lnTo>
                  <a:lnTo>
                    <a:pt x="1476" y="2076"/>
                  </a:lnTo>
                  <a:lnTo>
                    <a:pt x="1480" y="2070"/>
                  </a:lnTo>
                  <a:lnTo>
                    <a:pt x="1485" y="2065"/>
                  </a:lnTo>
                  <a:lnTo>
                    <a:pt x="1496" y="2055"/>
                  </a:lnTo>
                  <a:lnTo>
                    <a:pt x="1507" y="2046"/>
                  </a:lnTo>
                  <a:lnTo>
                    <a:pt x="1518" y="2036"/>
                  </a:lnTo>
                  <a:lnTo>
                    <a:pt x="1527" y="2026"/>
                  </a:lnTo>
                  <a:lnTo>
                    <a:pt x="1530" y="2021"/>
                  </a:lnTo>
                  <a:lnTo>
                    <a:pt x="1533" y="2015"/>
                  </a:lnTo>
                  <a:lnTo>
                    <a:pt x="1534" y="2009"/>
                  </a:lnTo>
                  <a:lnTo>
                    <a:pt x="1535" y="2002"/>
                  </a:lnTo>
                  <a:lnTo>
                    <a:pt x="1535" y="1993"/>
                  </a:lnTo>
                  <a:lnTo>
                    <a:pt x="1534" y="1984"/>
                  </a:lnTo>
                  <a:lnTo>
                    <a:pt x="1532" y="1975"/>
                  </a:lnTo>
                  <a:lnTo>
                    <a:pt x="1530" y="1966"/>
                  </a:lnTo>
                  <a:lnTo>
                    <a:pt x="1524" y="1950"/>
                  </a:lnTo>
                  <a:lnTo>
                    <a:pt x="1519" y="1934"/>
                  </a:lnTo>
                  <a:lnTo>
                    <a:pt x="1512" y="1918"/>
                  </a:lnTo>
                  <a:lnTo>
                    <a:pt x="1507" y="1904"/>
                  </a:lnTo>
                  <a:lnTo>
                    <a:pt x="1504" y="1891"/>
                  </a:lnTo>
                  <a:lnTo>
                    <a:pt x="1502" y="1879"/>
                  </a:lnTo>
                  <a:lnTo>
                    <a:pt x="1502" y="1873"/>
                  </a:lnTo>
                  <a:lnTo>
                    <a:pt x="1504" y="1867"/>
                  </a:lnTo>
                  <a:lnTo>
                    <a:pt x="1506" y="1861"/>
                  </a:lnTo>
                  <a:lnTo>
                    <a:pt x="1508" y="1855"/>
                  </a:lnTo>
                  <a:lnTo>
                    <a:pt x="1514" y="1843"/>
                  </a:lnTo>
                  <a:lnTo>
                    <a:pt x="1523" y="1830"/>
                  </a:lnTo>
                  <a:lnTo>
                    <a:pt x="1534" y="1817"/>
                  </a:lnTo>
                  <a:lnTo>
                    <a:pt x="1547" y="1805"/>
                  </a:lnTo>
                  <a:lnTo>
                    <a:pt x="1561" y="1793"/>
                  </a:lnTo>
                  <a:lnTo>
                    <a:pt x="1576" y="1782"/>
                  </a:lnTo>
                  <a:lnTo>
                    <a:pt x="1591" y="1772"/>
                  </a:lnTo>
                  <a:lnTo>
                    <a:pt x="1608" y="1761"/>
                  </a:lnTo>
                  <a:lnTo>
                    <a:pt x="1623" y="1753"/>
                  </a:lnTo>
                  <a:lnTo>
                    <a:pt x="1640" y="1745"/>
                  </a:lnTo>
                  <a:lnTo>
                    <a:pt x="1655" y="1739"/>
                  </a:lnTo>
                  <a:lnTo>
                    <a:pt x="1669" y="1735"/>
                  </a:lnTo>
                  <a:lnTo>
                    <a:pt x="1682" y="1732"/>
                  </a:lnTo>
                  <a:lnTo>
                    <a:pt x="1695" y="1731"/>
                  </a:lnTo>
                  <a:lnTo>
                    <a:pt x="1699" y="1731"/>
                  </a:lnTo>
                  <a:lnTo>
                    <a:pt x="1702" y="1729"/>
                  </a:lnTo>
                  <a:lnTo>
                    <a:pt x="1706" y="1727"/>
                  </a:lnTo>
                  <a:lnTo>
                    <a:pt x="1709" y="1725"/>
                  </a:lnTo>
                  <a:lnTo>
                    <a:pt x="1717" y="1718"/>
                  </a:lnTo>
                  <a:lnTo>
                    <a:pt x="1724" y="1709"/>
                  </a:lnTo>
                  <a:lnTo>
                    <a:pt x="1733" y="1701"/>
                  </a:lnTo>
                  <a:lnTo>
                    <a:pt x="1743" y="1694"/>
                  </a:lnTo>
                  <a:lnTo>
                    <a:pt x="1748" y="1692"/>
                  </a:lnTo>
                  <a:lnTo>
                    <a:pt x="1754" y="1690"/>
                  </a:lnTo>
                  <a:lnTo>
                    <a:pt x="1760" y="1688"/>
                  </a:lnTo>
                  <a:lnTo>
                    <a:pt x="1768" y="1688"/>
                  </a:lnTo>
                  <a:lnTo>
                    <a:pt x="1779" y="1684"/>
                  </a:lnTo>
                  <a:lnTo>
                    <a:pt x="1789" y="1682"/>
                  </a:lnTo>
                  <a:lnTo>
                    <a:pt x="1798" y="1681"/>
                  </a:lnTo>
                  <a:lnTo>
                    <a:pt x="1807" y="1680"/>
                  </a:lnTo>
                  <a:lnTo>
                    <a:pt x="1820" y="1681"/>
                  </a:lnTo>
                  <a:lnTo>
                    <a:pt x="1834" y="1682"/>
                  </a:lnTo>
                  <a:lnTo>
                    <a:pt x="1854" y="1681"/>
                  </a:lnTo>
                  <a:lnTo>
                    <a:pt x="1868" y="1679"/>
                  </a:lnTo>
                  <a:lnTo>
                    <a:pt x="1874" y="1678"/>
                  </a:lnTo>
                  <a:lnTo>
                    <a:pt x="1878" y="1676"/>
                  </a:lnTo>
                  <a:lnTo>
                    <a:pt x="1882" y="1673"/>
                  </a:lnTo>
                  <a:lnTo>
                    <a:pt x="1885" y="1670"/>
                  </a:lnTo>
                  <a:lnTo>
                    <a:pt x="1890" y="1663"/>
                  </a:lnTo>
                  <a:lnTo>
                    <a:pt x="1893" y="1653"/>
                  </a:lnTo>
                  <a:lnTo>
                    <a:pt x="1897" y="1641"/>
                  </a:lnTo>
                  <a:lnTo>
                    <a:pt x="1901" y="1626"/>
                  </a:lnTo>
                  <a:lnTo>
                    <a:pt x="1927" y="1571"/>
                  </a:lnTo>
                  <a:lnTo>
                    <a:pt x="1939" y="1553"/>
                  </a:lnTo>
                  <a:lnTo>
                    <a:pt x="1949" y="1535"/>
                  </a:lnTo>
                  <a:lnTo>
                    <a:pt x="1959" y="1518"/>
                  </a:lnTo>
                  <a:lnTo>
                    <a:pt x="1967" y="1500"/>
                  </a:lnTo>
                  <a:lnTo>
                    <a:pt x="1972" y="1480"/>
                  </a:lnTo>
                  <a:lnTo>
                    <a:pt x="1977" y="1460"/>
                  </a:lnTo>
                  <a:lnTo>
                    <a:pt x="1980" y="1437"/>
                  </a:lnTo>
                  <a:lnTo>
                    <a:pt x="1980" y="1411"/>
                  </a:lnTo>
                  <a:lnTo>
                    <a:pt x="1981" y="1405"/>
                  </a:lnTo>
                  <a:lnTo>
                    <a:pt x="1982" y="1400"/>
                  </a:lnTo>
                  <a:lnTo>
                    <a:pt x="1983" y="1395"/>
                  </a:lnTo>
                  <a:lnTo>
                    <a:pt x="1986" y="1391"/>
                  </a:lnTo>
                  <a:lnTo>
                    <a:pt x="1991" y="1382"/>
                  </a:lnTo>
                  <a:lnTo>
                    <a:pt x="1997" y="1372"/>
                  </a:lnTo>
                  <a:lnTo>
                    <a:pt x="2003" y="1364"/>
                  </a:lnTo>
                  <a:lnTo>
                    <a:pt x="2009" y="1354"/>
                  </a:lnTo>
                  <a:lnTo>
                    <a:pt x="2011" y="1349"/>
                  </a:lnTo>
                  <a:lnTo>
                    <a:pt x="2012" y="1343"/>
                  </a:lnTo>
                  <a:lnTo>
                    <a:pt x="2013" y="1337"/>
                  </a:lnTo>
                  <a:lnTo>
                    <a:pt x="2014" y="1331"/>
                  </a:lnTo>
                  <a:lnTo>
                    <a:pt x="2014" y="1307"/>
                  </a:lnTo>
                  <a:lnTo>
                    <a:pt x="2014" y="1288"/>
                  </a:lnTo>
                  <a:lnTo>
                    <a:pt x="2014" y="1271"/>
                  </a:lnTo>
                  <a:lnTo>
                    <a:pt x="2014" y="1250"/>
                  </a:lnTo>
                  <a:lnTo>
                    <a:pt x="2011" y="1223"/>
                  </a:lnTo>
                  <a:lnTo>
                    <a:pt x="2004" y="1185"/>
                  </a:lnTo>
                  <a:lnTo>
                    <a:pt x="2000" y="1165"/>
                  </a:lnTo>
                  <a:lnTo>
                    <a:pt x="1997" y="1145"/>
                  </a:lnTo>
                  <a:lnTo>
                    <a:pt x="1994" y="1129"/>
                  </a:lnTo>
                  <a:lnTo>
                    <a:pt x="1993" y="1115"/>
                  </a:lnTo>
                  <a:lnTo>
                    <a:pt x="1994" y="1108"/>
                  </a:lnTo>
                  <a:lnTo>
                    <a:pt x="1997" y="1102"/>
                  </a:lnTo>
                  <a:lnTo>
                    <a:pt x="1999" y="1096"/>
                  </a:lnTo>
                  <a:lnTo>
                    <a:pt x="2002" y="1090"/>
                  </a:lnTo>
                  <a:lnTo>
                    <a:pt x="2006" y="1085"/>
                  </a:lnTo>
                  <a:lnTo>
                    <a:pt x="2012" y="1081"/>
                  </a:lnTo>
                  <a:lnTo>
                    <a:pt x="2017" y="1077"/>
                  </a:lnTo>
                  <a:lnTo>
                    <a:pt x="2023" y="1073"/>
                  </a:lnTo>
                  <a:lnTo>
                    <a:pt x="2035" y="1067"/>
                  </a:lnTo>
                  <a:lnTo>
                    <a:pt x="2047" y="1063"/>
                  </a:lnTo>
                  <a:lnTo>
                    <a:pt x="2058" y="1060"/>
                  </a:lnTo>
                  <a:lnTo>
                    <a:pt x="2067" y="1060"/>
                  </a:lnTo>
                  <a:lnTo>
                    <a:pt x="2067" y="1046"/>
                  </a:lnTo>
                  <a:lnTo>
                    <a:pt x="2069" y="1032"/>
                  </a:lnTo>
                  <a:lnTo>
                    <a:pt x="2071" y="1020"/>
                  </a:lnTo>
                  <a:lnTo>
                    <a:pt x="2073" y="1009"/>
                  </a:lnTo>
                  <a:lnTo>
                    <a:pt x="2078" y="999"/>
                  </a:lnTo>
                  <a:lnTo>
                    <a:pt x="2081" y="990"/>
                  </a:lnTo>
                  <a:lnTo>
                    <a:pt x="2087" y="980"/>
                  </a:lnTo>
                  <a:lnTo>
                    <a:pt x="2092" y="972"/>
                  </a:lnTo>
                  <a:lnTo>
                    <a:pt x="2104" y="956"/>
                  </a:lnTo>
                  <a:lnTo>
                    <a:pt x="2117" y="943"/>
                  </a:lnTo>
                  <a:lnTo>
                    <a:pt x="2132" y="929"/>
                  </a:lnTo>
                  <a:lnTo>
                    <a:pt x="2147" y="917"/>
                  </a:lnTo>
                  <a:lnTo>
                    <a:pt x="2161" y="904"/>
                  </a:lnTo>
                  <a:lnTo>
                    <a:pt x="2175" y="891"/>
                  </a:lnTo>
                  <a:lnTo>
                    <a:pt x="2183" y="885"/>
                  </a:lnTo>
                  <a:lnTo>
                    <a:pt x="2190" y="877"/>
                  </a:lnTo>
                  <a:lnTo>
                    <a:pt x="2195" y="869"/>
                  </a:lnTo>
                  <a:lnTo>
                    <a:pt x="2202" y="861"/>
                  </a:lnTo>
                  <a:lnTo>
                    <a:pt x="2206" y="852"/>
                  </a:lnTo>
                  <a:lnTo>
                    <a:pt x="2212" y="843"/>
                  </a:lnTo>
                  <a:lnTo>
                    <a:pt x="2216" y="833"/>
                  </a:lnTo>
                  <a:lnTo>
                    <a:pt x="2219" y="822"/>
                  </a:lnTo>
                  <a:lnTo>
                    <a:pt x="2223" y="810"/>
                  </a:lnTo>
                  <a:lnTo>
                    <a:pt x="2225" y="798"/>
                  </a:lnTo>
                  <a:lnTo>
                    <a:pt x="2226" y="784"/>
                  </a:lnTo>
                  <a:lnTo>
                    <a:pt x="2226" y="770"/>
                  </a:lnTo>
                  <a:lnTo>
                    <a:pt x="2225" y="752"/>
                  </a:lnTo>
                  <a:lnTo>
                    <a:pt x="2222" y="732"/>
                  </a:lnTo>
                  <a:lnTo>
                    <a:pt x="2217" y="711"/>
                  </a:lnTo>
                  <a:lnTo>
                    <a:pt x="2212" y="689"/>
                  </a:lnTo>
                  <a:lnTo>
                    <a:pt x="2205" y="668"/>
                  </a:lnTo>
                  <a:lnTo>
                    <a:pt x="2199" y="649"/>
                  </a:lnTo>
                  <a:lnTo>
                    <a:pt x="2192" y="633"/>
                  </a:lnTo>
                  <a:lnTo>
                    <a:pt x="2186" y="622"/>
                  </a:lnTo>
                  <a:lnTo>
                    <a:pt x="2182" y="614"/>
                  </a:lnTo>
                  <a:lnTo>
                    <a:pt x="2178" y="608"/>
                  </a:lnTo>
                  <a:lnTo>
                    <a:pt x="2173" y="604"/>
                  </a:lnTo>
                  <a:lnTo>
                    <a:pt x="2168" y="601"/>
                  </a:lnTo>
                  <a:lnTo>
                    <a:pt x="2163" y="600"/>
                  </a:lnTo>
                  <a:lnTo>
                    <a:pt x="2157" y="599"/>
                  </a:lnTo>
                  <a:lnTo>
                    <a:pt x="2151" y="600"/>
                  </a:lnTo>
                  <a:lnTo>
                    <a:pt x="2146" y="601"/>
                  </a:lnTo>
                  <a:lnTo>
                    <a:pt x="2134" y="603"/>
                  </a:lnTo>
                  <a:lnTo>
                    <a:pt x="2122" y="605"/>
                  </a:lnTo>
                  <a:lnTo>
                    <a:pt x="2116" y="605"/>
                  </a:lnTo>
                  <a:lnTo>
                    <a:pt x="2111" y="604"/>
                  </a:lnTo>
                  <a:lnTo>
                    <a:pt x="2105" y="602"/>
                  </a:lnTo>
                  <a:lnTo>
                    <a:pt x="2100" y="597"/>
                  </a:lnTo>
                  <a:lnTo>
                    <a:pt x="2089" y="590"/>
                  </a:lnTo>
                  <a:lnTo>
                    <a:pt x="2079" y="582"/>
                  </a:lnTo>
                  <a:lnTo>
                    <a:pt x="2069" y="573"/>
                  </a:lnTo>
                  <a:lnTo>
                    <a:pt x="2059" y="563"/>
                  </a:lnTo>
                  <a:lnTo>
                    <a:pt x="2039" y="540"/>
                  </a:lnTo>
                  <a:lnTo>
                    <a:pt x="2021" y="518"/>
                  </a:lnTo>
                  <a:lnTo>
                    <a:pt x="2010" y="507"/>
                  </a:lnTo>
                  <a:lnTo>
                    <a:pt x="2000" y="497"/>
                  </a:lnTo>
                  <a:lnTo>
                    <a:pt x="1989" y="488"/>
                  </a:lnTo>
                  <a:lnTo>
                    <a:pt x="1977" y="478"/>
                  </a:lnTo>
                  <a:lnTo>
                    <a:pt x="1965" y="471"/>
                  </a:lnTo>
                  <a:lnTo>
                    <a:pt x="1950" y="466"/>
                  </a:lnTo>
                  <a:lnTo>
                    <a:pt x="1944" y="464"/>
                  </a:lnTo>
                  <a:lnTo>
                    <a:pt x="1936" y="463"/>
                  </a:lnTo>
                  <a:lnTo>
                    <a:pt x="1928" y="462"/>
                  </a:lnTo>
                  <a:lnTo>
                    <a:pt x="1921" y="462"/>
                  </a:lnTo>
                  <a:lnTo>
                    <a:pt x="1898" y="462"/>
                  </a:lnTo>
                  <a:lnTo>
                    <a:pt x="1878" y="462"/>
                  </a:lnTo>
                  <a:lnTo>
                    <a:pt x="1860" y="462"/>
                  </a:lnTo>
                  <a:lnTo>
                    <a:pt x="1841" y="462"/>
                  </a:lnTo>
                  <a:lnTo>
                    <a:pt x="1826" y="461"/>
                  </a:lnTo>
                  <a:lnTo>
                    <a:pt x="1814" y="460"/>
                  </a:lnTo>
                  <a:lnTo>
                    <a:pt x="1802" y="458"/>
                  </a:lnTo>
                  <a:lnTo>
                    <a:pt x="1791" y="456"/>
                  </a:lnTo>
                  <a:lnTo>
                    <a:pt x="1780" y="453"/>
                  </a:lnTo>
                  <a:lnTo>
                    <a:pt x="1768" y="451"/>
                  </a:lnTo>
                  <a:lnTo>
                    <a:pt x="1755" y="450"/>
                  </a:lnTo>
                  <a:lnTo>
                    <a:pt x="1742" y="450"/>
                  </a:lnTo>
                  <a:lnTo>
                    <a:pt x="1725" y="450"/>
                  </a:lnTo>
                  <a:lnTo>
                    <a:pt x="1713" y="452"/>
                  </a:lnTo>
                  <a:lnTo>
                    <a:pt x="1703" y="454"/>
                  </a:lnTo>
                  <a:lnTo>
                    <a:pt x="1696" y="458"/>
                  </a:lnTo>
                  <a:lnTo>
                    <a:pt x="1689" y="462"/>
                  </a:lnTo>
                  <a:lnTo>
                    <a:pt x="1685" y="467"/>
                  </a:lnTo>
                  <a:lnTo>
                    <a:pt x="1679" y="473"/>
                  </a:lnTo>
                  <a:lnTo>
                    <a:pt x="1675" y="480"/>
                  </a:lnTo>
                  <a:lnTo>
                    <a:pt x="1672" y="471"/>
                  </a:lnTo>
                  <a:lnTo>
                    <a:pt x="1669" y="462"/>
                  </a:lnTo>
                  <a:lnTo>
                    <a:pt x="1669" y="454"/>
                  </a:lnTo>
                  <a:lnTo>
                    <a:pt x="1670" y="447"/>
                  </a:lnTo>
                  <a:lnTo>
                    <a:pt x="1673" y="436"/>
                  </a:lnTo>
                  <a:lnTo>
                    <a:pt x="1675" y="430"/>
                  </a:lnTo>
                  <a:lnTo>
                    <a:pt x="1675" y="426"/>
                  </a:lnTo>
                  <a:lnTo>
                    <a:pt x="1673" y="421"/>
                  </a:lnTo>
                  <a:lnTo>
                    <a:pt x="1670" y="417"/>
                  </a:lnTo>
                  <a:lnTo>
                    <a:pt x="1668" y="413"/>
                  </a:lnTo>
                  <a:lnTo>
                    <a:pt x="1664" y="406"/>
                  </a:lnTo>
                  <a:lnTo>
                    <a:pt x="1662" y="400"/>
                  </a:lnTo>
                  <a:lnTo>
                    <a:pt x="1655" y="400"/>
                  </a:lnTo>
                  <a:lnTo>
                    <a:pt x="1648" y="398"/>
                  </a:lnTo>
                  <a:lnTo>
                    <a:pt x="1643" y="396"/>
                  </a:lnTo>
                  <a:lnTo>
                    <a:pt x="1636" y="394"/>
                  </a:lnTo>
                  <a:lnTo>
                    <a:pt x="1624" y="387"/>
                  </a:lnTo>
                  <a:lnTo>
                    <a:pt x="1612" y="379"/>
                  </a:lnTo>
                  <a:lnTo>
                    <a:pt x="1596" y="363"/>
                  </a:lnTo>
                  <a:lnTo>
                    <a:pt x="1588" y="357"/>
                  </a:lnTo>
                  <a:lnTo>
                    <a:pt x="1581" y="359"/>
                  </a:lnTo>
                  <a:lnTo>
                    <a:pt x="1574" y="360"/>
                  </a:lnTo>
                  <a:lnTo>
                    <a:pt x="1567" y="361"/>
                  </a:lnTo>
                  <a:lnTo>
                    <a:pt x="1560" y="362"/>
                  </a:lnTo>
                  <a:lnTo>
                    <a:pt x="1546" y="361"/>
                  </a:lnTo>
                  <a:lnTo>
                    <a:pt x="1534" y="358"/>
                  </a:lnTo>
                  <a:lnTo>
                    <a:pt x="1523" y="354"/>
                  </a:lnTo>
                  <a:lnTo>
                    <a:pt x="1512" y="348"/>
                  </a:lnTo>
                  <a:lnTo>
                    <a:pt x="1504" y="341"/>
                  </a:lnTo>
                  <a:lnTo>
                    <a:pt x="1496" y="333"/>
                  </a:lnTo>
                  <a:lnTo>
                    <a:pt x="1468" y="333"/>
                  </a:lnTo>
                  <a:lnTo>
                    <a:pt x="1468" y="337"/>
                  </a:lnTo>
                  <a:lnTo>
                    <a:pt x="1466" y="342"/>
                  </a:lnTo>
                  <a:lnTo>
                    <a:pt x="1463" y="349"/>
                  </a:lnTo>
                  <a:lnTo>
                    <a:pt x="1459" y="357"/>
                  </a:lnTo>
                  <a:lnTo>
                    <a:pt x="1446" y="373"/>
                  </a:lnTo>
                  <a:lnTo>
                    <a:pt x="1433" y="390"/>
                  </a:lnTo>
                  <a:lnTo>
                    <a:pt x="1426" y="398"/>
                  </a:lnTo>
                  <a:lnTo>
                    <a:pt x="1419" y="404"/>
                  </a:lnTo>
                  <a:lnTo>
                    <a:pt x="1411" y="409"/>
                  </a:lnTo>
                  <a:lnTo>
                    <a:pt x="1405" y="413"/>
                  </a:lnTo>
                  <a:lnTo>
                    <a:pt x="1401" y="414"/>
                  </a:lnTo>
                  <a:lnTo>
                    <a:pt x="1398" y="415"/>
                  </a:lnTo>
                  <a:lnTo>
                    <a:pt x="1395" y="415"/>
                  </a:lnTo>
                  <a:lnTo>
                    <a:pt x="1392" y="414"/>
                  </a:lnTo>
                  <a:lnTo>
                    <a:pt x="1389" y="413"/>
                  </a:lnTo>
                  <a:lnTo>
                    <a:pt x="1387" y="412"/>
                  </a:lnTo>
                  <a:lnTo>
                    <a:pt x="1385" y="409"/>
                  </a:lnTo>
                  <a:lnTo>
                    <a:pt x="1383" y="406"/>
                  </a:lnTo>
                  <a:lnTo>
                    <a:pt x="1367" y="406"/>
                  </a:lnTo>
                  <a:lnTo>
                    <a:pt x="1352" y="406"/>
                  </a:lnTo>
                  <a:lnTo>
                    <a:pt x="1338" y="405"/>
                  </a:lnTo>
                  <a:lnTo>
                    <a:pt x="1325" y="402"/>
                  </a:lnTo>
                  <a:lnTo>
                    <a:pt x="1318" y="401"/>
                  </a:lnTo>
                  <a:lnTo>
                    <a:pt x="1312" y="399"/>
                  </a:lnTo>
                  <a:lnTo>
                    <a:pt x="1308" y="396"/>
                  </a:lnTo>
                  <a:lnTo>
                    <a:pt x="1304" y="393"/>
                  </a:lnTo>
                  <a:lnTo>
                    <a:pt x="1300" y="390"/>
                  </a:lnTo>
                  <a:lnTo>
                    <a:pt x="1298" y="386"/>
                  </a:lnTo>
                  <a:lnTo>
                    <a:pt x="1297" y="381"/>
                  </a:lnTo>
                  <a:lnTo>
                    <a:pt x="1296" y="375"/>
                  </a:lnTo>
                  <a:lnTo>
                    <a:pt x="1270" y="375"/>
                  </a:lnTo>
                  <a:lnTo>
                    <a:pt x="1259" y="380"/>
                  </a:lnTo>
                  <a:lnTo>
                    <a:pt x="1247" y="384"/>
                  </a:lnTo>
                  <a:lnTo>
                    <a:pt x="1240" y="384"/>
                  </a:lnTo>
                  <a:lnTo>
                    <a:pt x="1235" y="384"/>
                  </a:lnTo>
                  <a:lnTo>
                    <a:pt x="1228" y="384"/>
                  </a:lnTo>
                  <a:lnTo>
                    <a:pt x="1224" y="382"/>
                  </a:lnTo>
                  <a:lnTo>
                    <a:pt x="1283" y="333"/>
                  </a:lnTo>
                  <a:lnTo>
                    <a:pt x="1286" y="321"/>
                  </a:lnTo>
                  <a:lnTo>
                    <a:pt x="1289" y="309"/>
                  </a:lnTo>
                  <a:lnTo>
                    <a:pt x="1294" y="299"/>
                  </a:lnTo>
                  <a:lnTo>
                    <a:pt x="1299" y="290"/>
                  </a:lnTo>
                  <a:lnTo>
                    <a:pt x="1305" y="282"/>
                  </a:lnTo>
                  <a:lnTo>
                    <a:pt x="1310" y="274"/>
                  </a:lnTo>
                  <a:lnTo>
                    <a:pt x="1317" y="268"/>
                  </a:lnTo>
                  <a:lnTo>
                    <a:pt x="1323" y="260"/>
                  </a:lnTo>
                  <a:lnTo>
                    <a:pt x="1349" y="240"/>
                  </a:lnTo>
                  <a:lnTo>
                    <a:pt x="1370" y="222"/>
                  </a:lnTo>
                  <a:lnTo>
                    <a:pt x="1362" y="217"/>
                  </a:lnTo>
                  <a:lnTo>
                    <a:pt x="1356" y="213"/>
                  </a:lnTo>
                  <a:lnTo>
                    <a:pt x="1352" y="210"/>
                  </a:lnTo>
                  <a:lnTo>
                    <a:pt x="1349" y="205"/>
                  </a:lnTo>
                  <a:lnTo>
                    <a:pt x="1345" y="201"/>
                  </a:lnTo>
                  <a:lnTo>
                    <a:pt x="1344" y="196"/>
                  </a:lnTo>
                  <a:lnTo>
                    <a:pt x="1343" y="191"/>
                  </a:lnTo>
                  <a:lnTo>
                    <a:pt x="1343" y="184"/>
                  </a:lnTo>
                  <a:lnTo>
                    <a:pt x="1338" y="184"/>
                  </a:lnTo>
                  <a:lnTo>
                    <a:pt x="1333" y="183"/>
                  </a:lnTo>
                  <a:lnTo>
                    <a:pt x="1330" y="182"/>
                  </a:lnTo>
                  <a:lnTo>
                    <a:pt x="1326" y="179"/>
                  </a:lnTo>
                  <a:lnTo>
                    <a:pt x="1320" y="174"/>
                  </a:lnTo>
                  <a:lnTo>
                    <a:pt x="1315" y="166"/>
                  </a:lnTo>
                  <a:lnTo>
                    <a:pt x="1310" y="157"/>
                  </a:lnTo>
                  <a:lnTo>
                    <a:pt x="1307" y="146"/>
                  </a:lnTo>
                  <a:lnTo>
                    <a:pt x="1305" y="135"/>
                  </a:lnTo>
                  <a:lnTo>
                    <a:pt x="1301" y="124"/>
                  </a:lnTo>
                  <a:lnTo>
                    <a:pt x="1298" y="100"/>
                  </a:lnTo>
                  <a:lnTo>
                    <a:pt x="1293" y="78"/>
                  </a:lnTo>
                  <a:lnTo>
                    <a:pt x="1291" y="68"/>
                  </a:lnTo>
                  <a:lnTo>
                    <a:pt x="1286" y="60"/>
                  </a:lnTo>
                  <a:lnTo>
                    <a:pt x="1282" y="54"/>
                  </a:lnTo>
                  <a:lnTo>
                    <a:pt x="1276" y="49"/>
                  </a:lnTo>
                  <a:lnTo>
                    <a:pt x="1264" y="71"/>
                  </a:lnTo>
                  <a:lnTo>
                    <a:pt x="1240" y="109"/>
                  </a:lnTo>
                  <a:lnTo>
                    <a:pt x="1227" y="128"/>
                  </a:lnTo>
                  <a:lnTo>
                    <a:pt x="1214" y="144"/>
                  </a:lnTo>
                  <a:lnTo>
                    <a:pt x="1207" y="150"/>
                  </a:lnTo>
                  <a:lnTo>
                    <a:pt x="1200" y="156"/>
                  </a:lnTo>
                  <a:lnTo>
                    <a:pt x="1195" y="159"/>
                  </a:lnTo>
                  <a:lnTo>
                    <a:pt x="1189" y="160"/>
                  </a:lnTo>
                  <a:lnTo>
                    <a:pt x="1124" y="135"/>
                  </a:lnTo>
                  <a:lnTo>
                    <a:pt x="1113" y="139"/>
                  </a:lnTo>
                  <a:lnTo>
                    <a:pt x="1102" y="142"/>
                  </a:lnTo>
                  <a:lnTo>
                    <a:pt x="1088" y="144"/>
                  </a:lnTo>
                  <a:lnTo>
                    <a:pt x="1075" y="146"/>
                  </a:lnTo>
                  <a:lnTo>
                    <a:pt x="1047" y="147"/>
                  </a:lnTo>
                  <a:lnTo>
                    <a:pt x="1017" y="147"/>
                  </a:lnTo>
                  <a:lnTo>
                    <a:pt x="1016" y="152"/>
                  </a:lnTo>
                  <a:lnTo>
                    <a:pt x="1015" y="157"/>
                  </a:lnTo>
                  <a:lnTo>
                    <a:pt x="1013" y="161"/>
                  </a:lnTo>
                  <a:lnTo>
                    <a:pt x="1009" y="165"/>
                  </a:lnTo>
                  <a:lnTo>
                    <a:pt x="1006" y="168"/>
                  </a:lnTo>
                  <a:lnTo>
                    <a:pt x="1003" y="170"/>
                  </a:lnTo>
                  <a:lnTo>
                    <a:pt x="1000" y="172"/>
                  </a:lnTo>
                  <a:lnTo>
                    <a:pt x="997" y="172"/>
                  </a:lnTo>
                  <a:lnTo>
                    <a:pt x="992" y="173"/>
                  </a:lnTo>
                  <a:lnTo>
                    <a:pt x="987" y="175"/>
                  </a:lnTo>
                  <a:lnTo>
                    <a:pt x="985" y="175"/>
                  </a:lnTo>
                  <a:lnTo>
                    <a:pt x="982" y="175"/>
                  </a:lnTo>
                  <a:lnTo>
                    <a:pt x="980" y="174"/>
                  </a:lnTo>
                  <a:lnTo>
                    <a:pt x="978" y="172"/>
                  </a:lnTo>
                  <a:lnTo>
                    <a:pt x="976" y="176"/>
                  </a:lnTo>
                  <a:lnTo>
                    <a:pt x="972" y="179"/>
                  </a:lnTo>
                  <a:lnTo>
                    <a:pt x="967" y="183"/>
                  </a:lnTo>
                  <a:lnTo>
                    <a:pt x="960" y="187"/>
                  </a:lnTo>
                  <a:lnTo>
                    <a:pt x="941" y="194"/>
                  </a:lnTo>
                  <a:lnTo>
                    <a:pt x="920" y="200"/>
                  </a:lnTo>
                  <a:lnTo>
                    <a:pt x="879" y="212"/>
                  </a:lnTo>
                  <a:lnTo>
                    <a:pt x="858" y="216"/>
                  </a:lnTo>
                  <a:lnTo>
                    <a:pt x="851" y="215"/>
                  </a:lnTo>
                  <a:lnTo>
                    <a:pt x="846" y="213"/>
                  </a:lnTo>
                  <a:lnTo>
                    <a:pt x="839" y="208"/>
                  </a:lnTo>
                  <a:lnTo>
                    <a:pt x="834" y="203"/>
                  </a:lnTo>
                  <a:lnTo>
                    <a:pt x="827" y="197"/>
                  </a:lnTo>
                  <a:lnTo>
                    <a:pt x="822" y="191"/>
                  </a:lnTo>
                  <a:lnTo>
                    <a:pt x="817" y="184"/>
                  </a:lnTo>
                  <a:lnTo>
                    <a:pt x="812" y="176"/>
                  </a:lnTo>
                  <a:lnTo>
                    <a:pt x="803" y="161"/>
                  </a:lnTo>
                  <a:lnTo>
                    <a:pt x="796" y="145"/>
                  </a:lnTo>
                  <a:lnTo>
                    <a:pt x="793" y="132"/>
                  </a:lnTo>
                  <a:lnTo>
                    <a:pt x="791" y="123"/>
                  </a:lnTo>
                  <a:lnTo>
                    <a:pt x="792" y="116"/>
                  </a:lnTo>
                  <a:lnTo>
                    <a:pt x="794" y="109"/>
                  </a:lnTo>
                  <a:lnTo>
                    <a:pt x="798" y="103"/>
                  </a:lnTo>
                  <a:lnTo>
                    <a:pt x="801" y="95"/>
                  </a:lnTo>
                  <a:lnTo>
                    <a:pt x="805" y="88"/>
                  </a:lnTo>
                  <a:lnTo>
                    <a:pt x="808" y="81"/>
                  </a:lnTo>
                  <a:lnTo>
                    <a:pt x="811" y="74"/>
                  </a:lnTo>
                  <a:lnTo>
                    <a:pt x="811" y="67"/>
                  </a:lnTo>
                  <a:lnTo>
                    <a:pt x="811" y="53"/>
                  </a:lnTo>
                  <a:lnTo>
                    <a:pt x="808" y="39"/>
                  </a:lnTo>
                  <a:lnTo>
                    <a:pt x="806" y="33"/>
                  </a:lnTo>
                  <a:lnTo>
                    <a:pt x="804" y="28"/>
                  </a:lnTo>
                  <a:lnTo>
                    <a:pt x="801" y="24"/>
                  </a:lnTo>
                  <a:lnTo>
                    <a:pt x="798" y="20"/>
                  </a:lnTo>
                  <a:lnTo>
                    <a:pt x="794" y="16"/>
                  </a:lnTo>
                  <a:lnTo>
                    <a:pt x="789" y="12"/>
                  </a:lnTo>
                  <a:lnTo>
                    <a:pt x="783" y="9"/>
                  </a:lnTo>
                  <a:lnTo>
                    <a:pt x="778" y="7"/>
                  </a:lnTo>
                  <a:lnTo>
                    <a:pt x="762" y="3"/>
                  </a:lnTo>
                  <a:lnTo>
                    <a:pt x="745" y="0"/>
                  </a:lnTo>
                  <a:lnTo>
                    <a:pt x="739" y="10"/>
                  </a:lnTo>
                  <a:lnTo>
                    <a:pt x="733" y="21"/>
                  </a:lnTo>
                  <a:lnTo>
                    <a:pt x="729" y="23"/>
                  </a:lnTo>
                  <a:lnTo>
                    <a:pt x="727" y="25"/>
                  </a:lnTo>
                  <a:lnTo>
                    <a:pt x="725" y="26"/>
                  </a:lnTo>
                  <a:lnTo>
                    <a:pt x="722" y="27"/>
                  </a:lnTo>
                  <a:lnTo>
                    <a:pt x="717" y="27"/>
                  </a:lnTo>
                  <a:lnTo>
                    <a:pt x="714" y="27"/>
                  </a:lnTo>
                  <a:lnTo>
                    <a:pt x="710" y="26"/>
                  </a:lnTo>
                  <a:lnTo>
                    <a:pt x="705" y="24"/>
                  </a:lnTo>
                  <a:lnTo>
                    <a:pt x="703" y="28"/>
                  </a:lnTo>
                  <a:lnTo>
                    <a:pt x="700" y="31"/>
                  </a:lnTo>
                  <a:lnTo>
                    <a:pt x="695" y="35"/>
                  </a:lnTo>
                  <a:lnTo>
                    <a:pt x="690" y="39"/>
                  </a:lnTo>
                  <a:lnTo>
                    <a:pt x="677" y="47"/>
                  </a:lnTo>
                  <a:lnTo>
                    <a:pt x="662" y="55"/>
                  </a:lnTo>
                  <a:lnTo>
                    <a:pt x="648" y="63"/>
                  </a:lnTo>
                  <a:lnTo>
                    <a:pt x="637" y="71"/>
                  </a:lnTo>
                  <a:lnTo>
                    <a:pt x="632" y="75"/>
                  </a:lnTo>
                  <a:lnTo>
                    <a:pt x="628" y="79"/>
                  </a:lnTo>
                  <a:lnTo>
                    <a:pt x="626" y="82"/>
                  </a:lnTo>
                  <a:lnTo>
                    <a:pt x="625" y="86"/>
                  </a:lnTo>
                  <a:lnTo>
                    <a:pt x="612" y="79"/>
                  </a:lnTo>
                  <a:lnTo>
                    <a:pt x="589" y="70"/>
                  </a:lnTo>
                  <a:lnTo>
                    <a:pt x="566" y="62"/>
                  </a:lnTo>
                  <a:lnTo>
                    <a:pt x="552" y="55"/>
                  </a:lnTo>
                  <a:lnTo>
                    <a:pt x="525" y="55"/>
                  </a:lnTo>
                  <a:lnTo>
                    <a:pt x="525" y="99"/>
                  </a:lnTo>
                  <a:lnTo>
                    <a:pt x="535" y="114"/>
                  </a:lnTo>
                  <a:lnTo>
                    <a:pt x="552" y="137"/>
                  </a:lnTo>
                  <a:lnTo>
                    <a:pt x="566" y="160"/>
                  </a:lnTo>
                  <a:lnTo>
                    <a:pt x="572" y="172"/>
                  </a:lnTo>
                  <a:lnTo>
                    <a:pt x="571" y="178"/>
                  </a:lnTo>
                  <a:lnTo>
                    <a:pt x="569" y="185"/>
                  </a:lnTo>
                  <a:lnTo>
                    <a:pt x="566" y="191"/>
                  </a:lnTo>
                  <a:lnTo>
                    <a:pt x="560" y="198"/>
                  </a:lnTo>
                  <a:lnTo>
                    <a:pt x="555" y="205"/>
                  </a:lnTo>
                  <a:lnTo>
                    <a:pt x="548" y="213"/>
                  </a:lnTo>
                  <a:lnTo>
                    <a:pt x="541" y="220"/>
                  </a:lnTo>
                  <a:lnTo>
                    <a:pt x="532" y="227"/>
                  </a:lnTo>
                  <a:lnTo>
                    <a:pt x="523" y="233"/>
                  </a:lnTo>
                  <a:lnTo>
                    <a:pt x="513" y="239"/>
                  </a:lnTo>
                  <a:lnTo>
                    <a:pt x="503" y="244"/>
                  </a:lnTo>
                  <a:lnTo>
                    <a:pt x="493" y="249"/>
                  </a:lnTo>
                  <a:lnTo>
                    <a:pt x="483" y="253"/>
                  </a:lnTo>
                  <a:lnTo>
                    <a:pt x="472" y="256"/>
                  </a:lnTo>
                  <a:lnTo>
                    <a:pt x="463" y="257"/>
                  </a:lnTo>
                  <a:lnTo>
                    <a:pt x="453" y="258"/>
                  </a:lnTo>
                  <a:lnTo>
                    <a:pt x="446" y="258"/>
                  </a:lnTo>
                  <a:lnTo>
                    <a:pt x="440" y="256"/>
                  </a:lnTo>
                  <a:lnTo>
                    <a:pt x="433" y="254"/>
                  </a:lnTo>
                  <a:lnTo>
                    <a:pt x="426" y="252"/>
                  </a:lnTo>
                  <a:lnTo>
                    <a:pt x="413" y="245"/>
                  </a:lnTo>
                  <a:lnTo>
                    <a:pt x="401" y="235"/>
                  </a:lnTo>
                  <a:lnTo>
                    <a:pt x="389" y="224"/>
                  </a:lnTo>
                  <a:lnTo>
                    <a:pt x="378" y="212"/>
                  </a:lnTo>
                  <a:lnTo>
                    <a:pt x="368" y="198"/>
                  </a:lnTo>
                  <a:lnTo>
                    <a:pt x="359" y="184"/>
                  </a:lnTo>
                  <a:lnTo>
                    <a:pt x="330" y="190"/>
                  </a:lnTo>
                  <a:lnTo>
                    <a:pt x="286" y="197"/>
                  </a:lnTo>
                  <a:lnTo>
                    <a:pt x="263" y="201"/>
                  </a:lnTo>
                  <a:lnTo>
                    <a:pt x="244" y="206"/>
                  </a:lnTo>
                  <a:lnTo>
                    <a:pt x="238" y="208"/>
                  </a:lnTo>
                  <a:lnTo>
                    <a:pt x="231" y="211"/>
                  </a:lnTo>
                  <a:lnTo>
                    <a:pt x="228" y="213"/>
                  </a:lnTo>
                  <a:lnTo>
                    <a:pt x="227" y="216"/>
                  </a:lnTo>
                  <a:lnTo>
                    <a:pt x="227" y="220"/>
                  </a:lnTo>
                  <a:lnTo>
                    <a:pt x="229" y="224"/>
                  </a:lnTo>
                  <a:lnTo>
                    <a:pt x="231" y="227"/>
                  </a:lnTo>
                  <a:lnTo>
                    <a:pt x="235" y="230"/>
                  </a:lnTo>
                  <a:lnTo>
                    <a:pt x="243" y="235"/>
                  </a:lnTo>
                  <a:lnTo>
                    <a:pt x="253" y="240"/>
                  </a:lnTo>
                  <a:lnTo>
                    <a:pt x="253" y="258"/>
                  </a:lnTo>
                  <a:lnTo>
                    <a:pt x="241" y="262"/>
                  </a:lnTo>
                  <a:lnTo>
                    <a:pt x="221" y="268"/>
                  </a:lnTo>
                  <a:lnTo>
                    <a:pt x="210" y="272"/>
                  </a:lnTo>
                  <a:lnTo>
                    <a:pt x="201" y="278"/>
                  </a:lnTo>
                  <a:lnTo>
                    <a:pt x="198" y="281"/>
                  </a:lnTo>
                  <a:lnTo>
                    <a:pt x="196" y="285"/>
                  </a:lnTo>
                  <a:lnTo>
                    <a:pt x="194" y="290"/>
                  </a:lnTo>
                  <a:lnTo>
                    <a:pt x="194" y="295"/>
                  </a:lnTo>
                  <a:lnTo>
                    <a:pt x="194" y="302"/>
                  </a:lnTo>
                  <a:lnTo>
                    <a:pt x="196" y="307"/>
                  </a:lnTo>
                  <a:lnTo>
                    <a:pt x="198" y="311"/>
                  </a:lnTo>
                  <a:lnTo>
                    <a:pt x="201" y="314"/>
                  </a:lnTo>
                  <a:lnTo>
                    <a:pt x="210" y="321"/>
                  </a:lnTo>
                  <a:lnTo>
                    <a:pt x="220" y="327"/>
                  </a:lnTo>
                  <a:lnTo>
                    <a:pt x="224" y="330"/>
                  </a:lnTo>
                  <a:lnTo>
                    <a:pt x="230" y="333"/>
                  </a:lnTo>
                  <a:lnTo>
                    <a:pt x="234" y="337"/>
                  </a:lnTo>
                  <a:lnTo>
                    <a:pt x="239" y="342"/>
                  </a:lnTo>
                  <a:lnTo>
                    <a:pt x="242" y="348"/>
                  </a:lnTo>
                  <a:lnTo>
                    <a:pt x="244" y="356"/>
                  </a:lnTo>
                  <a:lnTo>
                    <a:pt x="246" y="365"/>
                  </a:lnTo>
                  <a:lnTo>
                    <a:pt x="246" y="375"/>
                  </a:lnTo>
                  <a:lnTo>
                    <a:pt x="246" y="388"/>
                  </a:lnTo>
                  <a:lnTo>
                    <a:pt x="245" y="400"/>
                  </a:lnTo>
                  <a:lnTo>
                    <a:pt x="243" y="412"/>
                  </a:lnTo>
                  <a:lnTo>
                    <a:pt x="241" y="423"/>
                  </a:lnTo>
                  <a:lnTo>
                    <a:pt x="236" y="446"/>
                  </a:lnTo>
                  <a:lnTo>
                    <a:pt x="230" y="468"/>
                  </a:lnTo>
                  <a:lnTo>
                    <a:pt x="223" y="490"/>
                  </a:lnTo>
                  <a:lnTo>
                    <a:pt x="219" y="512"/>
                  </a:lnTo>
                  <a:lnTo>
                    <a:pt x="217" y="524"/>
                  </a:lnTo>
                  <a:lnTo>
                    <a:pt x="214" y="535"/>
                  </a:lnTo>
                  <a:lnTo>
                    <a:pt x="213" y="548"/>
                  </a:lnTo>
                  <a:lnTo>
                    <a:pt x="213" y="560"/>
                  </a:lnTo>
                  <a:lnTo>
                    <a:pt x="194" y="560"/>
                  </a:lnTo>
                  <a:lnTo>
                    <a:pt x="188" y="557"/>
                  </a:lnTo>
                  <a:lnTo>
                    <a:pt x="184" y="554"/>
                  </a:lnTo>
                  <a:lnTo>
                    <a:pt x="183" y="553"/>
                  </a:lnTo>
                  <a:lnTo>
                    <a:pt x="182" y="552"/>
                  </a:lnTo>
                  <a:lnTo>
                    <a:pt x="180" y="550"/>
                  </a:lnTo>
                  <a:lnTo>
                    <a:pt x="180" y="548"/>
                  </a:lnTo>
                  <a:lnTo>
                    <a:pt x="168" y="554"/>
                  </a:lnTo>
                  <a:lnTo>
                    <a:pt x="157" y="559"/>
                  </a:lnTo>
                  <a:lnTo>
                    <a:pt x="147" y="562"/>
                  </a:lnTo>
                  <a:lnTo>
                    <a:pt x="138" y="564"/>
                  </a:lnTo>
                  <a:lnTo>
                    <a:pt x="119" y="566"/>
                  </a:lnTo>
                  <a:lnTo>
                    <a:pt x="100" y="567"/>
                  </a:lnTo>
                  <a:lnTo>
                    <a:pt x="96" y="567"/>
                  </a:lnTo>
                  <a:lnTo>
                    <a:pt x="93" y="569"/>
                  </a:lnTo>
                  <a:lnTo>
                    <a:pt x="90" y="573"/>
                  </a:lnTo>
                  <a:lnTo>
                    <a:pt x="88" y="576"/>
                  </a:lnTo>
                  <a:lnTo>
                    <a:pt x="85" y="584"/>
                  </a:lnTo>
                  <a:lnTo>
                    <a:pt x="81" y="591"/>
                  </a:lnTo>
                  <a:lnTo>
                    <a:pt x="65" y="607"/>
                  </a:lnTo>
                  <a:lnTo>
                    <a:pt x="51" y="624"/>
                  </a:lnTo>
                  <a:lnTo>
                    <a:pt x="38" y="643"/>
                  </a:lnTo>
                  <a:lnTo>
                    <a:pt x="26" y="665"/>
                  </a:lnTo>
                  <a:lnTo>
                    <a:pt x="20" y="676"/>
                  </a:lnTo>
                  <a:lnTo>
                    <a:pt x="16" y="687"/>
                  </a:lnTo>
                  <a:lnTo>
                    <a:pt x="11" y="699"/>
                  </a:lnTo>
                  <a:lnTo>
                    <a:pt x="7" y="711"/>
                  </a:lnTo>
                  <a:lnTo>
                    <a:pt x="5" y="723"/>
                  </a:lnTo>
                  <a:lnTo>
                    <a:pt x="3" y="734"/>
                  </a:lnTo>
                  <a:lnTo>
                    <a:pt x="1" y="746"/>
                  </a:lnTo>
                  <a:lnTo>
                    <a:pt x="0" y="757"/>
                  </a:lnTo>
                  <a:lnTo>
                    <a:pt x="1" y="767"/>
                  </a:lnTo>
                  <a:lnTo>
                    <a:pt x="4" y="777"/>
                  </a:lnTo>
                  <a:lnTo>
                    <a:pt x="7" y="787"/>
                  </a:lnTo>
                  <a:lnTo>
                    <a:pt x="11" y="799"/>
                  </a:lnTo>
                  <a:lnTo>
                    <a:pt x="17" y="811"/>
                  </a:lnTo>
                  <a:lnTo>
                    <a:pt x="22" y="824"/>
                  </a:lnTo>
                  <a:lnTo>
                    <a:pt x="30" y="836"/>
                  </a:lnTo>
                  <a:lnTo>
                    <a:pt x="38" y="848"/>
                  </a:lnTo>
                  <a:lnTo>
                    <a:pt x="46" y="859"/>
                  </a:lnTo>
                  <a:lnTo>
                    <a:pt x="56" y="870"/>
                  </a:lnTo>
                  <a:lnTo>
                    <a:pt x="66" y="880"/>
                  </a:lnTo>
                  <a:lnTo>
                    <a:pt x="76" y="889"/>
                  </a:lnTo>
                  <a:lnTo>
                    <a:pt x="87" y="896"/>
                  </a:lnTo>
                  <a:lnTo>
                    <a:pt x="98" y="901"/>
                  </a:lnTo>
                  <a:lnTo>
                    <a:pt x="104" y="903"/>
                  </a:lnTo>
                  <a:lnTo>
                    <a:pt x="109" y="904"/>
                  </a:lnTo>
                  <a:lnTo>
                    <a:pt x="115" y="905"/>
                  </a:lnTo>
                  <a:lnTo>
                    <a:pt x="120" y="905"/>
                  </a:lnTo>
                  <a:lnTo>
                    <a:pt x="130" y="904"/>
                  </a:lnTo>
                  <a:lnTo>
                    <a:pt x="138" y="902"/>
                  </a:lnTo>
                  <a:lnTo>
                    <a:pt x="146" y="898"/>
                  </a:lnTo>
                  <a:lnTo>
                    <a:pt x="153" y="893"/>
                  </a:lnTo>
                  <a:lnTo>
                    <a:pt x="161" y="889"/>
                  </a:lnTo>
                  <a:lnTo>
                    <a:pt x="168" y="885"/>
                  </a:lnTo>
                  <a:lnTo>
                    <a:pt x="177" y="882"/>
                  </a:lnTo>
                  <a:lnTo>
                    <a:pt x="187" y="881"/>
                  </a:lnTo>
                  <a:lnTo>
                    <a:pt x="189" y="903"/>
                  </a:lnTo>
                  <a:lnTo>
                    <a:pt x="190" y="934"/>
                  </a:lnTo>
                  <a:lnTo>
                    <a:pt x="190" y="942"/>
                  </a:lnTo>
                  <a:lnTo>
                    <a:pt x="191" y="949"/>
                  </a:lnTo>
                  <a:lnTo>
                    <a:pt x="194" y="956"/>
                  </a:lnTo>
                  <a:lnTo>
                    <a:pt x="196" y="961"/>
                  </a:lnTo>
                  <a:lnTo>
                    <a:pt x="199" y="966"/>
                  </a:lnTo>
                  <a:lnTo>
                    <a:pt x="202" y="970"/>
                  </a:lnTo>
                  <a:lnTo>
                    <a:pt x="208" y="972"/>
                  </a:lnTo>
                  <a:lnTo>
                    <a:pt x="213" y="973"/>
                  </a:lnTo>
                  <a:lnTo>
                    <a:pt x="233" y="973"/>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 name="Freeform 10">
              <a:extLst>
                <a:ext uri="{FF2B5EF4-FFF2-40B4-BE49-F238E27FC236}">
                  <a16:creationId xmlns:a16="http://schemas.microsoft.com/office/drawing/2014/main" id="{A0FA01E4-9301-4227-B0CE-3E56DB798078}"/>
                </a:ext>
              </a:extLst>
            </p:cNvPr>
            <p:cNvSpPr>
              <a:spLocks/>
            </p:cNvSpPr>
            <p:nvPr>
              <p:custDataLst>
                <p:tags r:id="rId7"/>
              </p:custDataLst>
            </p:nvPr>
          </p:nvSpPr>
          <p:spPr bwMode="auto">
            <a:xfrm>
              <a:off x="4289420" y="2454256"/>
              <a:ext cx="69850" cy="49212"/>
            </a:xfrm>
            <a:custGeom>
              <a:avLst/>
              <a:gdLst>
                <a:gd name="T0" fmla="*/ 40782 w 161"/>
                <a:gd name="T1" fmla="*/ 0 h 93"/>
                <a:gd name="T2" fmla="*/ 46422 w 161"/>
                <a:gd name="T3" fmla="*/ 9525 h 93"/>
                <a:gd name="T4" fmla="*/ 48591 w 161"/>
                <a:gd name="T5" fmla="*/ 6350 h 93"/>
                <a:gd name="T6" fmla="*/ 50761 w 161"/>
                <a:gd name="T7" fmla="*/ 4233 h 93"/>
                <a:gd name="T8" fmla="*/ 52930 w 161"/>
                <a:gd name="T9" fmla="*/ 2646 h 93"/>
                <a:gd name="T10" fmla="*/ 55099 w 161"/>
                <a:gd name="T11" fmla="*/ 1588 h 93"/>
                <a:gd name="T12" fmla="*/ 59438 w 161"/>
                <a:gd name="T13" fmla="*/ 529 h 93"/>
                <a:gd name="T14" fmla="*/ 64210 w 161"/>
                <a:gd name="T15" fmla="*/ 0 h 93"/>
                <a:gd name="T16" fmla="*/ 65511 w 161"/>
                <a:gd name="T17" fmla="*/ 0 h 93"/>
                <a:gd name="T18" fmla="*/ 69850 w 161"/>
                <a:gd name="T19" fmla="*/ 0 h 93"/>
                <a:gd name="T20" fmla="*/ 69850 w 161"/>
                <a:gd name="T21" fmla="*/ 48684 h 93"/>
                <a:gd name="T22" fmla="*/ 67247 w 161"/>
                <a:gd name="T23" fmla="*/ 49213 h 93"/>
                <a:gd name="T24" fmla="*/ 65078 w 161"/>
                <a:gd name="T25" fmla="*/ 49213 h 93"/>
                <a:gd name="T26" fmla="*/ 62908 w 161"/>
                <a:gd name="T27" fmla="*/ 48684 h 93"/>
                <a:gd name="T28" fmla="*/ 60739 w 161"/>
                <a:gd name="T29" fmla="*/ 48155 h 93"/>
                <a:gd name="T30" fmla="*/ 55967 w 161"/>
                <a:gd name="T31" fmla="*/ 46567 h 93"/>
                <a:gd name="T32" fmla="*/ 52062 w 161"/>
                <a:gd name="T33" fmla="*/ 43392 h 93"/>
                <a:gd name="T34" fmla="*/ 48157 w 161"/>
                <a:gd name="T35" fmla="*/ 39688 h 93"/>
                <a:gd name="T36" fmla="*/ 45120 w 161"/>
                <a:gd name="T37" fmla="*/ 35455 h 93"/>
                <a:gd name="T38" fmla="*/ 42084 w 161"/>
                <a:gd name="T39" fmla="*/ 31221 h 93"/>
                <a:gd name="T40" fmla="*/ 40782 w 161"/>
                <a:gd name="T41" fmla="*/ 25929 h 93"/>
                <a:gd name="T42" fmla="*/ 39914 w 161"/>
                <a:gd name="T43" fmla="*/ 26459 h 93"/>
                <a:gd name="T44" fmla="*/ 38613 w 161"/>
                <a:gd name="T45" fmla="*/ 26988 h 93"/>
                <a:gd name="T46" fmla="*/ 37311 w 161"/>
                <a:gd name="T47" fmla="*/ 26988 h 93"/>
                <a:gd name="T48" fmla="*/ 36443 w 161"/>
                <a:gd name="T49" fmla="*/ 26988 h 93"/>
                <a:gd name="T50" fmla="*/ 33840 w 161"/>
                <a:gd name="T51" fmla="*/ 26459 h 93"/>
                <a:gd name="T52" fmla="*/ 32105 w 161"/>
                <a:gd name="T53" fmla="*/ 25929 h 93"/>
                <a:gd name="T54" fmla="*/ 28200 w 161"/>
                <a:gd name="T55" fmla="*/ 25400 h 93"/>
                <a:gd name="T56" fmla="*/ 23862 w 161"/>
                <a:gd name="T57" fmla="*/ 23813 h 93"/>
                <a:gd name="T58" fmla="*/ 19089 w 161"/>
                <a:gd name="T59" fmla="*/ 21167 h 93"/>
                <a:gd name="T60" fmla="*/ 13883 w 161"/>
                <a:gd name="T61" fmla="*/ 17992 h 93"/>
                <a:gd name="T62" fmla="*/ 9111 w 161"/>
                <a:gd name="T63" fmla="*/ 13758 h 93"/>
                <a:gd name="T64" fmla="*/ 5206 w 161"/>
                <a:gd name="T65" fmla="*/ 9525 h 93"/>
                <a:gd name="T66" fmla="*/ 3471 w 161"/>
                <a:gd name="T67" fmla="*/ 7408 h 93"/>
                <a:gd name="T68" fmla="*/ 2169 w 161"/>
                <a:gd name="T69" fmla="*/ 4763 h 93"/>
                <a:gd name="T70" fmla="*/ 1302 w 161"/>
                <a:gd name="T71" fmla="*/ 2646 h 93"/>
                <a:gd name="T72" fmla="*/ 0 w 161"/>
                <a:gd name="T73" fmla="*/ 0 h 93"/>
                <a:gd name="T74" fmla="*/ 40782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 name="Freeform 11">
              <a:extLst>
                <a:ext uri="{FF2B5EF4-FFF2-40B4-BE49-F238E27FC236}">
                  <a16:creationId xmlns:a16="http://schemas.microsoft.com/office/drawing/2014/main" id="{A11B2ED9-B76F-45EE-82E5-DC857191ADE3}"/>
                </a:ext>
              </a:extLst>
            </p:cNvPr>
            <p:cNvSpPr>
              <a:spLocks/>
            </p:cNvSpPr>
            <p:nvPr>
              <p:custDataLst>
                <p:tags r:id="rId8"/>
              </p:custDataLst>
            </p:nvPr>
          </p:nvSpPr>
          <p:spPr bwMode="auto">
            <a:xfrm>
              <a:off x="3787770" y="2328845"/>
              <a:ext cx="82550" cy="160335"/>
            </a:xfrm>
            <a:custGeom>
              <a:avLst/>
              <a:gdLst>
                <a:gd name="T0" fmla="*/ 16338 w 192"/>
                <a:gd name="T1" fmla="*/ 1567 h 307"/>
                <a:gd name="T2" fmla="*/ 15908 w 192"/>
                <a:gd name="T3" fmla="*/ 0 h 307"/>
                <a:gd name="T4" fmla="*/ 24507 w 192"/>
                <a:gd name="T5" fmla="*/ 1567 h 307"/>
                <a:gd name="T6" fmla="*/ 47294 w 192"/>
                <a:gd name="T7" fmla="*/ 7312 h 307"/>
                <a:gd name="T8" fmla="*/ 66642 w 192"/>
                <a:gd name="T9" fmla="*/ 13057 h 307"/>
                <a:gd name="T10" fmla="*/ 77821 w 192"/>
                <a:gd name="T11" fmla="*/ 14624 h 307"/>
                <a:gd name="T12" fmla="*/ 82550 w 192"/>
                <a:gd name="T13" fmla="*/ 18279 h 307"/>
                <a:gd name="T14" fmla="*/ 80830 w 192"/>
                <a:gd name="T15" fmla="*/ 24547 h 307"/>
                <a:gd name="T16" fmla="*/ 75241 w 192"/>
                <a:gd name="T17" fmla="*/ 42826 h 307"/>
                <a:gd name="T18" fmla="*/ 67932 w 192"/>
                <a:gd name="T19" fmla="*/ 66328 h 307"/>
                <a:gd name="T20" fmla="*/ 63202 w 192"/>
                <a:gd name="T21" fmla="*/ 86175 h 307"/>
                <a:gd name="T22" fmla="*/ 62772 w 192"/>
                <a:gd name="T23" fmla="*/ 108110 h 307"/>
                <a:gd name="T24" fmla="*/ 61913 w 192"/>
                <a:gd name="T25" fmla="*/ 130045 h 307"/>
                <a:gd name="T26" fmla="*/ 57613 w 192"/>
                <a:gd name="T27" fmla="*/ 144669 h 307"/>
                <a:gd name="T28" fmla="*/ 45574 w 192"/>
                <a:gd name="T29" fmla="*/ 154592 h 307"/>
                <a:gd name="T30" fmla="*/ 35686 w 192"/>
                <a:gd name="T31" fmla="*/ 158248 h 307"/>
                <a:gd name="T32" fmla="*/ 30956 w 192"/>
                <a:gd name="T33" fmla="*/ 160337 h 307"/>
                <a:gd name="T34" fmla="*/ 22357 w 192"/>
                <a:gd name="T35" fmla="*/ 159292 h 307"/>
                <a:gd name="T36" fmla="*/ 13758 w 192"/>
                <a:gd name="T37" fmla="*/ 151981 h 307"/>
                <a:gd name="T38" fmla="*/ 12898 w 192"/>
                <a:gd name="T39" fmla="*/ 144669 h 307"/>
                <a:gd name="T40" fmla="*/ 9459 w 192"/>
                <a:gd name="T41" fmla="*/ 134223 h 307"/>
                <a:gd name="T42" fmla="*/ 4299 w 192"/>
                <a:gd name="T43" fmla="*/ 120644 h 307"/>
                <a:gd name="T44" fmla="*/ 860 w 192"/>
                <a:gd name="T45" fmla="*/ 110199 h 307"/>
                <a:gd name="T46" fmla="*/ 0 w 192"/>
                <a:gd name="T47" fmla="*/ 102887 h 307"/>
                <a:gd name="T48" fmla="*/ 0 w 192"/>
                <a:gd name="T49" fmla="*/ 94009 h 307"/>
                <a:gd name="T50" fmla="*/ 860 w 192"/>
                <a:gd name="T51" fmla="*/ 86175 h 307"/>
                <a:gd name="T52" fmla="*/ 4729 w 192"/>
                <a:gd name="T53" fmla="*/ 75729 h 307"/>
                <a:gd name="T54" fmla="*/ 14188 w 192"/>
                <a:gd name="T55" fmla="*/ 56927 h 307"/>
                <a:gd name="T56" fmla="*/ 20638 w 192"/>
                <a:gd name="T57" fmla="*/ 42304 h 307"/>
                <a:gd name="T58" fmla="*/ 22357 w 192"/>
                <a:gd name="T59" fmla="*/ 32381 h 307"/>
                <a:gd name="T60" fmla="*/ 22787 w 192"/>
                <a:gd name="T61" fmla="*/ 21413 h 307"/>
                <a:gd name="T62" fmla="*/ 23647 w 192"/>
                <a:gd name="T63" fmla="*/ 15668 h 307"/>
                <a:gd name="T64" fmla="*/ 24507 w 192"/>
                <a:gd name="T65" fmla="*/ 13579 h 307"/>
                <a:gd name="T66" fmla="*/ 25797 w 192"/>
                <a:gd name="T67" fmla="*/ 11490 h 307"/>
                <a:gd name="T68" fmla="*/ 18918 w 192"/>
                <a:gd name="T69" fmla="*/ 3656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 name="Freeform 12">
              <a:extLst>
                <a:ext uri="{FF2B5EF4-FFF2-40B4-BE49-F238E27FC236}">
                  <a16:creationId xmlns:a16="http://schemas.microsoft.com/office/drawing/2014/main" id="{BB6D738F-7465-4A66-ADEC-7515734F7E90}"/>
                </a:ext>
              </a:extLst>
            </p:cNvPr>
            <p:cNvSpPr>
              <a:spLocks/>
            </p:cNvSpPr>
            <p:nvPr>
              <p:custDataLst>
                <p:tags r:id="rId9"/>
              </p:custDataLst>
            </p:nvPr>
          </p:nvSpPr>
          <p:spPr bwMode="auto">
            <a:xfrm>
              <a:off x="3868734" y="1814499"/>
              <a:ext cx="171450" cy="269873"/>
            </a:xfrm>
            <a:custGeom>
              <a:avLst/>
              <a:gdLst>
                <a:gd name="T0" fmla="*/ 11200 w 398"/>
                <a:gd name="T1" fmla="*/ 1042 h 518"/>
                <a:gd name="T2" fmla="*/ 40924 w 398"/>
                <a:gd name="T3" fmla="*/ 6773 h 518"/>
                <a:gd name="T4" fmla="*/ 49970 w 398"/>
                <a:gd name="T5" fmla="*/ 11983 h 518"/>
                <a:gd name="T6" fmla="*/ 34462 w 398"/>
                <a:gd name="T7" fmla="*/ 24487 h 518"/>
                <a:gd name="T8" fmla="*/ 27570 w 398"/>
                <a:gd name="T9" fmla="*/ 32302 h 518"/>
                <a:gd name="T10" fmla="*/ 33170 w 398"/>
                <a:gd name="T11" fmla="*/ 35949 h 518"/>
                <a:gd name="T12" fmla="*/ 71940 w 398"/>
                <a:gd name="T13" fmla="*/ 41159 h 518"/>
                <a:gd name="T14" fmla="*/ 90464 w 398"/>
                <a:gd name="T15" fmla="*/ 56788 h 518"/>
                <a:gd name="T16" fmla="*/ 66340 w 398"/>
                <a:gd name="T17" fmla="*/ 66166 h 518"/>
                <a:gd name="T18" fmla="*/ 63324 w 398"/>
                <a:gd name="T19" fmla="*/ 71897 h 518"/>
                <a:gd name="T20" fmla="*/ 82279 w 398"/>
                <a:gd name="T21" fmla="*/ 74502 h 518"/>
                <a:gd name="T22" fmla="*/ 90894 w 398"/>
                <a:gd name="T23" fmla="*/ 81275 h 518"/>
                <a:gd name="T24" fmla="*/ 104679 w 398"/>
                <a:gd name="T25" fmla="*/ 99510 h 518"/>
                <a:gd name="T26" fmla="*/ 111141 w 398"/>
                <a:gd name="T27" fmla="*/ 110451 h 518"/>
                <a:gd name="T28" fmla="*/ 112003 w 398"/>
                <a:gd name="T29" fmla="*/ 123476 h 518"/>
                <a:gd name="T30" fmla="*/ 117172 w 398"/>
                <a:gd name="T31" fmla="*/ 132333 h 518"/>
                <a:gd name="T32" fmla="*/ 123203 w 398"/>
                <a:gd name="T33" fmla="*/ 145357 h 518"/>
                <a:gd name="T34" fmla="*/ 131818 w 398"/>
                <a:gd name="T35" fmla="*/ 154735 h 518"/>
                <a:gd name="T36" fmla="*/ 140865 w 398"/>
                <a:gd name="T37" fmla="*/ 166718 h 518"/>
                <a:gd name="T38" fmla="*/ 149049 w 398"/>
                <a:gd name="T39" fmla="*/ 175575 h 518"/>
                <a:gd name="T40" fmla="*/ 159388 w 398"/>
                <a:gd name="T41" fmla="*/ 177659 h 518"/>
                <a:gd name="T42" fmla="*/ 170588 w 398"/>
                <a:gd name="T43" fmla="*/ 190163 h 518"/>
                <a:gd name="T44" fmla="*/ 170158 w 398"/>
                <a:gd name="T45" fmla="*/ 205793 h 518"/>
                <a:gd name="T46" fmla="*/ 164558 w 398"/>
                <a:gd name="T47" fmla="*/ 210482 h 518"/>
                <a:gd name="T48" fmla="*/ 158096 w 398"/>
                <a:gd name="T49" fmla="*/ 216213 h 518"/>
                <a:gd name="T50" fmla="*/ 158527 w 398"/>
                <a:gd name="T51" fmla="*/ 221944 h 518"/>
                <a:gd name="T52" fmla="*/ 161973 w 398"/>
                <a:gd name="T53" fmla="*/ 230800 h 518"/>
                <a:gd name="T54" fmla="*/ 154650 w 398"/>
                <a:gd name="T55" fmla="*/ 241220 h 518"/>
                <a:gd name="T56" fmla="*/ 62894 w 398"/>
                <a:gd name="T57" fmla="*/ 260497 h 518"/>
                <a:gd name="T58" fmla="*/ 29293 w 398"/>
                <a:gd name="T59" fmla="*/ 264665 h 518"/>
                <a:gd name="T60" fmla="*/ 22831 w 398"/>
                <a:gd name="T61" fmla="*/ 269875 h 518"/>
                <a:gd name="T62" fmla="*/ 24985 w 398"/>
                <a:gd name="T63" fmla="*/ 256850 h 518"/>
                <a:gd name="T64" fmla="*/ 30585 w 398"/>
                <a:gd name="T65" fmla="*/ 247993 h 518"/>
                <a:gd name="T66" fmla="*/ 49109 w 398"/>
                <a:gd name="T67" fmla="*/ 238615 h 518"/>
                <a:gd name="T68" fmla="*/ 74094 w 398"/>
                <a:gd name="T69" fmla="*/ 228716 h 518"/>
                <a:gd name="T70" fmla="*/ 77109 w 398"/>
                <a:gd name="T71" fmla="*/ 221944 h 518"/>
                <a:gd name="T72" fmla="*/ 73663 w 398"/>
                <a:gd name="T73" fmla="*/ 226111 h 518"/>
                <a:gd name="T74" fmla="*/ 47816 w 398"/>
                <a:gd name="T75" fmla="*/ 225069 h 518"/>
                <a:gd name="T76" fmla="*/ 32739 w 398"/>
                <a:gd name="T77" fmla="*/ 218818 h 518"/>
                <a:gd name="T78" fmla="*/ 33170 w 398"/>
                <a:gd name="T79" fmla="*/ 209440 h 518"/>
                <a:gd name="T80" fmla="*/ 40924 w 398"/>
                <a:gd name="T81" fmla="*/ 203709 h 518"/>
                <a:gd name="T82" fmla="*/ 37478 w 398"/>
                <a:gd name="T83" fmla="*/ 183390 h 518"/>
                <a:gd name="T84" fmla="*/ 45232 w 398"/>
                <a:gd name="T85" fmla="*/ 171407 h 518"/>
                <a:gd name="T86" fmla="*/ 66340 w 398"/>
                <a:gd name="T87" fmla="*/ 160987 h 518"/>
                <a:gd name="T88" fmla="*/ 74094 w 398"/>
                <a:gd name="T89" fmla="*/ 151609 h 518"/>
                <a:gd name="T90" fmla="*/ 63755 w 398"/>
                <a:gd name="T91" fmla="*/ 141189 h 518"/>
                <a:gd name="T92" fmla="*/ 59878 w 398"/>
                <a:gd name="T93" fmla="*/ 128686 h 518"/>
                <a:gd name="T94" fmla="*/ 40493 w 398"/>
                <a:gd name="T95" fmla="*/ 124518 h 518"/>
                <a:gd name="T96" fmla="*/ 34462 w 398"/>
                <a:gd name="T97" fmla="*/ 112535 h 518"/>
                <a:gd name="T98" fmla="*/ 38770 w 398"/>
                <a:gd name="T99" fmla="*/ 100031 h 518"/>
                <a:gd name="T100" fmla="*/ 43078 w 398"/>
                <a:gd name="T101" fmla="*/ 87527 h 518"/>
                <a:gd name="T102" fmla="*/ 31447 w 398"/>
                <a:gd name="T103" fmla="*/ 96905 h 518"/>
                <a:gd name="T104" fmla="*/ 9477 w 398"/>
                <a:gd name="T105" fmla="*/ 84401 h 518"/>
                <a:gd name="T106" fmla="*/ 8616 w 398"/>
                <a:gd name="T107" fmla="*/ 73981 h 518"/>
                <a:gd name="T108" fmla="*/ 6031 w 398"/>
                <a:gd name="T109" fmla="*/ 68250 h 518"/>
                <a:gd name="T110" fmla="*/ 8616 w 398"/>
                <a:gd name="T111" fmla="*/ 32823 h 518"/>
                <a:gd name="T112" fmla="*/ 8185 w 398"/>
                <a:gd name="T113" fmla="*/ 25529 h 518"/>
                <a:gd name="T114" fmla="*/ 1723 w 398"/>
                <a:gd name="T115" fmla="*/ 20840 h 518"/>
                <a:gd name="T116" fmla="*/ 8616 w 398"/>
                <a:gd name="T117" fmla="*/ 9899 h 518"/>
                <a:gd name="T118" fmla="*/ 1292 w 398"/>
                <a:gd name="T119" fmla="*/ 4689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rgbClr val="3282BE"/>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 name="Freeform 13">
              <a:extLst>
                <a:ext uri="{FF2B5EF4-FFF2-40B4-BE49-F238E27FC236}">
                  <a16:creationId xmlns:a16="http://schemas.microsoft.com/office/drawing/2014/main" id="{31DFAC22-052C-4CDE-BEB4-3144E5EBB0AD}"/>
                </a:ext>
              </a:extLst>
            </p:cNvPr>
            <p:cNvSpPr>
              <a:spLocks/>
            </p:cNvSpPr>
            <p:nvPr>
              <p:custDataLst>
                <p:tags r:id="rId10"/>
              </p:custDataLst>
            </p:nvPr>
          </p:nvSpPr>
          <p:spPr bwMode="auto">
            <a:xfrm>
              <a:off x="4227508" y="2117709"/>
              <a:ext cx="169862" cy="76199"/>
            </a:xfrm>
            <a:custGeom>
              <a:avLst/>
              <a:gdLst>
                <a:gd name="T0" fmla="*/ 84486 w 382"/>
                <a:gd name="T1" fmla="*/ 10812 h 148"/>
                <a:gd name="T2" fmla="*/ 78706 w 382"/>
                <a:gd name="T3" fmla="*/ 15961 h 148"/>
                <a:gd name="T4" fmla="*/ 77372 w 382"/>
                <a:gd name="T5" fmla="*/ 23169 h 148"/>
                <a:gd name="T6" fmla="*/ 74704 w 382"/>
                <a:gd name="T7" fmla="*/ 27288 h 148"/>
                <a:gd name="T8" fmla="*/ 73814 w 382"/>
                <a:gd name="T9" fmla="*/ 31407 h 148"/>
                <a:gd name="T10" fmla="*/ 78706 w 382"/>
                <a:gd name="T11" fmla="*/ 38100 h 148"/>
                <a:gd name="T12" fmla="*/ 68923 w 382"/>
                <a:gd name="T13" fmla="*/ 44278 h 148"/>
                <a:gd name="T14" fmla="*/ 48024 w 382"/>
                <a:gd name="T15" fmla="*/ 49427 h 148"/>
                <a:gd name="T16" fmla="*/ 34239 w 382"/>
                <a:gd name="T17" fmla="*/ 49942 h 148"/>
                <a:gd name="T18" fmla="*/ 23123 w 382"/>
                <a:gd name="T19" fmla="*/ 48912 h 148"/>
                <a:gd name="T20" fmla="*/ 1779 w 382"/>
                <a:gd name="T21" fmla="*/ 57150 h 148"/>
                <a:gd name="T22" fmla="*/ 0 w 382"/>
                <a:gd name="T23" fmla="*/ 66418 h 148"/>
                <a:gd name="T24" fmla="*/ 1779 w 382"/>
                <a:gd name="T25" fmla="*/ 67447 h 148"/>
                <a:gd name="T26" fmla="*/ 5336 w 382"/>
                <a:gd name="T27" fmla="*/ 67447 h 148"/>
                <a:gd name="T28" fmla="*/ 22678 w 382"/>
                <a:gd name="T29" fmla="*/ 66418 h 148"/>
                <a:gd name="T30" fmla="*/ 50692 w 382"/>
                <a:gd name="T31" fmla="*/ 65388 h 148"/>
                <a:gd name="T32" fmla="*/ 54694 w 382"/>
                <a:gd name="T33" fmla="*/ 68992 h 148"/>
                <a:gd name="T34" fmla="*/ 60919 w 382"/>
                <a:gd name="T35" fmla="*/ 72596 h 148"/>
                <a:gd name="T36" fmla="*/ 70702 w 382"/>
                <a:gd name="T37" fmla="*/ 75685 h 148"/>
                <a:gd name="T38" fmla="*/ 82263 w 382"/>
                <a:gd name="T39" fmla="*/ 76200 h 148"/>
                <a:gd name="T40" fmla="*/ 93380 w 382"/>
                <a:gd name="T41" fmla="*/ 76200 h 148"/>
                <a:gd name="T42" fmla="*/ 103607 w 382"/>
                <a:gd name="T43" fmla="*/ 76200 h 148"/>
                <a:gd name="T44" fmla="*/ 113390 w 382"/>
                <a:gd name="T45" fmla="*/ 76200 h 148"/>
                <a:gd name="T46" fmla="*/ 122283 w 382"/>
                <a:gd name="T47" fmla="*/ 73626 h 148"/>
                <a:gd name="T48" fmla="*/ 133844 w 382"/>
                <a:gd name="T49" fmla="*/ 68992 h 148"/>
                <a:gd name="T50" fmla="*/ 148518 w 382"/>
                <a:gd name="T51" fmla="*/ 62299 h 148"/>
                <a:gd name="T52" fmla="*/ 156967 w 382"/>
                <a:gd name="T53" fmla="*/ 53031 h 148"/>
                <a:gd name="T54" fmla="*/ 165415 w 382"/>
                <a:gd name="T55" fmla="*/ 37070 h 148"/>
                <a:gd name="T56" fmla="*/ 167194 w 382"/>
                <a:gd name="T57" fmla="*/ 26773 h 148"/>
                <a:gd name="T58" fmla="*/ 161413 w 382"/>
                <a:gd name="T59" fmla="*/ 22654 h 148"/>
                <a:gd name="T60" fmla="*/ 158745 w 382"/>
                <a:gd name="T61" fmla="*/ 16476 h 148"/>
                <a:gd name="T62" fmla="*/ 154299 w 382"/>
                <a:gd name="T63" fmla="*/ 11327 h 148"/>
                <a:gd name="T64" fmla="*/ 148518 w 382"/>
                <a:gd name="T65" fmla="*/ 8753 h 148"/>
                <a:gd name="T66" fmla="*/ 141848 w 382"/>
                <a:gd name="T67" fmla="*/ 4119 h 148"/>
                <a:gd name="T68" fmla="*/ 90267 w 382"/>
                <a:gd name="T69" fmla="*/ 9268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 name="Freeform 14">
              <a:extLst>
                <a:ext uri="{FF2B5EF4-FFF2-40B4-BE49-F238E27FC236}">
                  <a16:creationId xmlns:a16="http://schemas.microsoft.com/office/drawing/2014/main" id="{E3C2E56A-5F7C-4DF0-BA39-5A11DC7FAEA2}"/>
                </a:ext>
              </a:extLst>
            </p:cNvPr>
            <p:cNvSpPr>
              <a:spLocks/>
            </p:cNvSpPr>
            <p:nvPr>
              <p:custDataLst>
                <p:tags r:id="rId11"/>
              </p:custDataLst>
            </p:nvPr>
          </p:nvSpPr>
          <p:spPr bwMode="auto">
            <a:xfrm>
              <a:off x="5719756" y="1966898"/>
              <a:ext cx="1281110" cy="1038216"/>
            </a:xfrm>
            <a:custGeom>
              <a:avLst/>
              <a:gdLst>
                <a:gd name="T0" fmla="*/ 162757 w 2936"/>
                <a:gd name="T1" fmla="*/ 560736 h 1983"/>
                <a:gd name="T2" fmla="*/ 167993 w 2936"/>
                <a:gd name="T3" fmla="*/ 618851 h 1983"/>
                <a:gd name="T4" fmla="*/ 208573 w 2936"/>
                <a:gd name="T5" fmla="*/ 710998 h 1983"/>
                <a:gd name="T6" fmla="*/ 335114 w 2936"/>
                <a:gd name="T7" fmla="*/ 781156 h 1983"/>
                <a:gd name="T8" fmla="*/ 452055 w 2936"/>
                <a:gd name="T9" fmla="*/ 812569 h 1983"/>
                <a:gd name="T10" fmla="*/ 490453 w 2936"/>
                <a:gd name="T11" fmla="*/ 800527 h 1983"/>
                <a:gd name="T12" fmla="*/ 611321 w 2936"/>
                <a:gd name="T13" fmla="*/ 758119 h 1983"/>
                <a:gd name="T14" fmla="*/ 675027 w 2936"/>
                <a:gd name="T15" fmla="*/ 807334 h 1983"/>
                <a:gd name="T16" fmla="*/ 688118 w 2936"/>
                <a:gd name="T17" fmla="*/ 888486 h 1983"/>
                <a:gd name="T18" fmla="*/ 701208 w 2936"/>
                <a:gd name="T19" fmla="*/ 928277 h 1983"/>
                <a:gd name="T20" fmla="*/ 744406 w 2936"/>
                <a:gd name="T21" fmla="*/ 1001052 h 1983"/>
                <a:gd name="T22" fmla="*/ 803749 w 2936"/>
                <a:gd name="T23" fmla="*/ 973303 h 1983"/>
                <a:gd name="T24" fmla="*/ 904109 w 2936"/>
                <a:gd name="T25" fmla="*/ 970685 h 1983"/>
                <a:gd name="T26" fmla="*/ 988324 w 2936"/>
                <a:gd name="T27" fmla="*/ 1038225 h 1983"/>
                <a:gd name="T28" fmla="*/ 1028468 w 2936"/>
                <a:gd name="T29" fmla="*/ 1000005 h 1983"/>
                <a:gd name="T30" fmla="*/ 1072102 w 2936"/>
                <a:gd name="T31" fmla="*/ 976968 h 1983"/>
                <a:gd name="T32" fmla="*/ 1110937 w 2936"/>
                <a:gd name="T33" fmla="*/ 956026 h 1983"/>
                <a:gd name="T34" fmla="*/ 1170716 w 2936"/>
                <a:gd name="T35" fmla="*/ 906811 h 1983"/>
                <a:gd name="T36" fmla="*/ 1186425 w 2936"/>
                <a:gd name="T37" fmla="*/ 846077 h 1983"/>
                <a:gd name="T38" fmla="*/ 1219151 w 2936"/>
                <a:gd name="T39" fmla="*/ 743459 h 1983"/>
                <a:gd name="T40" fmla="*/ 1180316 w 2936"/>
                <a:gd name="T41" fmla="*/ 719899 h 1983"/>
                <a:gd name="T42" fmla="*/ 1151954 w 2936"/>
                <a:gd name="T43" fmla="*/ 666495 h 1983"/>
                <a:gd name="T44" fmla="*/ 1164608 w 2936"/>
                <a:gd name="T45" fmla="*/ 642412 h 1983"/>
                <a:gd name="T46" fmla="*/ 1104828 w 2936"/>
                <a:gd name="T47" fmla="*/ 555500 h 1983"/>
                <a:gd name="T48" fmla="*/ 1127082 w 2936"/>
                <a:gd name="T49" fmla="*/ 519898 h 1983"/>
                <a:gd name="T50" fmla="*/ 1070357 w 2936"/>
                <a:gd name="T51" fmla="*/ 503667 h 1983"/>
                <a:gd name="T52" fmla="*/ 1017995 w 2936"/>
                <a:gd name="T53" fmla="*/ 464400 h 1983"/>
                <a:gd name="T54" fmla="*/ 1033267 w 2936"/>
                <a:gd name="T55" fmla="*/ 437698 h 1983"/>
                <a:gd name="T56" fmla="*/ 1065993 w 2936"/>
                <a:gd name="T57" fmla="*/ 395813 h 1983"/>
                <a:gd name="T58" fmla="*/ 1089120 w 2936"/>
                <a:gd name="T59" fmla="*/ 408379 h 1983"/>
                <a:gd name="T60" fmla="*/ 1104828 w 2936"/>
                <a:gd name="T61" fmla="*/ 446599 h 1983"/>
                <a:gd name="T62" fmla="*/ 1173335 w 2936"/>
                <a:gd name="T63" fmla="*/ 399478 h 1983"/>
                <a:gd name="T64" fmla="*/ 1233987 w 2936"/>
                <a:gd name="T65" fmla="*/ 352358 h 1983"/>
                <a:gd name="T66" fmla="*/ 1259295 w 2936"/>
                <a:gd name="T67" fmla="*/ 295289 h 1983"/>
                <a:gd name="T68" fmla="*/ 1277621 w 2936"/>
                <a:gd name="T69" fmla="*/ 258640 h 1983"/>
                <a:gd name="T70" fmla="*/ 1262349 w 2936"/>
                <a:gd name="T71" fmla="*/ 160734 h 1983"/>
                <a:gd name="T72" fmla="*/ 1187734 w 2936"/>
                <a:gd name="T73" fmla="*/ 178535 h 1983"/>
                <a:gd name="T74" fmla="*/ 1073848 w 2936"/>
                <a:gd name="T75" fmla="*/ 107330 h 1983"/>
                <a:gd name="T76" fmla="*/ 1003596 w 2936"/>
                <a:gd name="T77" fmla="*/ 46597 h 1983"/>
                <a:gd name="T78" fmla="*/ 863965 w 2936"/>
                <a:gd name="T79" fmla="*/ 27749 h 1983"/>
                <a:gd name="T80" fmla="*/ 875747 w 2936"/>
                <a:gd name="T81" fmla="*/ 81152 h 1983"/>
                <a:gd name="T82" fmla="*/ 851747 w 2936"/>
                <a:gd name="T83" fmla="*/ 118849 h 1983"/>
                <a:gd name="T84" fmla="*/ 883601 w 2936"/>
                <a:gd name="T85" fmla="*/ 183247 h 1983"/>
                <a:gd name="T86" fmla="*/ 936399 w 2936"/>
                <a:gd name="T87" fmla="*/ 193718 h 1983"/>
                <a:gd name="T88" fmla="*/ 890582 w 2936"/>
                <a:gd name="T89" fmla="*/ 238221 h 1983"/>
                <a:gd name="T90" fmla="*/ 825130 w 2936"/>
                <a:gd name="T91" fmla="*/ 298431 h 1983"/>
                <a:gd name="T92" fmla="*/ 711244 w 2936"/>
                <a:gd name="T93" fmla="*/ 373300 h 1983"/>
                <a:gd name="T94" fmla="*/ 535833 w 2936"/>
                <a:gd name="T95" fmla="*/ 345028 h 1983"/>
                <a:gd name="T96" fmla="*/ 452055 w 2936"/>
                <a:gd name="T97" fmla="*/ 293195 h 1983"/>
                <a:gd name="T98" fmla="*/ 328132 w 2936"/>
                <a:gd name="T99" fmla="*/ 259164 h 1983"/>
                <a:gd name="T100" fmla="*/ 299333 w 2936"/>
                <a:gd name="T101" fmla="*/ 198430 h 1983"/>
                <a:gd name="T102" fmla="*/ 223409 w 2936"/>
                <a:gd name="T103" fmla="*/ 156545 h 1983"/>
                <a:gd name="T104" fmla="*/ 187629 w 2936"/>
                <a:gd name="T105" fmla="*/ 162828 h 1983"/>
                <a:gd name="T106" fmla="*/ 184574 w 2936"/>
                <a:gd name="T107" fmla="*/ 203142 h 1983"/>
                <a:gd name="T108" fmla="*/ 133086 w 2936"/>
                <a:gd name="T109" fmla="*/ 200001 h 1983"/>
                <a:gd name="T110" fmla="*/ 99051 w 2936"/>
                <a:gd name="T111" fmla="*/ 265446 h 1983"/>
                <a:gd name="T112" fmla="*/ 113450 w 2936"/>
                <a:gd name="T113" fmla="*/ 311520 h 1983"/>
                <a:gd name="T114" fmla="*/ 109959 w 2936"/>
                <a:gd name="T115" fmla="*/ 374871 h 1983"/>
                <a:gd name="T116" fmla="*/ 51489 w 2936"/>
                <a:gd name="T117" fmla="*/ 408903 h 1983"/>
                <a:gd name="T118" fmla="*/ 17454 w 2936"/>
                <a:gd name="T119" fmla="*/ 468065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 name="Freeform 15">
              <a:extLst>
                <a:ext uri="{FF2B5EF4-FFF2-40B4-BE49-F238E27FC236}">
                  <a16:creationId xmlns:a16="http://schemas.microsoft.com/office/drawing/2014/main" id="{B257B502-0139-43C5-90CE-6EB89D58FE2E}"/>
                </a:ext>
              </a:extLst>
            </p:cNvPr>
            <p:cNvSpPr>
              <a:spLocks/>
            </p:cNvSpPr>
            <p:nvPr>
              <p:custDataLst>
                <p:tags r:id="rId12"/>
              </p:custDataLst>
            </p:nvPr>
          </p:nvSpPr>
          <p:spPr bwMode="auto">
            <a:xfrm>
              <a:off x="4411658" y="1508113"/>
              <a:ext cx="220661" cy="273048"/>
            </a:xfrm>
            <a:custGeom>
              <a:avLst/>
              <a:gdLst>
                <a:gd name="T0" fmla="*/ 151048 w 504"/>
                <a:gd name="T1" fmla="*/ 256896 h 524"/>
                <a:gd name="T2" fmla="*/ 112082 w 504"/>
                <a:gd name="T3" fmla="*/ 263149 h 524"/>
                <a:gd name="T4" fmla="*/ 102888 w 504"/>
                <a:gd name="T5" fmla="*/ 269402 h 524"/>
                <a:gd name="T6" fmla="*/ 91943 w 504"/>
                <a:gd name="T7" fmla="*/ 272008 h 524"/>
                <a:gd name="T8" fmla="*/ 67862 w 504"/>
                <a:gd name="T9" fmla="*/ 273050 h 524"/>
                <a:gd name="T10" fmla="*/ 46409 w 504"/>
                <a:gd name="T11" fmla="*/ 272008 h 524"/>
                <a:gd name="T12" fmla="*/ 41155 w 504"/>
                <a:gd name="T13" fmla="*/ 268881 h 524"/>
                <a:gd name="T14" fmla="*/ 31085 w 504"/>
                <a:gd name="T15" fmla="*/ 265234 h 524"/>
                <a:gd name="T16" fmla="*/ 15762 w 504"/>
                <a:gd name="T17" fmla="*/ 258460 h 524"/>
                <a:gd name="T18" fmla="*/ 9632 w 504"/>
                <a:gd name="T19" fmla="*/ 253249 h 524"/>
                <a:gd name="T20" fmla="*/ 8756 w 504"/>
                <a:gd name="T21" fmla="*/ 248559 h 524"/>
                <a:gd name="T22" fmla="*/ 11821 w 504"/>
                <a:gd name="T23" fmla="*/ 241264 h 524"/>
                <a:gd name="T24" fmla="*/ 14010 w 504"/>
                <a:gd name="T25" fmla="*/ 231884 h 524"/>
                <a:gd name="T26" fmla="*/ 12259 w 504"/>
                <a:gd name="T27" fmla="*/ 225110 h 524"/>
                <a:gd name="T28" fmla="*/ 4378 w 504"/>
                <a:gd name="T29" fmla="*/ 217294 h 524"/>
                <a:gd name="T30" fmla="*/ 438 w 504"/>
                <a:gd name="T31" fmla="*/ 212083 h 524"/>
                <a:gd name="T32" fmla="*/ 438 w 504"/>
                <a:gd name="T33" fmla="*/ 203745 h 524"/>
                <a:gd name="T34" fmla="*/ 7443 w 504"/>
                <a:gd name="T35" fmla="*/ 187592 h 524"/>
                <a:gd name="T36" fmla="*/ 21015 w 504"/>
                <a:gd name="T37" fmla="*/ 170917 h 524"/>
                <a:gd name="T38" fmla="*/ 37653 w 504"/>
                <a:gd name="T39" fmla="*/ 155805 h 524"/>
                <a:gd name="T40" fmla="*/ 54290 w 504"/>
                <a:gd name="T41" fmla="*/ 145383 h 524"/>
                <a:gd name="T42" fmla="*/ 70051 w 504"/>
                <a:gd name="T43" fmla="*/ 141736 h 524"/>
                <a:gd name="T44" fmla="*/ 67862 w 504"/>
                <a:gd name="T45" fmla="*/ 137567 h 524"/>
                <a:gd name="T46" fmla="*/ 62171 w 504"/>
                <a:gd name="T47" fmla="*/ 134962 h 524"/>
                <a:gd name="T48" fmla="*/ 58230 w 504"/>
                <a:gd name="T49" fmla="*/ 130793 h 524"/>
                <a:gd name="T50" fmla="*/ 55603 w 504"/>
                <a:gd name="T51" fmla="*/ 119329 h 524"/>
                <a:gd name="T52" fmla="*/ 54290 w 504"/>
                <a:gd name="T53" fmla="*/ 101612 h 524"/>
                <a:gd name="T54" fmla="*/ 50349 w 504"/>
                <a:gd name="T55" fmla="*/ 83895 h 524"/>
                <a:gd name="T56" fmla="*/ 43782 w 504"/>
                <a:gd name="T57" fmla="*/ 69826 h 524"/>
                <a:gd name="T58" fmla="*/ 29772 w 504"/>
                <a:gd name="T59" fmla="*/ 46898 h 524"/>
                <a:gd name="T60" fmla="*/ 37653 w 504"/>
                <a:gd name="T61" fmla="*/ 31265 h 524"/>
                <a:gd name="T62" fmla="*/ 46409 w 504"/>
                <a:gd name="T63" fmla="*/ 29181 h 524"/>
                <a:gd name="T64" fmla="*/ 56917 w 504"/>
                <a:gd name="T65" fmla="*/ 30223 h 524"/>
                <a:gd name="T66" fmla="*/ 60857 w 504"/>
                <a:gd name="T67" fmla="*/ 31786 h 524"/>
                <a:gd name="T68" fmla="*/ 70051 w 504"/>
                <a:gd name="T69" fmla="*/ 29181 h 524"/>
                <a:gd name="T70" fmla="*/ 71803 w 504"/>
                <a:gd name="T71" fmla="*/ 17196 h 524"/>
                <a:gd name="T72" fmla="*/ 74867 w 504"/>
                <a:gd name="T73" fmla="*/ 6774 h 524"/>
                <a:gd name="T74" fmla="*/ 81873 w 504"/>
                <a:gd name="T75" fmla="*/ 0 h 524"/>
                <a:gd name="T76" fmla="*/ 98510 w 504"/>
                <a:gd name="T77" fmla="*/ 0 h 524"/>
                <a:gd name="T78" fmla="*/ 111207 w 504"/>
                <a:gd name="T79" fmla="*/ 4169 h 524"/>
                <a:gd name="T80" fmla="*/ 122590 w 504"/>
                <a:gd name="T81" fmla="*/ 10943 h 524"/>
                <a:gd name="T82" fmla="*/ 122152 w 504"/>
                <a:gd name="T83" fmla="*/ 32307 h 524"/>
                <a:gd name="T84" fmla="*/ 127844 w 504"/>
                <a:gd name="T85" fmla="*/ 40124 h 524"/>
                <a:gd name="T86" fmla="*/ 139665 w 504"/>
                <a:gd name="T87" fmla="*/ 48982 h 524"/>
                <a:gd name="T88" fmla="*/ 155864 w 504"/>
                <a:gd name="T89" fmla="*/ 62009 h 524"/>
                <a:gd name="T90" fmla="*/ 151486 w 504"/>
                <a:gd name="T91" fmla="*/ 70347 h 524"/>
                <a:gd name="T92" fmla="*/ 148859 w 504"/>
                <a:gd name="T93" fmla="*/ 79726 h 524"/>
                <a:gd name="T94" fmla="*/ 150611 w 504"/>
                <a:gd name="T95" fmla="*/ 91711 h 524"/>
                <a:gd name="T96" fmla="*/ 158929 w 504"/>
                <a:gd name="T97" fmla="*/ 104218 h 524"/>
                <a:gd name="T98" fmla="*/ 165497 w 504"/>
                <a:gd name="T99" fmla="*/ 109428 h 524"/>
                <a:gd name="T100" fmla="*/ 168999 w 504"/>
                <a:gd name="T101" fmla="*/ 133398 h 524"/>
                <a:gd name="T102" fmla="*/ 176880 w 504"/>
                <a:gd name="T103" fmla="*/ 150594 h 524"/>
                <a:gd name="T104" fmla="*/ 189139 w 504"/>
                <a:gd name="T105" fmla="*/ 164143 h 524"/>
                <a:gd name="T106" fmla="*/ 202711 w 504"/>
                <a:gd name="T107" fmla="*/ 174564 h 524"/>
                <a:gd name="T108" fmla="*/ 204025 w 504"/>
                <a:gd name="T109" fmla="*/ 203224 h 524"/>
                <a:gd name="T110" fmla="*/ 173815 w 504"/>
                <a:gd name="T111" fmla="*/ 23813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 name="Freeform 16">
              <a:extLst>
                <a:ext uri="{FF2B5EF4-FFF2-40B4-BE49-F238E27FC236}">
                  <a16:creationId xmlns:a16="http://schemas.microsoft.com/office/drawing/2014/main" id="{CCF7EBAD-B475-496A-AD38-75A40C33E5A0}"/>
                </a:ext>
              </a:extLst>
            </p:cNvPr>
            <p:cNvSpPr>
              <a:spLocks/>
            </p:cNvSpPr>
            <p:nvPr>
              <p:custDataLst>
                <p:tags r:id="rId13"/>
              </p:custDataLst>
            </p:nvPr>
          </p:nvSpPr>
          <p:spPr bwMode="auto">
            <a:xfrm>
              <a:off x="4148133" y="1925623"/>
              <a:ext cx="182562" cy="238123"/>
            </a:xfrm>
            <a:custGeom>
              <a:avLst/>
              <a:gdLst>
                <a:gd name="T0" fmla="*/ 177560 w 438"/>
                <a:gd name="T1" fmla="*/ 100319 h 451"/>
                <a:gd name="T2" fmla="*/ 170058 w 438"/>
                <a:gd name="T3" fmla="*/ 67583 h 451"/>
                <a:gd name="T4" fmla="*/ 161305 w 438"/>
                <a:gd name="T5" fmla="*/ 44879 h 451"/>
                <a:gd name="T6" fmla="*/ 152969 w 438"/>
                <a:gd name="T7" fmla="*/ 32736 h 451"/>
                <a:gd name="T8" fmla="*/ 148384 w 438"/>
                <a:gd name="T9" fmla="*/ 30624 h 451"/>
                <a:gd name="T10" fmla="*/ 139631 w 438"/>
                <a:gd name="T11" fmla="*/ 23760 h 451"/>
                <a:gd name="T12" fmla="*/ 130878 w 438"/>
                <a:gd name="T13" fmla="*/ 20064 h 451"/>
                <a:gd name="T14" fmla="*/ 122125 w 438"/>
                <a:gd name="T15" fmla="*/ 20064 h 451"/>
                <a:gd name="T16" fmla="*/ 115039 w 438"/>
                <a:gd name="T17" fmla="*/ 22176 h 451"/>
                <a:gd name="T18" fmla="*/ 104619 w 438"/>
                <a:gd name="T19" fmla="*/ 30624 h 451"/>
                <a:gd name="T20" fmla="*/ 97950 w 438"/>
                <a:gd name="T21" fmla="*/ 35376 h 451"/>
                <a:gd name="T22" fmla="*/ 90447 w 438"/>
                <a:gd name="T23" fmla="*/ 34848 h 451"/>
                <a:gd name="T24" fmla="*/ 72525 w 438"/>
                <a:gd name="T25" fmla="*/ 19536 h 451"/>
                <a:gd name="T26" fmla="*/ 47099 w 438"/>
                <a:gd name="T27" fmla="*/ 0 h 451"/>
                <a:gd name="T28" fmla="*/ 39597 w 438"/>
                <a:gd name="T29" fmla="*/ 12144 h 451"/>
                <a:gd name="T30" fmla="*/ 38763 w 438"/>
                <a:gd name="T31" fmla="*/ 22704 h 451"/>
                <a:gd name="T32" fmla="*/ 40847 w 438"/>
                <a:gd name="T33" fmla="*/ 27456 h 451"/>
                <a:gd name="T34" fmla="*/ 49600 w 438"/>
                <a:gd name="T35" fmla="*/ 36432 h 451"/>
                <a:gd name="T36" fmla="*/ 41264 w 438"/>
                <a:gd name="T37" fmla="*/ 38544 h 451"/>
                <a:gd name="T38" fmla="*/ 27509 w 438"/>
                <a:gd name="T39" fmla="*/ 49103 h 451"/>
                <a:gd name="T40" fmla="*/ 24175 w 438"/>
                <a:gd name="T41" fmla="*/ 62831 h 451"/>
                <a:gd name="T42" fmla="*/ 18756 w 438"/>
                <a:gd name="T43" fmla="*/ 72863 h 451"/>
                <a:gd name="T44" fmla="*/ 14588 w 438"/>
                <a:gd name="T45" fmla="*/ 82367 h 451"/>
                <a:gd name="T46" fmla="*/ 13755 w 438"/>
                <a:gd name="T47" fmla="*/ 94511 h 451"/>
                <a:gd name="T48" fmla="*/ 2918 w 438"/>
                <a:gd name="T49" fmla="*/ 125662 h 451"/>
                <a:gd name="T50" fmla="*/ 6252 w 438"/>
                <a:gd name="T51" fmla="*/ 129886 h 451"/>
                <a:gd name="T52" fmla="*/ 10837 w 438"/>
                <a:gd name="T53" fmla="*/ 130414 h 451"/>
                <a:gd name="T54" fmla="*/ 13755 w 438"/>
                <a:gd name="T55" fmla="*/ 182686 h 451"/>
                <a:gd name="T56" fmla="*/ 38763 w 438"/>
                <a:gd name="T57" fmla="*/ 186382 h 451"/>
                <a:gd name="T58" fmla="*/ 43348 w 438"/>
                <a:gd name="T59" fmla="*/ 198525 h 451"/>
                <a:gd name="T60" fmla="*/ 37096 w 438"/>
                <a:gd name="T61" fmla="*/ 224397 h 451"/>
                <a:gd name="T62" fmla="*/ 45432 w 438"/>
                <a:gd name="T63" fmla="*/ 236013 h 451"/>
                <a:gd name="T64" fmla="*/ 63355 w 438"/>
                <a:gd name="T65" fmla="*/ 236013 h 451"/>
                <a:gd name="T66" fmla="*/ 85446 w 438"/>
                <a:gd name="T67" fmla="*/ 234429 h 451"/>
                <a:gd name="T68" fmla="*/ 115039 w 438"/>
                <a:gd name="T69" fmla="*/ 235485 h 451"/>
                <a:gd name="T70" fmla="*/ 142965 w 438"/>
                <a:gd name="T71" fmla="*/ 233373 h 451"/>
                <a:gd name="T72" fmla="*/ 155053 w 438"/>
                <a:gd name="T73" fmla="*/ 228093 h 451"/>
                <a:gd name="T74" fmla="*/ 149634 w 438"/>
                <a:gd name="T75" fmla="*/ 218061 h 451"/>
                <a:gd name="T76" fmla="*/ 153802 w 438"/>
                <a:gd name="T77" fmla="*/ 212781 h 451"/>
                <a:gd name="T78" fmla="*/ 155053 w 438"/>
                <a:gd name="T79" fmla="*/ 201693 h 451"/>
                <a:gd name="T80" fmla="*/ 158387 w 438"/>
                <a:gd name="T81" fmla="*/ 193774 h 451"/>
                <a:gd name="T82" fmla="*/ 142965 w 438"/>
                <a:gd name="T83" fmla="*/ 181630 h 451"/>
                <a:gd name="T84" fmla="*/ 135463 w 438"/>
                <a:gd name="T85" fmla="*/ 170542 h 451"/>
                <a:gd name="T86" fmla="*/ 129627 w 438"/>
                <a:gd name="T87" fmla="*/ 155230 h 451"/>
                <a:gd name="T88" fmla="*/ 122542 w 438"/>
                <a:gd name="T89" fmla="*/ 146254 h 451"/>
                <a:gd name="T90" fmla="*/ 130878 w 438"/>
                <a:gd name="T91" fmla="*/ 145198 h 451"/>
                <a:gd name="T92" fmla="*/ 144216 w 438"/>
                <a:gd name="T93" fmla="*/ 143086 h 451"/>
                <a:gd name="T94" fmla="*/ 153802 w 438"/>
                <a:gd name="T95" fmla="*/ 137278 h 451"/>
                <a:gd name="T96" fmla="*/ 169641 w 438"/>
                <a:gd name="T97" fmla="*/ 126718 h 451"/>
                <a:gd name="T98" fmla="*/ 182562 w 438"/>
                <a:gd name="T99" fmla="*/ 124078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 name="Freeform 17">
              <a:extLst>
                <a:ext uri="{FF2B5EF4-FFF2-40B4-BE49-F238E27FC236}">
                  <a16:creationId xmlns:a16="http://schemas.microsoft.com/office/drawing/2014/main" id="{BAB7153D-1911-4352-BC7A-3D62F5F2812A}"/>
                </a:ext>
              </a:extLst>
            </p:cNvPr>
            <p:cNvSpPr>
              <a:spLocks/>
            </p:cNvSpPr>
            <p:nvPr>
              <p:custDataLst>
                <p:tags r:id="rId14"/>
              </p:custDataLst>
            </p:nvPr>
          </p:nvSpPr>
          <p:spPr bwMode="auto">
            <a:xfrm>
              <a:off x="4173533" y="2182796"/>
              <a:ext cx="250825" cy="274635"/>
            </a:xfrm>
            <a:custGeom>
              <a:avLst/>
              <a:gdLst>
                <a:gd name="T0" fmla="*/ 141903 w 578"/>
                <a:gd name="T1" fmla="*/ 46122 h 524"/>
                <a:gd name="T2" fmla="*/ 135393 w 578"/>
                <a:gd name="T3" fmla="*/ 44550 h 524"/>
                <a:gd name="T4" fmla="*/ 130620 w 578"/>
                <a:gd name="T5" fmla="*/ 41405 h 524"/>
                <a:gd name="T6" fmla="*/ 119337 w 578"/>
                <a:gd name="T7" fmla="*/ 34592 h 524"/>
                <a:gd name="T8" fmla="*/ 108922 w 578"/>
                <a:gd name="T9" fmla="*/ 40881 h 524"/>
                <a:gd name="T10" fmla="*/ 106753 w 578"/>
                <a:gd name="T11" fmla="*/ 55032 h 524"/>
                <a:gd name="T12" fmla="*/ 109790 w 578"/>
                <a:gd name="T13" fmla="*/ 80190 h 524"/>
                <a:gd name="T14" fmla="*/ 117167 w 578"/>
                <a:gd name="T15" fmla="*/ 90148 h 524"/>
                <a:gd name="T16" fmla="*/ 124545 w 578"/>
                <a:gd name="T17" fmla="*/ 93293 h 524"/>
                <a:gd name="T18" fmla="*/ 129318 w 578"/>
                <a:gd name="T19" fmla="*/ 100106 h 524"/>
                <a:gd name="T20" fmla="*/ 152318 w 578"/>
                <a:gd name="T21" fmla="*/ 117926 h 524"/>
                <a:gd name="T22" fmla="*/ 194845 w 578"/>
                <a:gd name="T23" fmla="*/ 161952 h 524"/>
                <a:gd name="T24" fmla="*/ 206996 w 578"/>
                <a:gd name="T25" fmla="*/ 168765 h 524"/>
                <a:gd name="T26" fmla="*/ 218712 w 578"/>
                <a:gd name="T27" fmla="*/ 171910 h 524"/>
                <a:gd name="T28" fmla="*/ 232599 w 578"/>
                <a:gd name="T29" fmla="*/ 186585 h 524"/>
                <a:gd name="T30" fmla="*/ 250825 w 578"/>
                <a:gd name="T31" fmla="*/ 197068 h 524"/>
                <a:gd name="T32" fmla="*/ 245184 w 578"/>
                <a:gd name="T33" fmla="*/ 213315 h 524"/>
                <a:gd name="T34" fmla="*/ 228259 w 578"/>
                <a:gd name="T35" fmla="*/ 200737 h 524"/>
                <a:gd name="T36" fmla="*/ 220448 w 578"/>
                <a:gd name="T37" fmla="*/ 197068 h 524"/>
                <a:gd name="T38" fmla="*/ 216109 w 578"/>
                <a:gd name="T39" fmla="*/ 208074 h 524"/>
                <a:gd name="T40" fmla="*/ 219580 w 578"/>
                <a:gd name="T41" fmla="*/ 223274 h 524"/>
                <a:gd name="T42" fmla="*/ 223052 w 578"/>
                <a:gd name="T43" fmla="*/ 231659 h 524"/>
                <a:gd name="T44" fmla="*/ 216977 w 578"/>
                <a:gd name="T45" fmla="*/ 245286 h 524"/>
                <a:gd name="T46" fmla="*/ 209599 w 578"/>
                <a:gd name="T47" fmla="*/ 264679 h 524"/>
                <a:gd name="T48" fmla="*/ 201788 w 578"/>
                <a:gd name="T49" fmla="*/ 273589 h 524"/>
                <a:gd name="T50" fmla="*/ 189204 w 578"/>
                <a:gd name="T51" fmla="*/ 264679 h 524"/>
                <a:gd name="T52" fmla="*/ 197883 w 578"/>
                <a:gd name="T53" fmla="*/ 253672 h 524"/>
                <a:gd name="T54" fmla="*/ 201788 w 578"/>
                <a:gd name="T55" fmla="*/ 244762 h 524"/>
                <a:gd name="T56" fmla="*/ 200052 w 578"/>
                <a:gd name="T57" fmla="*/ 231135 h 524"/>
                <a:gd name="T58" fmla="*/ 185298 w 578"/>
                <a:gd name="T59" fmla="*/ 207026 h 524"/>
                <a:gd name="T60" fmla="*/ 167072 w 578"/>
                <a:gd name="T61" fmla="*/ 193399 h 524"/>
                <a:gd name="T62" fmla="*/ 154053 w 578"/>
                <a:gd name="T63" fmla="*/ 186585 h 524"/>
                <a:gd name="T64" fmla="*/ 137997 w 578"/>
                <a:gd name="T65" fmla="*/ 172958 h 524"/>
                <a:gd name="T66" fmla="*/ 116299 w 578"/>
                <a:gd name="T67" fmla="*/ 165097 h 524"/>
                <a:gd name="T68" fmla="*/ 94602 w 578"/>
                <a:gd name="T69" fmla="*/ 149373 h 524"/>
                <a:gd name="T70" fmla="*/ 70300 w 578"/>
                <a:gd name="T71" fmla="*/ 120023 h 524"/>
                <a:gd name="T72" fmla="*/ 54678 w 578"/>
                <a:gd name="T73" fmla="*/ 88052 h 524"/>
                <a:gd name="T74" fmla="*/ 33414 w 578"/>
                <a:gd name="T75" fmla="*/ 80714 h 524"/>
                <a:gd name="T76" fmla="*/ 22132 w 578"/>
                <a:gd name="T77" fmla="*/ 82286 h 524"/>
                <a:gd name="T78" fmla="*/ 6509 w 578"/>
                <a:gd name="T79" fmla="*/ 86479 h 524"/>
                <a:gd name="T80" fmla="*/ 1302 w 578"/>
                <a:gd name="T81" fmla="*/ 69707 h 524"/>
                <a:gd name="T82" fmla="*/ 434 w 578"/>
                <a:gd name="T83" fmla="*/ 48743 h 524"/>
                <a:gd name="T84" fmla="*/ 2604 w 578"/>
                <a:gd name="T85" fmla="*/ 25682 h 524"/>
                <a:gd name="T86" fmla="*/ 19528 w 578"/>
                <a:gd name="T87" fmla="*/ 21489 h 524"/>
                <a:gd name="T88" fmla="*/ 29509 w 578"/>
                <a:gd name="T89" fmla="*/ 17296 h 524"/>
                <a:gd name="T90" fmla="*/ 36018 w 578"/>
                <a:gd name="T91" fmla="*/ 25158 h 524"/>
                <a:gd name="T92" fmla="*/ 45131 w 578"/>
                <a:gd name="T93" fmla="*/ 23061 h 524"/>
                <a:gd name="T94" fmla="*/ 64659 w 578"/>
                <a:gd name="T95" fmla="*/ 8386 h 524"/>
                <a:gd name="T96" fmla="*/ 103715 w 578"/>
                <a:gd name="T97" fmla="*/ 0 h 524"/>
                <a:gd name="T98" fmla="*/ 111526 w 578"/>
                <a:gd name="T99" fmla="*/ 6814 h 524"/>
                <a:gd name="T100" fmla="*/ 144072 w 578"/>
                <a:gd name="T101" fmla="*/ 9958 h 524"/>
                <a:gd name="T102" fmla="*/ 139733 w 578"/>
                <a:gd name="T103" fmla="*/ 34068 h 524"/>
                <a:gd name="T104" fmla="*/ 141035 w 578"/>
                <a:gd name="T105" fmla="*/ 47170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 name="Freeform 18">
              <a:extLst>
                <a:ext uri="{FF2B5EF4-FFF2-40B4-BE49-F238E27FC236}">
                  <a16:creationId xmlns:a16="http://schemas.microsoft.com/office/drawing/2014/main" id="{49048E7F-F151-4AB2-8F04-3B0D22E0B7FB}"/>
                </a:ext>
              </a:extLst>
            </p:cNvPr>
            <p:cNvSpPr>
              <a:spLocks/>
            </p:cNvSpPr>
            <p:nvPr>
              <p:custDataLst>
                <p:tags r:id="rId15"/>
              </p:custDataLst>
            </p:nvPr>
          </p:nvSpPr>
          <p:spPr bwMode="auto">
            <a:xfrm>
              <a:off x="4190995" y="2351070"/>
              <a:ext cx="33338" cy="82549"/>
            </a:xfrm>
            <a:custGeom>
              <a:avLst/>
              <a:gdLst>
                <a:gd name="T0" fmla="*/ 0 w 79"/>
                <a:gd name="T1" fmla="*/ 19090 h 160"/>
                <a:gd name="T2" fmla="*/ 2532 w 79"/>
                <a:gd name="T3" fmla="*/ 19090 h 160"/>
                <a:gd name="T4" fmla="*/ 4642 w 79"/>
                <a:gd name="T5" fmla="*/ 18574 h 160"/>
                <a:gd name="T6" fmla="*/ 6752 w 79"/>
                <a:gd name="T7" fmla="*/ 18058 h 160"/>
                <a:gd name="T8" fmla="*/ 8018 w 79"/>
                <a:gd name="T9" fmla="*/ 17026 h 160"/>
                <a:gd name="T10" fmla="*/ 10972 w 79"/>
                <a:gd name="T11" fmla="*/ 14446 h 160"/>
                <a:gd name="T12" fmla="*/ 13082 w 79"/>
                <a:gd name="T13" fmla="*/ 11351 h 160"/>
                <a:gd name="T14" fmla="*/ 15614 w 79"/>
                <a:gd name="T15" fmla="*/ 8255 h 160"/>
                <a:gd name="T16" fmla="*/ 17302 w 79"/>
                <a:gd name="T17" fmla="*/ 5159 h 160"/>
                <a:gd name="T18" fmla="*/ 19412 w 79"/>
                <a:gd name="T19" fmla="*/ 2580 h 160"/>
                <a:gd name="T20" fmla="*/ 22366 w 79"/>
                <a:gd name="T21" fmla="*/ 0 h 160"/>
                <a:gd name="T22" fmla="*/ 24054 w 79"/>
                <a:gd name="T23" fmla="*/ 1548 h 160"/>
                <a:gd name="T24" fmla="*/ 26164 w 79"/>
                <a:gd name="T25" fmla="*/ 3612 h 160"/>
                <a:gd name="T26" fmla="*/ 27008 w 79"/>
                <a:gd name="T27" fmla="*/ 5159 h 160"/>
                <a:gd name="T28" fmla="*/ 27852 w 79"/>
                <a:gd name="T29" fmla="*/ 7223 h 160"/>
                <a:gd name="T30" fmla="*/ 29118 w 79"/>
                <a:gd name="T31" fmla="*/ 11351 h 160"/>
                <a:gd name="T32" fmla="*/ 30384 w 79"/>
                <a:gd name="T33" fmla="*/ 16510 h 160"/>
                <a:gd name="T34" fmla="*/ 30806 w 79"/>
                <a:gd name="T35" fmla="*/ 20638 h 160"/>
                <a:gd name="T36" fmla="*/ 31228 w 79"/>
                <a:gd name="T37" fmla="*/ 25281 h 160"/>
                <a:gd name="T38" fmla="*/ 32072 w 79"/>
                <a:gd name="T39" fmla="*/ 29924 h 160"/>
                <a:gd name="T40" fmla="*/ 33338 w 79"/>
                <a:gd name="T41" fmla="*/ 34568 h 160"/>
                <a:gd name="T42" fmla="*/ 33338 w 79"/>
                <a:gd name="T43" fmla="*/ 50562 h 160"/>
                <a:gd name="T44" fmla="*/ 28696 w 79"/>
                <a:gd name="T45" fmla="*/ 59333 h 160"/>
                <a:gd name="T46" fmla="*/ 24898 w 79"/>
                <a:gd name="T47" fmla="*/ 66556 h 160"/>
                <a:gd name="T48" fmla="*/ 22366 w 79"/>
                <a:gd name="T49" fmla="*/ 70168 h 160"/>
                <a:gd name="T50" fmla="*/ 21100 w 79"/>
                <a:gd name="T51" fmla="*/ 74295 h 160"/>
                <a:gd name="T52" fmla="*/ 20256 w 79"/>
                <a:gd name="T53" fmla="*/ 77907 h 160"/>
                <a:gd name="T54" fmla="*/ 19412 w 79"/>
                <a:gd name="T55" fmla="*/ 82550 h 160"/>
                <a:gd name="T56" fmla="*/ 16880 w 79"/>
                <a:gd name="T57" fmla="*/ 79970 h 160"/>
                <a:gd name="T58" fmla="*/ 13926 w 79"/>
                <a:gd name="T59" fmla="*/ 77391 h 160"/>
                <a:gd name="T60" fmla="*/ 11816 w 79"/>
                <a:gd name="T61" fmla="*/ 74295 h 160"/>
                <a:gd name="T62" fmla="*/ 9284 w 79"/>
                <a:gd name="T63" fmla="*/ 70683 h 160"/>
                <a:gd name="T64" fmla="*/ 7596 w 79"/>
                <a:gd name="T65" fmla="*/ 67072 h 160"/>
                <a:gd name="T66" fmla="*/ 6330 w 79"/>
                <a:gd name="T67" fmla="*/ 63460 h 160"/>
                <a:gd name="T68" fmla="*/ 4642 w 79"/>
                <a:gd name="T69" fmla="*/ 59333 h 160"/>
                <a:gd name="T70" fmla="*/ 3376 w 79"/>
                <a:gd name="T71" fmla="*/ 55721 h 160"/>
                <a:gd name="T72" fmla="*/ 1688 w 79"/>
                <a:gd name="T73" fmla="*/ 46950 h 160"/>
                <a:gd name="T74" fmla="*/ 422 w 79"/>
                <a:gd name="T75" fmla="*/ 37663 h 160"/>
                <a:gd name="T76" fmla="*/ 0 w 79"/>
                <a:gd name="T77" fmla="*/ 28377 h 160"/>
                <a:gd name="T78" fmla="*/ 0 w 79"/>
                <a:gd name="T79" fmla="*/ 19090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0" name="Group 19">
              <a:extLst>
                <a:ext uri="{FF2B5EF4-FFF2-40B4-BE49-F238E27FC236}">
                  <a16:creationId xmlns:a16="http://schemas.microsoft.com/office/drawing/2014/main" id="{BAB80175-9C03-4BA5-8948-9C202A39C055}"/>
                </a:ext>
              </a:extLst>
            </p:cNvPr>
            <p:cNvGrpSpPr>
              <a:grpSpLocks/>
            </p:cNvGrpSpPr>
            <p:nvPr>
              <p:custDataLst>
                <p:tags r:id="rId16"/>
              </p:custDataLst>
            </p:nvPr>
          </p:nvGrpSpPr>
          <p:grpSpPr bwMode="auto">
            <a:xfrm>
              <a:off x="6510330" y="3411511"/>
              <a:ext cx="473075" cy="212723"/>
              <a:chOff x="4488" y="2394"/>
              <a:chExt cx="358" cy="124"/>
            </a:xfrm>
          </p:grpSpPr>
          <p:sp>
            <p:nvSpPr>
              <p:cNvPr id="550" name="Freeform 20">
                <a:extLst>
                  <a:ext uri="{FF2B5EF4-FFF2-40B4-BE49-F238E27FC236}">
                    <a16:creationId xmlns:a16="http://schemas.microsoft.com/office/drawing/2014/main" id="{BF94380A-27C6-4A56-80AF-D8AE1DBC8EEC}"/>
                  </a:ext>
                </a:extLst>
              </p:cNvPr>
              <p:cNvSpPr>
                <a:spLocks/>
              </p:cNvSpPr>
              <p:nvPr/>
            </p:nvSpPr>
            <p:spPr bwMode="auto">
              <a:xfrm>
                <a:off x="4675" y="2394"/>
                <a:ext cx="171" cy="124"/>
              </a:xfrm>
              <a:custGeom>
                <a:avLst/>
                <a:gdLst>
                  <a:gd name="T0" fmla="*/ 142 w 512"/>
                  <a:gd name="T1" fmla="*/ 60 h 408"/>
                  <a:gd name="T2" fmla="*/ 129 w 512"/>
                  <a:gd name="T3" fmla="*/ 59 h 408"/>
                  <a:gd name="T4" fmla="*/ 123 w 512"/>
                  <a:gd name="T5" fmla="*/ 62 h 408"/>
                  <a:gd name="T6" fmla="*/ 118 w 512"/>
                  <a:gd name="T7" fmla="*/ 66 h 408"/>
                  <a:gd name="T8" fmla="*/ 116 w 512"/>
                  <a:gd name="T9" fmla="*/ 77 h 408"/>
                  <a:gd name="T10" fmla="*/ 109 w 512"/>
                  <a:gd name="T11" fmla="*/ 93 h 408"/>
                  <a:gd name="T12" fmla="*/ 102 w 512"/>
                  <a:gd name="T13" fmla="*/ 102 h 408"/>
                  <a:gd name="T14" fmla="*/ 97 w 512"/>
                  <a:gd name="T15" fmla="*/ 106 h 408"/>
                  <a:gd name="T16" fmla="*/ 91 w 512"/>
                  <a:gd name="T17" fmla="*/ 109 h 408"/>
                  <a:gd name="T18" fmla="*/ 86 w 512"/>
                  <a:gd name="T19" fmla="*/ 112 h 408"/>
                  <a:gd name="T20" fmla="*/ 84 w 512"/>
                  <a:gd name="T21" fmla="*/ 114 h 408"/>
                  <a:gd name="T22" fmla="*/ 72 w 512"/>
                  <a:gd name="T23" fmla="*/ 112 h 408"/>
                  <a:gd name="T24" fmla="*/ 61 w 512"/>
                  <a:gd name="T25" fmla="*/ 112 h 408"/>
                  <a:gd name="T26" fmla="*/ 52 w 512"/>
                  <a:gd name="T27" fmla="*/ 113 h 408"/>
                  <a:gd name="T28" fmla="*/ 46 w 512"/>
                  <a:gd name="T29" fmla="*/ 118 h 408"/>
                  <a:gd name="T30" fmla="*/ 32 w 512"/>
                  <a:gd name="T31" fmla="*/ 123 h 408"/>
                  <a:gd name="T32" fmla="*/ 21 w 512"/>
                  <a:gd name="T33" fmla="*/ 124 h 408"/>
                  <a:gd name="T34" fmla="*/ 15 w 512"/>
                  <a:gd name="T35" fmla="*/ 122 h 408"/>
                  <a:gd name="T36" fmla="*/ 5 w 512"/>
                  <a:gd name="T37" fmla="*/ 112 h 408"/>
                  <a:gd name="T38" fmla="*/ 1 w 512"/>
                  <a:gd name="T39" fmla="*/ 105 h 408"/>
                  <a:gd name="T40" fmla="*/ 3 w 512"/>
                  <a:gd name="T41" fmla="*/ 102 h 408"/>
                  <a:gd name="T42" fmla="*/ 11 w 512"/>
                  <a:gd name="T43" fmla="*/ 105 h 408"/>
                  <a:gd name="T44" fmla="*/ 18 w 512"/>
                  <a:gd name="T45" fmla="*/ 102 h 408"/>
                  <a:gd name="T46" fmla="*/ 19 w 512"/>
                  <a:gd name="T47" fmla="*/ 95 h 408"/>
                  <a:gd name="T48" fmla="*/ 24 w 512"/>
                  <a:gd name="T49" fmla="*/ 91 h 408"/>
                  <a:gd name="T50" fmla="*/ 27 w 512"/>
                  <a:gd name="T51" fmla="*/ 87 h 408"/>
                  <a:gd name="T52" fmla="*/ 30 w 512"/>
                  <a:gd name="T53" fmla="*/ 83 h 408"/>
                  <a:gd name="T54" fmla="*/ 34 w 512"/>
                  <a:gd name="T55" fmla="*/ 80 h 408"/>
                  <a:gd name="T56" fmla="*/ 46 w 512"/>
                  <a:gd name="T57" fmla="*/ 75 h 408"/>
                  <a:gd name="T58" fmla="*/ 58 w 512"/>
                  <a:gd name="T59" fmla="*/ 71 h 408"/>
                  <a:gd name="T60" fmla="*/ 67 w 512"/>
                  <a:gd name="T61" fmla="*/ 66 h 408"/>
                  <a:gd name="T62" fmla="*/ 71 w 512"/>
                  <a:gd name="T63" fmla="*/ 62 h 408"/>
                  <a:gd name="T64" fmla="*/ 73 w 512"/>
                  <a:gd name="T65" fmla="*/ 58 h 408"/>
                  <a:gd name="T66" fmla="*/ 76 w 512"/>
                  <a:gd name="T67" fmla="*/ 49 h 408"/>
                  <a:gd name="T68" fmla="*/ 76 w 512"/>
                  <a:gd name="T69" fmla="*/ 45 h 408"/>
                  <a:gd name="T70" fmla="*/ 77 w 512"/>
                  <a:gd name="T71" fmla="*/ 46 h 408"/>
                  <a:gd name="T72" fmla="*/ 80 w 512"/>
                  <a:gd name="T73" fmla="*/ 43 h 408"/>
                  <a:gd name="T74" fmla="*/ 79 w 512"/>
                  <a:gd name="T75" fmla="*/ 47 h 408"/>
                  <a:gd name="T76" fmla="*/ 80 w 512"/>
                  <a:gd name="T77" fmla="*/ 53 h 408"/>
                  <a:gd name="T78" fmla="*/ 84 w 512"/>
                  <a:gd name="T79" fmla="*/ 59 h 408"/>
                  <a:gd name="T80" fmla="*/ 91 w 512"/>
                  <a:gd name="T81" fmla="*/ 62 h 408"/>
                  <a:gd name="T82" fmla="*/ 102 w 512"/>
                  <a:gd name="T83" fmla="*/ 62 h 408"/>
                  <a:gd name="T84" fmla="*/ 107 w 512"/>
                  <a:gd name="T85" fmla="*/ 62 h 408"/>
                  <a:gd name="T86" fmla="*/ 109 w 512"/>
                  <a:gd name="T87" fmla="*/ 60 h 408"/>
                  <a:gd name="T88" fmla="*/ 108 w 512"/>
                  <a:gd name="T89" fmla="*/ 53 h 408"/>
                  <a:gd name="T90" fmla="*/ 100 w 512"/>
                  <a:gd name="T91" fmla="*/ 40 h 408"/>
                  <a:gd name="T92" fmla="*/ 107 w 512"/>
                  <a:gd name="T93" fmla="*/ 33 h 408"/>
                  <a:gd name="T94" fmla="*/ 115 w 512"/>
                  <a:gd name="T95" fmla="*/ 20 h 408"/>
                  <a:gd name="T96" fmla="*/ 125 w 512"/>
                  <a:gd name="T97" fmla="*/ 7 h 408"/>
                  <a:gd name="T98" fmla="*/ 133 w 512"/>
                  <a:gd name="T99" fmla="*/ 0 h 408"/>
                  <a:gd name="T100" fmla="*/ 134 w 512"/>
                  <a:gd name="T101" fmla="*/ 7 h 408"/>
                  <a:gd name="T102" fmla="*/ 138 w 512"/>
                  <a:gd name="T103" fmla="*/ 15 h 408"/>
                  <a:gd name="T104" fmla="*/ 147 w 512"/>
                  <a:gd name="T105" fmla="*/ 23 h 408"/>
                  <a:gd name="T106" fmla="*/ 162 w 512"/>
                  <a:gd name="T107" fmla="*/ 32 h 408"/>
                  <a:gd name="T108" fmla="*/ 170 w 512"/>
                  <a:gd name="T109" fmla="*/ 40 h 408"/>
                  <a:gd name="T110" fmla="*/ 167 w 512"/>
                  <a:gd name="T111" fmla="*/ 45 h 408"/>
                  <a:gd name="T112" fmla="*/ 160 w 512"/>
                  <a:gd name="T113" fmla="*/ 46 h 408"/>
                  <a:gd name="T114" fmla="*/ 153 w 512"/>
                  <a:gd name="T115" fmla="*/ 55 h 408"/>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12" h="408">
                    <a:moveTo>
                      <a:pt x="452" y="204"/>
                    </a:moveTo>
                    <a:lnTo>
                      <a:pt x="442" y="202"/>
                    </a:lnTo>
                    <a:lnTo>
                      <a:pt x="424" y="198"/>
                    </a:lnTo>
                    <a:lnTo>
                      <a:pt x="407" y="194"/>
                    </a:lnTo>
                    <a:lnTo>
                      <a:pt x="392" y="192"/>
                    </a:lnTo>
                    <a:lnTo>
                      <a:pt x="387" y="193"/>
                    </a:lnTo>
                    <a:lnTo>
                      <a:pt x="380" y="195"/>
                    </a:lnTo>
                    <a:lnTo>
                      <a:pt x="374" y="198"/>
                    </a:lnTo>
                    <a:lnTo>
                      <a:pt x="367" y="203"/>
                    </a:lnTo>
                    <a:lnTo>
                      <a:pt x="362" y="207"/>
                    </a:lnTo>
                    <a:lnTo>
                      <a:pt x="356" y="212"/>
                    </a:lnTo>
                    <a:lnTo>
                      <a:pt x="354" y="217"/>
                    </a:lnTo>
                    <a:lnTo>
                      <a:pt x="353" y="222"/>
                    </a:lnTo>
                    <a:lnTo>
                      <a:pt x="351" y="238"/>
                    </a:lnTo>
                    <a:lnTo>
                      <a:pt x="347" y="254"/>
                    </a:lnTo>
                    <a:lnTo>
                      <a:pt x="342" y="271"/>
                    </a:lnTo>
                    <a:lnTo>
                      <a:pt x="335" y="289"/>
                    </a:lnTo>
                    <a:lnTo>
                      <a:pt x="327" y="306"/>
                    </a:lnTo>
                    <a:lnTo>
                      <a:pt x="316" y="321"/>
                    </a:lnTo>
                    <a:lnTo>
                      <a:pt x="310" y="328"/>
                    </a:lnTo>
                    <a:lnTo>
                      <a:pt x="305" y="335"/>
                    </a:lnTo>
                    <a:lnTo>
                      <a:pt x="299" y="341"/>
                    </a:lnTo>
                    <a:lnTo>
                      <a:pt x="293" y="346"/>
                    </a:lnTo>
                    <a:lnTo>
                      <a:pt x="289" y="350"/>
                    </a:lnTo>
                    <a:lnTo>
                      <a:pt x="284" y="354"/>
                    </a:lnTo>
                    <a:lnTo>
                      <a:pt x="277" y="356"/>
                    </a:lnTo>
                    <a:lnTo>
                      <a:pt x="271" y="359"/>
                    </a:lnTo>
                    <a:lnTo>
                      <a:pt x="264" y="362"/>
                    </a:lnTo>
                    <a:lnTo>
                      <a:pt x="258" y="366"/>
                    </a:lnTo>
                    <a:lnTo>
                      <a:pt x="256" y="368"/>
                    </a:lnTo>
                    <a:lnTo>
                      <a:pt x="254" y="370"/>
                    </a:lnTo>
                    <a:lnTo>
                      <a:pt x="253" y="373"/>
                    </a:lnTo>
                    <a:lnTo>
                      <a:pt x="253" y="376"/>
                    </a:lnTo>
                    <a:lnTo>
                      <a:pt x="227" y="376"/>
                    </a:lnTo>
                    <a:lnTo>
                      <a:pt x="221" y="373"/>
                    </a:lnTo>
                    <a:lnTo>
                      <a:pt x="215" y="370"/>
                    </a:lnTo>
                    <a:lnTo>
                      <a:pt x="208" y="369"/>
                    </a:lnTo>
                    <a:lnTo>
                      <a:pt x="200" y="368"/>
                    </a:lnTo>
                    <a:lnTo>
                      <a:pt x="183" y="367"/>
                    </a:lnTo>
                    <a:lnTo>
                      <a:pt x="160" y="364"/>
                    </a:lnTo>
                    <a:lnTo>
                      <a:pt x="157" y="369"/>
                    </a:lnTo>
                    <a:lnTo>
                      <a:pt x="155" y="373"/>
                    </a:lnTo>
                    <a:lnTo>
                      <a:pt x="152" y="377"/>
                    </a:lnTo>
                    <a:lnTo>
                      <a:pt x="148" y="381"/>
                    </a:lnTo>
                    <a:lnTo>
                      <a:pt x="138" y="388"/>
                    </a:lnTo>
                    <a:lnTo>
                      <a:pt x="126" y="396"/>
                    </a:lnTo>
                    <a:lnTo>
                      <a:pt x="111" y="401"/>
                    </a:lnTo>
                    <a:lnTo>
                      <a:pt x="97" y="405"/>
                    </a:lnTo>
                    <a:lnTo>
                      <a:pt x="82" y="407"/>
                    </a:lnTo>
                    <a:lnTo>
                      <a:pt x="66" y="408"/>
                    </a:lnTo>
                    <a:lnTo>
                      <a:pt x="62" y="407"/>
                    </a:lnTo>
                    <a:lnTo>
                      <a:pt x="56" y="406"/>
                    </a:lnTo>
                    <a:lnTo>
                      <a:pt x="51" y="403"/>
                    </a:lnTo>
                    <a:lnTo>
                      <a:pt x="45" y="400"/>
                    </a:lnTo>
                    <a:lnTo>
                      <a:pt x="34" y="390"/>
                    </a:lnTo>
                    <a:lnTo>
                      <a:pt x="24" y="379"/>
                    </a:lnTo>
                    <a:lnTo>
                      <a:pt x="15" y="368"/>
                    </a:lnTo>
                    <a:lnTo>
                      <a:pt x="7" y="356"/>
                    </a:lnTo>
                    <a:lnTo>
                      <a:pt x="4" y="350"/>
                    </a:lnTo>
                    <a:lnTo>
                      <a:pt x="2" y="344"/>
                    </a:lnTo>
                    <a:lnTo>
                      <a:pt x="0" y="338"/>
                    </a:lnTo>
                    <a:lnTo>
                      <a:pt x="0" y="333"/>
                    </a:lnTo>
                    <a:lnTo>
                      <a:pt x="8" y="335"/>
                    </a:lnTo>
                    <a:lnTo>
                      <a:pt x="19" y="340"/>
                    </a:lnTo>
                    <a:lnTo>
                      <a:pt x="27" y="342"/>
                    </a:lnTo>
                    <a:lnTo>
                      <a:pt x="34" y="344"/>
                    </a:lnTo>
                    <a:lnTo>
                      <a:pt x="43" y="346"/>
                    </a:lnTo>
                    <a:lnTo>
                      <a:pt x="53" y="346"/>
                    </a:lnTo>
                    <a:lnTo>
                      <a:pt x="53" y="336"/>
                    </a:lnTo>
                    <a:lnTo>
                      <a:pt x="54" y="328"/>
                    </a:lnTo>
                    <a:lnTo>
                      <a:pt x="54" y="321"/>
                    </a:lnTo>
                    <a:lnTo>
                      <a:pt x="56" y="314"/>
                    </a:lnTo>
                    <a:lnTo>
                      <a:pt x="60" y="308"/>
                    </a:lnTo>
                    <a:lnTo>
                      <a:pt x="64" y="303"/>
                    </a:lnTo>
                    <a:lnTo>
                      <a:pt x="71" y="300"/>
                    </a:lnTo>
                    <a:lnTo>
                      <a:pt x="80" y="297"/>
                    </a:lnTo>
                    <a:lnTo>
                      <a:pt x="81" y="291"/>
                    </a:lnTo>
                    <a:lnTo>
                      <a:pt x="82" y="286"/>
                    </a:lnTo>
                    <a:lnTo>
                      <a:pt x="84" y="281"/>
                    </a:lnTo>
                    <a:lnTo>
                      <a:pt x="86" y="276"/>
                    </a:lnTo>
                    <a:lnTo>
                      <a:pt x="89" y="272"/>
                    </a:lnTo>
                    <a:lnTo>
                      <a:pt x="93" y="268"/>
                    </a:lnTo>
                    <a:lnTo>
                      <a:pt x="97" y="265"/>
                    </a:lnTo>
                    <a:lnTo>
                      <a:pt x="101" y="262"/>
                    </a:lnTo>
                    <a:lnTo>
                      <a:pt x="112" y="256"/>
                    </a:lnTo>
                    <a:lnTo>
                      <a:pt x="125" y="251"/>
                    </a:lnTo>
                    <a:lnTo>
                      <a:pt x="137" y="246"/>
                    </a:lnTo>
                    <a:lnTo>
                      <a:pt x="150" y="241"/>
                    </a:lnTo>
                    <a:lnTo>
                      <a:pt x="163" y="237"/>
                    </a:lnTo>
                    <a:lnTo>
                      <a:pt x="175" y="232"/>
                    </a:lnTo>
                    <a:lnTo>
                      <a:pt x="187" y="226"/>
                    </a:lnTo>
                    <a:lnTo>
                      <a:pt x="198" y="220"/>
                    </a:lnTo>
                    <a:lnTo>
                      <a:pt x="202" y="217"/>
                    </a:lnTo>
                    <a:lnTo>
                      <a:pt x="207" y="213"/>
                    </a:lnTo>
                    <a:lnTo>
                      <a:pt x="210" y="210"/>
                    </a:lnTo>
                    <a:lnTo>
                      <a:pt x="213" y="205"/>
                    </a:lnTo>
                    <a:lnTo>
                      <a:pt x="216" y="201"/>
                    </a:lnTo>
                    <a:lnTo>
                      <a:pt x="218" y="196"/>
                    </a:lnTo>
                    <a:lnTo>
                      <a:pt x="219" y="191"/>
                    </a:lnTo>
                    <a:lnTo>
                      <a:pt x="219" y="186"/>
                    </a:lnTo>
                    <a:lnTo>
                      <a:pt x="221" y="175"/>
                    </a:lnTo>
                    <a:lnTo>
                      <a:pt x="227" y="161"/>
                    </a:lnTo>
                    <a:lnTo>
                      <a:pt x="231" y="150"/>
                    </a:lnTo>
                    <a:lnTo>
                      <a:pt x="233" y="143"/>
                    </a:lnTo>
                    <a:lnTo>
                      <a:pt x="229" y="149"/>
                    </a:lnTo>
                    <a:lnTo>
                      <a:pt x="228" y="153"/>
                    </a:lnTo>
                    <a:lnTo>
                      <a:pt x="229" y="153"/>
                    </a:lnTo>
                    <a:lnTo>
                      <a:pt x="231" y="152"/>
                    </a:lnTo>
                    <a:lnTo>
                      <a:pt x="237" y="146"/>
                    </a:lnTo>
                    <a:lnTo>
                      <a:pt x="240" y="143"/>
                    </a:lnTo>
                    <a:lnTo>
                      <a:pt x="239" y="143"/>
                    </a:lnTo>
                    <a:lnTo>
                      <a:pt x="238" y="146"/>
                    </a:lnTo>
                    <a:lnTo>
                      <a:pt x="237" y="150"/>
                    </a:lnTo>
                    <a:lnTo>
                      <a:pt x="237" y="155"/>
                    </a:lnTo>
                    <a:lnTo>
                      <a:pt x="238" y="160"/>
                    </a:lnTo>
                    <a:lnTo>
                      <a:pt x="239" y="166"/>
                    </a:lnTo>
                    <a:lnTo>
                      <a:pt x="240" y="174"/>
                    </a:lnTo>
                    <a:lnTo>
                      <a:pt x="243" y="181"/>
                    </a:lnTo>
                    <a:lnTo>
                      <a:pt x="246" y="187"/>
                    </a:lnTo>
                    <a:lnTo>
                      <a:pt x="251" y="193"/>
                    </a:lnTo>
                    <a:lnTo>
                      <a:pt x="256" y="198"/>
                    </a:lnTo>
                    <a:lnTo>
                      <a:pt x="264" y="202"/>
                    </a:lnTo>
                    <a:lnTo>
                      <a:pt x="272" y="205"/>
                    </a:lnTo>
                    <a:lnTo>
                      <a:pt x="282" y="207"/>
                    </a:lnTo>
                    <a:lnTo>
                      <a:pt x="293" y="206"/>
                    </a:lnTo>
                    <a:lnTo>
                      <a:pt x="306" y="204"/>
                    </a:lnTo>
                    <a:lnTo>
                      <a:pt x="311" y="206"/>
                    </a:lnTo>
                    <a:lnTo>
                      <a:pt x="317" y="206"/>
                    </a:lnTo>
                    <a:lnTo>
                      <a:pt x="320" y="205"/>
                    </a:lnTo>
                    <a:lnTo>
                      <a:pt x="323" y="204"/>
                    </a:lnTo>
                    <a:lnTo>
                      <a:pt x="325" y="201"/>
                    </a:lnTo>
                    <a:lnTo>
                      <a:pt x="327" y="198"/>
                    </a:lnTo>
                    <a:lnTo>
                      <a:pt x="328" y="193"/>
                    </a:lnTo>
                    <a:lnTo>
                      <a:pt x="328" y="188"/>
                    </a:lnTo>
                    <a:lnTo>
                      <a:pt x="324" y="176"/>
                    </a:lnTo>
                    <a:lnTo>
                      <a:pt x="319" y="161"/>
                    </a:lnTo>
                    <a:lnTo>
                      <a:pt x="310" y="146"/>
                    </a:lnTo>
                    <a:lnTo>
                      <a:pt x="299" y="130"/>
                    </a:lnTo>
                    <a:lnTo>
                      <a:pt x="307" y="124"/>
                    </a:lnTo>
                    <a:lnTo>
                      <a:pt x="312" y="118"/>
                    </a:lnTo>
                    <a:lnTo>
                      <a:pt x="319" y="109"/>
                    </a:lnTo>
                    <a:lnTo>
                      <a:pt x="324" y="101"/>
                    </a:lnTo>
                    <a:lnTo>
                      <a:pt x="334" y="84"/>
                    </a:lnTo>
                    <a:lnTo>
                      <a:pt x="344" y="66"/>
                    </a:lnTo>
                    <a:lnTo>
                      <a:pt x="354" y="47"/>
                    </a:lnTo>
                    <a:lnTo>
                      <a:pt x="366" y="30"/>
                    </a:lnTo>
                    <a:lnTo>
                      <a:pt x="374" y="22"/>
                    </a:lnTo>
                    <a:lnTo>
                      <a:pt x="381" y="14"/>
                    </a:lnTo>
                    <a:lnTo>
                      <a:pt x="389" y="7"/>
                    </a:lnTo>
                    <a:lnTo>
                      <a:pt x="399" y="0"/>
                    </a:lnTo>
                    <a:lnTo>
                      <a:pt x="399" y="9"/>
                    </a:lnTo>
                    <a:lnTo>
                      <a:pt x="400" y="16"/>
                    </a:lnTo>
                    <a:lnTo>
                      <a:pt x="401" y="23"/>
                    </a:lnTo>
                    <a:lnTo>
                      <a:pt x="403" y="29"/>
                    </a:lnTo>
                    <a:lnTo>
                      <a:pt x="408" y="41"/>
                    </a:lnTo>
                    <a:lnTo>
                      <a:pt x="413" y="50"/>
                    </a:lnTo>
                    <a:lnTo>
                      <a:pt x="421" y="59"/>
                    </a:lnTo>
                    <a:lnTo>
                      <a:pt x="430" y="68"/>
                    </a:lnTo>
                    <a:lnTo>
                      <a:pt x="439" y="75"/>
                    </a:lnTo>
                    <a:lnTo>
                      <a:pt x="447" y="81"/>
                    </a:lnTo>
                    <a:lnTo>
                      <a:pt x="467" y="93"/>
                    </a:lnTo>
                    <a:lnTo>
                      <a:pt x="486" y="106"/>
                    </a:lnTo>
                    <a:lnTo>
                      <a:pt x="493" y="113"/>
                    </a:lnTo>
                    <a:lnTo>
                      <a:pt x="501" y="123"/>
                    </a:lnTo>
                    <a:lnTo>
                      <a:pt x="508" y="132"/>
                    </a:lnTo>
                    <a:lnTo>
                      <a:pt x="512" y="143"/>
                    </a:lnTo>
                    <a:lnTo>
                      <a:pt x="504" y="146"/>
                    </a:lnTo>
                    <a:lnTo>
                      <a:pt x="499" y="149"/>
                    </a:lnTo>
                    <a:lnTo>
                      <a:pt x="493" y="150"/>
                    </a:lnTo>
                    <a:lnTo>
                      <a:pt x="489" y="151"/>
                    </a:lnTo>
                    <a:lnTo>
                      <a:pt x="478" y="152"/>
                    </a:lnTo>
                    <a:lnTo>
                      <a:pt x="465" y="155"/>
                    </a:lnTo>
                    <a:lnTo>
                      <a:pt x="463" y="166"/>
                    </a:lnTo>
                    <a:lnTo>
                      <a:pt x="458" y="180"/>
                    </a:lnTo>
                    <a:lnTo>
                      <a:pt x="454" y="193"/>
                    </a:lnTo>
                    <a:lnTo>
                      <a:pt x="452" y="204"/>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51" name="Freeform 21">
                <a:extLst>
                  <a:ext uri="{FF2B5EF4-FFF2-40B4-BE49-F238E27FC236}">
                    <a16:creationId xmlns:a16="http://schemas.microsoft.com/office/drawing/2014/main" id="{A488199B-F3C2-40F3-AE0D-0EBAEAD68AC5}"/>
                  </a:ext>
                </a:extLst>
              </p:cNvPr>
              <p:cNvSpPr>
                <a:spLocks/>
              </p:cNvSpPr>
              <p:nvPr/>
            </p:nvSpPr>
            <p:spPr bwMode="auto">
              <a:xfrm>
                <a:off x="4488" y="2420"/>
                <a:ext cx="77" cy="89"/>
              </a:xfrm>
              <a:custGeom>
                <a:avLst/>
                <a:gdLst>
                  <a:gd name="T0" fmla="*/ 50 w 232"/>
                  <a:gd name="T1" fmla="*/ 7 h 289"/>
                  <a:gd name="T2" fmla="*/ 55 w 232"/>
                  <a:gd name="T3" fmla="*/ 15 h 289"/>
                  <a:gd name="T4" fmla="*/ 58 w 232"/>
                  <a:gd name="T5" fmla="*/ 17 h 289"/>
                  <a:gd name="T6" fmla="*/ 60 w 232"/>
                  <a:gd name="T7" fmla="*/ 18 h 289"/>
                  <a:gd name="T8" fmla="*/ 62 w 232"/>
                  <a:gd name="T9" fmla="*/ 51 h 289"/>
                  <a:gd name="T10" fmla="*/ 63 w 232"/>
                  <a:gd name="T11" fmla="*/ 60 h 289"/>
                  <a:gd name="T12" fmla="*/ 64 w 232"/>
                  <a:gd name="T13" fmla="*/ 64 h 289"/>
                  <a:gd name="T14" fmla="*/ 66 w 232"/>
                  <a:gd name="T15" fmla="*/ 67 h 289"/>
                  <a:gd name="T16" fmla="*/ 77 w 232"/>
                  <a:gd name="T17" fmla="*/ 76 h 289"/>
                  <a:gd name="T18" fmla="*/ 73 w 232"/>
                  <a:gd name="T19" fmla="*/ 89 h 289"/>
                  <a:gd name="T20" fmla="*/ 62 w 232"/>
                  <a:gd name="T21" fmla="*/ 87 h 289"/>
                  <a:gd name="T22" fmla="*/ 50 w 232"/>
                  <a:gd name="T23" fmla="*/ 81 h 289"/>
                  <a:gd name="T24" fmla="*/ 38 w 232"/>
                  <a:gd name="T25" fmla="*/ 72 h 289"/>
                  <a:gd name="T26" fmla="*/ 27 w 232"/>
                  <a:gd name="T27" fmla="*/ 64 h 289"/>
                  <a:gd name="T28" fmla="*/ 19 w 232"/>
                  <a:gd name="T29" fmla="*/ 54 h 289"/>
                  <a:gd name="T30" fmla="*/ 10 w 232"/>
                  <a:gd name="T31" fmla="*/ 45 h 289"/>
                  <a:gd name="T32" fmla="*/ 3 w 232"/>
                  <a:gd name="T33" fmla="*/ 39 h 289"/>
                  <a:gd name="T34" fmla="*/ 1 w 232"/>
                  <a:gd name="T35" fmla="*/ 36 h 289"/>
                  <a:gd name="T36" fmla="*/ 0 w 232"/>
                  <a:gd name="T37" fmla="*/ 34 h 289"/>
                  <a:gd name="T38" fmla="*/ 0 w 232"/>
                  <a:gd name="T39" fmla="*/ 31 h 289"/>
                  <a:gd name="T40" fmla="*/ 1 w 232"/>
                  <a:gd name="T41" fmla="*/ 28 h 289"/>
                  <a:gd name="T42" fmla="*/ 4 w 232"/>
                  <a:gd name="T43" fmla="*/ 24 h 289"/>
                  <a:gd name="T44" fmla="*/ 4 w 232"/>
                  <a:gd name="T45" fmla="*/ 16 h 289"/>
                  <a:gd name="T46" fmla="*/ 2 w 232"/>
                  <a:gd name="T47" fmla="*/ 5 h 289"/>
                  <a:gd name="T48" fmla="*/ 4 w 232"/>
                  <a:gd name="T49" fmla="*/ 0 h 289"/>
                  <a:gd name="T50" fmla="*/ 9 w 232"/>
                  <a:gd name="T51" fmla="*/ 1 h 289"/>
                  <a:gd name="T52" fmla="*/ 14 w 232"/>
                  <a:gd name="T53" fmla="*/ 3 h 289"/>
                  <a:gd name="T54" fmla="*/ 20 w 232"/>
                  <a:gd name="T55" fmla="*/ 6 h 289"/>
                  <a:gd name="T56" fmla="*/ 24 w 232"/>
                  <a:gd name="T57" fmla="*/ 9 h 289"/>
                  <a:gd name="T58" fmla="*/ 27 w 232"/>
                  <a:gd name="T59" fmla="*/ 10 h 289"/>
                  <a:gd name="T60" fmla="*/ 30 w 232"/>
                  <a:gd name="T61" fmla="*/ 10 h 289"/>
                  <a:gd name="T62" fmla="*/ 35 w 232"/>
                  <a:gd name="T63" fmla="*/ 8 h 289"/>
                  <a:gd name="T64" fmla="*/ 40 w 232"/>
                  <a:gd name="T65" fmla="*/ 6 h 289"/>
                  <a:gd name="T66" fmla="*/ 44 w 232"/>
                  <a:gd name="T67" fmla="*/ 3 h 2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32" h="289">
                    <a:moveTo>
                      <a:pt x="140" y="6"/>
                    </a:moveTo>
                    <a:lnTo>
                      <a:pt x="151" y="24"/>
                    </a:lnTo>
                    <a:lnTo>
                      <a:pt x="159" y="41"/>
                    </a:lnTo>
                    <a:lnTo>
                      <a:pt x="165" y="48"/>
                    </a:lnTo>
                    <a:lnTo>
                      <a:pt x="170" y="54"/>
                    </a:lnTo>
                    <a:lnTo>
                      <a:pt x="174" y="56"/>
                    </a:lnTo>
                    <a:lnTo>
                      <a:pt x="177" y="59"/>
                    </a:lnTo>
                    <a:lnTo>
                      <a:pt x="181" y="60"/>
                    </a:lnTo>
                    <a:lnTo>
                      <a:pt x="186" y="62"/>
                    </a:lnTo>
                    <a:lnTo>
                      <a:pt x="186" y="166"/>
                    </a:lnTo>
                    <a:lnTo>
                      <a:pt x="187" y="183"/>
                    </a:lnTo>
                    <a:lnTo>
                      <a:pt x="189" y="196"/>
                    </a:lnTo>
                    <a:lnTo>
                      <a:pt x="191" y="202"/>
                    </a:lnTo>
                    <a:lnTo>
                      <a:pt x="193" y="207"/>
                    </a:lnTo>
                    <a:lnTo>
                      <a:pt x="196" y="212"/>
                    </a:lnTo>
                    <a:lnTo>
                      <a:pt x="199" y="216"/>
                    </a:lnTo>
                    <a:lnTo>
                      <a:pt x="213" y="230"/>
                    </a:lnTo>
                    <a:lnTo>
                      <a:pt x="232" y="246"/>
                    </a:lnTo>
                    <a:lnTo>
                      <a:pt x="232" y="289"/>
                    </a:lnTo>
                    <a:lnTo>
                      <a:pt x="219" y="288"/>
                    </a:lnTo>
                    <a:lnTo>
                      <a:pt x="202" y="286"/>
                    </a:lnTo>
                    <a:lnTo>
                      <a:pt x="186" y="282"/>
                    </a:lnTo>
                    <a:lnTo>
                      <a:pt x="172" y="277"/>
                    </a:lnTo>
                    <a:lnTo>
                      <a:pt x="151" y="264"/>
                    </a:lnTo>
                    <a:lnTo>
                      <a:pt x="131" y="249"/>
                    </a:lnTo>
                    <a:lnTo>
                      <a:pt x="113" y="235"/>
                    </a:lnTo>
                    <a:lnTo>
                      <a:pt x="97" y="221"/>
                    </a:lnTo>
                    <a:lnTo>
                      <a:pt x="81" y="207"/>
                    </a:lnTo>
                    <a:lnTo>
                      <a:pt x="68" y="191"/>
                    </a:lnTo>
                    <a:lnTo>
                      <a:pt x="56" y="176"/>
                    </a:lnTo>
                    <a:lnTo>
                      <a:pt x="46" y="160"/>
                    </a:lnTo>
                    <a:lnTo>
                      <a:pt x="31" y="145"/>
                    </a:lnTo>
                    <a:lnTo>
                      <a:pt x="15" y="132"/>
                    </a:lnTo>
                    <a:lnTo>
                      <a:pt x="9" y="126"/>
                    </a:lnTo>
                    <a:lnTo>
                      <a:pt x="4" y="120"/>
                    </a:lnTo>
                    <a:lnTo>
                      <a:pt x="2" y="117"/>
                    </a:lnTo>
                    <a:lnTo>
                      <a:pt x="1" y="113"/>
                    </a:lnTo>
                    <a:lnTo>
                      <a:pt x="0" y="109"/>
                    </a:lnTo>
                    <a:lnTo>
                      <a:pt x="0" y="105"/>
                    </a:lnTo>
                    <a:lnTo>
                      <a:pt x="0" y="100"/>
                    </a:lnTo>
                    <a:lnTo>
                      <a:pt x="1" y="96"/>
                    </a:lnTo>
                    <a:lnTo>
                      <a:pt x="3" y="92"/>
                    </a:lnTo>
                    <a:lnTo>
                      <a:pt x="7" y="88"/>
                    </a:lnTo>
                    <a:lnTo>
                      <a:pt x="11" y="79"/>
                    </a:lnTo>
                    <a:lnTo>
                      <a:pt x="13" y="74"/>
                    </a:lnTo>
                    <a:lnTo>
                      <a:pt x="12" y="52"/>
                    </a:lnTo>
                    <a:lnTo>
                      <a:pt x="10" y="33"/>
                    </a:lnTo>
                    <a:lnTo>
                      <a:pt x="7" y="15"/>
                    </a:lnTo>
                    <a:lnTo>
                      <a:pt x="7" y="0"/>
                    </a:lnTo>
                    <a:lnTo>
                      <a:pt x="13" y="0"/>
                    </a:lnTo>
                    <a:lnTo>
                      <a:pt x="20" y="1"/>
                    </a:lnTo>
                    <a:lnTo>
                      <a:pt x="26" y="3"/>
                    </a:lnTo>
                    <a:lnTo>
                      <a:pt x="32" y="5"/>
                    </a:lnTo>
                    <a:lnTo>
                      <a:pt x="42" y="10"/>
                    </a:lnTo>
                    <a:lnTo>
                      <a:pt x="51" y="15"/>
                    </a:lnTo>
                    <a:lnTo>
                      <a:pt x="59" y="21"/>
                    </a:lnTo>
                    <a:lnTo>
                      <a:pt x="68" y="26"/>
                    </a:lnTo>
                    <a:lnTo>
                      <a:pt x="73" y="28"/>
                    </a:lnTo>
                    <a:lnTo>
                      <a:pt x="77" y="29"/>
                    </a:lnTo>
                    <a:lnTo>
                      <a:pt x="81" y="31"/>
                    </a:lnTo>
                    <a:lnTo>
                      <a:pt x="86" y="31"/>
                    </a:lnTo>
                    <a:lnTo>
                      <a:pt x="91" y="31"/>
                    </a:lnTo>
                    <a:lnTo>
                      <a:pt x="98" y="28"/>
                    </a:lnTo>
                    <a:lnTo>
                      <a:pt x="105" y="26"/>
                    </a:lnTo>
                    <a:lnTo>
                      <a:pt x="112" y="23"/>
                    </a:lnTo>
                    <a:lnTo>
                      <a:pt x="120" y="19"/>
                    </a:lnTo>
                    <a:lnTo>
                      <a:pt x="127" y="15"/>
                    </a:lnTo>
                    <a:lnTo>
                      <a:pt x="133" y="11"/>
                    </a:lnTo>
                    <a:lnTo>
                      <a:pt x="140" y="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1" name="Freeform 22">
              <a:extLst>
                <a:ext uri="{FF2B5EF4-FFF2-40B4-BE49-F238E27FC236}">
                  <a16:creationId xmlns:a16="http://schemas.microsoft.com/office/drawing/2014/main" id="{EE466BA1-07FA-4596-8EC8-87EF4BDDC3E7}"/>
                </a:ext>
              </a:extLst>
            </p:cNvPr>
            <p:cNvSpPr>
              <a:spLocks/>
            </p:cNvSpPr>
            <p:nvPr>
              <p:custDataLst>
                <p:tags r:id="rId17"/>
              </p:custDataLst>
            </p:nvPr>
          </p:nvSpPr>
          <p:spPr bwMode="auto">
            <a:xfrm>
              <a:off x="4532308" y="1287453"/>
              <a:ext cx="3065458" cy="1074728"/>
            </a:xfrm>
            <a:custGeom>
              <a:avLst/>
              <a:gdLst>
                <a:gd name="T0" fmla="*/ 315287 w 7049"/>
                <a:gd name="T1" fmla="*/ 909433 h 2048"/>
                <a:gd name="T2" fmla="*/ 465321 w 7049"/>
                <a:gd name="T3" fmla="*/ 1016487 h 2048"/>
                <a:gd name="T4" fmla="*/ 527073 w 7049"/>
                <a:gd name="T5" fmla="*/ 951940 h 2048"/>
                <a:gd name="T6" fmla="*/ 727987 w 7049"/>
                <a:gd name="T7" fmla="*/ 770893 h 2048"/>
                <a:gd name="T8" fmla="*/ 1138513 w 7049"/>
                <a:gd name="T9" fmla="*/ 690078 h 2048"/>
                <a:gd name="T10" fmla="*/ 1456845 w 7049"/>
                <a:gd name="T11" fmla="*/ 784012 h 2048"/>
                <a:gd name="T12" fmla="*/ 1598615 w 7049"/>
                <a:gd name="T13" fmla="*/ 754625 h 2048"/>
                <a:gd name="T14" fmla="*/ 1798660 w 7049"/>
                <a:gd name="T15" fmla="*/ 782963 h 2048"/>
                <a:gd name="T16" fmla="*/ 1990441 w 7049"/>
                <a:gd name="T17" fmla="*/ 791884 h 2048"/>
                <a:gd name="T18" fmla="*/ 2069589 w 7049"/>
                <a:gd name="T19" fmla="*/ 719990 h 2048"/>
                <a:gd name="T20" fmla="*/ 2242236 w 7049"/>
                <a:gd name="T21" fmla="*/ 774566 h 2048"/>
                <a:gd name="T22" fmla="*/ 2441411 w 7049"/>
                <a:gd name="T23" fmla="*/ 838589 h 2048"/>
                <a:gd name="T24" fmla="*/ 2437062 w 7049"/>
                <a:gd name="T25" fmla="*/ 967683 h 2048"/>
                <a:gd name="T26" fmla="*/ 2545347 w 7049"/>
                <a:gd name="T27" fmla="*/ 845936 h 2048"/>
                <a:gd name="T28" fmla="*/ 2422276 w 7049"/>
                <a:gd name="T29" fmla="*/ 659116 h 2048"/>
                <a:gd name="T30" fmla="*/ 2318340 w 7049"/>
                <a:gd name="T31" fmla="*/ 601916 h 2048"/>
                <a:gd name="T32" fmla="*/ 2547086 w 7049"/>
                <a:gd name="T33" fmla="*/ 515328 h 2048"/>
                <a:gd name="T34" fmla="*/ 2597967 w 7049"/>
                <a:gd name="T35" fmla="*/ 431364 h 2048"/>
                <a:gd name="T36" fmla="*/ 2666678 w 7049"/>
                <a:gd name="T37" fmla="*/ 399353 h 2048"/>
                <a:gd name="T38" fmla="*/ 2694075 w 7049"/>
                <a:gd name="T39" fmla="*/ 511130 h 2048"/>
                <a:gd name="T40" fmla="*/ 2762351 w 7049"/>
                <a:gd name="T41" fmla="*/ 656492 h 2048"/>
                <a:gd name="T42" fmla="*/ 2859329 w 7049"/>
                <a:gd name="T43" fmla="*/ 739931 h 2048"/>
                <a:gd name="T44" fmla="*/ 2855415 w 7049"/>
                <a:gd name="T45" fmla="*/ 637076 h 2048"/>
                <a:gd name="T46" fmla="*/ 2771484 w 7049"/>
                <a:gd name="T47" fmla="*/ 544191 h 2048"/>
                <a:gd name="T48" fmla="*/ 2847153 w 7049"/>
                <a:gd name="T49" fmla="*/ 464425 h 2048"/>
                <a:gd name="T50" fmla="*/ 2957612 w 7049"/>
                <a:gd name="T51" fmla="*/ 411423 h 2048"/>
                <a:gd name="T52" fmla="*/ 2882378 w 7049"/>
                <a:gd name="T53" fmla="*/ 324310 h 2048"/>
                <a:gd name="T54" fmla="*/ 2956742 w 7049"/>
                <a:gd name="T55" fmla="*/ 333756 h 2048"/>
                <a:gd name="T56" fmla="*/ 2983705 w 7049"/>
                <a:gd name="T57" fmla="*/ 284952 h 2048"/>
                <a:gd name="T58" fmla="*/ 2826713 w 7049"/>
                <a:gd name="T59" fmla="*/ 242446 h 2048"/>
                <a:gd name="T60" fmla="*/ 2540998 w 7049"/>
                <a:gd name="T61" fmla="*/ 215157 h 2048"/>
                <a:gd name="T62" fmla="*/ 2475766 w 7049"/>
                <a:gd name="T63" fmla="*/ 217781 h 2048"/>
                <a:gd name="T64" fmla="*/ 2170481 w 7049"/>
                <a:gd name="T65" fmla="*/ 184196 h 2048"/>
                <a:gd name="T66" fmla="*/ 2056108 w 7049"/>
                <a:gd name="T67" fmla="*/ 152184 h 2048"/>
                <a:gd name="T68" fmla="*/ 1918686 w 7049"/>
                <a:gd name="T69" fmla="*/ 152184 h 2048"/>
                <a:gd name="T70" fmla="*/ 1743430 w 7049"/>
                <a:gd name="T71" fmla="*/ 166878 h 2048"/>
                <a:gd name="T72" fmla="*/ 1554258 w 7049"/>
                <a:gd name="T73" fmla="*/ 136966 h 2048"/>
                <a:gd name="T74" fmla="*/ 1430752 w 7049"/>
                <a:gd name="T75" fmla="*/ 128045 h 2048"/>
                <a:gd name="T76" fmla="*/ 1308116 w 7049"/>
                <a:gd name="T77" fmla="*/ 123322 h 2048"/>
                <a:gd name="T78" fmla="*/ 1184610 w 7049"/>
                <a:gd name="T79" fmla="*/ 30437 h 2048"/>
                <a:gd name="T80" fmla="*/ 1138078 w 7049"/>
                <a:gd name="T81" fmla="*/ 73468 h 2048"/>
                <a:gd name="T82" fmla="*/ 928032 w 7049"/>
                <a:gd name="T83" fmla="*/ 87637 h 2048"/>
                <a:gd name="T84" fmla="*/ 938904 w 7049"/>
                <a:gd name="T85" fmla="*/ 104955 h 2048"/>
                <a:gd name="T86" fmla="*/ 955864 w 7049"/>
                <a:gd name="T87" fmla="*/ 179473 h 2048"/>
                <a:gd name="T88" fmla="*/ 840621 w 7049"/>
                <a:gd name="T89" fmla="*/ 134342 h 2048"/>
                <a:gd name="T90" fmla="*/ 777129 w 7049"/>
                <a:gd name="T91" fmla="*/ 143263 h 2048"/>
                <a:gd name="T92" fmla="*/ 833663 w 7049"/>
                <a:gd name="T93" fmla="*/ 234049 h 2048"/>
                <a:gd name="T94" fmla="*/ 902809 w 7049"/>
                <a:gd name="T95" fmla="*/ 277605 h 2048"/>
                <a:gd name="T96" fmla="*/ 818877 w 7049"/>
                <a:gd name="T97" fmla="*/ 311191 h 2048"/>
                <a:gd name="T98" fmla="*/ 796698 w 7049"/>
                <a:gd name="T99" fmla="*/ 243495 h 2048"/>
                <a:gd name="T100" fmla="*/ 704939 w 7049"/>
                <a:gd name="T101" fmla="*/ 121223 h 2048"/>
                <a:gd name="T102" fmla="*/ 705809 w 7049"/>
                <a:gd name="T103" fmla="*/ 236673 h 2048"/>
                <a:gd name="T104" fmla="*/ 538380 w 7049"/>
                <a:gd name="T105" fmla="*/ 208335 h 2048"/>
                <a:gd name="T106" fmla="*/ 520985 w 7049"/>
                <a:gd name="T107" fmla="*/ 250317 h 2048"/>
                <a:gd name="T108" fmla="*/ 394870 w 7049"/>
                <a:gd name="T109" fmla="*/ 262387 h 2048"/>
                <a:gd name="T110" fmla="*/ 300936 w 7049"/>
                <a:gd name="T111" fmla="*/ 253466 h 2048"/>
                <a:gd name="T112" fmla="*/ 261797 w 7049"/>
                <a:gd name="T113" fmla="*/ 306993 h 2048"/>
                <a:gd name="T114" fmla="*/ 176996 w 7049"/>
                <a:gd name="T115" fmla="*/ 387808 h 2048"/>
                <a:gd name="T116" fmla="*/ 169603 w 7049"/>
                <a:gd name="T117" fmla="*/ 321162 h 2048"/>
                <a:gd name="T118" fmla="*/ 65232 w 7049"/>
                <a:gd name="T119" fmla="*/ 230901 h 2048"/>
                <a:gd name="T120" fmla="*/ 30876 w 7049"/>
                <a:gd name="T121" fmla="*/ 317488 h 2048"/>
                <a:gd name="T122" fmla="*/ 48706 w 7049"/>
                <a:gd name="T123" fmla="*/ 502733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 name="Freeform 23">
              <a:extLst>
                <a:ext uri="{FF2B5EF4-FFF2-40B4-BE49-F238E27FC236}">
                  <a16:creationId xmlns:a16="http://schemas.microsoft.com/office/drawing/2014/main" id="{48FEEBF2-7BF1-424A-A57A-8CF85558F4DF}"/>
                </a:ext>
              </a:extLst>
            </p:cNvPr>
            <p:cNvSpPr>
              <a:spLocks/>
            </p:cNvSpPr>
            <p:nvPr>
              <p:custDataLst>
                <p:tags r:id="rId18"/>
              </p:custDataLst>
            </p:nvPr>
          </p:nvSpPr>
          <p:spPr bwMode="auto">
            <a:xfrm>
              <a:off x="3795709" y="2274870"/>
              <a:ext cx="280986" cy="247648"/>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 name="Freeform 24">
              <a:extLst>
                <a:ext uri="{FF2B5EF4-FFF2-40B4-BE49-F238E27FC236}">
                  <a16:creationId xmlns:a16="http://schemas.microsoft.com/office/drawing/2014/main" id="{5D5E3C7D-5C55-4DFA-82D4-37201941399C}"/>
                </a:ext>
              </a:extLst>
            </p:cNvPr>
            <p:cNvSpPr>
              <a:spLocks/>
            </p:cNvSpPr>
            <p:nvPr>
              <p:custDataLst>
                <p:tags r:id="rId19"/>
              </p:custDataLst>
            </p:nvPr>
          </p:nvSpPr>
          <p:spPr bwMode="auto">
            <a:xfrm>
              <a:off x="6427780" y="3013051"/>
              <a:ext cx="207962" cy="455609"/>
            </a:xfrm>
            <a:custGeom>
              <a:avLst/>
              <a:gdLst>
                <a:gd name="T0" fmla="*/ 164546 w 479"/>
                <a:gd name="T1" fmla="*/ 187389 h 868"/>
                <a:gd name="T2" fmla="*/ 144575 w 479"/>
                <a:gd name="T3" fmla="*/ 194213 h 868"/>
                <a:gd name="T4" fmla="*/ 136326 w 479"/>
                <a:gd name="T5" fmla="*/ 204711 h 868"/>
                <a:gd name="T6" fmla="*/ 137194 w 479"/>
                <a:gd name="T7" fmla="*/ 224657 h 868"/>
                <a:gd name="T8" fmla="*/ 152824 w 479"/>
                <a:gd name="T9" fmla="*/ 258251 h 868"/>
                <a:gd name="T10" fmla="*/ 155863 w 479"/>
                <a:gd name="T11" fmla="*/ 278197 h 868"/>
                <a:gd name="T12" fmla="*/ 158902 w 479"/>
                <a:gd name="T13" fmla="*/ 291319 h 868"/>
                <a:gd name="T14" fmla="*/ 140233 w 479"/>
                <a:gd name="T15" fmla="*/ 276097 h 868"/>
                <a:gd name="T16" fmla="*/ 134155 w 479"/>
                <a:gd name="T17" fmla="*/ 258251 h 868"/>
                <a:gd name="T18" fmla="*/ 116789 w 479"/>
                <a:gd name="T19" fmla="*/ 245128 h 868"/>
                <a:gd name="T20" fmla="*/ 91173 w 479"/>
                <a:gd name="T21" fmla="*/ 230431 h 868"/>
                <a:gd name="T22" fmla="*/ 83793 w 479"/>
                <a:gd name="T23" fmla="*/ 213109 h 868"/>
                <a:gd name="T24" fmla="*/ 67729 w 479"/>
                <a:gd name="T25" fmla="*/ 250377 h 868"/>
                <a:gd name="T26" fmla="*/ 67729 w 479"/>
                <a:gd name="T27" fmla="*/ 275047 h 868"/>
                <a:gd name="T28" fmla="*/ 57309 w 479"/>
                <a:gd name="T29" fmla="*/ 301817 h 868"/>
                <a:gd name="T30" fmla="*/ 55572 w 479"/>
                <a:gd name="T31" fmla="*/ 325963 h 868"/>
                <a:gd name="T32" fmla="*/ 66860 w 479"/>
                <a:gd name="T33" fmla="*/ 341185 h 868"/>
                <a:gd name="T34" fmla="*/ 75978 w 479"/>
                <a:gd name="T35" fmla="*/ 359556 h 868"/>
                <a:gd name="T36" fmla="*/ 80319 w 479"/>
                <a:gd name="T37" fmla="*/ 383177 h 868"/>
                <a:gd name="T38" fmla="*/ 98120 w 479"/>
                <a:gd name="T39" fmla="*/ 409422 h 868"/>
                <a:gd name="T40" fmla="*/ 121999 w 479"/>
                <a:gd name="T41" fmla="*/ 433042 h 868"/>
                <a:gd name="T42" fmla="*/ 147614 w 479"/>
                <a:gd name="T43" fmla="*/ 446165 h 868"/>
                <a:gd name="T44" fmla="*/ 129379 w 479"/>
                <a:gd name="T45" fmla="*/ 455088 h 868"/>
                <a:gd name="T46" fmla="*/ 116789 w 479"/>
                <a:gd name="T47" fmla="*/ 453513 h 868"/>
                <a:gd name="T48" fmla="*/ 99422 w 479"/>
                <a:gd name="T49" fmla="*/ 441441 h 868"/>
                <a:gd name="T50" fmla="*/ 86832 w 479"/>
                <a:gd name="T51" fmla="*/ 431993 h 868"/>
                <a:gd name="T52" fmla="*/ 59480 w 479"/>
                <a:gd name="T53" fmla="*/ 398399 h 868"/>
                <a:gd name="T54" fmla="*/ 36035 w 479"/>
                <a:gd name="T55" fmla="*/ 383177 h 868"/>
                <a:gd name="T56" fmla="*/ 32128 w 479"/>
                <a:gd name="T57" fmla="*/ 361131 h 868"/>
                <a:gd name="T58" fmla="*/ 34733 w 479"/>
                <a:gd name="T59" fmla="*/ 342760 h 868"/>
                <a:gd name="T60" fmla="*/ 38206 w 479"/>
                <a:gd name="T61" fmla="*/ 323863 h 868"/>
                <a:gd name="T62" fmla="*/ 52099 w 479"/>
                <a:gd name="T63" fmla="*/ 261400 h 868"/>
                <a:gd name="T64" fmla="*/ 46889 w 479"/>
                <a:gd name="T65" fmla="*/ 212060 h 868"/>
                <a:gd name="T66" fmla="*/ 26918 w 479"/>
                <a:gd name="T67" fmla="*/ 167443 h 868"/>
                <a:gd name="T68" fmla="*/ 27786 w 479"/>
                <a:gd name="T69" fmla="*/ 149596 h 868"/>
                <a:gd name="T70" fmla="*/ 32128 w 479"/>
                <a:gd name="T71" fmla="*/ 139098 h 868"/>
                <a:gd name="T72" fmla="*/ 24313 w 479"/>
                <a:gd name="T73" fmla="*/ 106030 h 868"/>
                <a:gd name="T74" fmla="*/ 9986 w 479"/>
                <a:gd name="T75" fmla="*/ 82934 h 868"/>
                <a:gd name="T76" fmla="*/ 434 w 479"/>
                <a:gd name="T77" fmla="*/ 53540 h 868"/>
                <a:gd name="T78" fmla="*/ 4776 w 479"/>
                <a:gd name="T79" fmla="*/ 23096 h 868"/>
                <a:gd name="T80" fmla="*/ 21274 w 479"/>
                <a:gd name="T81" fmla="*/ 8398 h 868"/>
                <a:gd name="T82" fmla="*/ 52099 w 479"/>
                <a:gd name="T83" fmla="*/ 0 h 868"/>
                <a:gd name="T84" fmla="*/ 67729 w 479"/>
                <a:gd name="T85" fmla="*/ 14697 h 868"/>
                <a:gd name="T86" fmla="*/ 77714 w 479"/>
                <a:gd name="T87" fmla="*/ 18896 h 868"/>
                <a:gd name="T88" fmla="*/ 85529 w 479"/>
                <a:gd name="T89" fmla="*/ 71386 h 868"/>
                <a:gd name="T90" fmla="*/ 92476 w 479"/>
                <a:gd name="T91" fmla="*/ 87133 h 868"/>
                <a:gd name="T92" fmla="*/ 100291 w 479"/>
                <a:gd name="T93" fmla="*/ 81359 h 868"/>
                <a:gd name="T94" fmla="*/ 112013 w 479"/>
                <a:gd name="T95" fmla="*/ 66137 h 868"/>
                <a:gd name="T96" fmla="*/ 121999 w 479"/>
                <a:gd name="T97" fmla="*/ 74011 h 868"/>
                <a:gd name="T98" fmla="*/ 129379 w 479"/>
                <a:gd name="T99" fmla="*/ 71386 h 868"/>
                <a:gd name="T100" fmla="*/ 137194 w 479"/>
                <a:gd name="T101" fmla="*/ 56689 h 868"/>
                <a:gd name="T102" fmla="*/ 150219 w 479"/>
                <a:gd name="T103" fmla="*/ 56689 h 868"/>
                <a:gd name="T104" fmla="*/ 168019 w 479"/>
                <a:gd name="T105" fmla="*/ 82409 h 868"/>
                <a:gd name="T106" fmla="*/ 197108 w 479"/>
                <a:gd name="T107" fmla="*/ 129125 h 868"/>
                <a:gd name="T108" fmla="*/ 207528 w 479"/>
                <a:gd name="T109" fmla="*/ 161144 h 868"/>
                <a:gd name="T110" fmla="*/ 203186 w 479"/>
                <a:gd name="T111" fmla="*/ 177416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 name="Freeform 25">
              <a:extLst>
                <a:ext uri="{FF2B5EF4-FFF2-40B4-BE49-F238E27FC236}">
                  <a16:creationId xmlns:a16="http://schemas.microsoft.com/office/drawing/2014/main" id="{9DCE70B4-9DF2-4252-A310-4BC9A6677215}"/>
                </a:ext>
              </a:extLst>
            </p:cNvPr>
            <p:cNvSpPr>
              <a:spLocks/>
            </p:cNvSpPr>
            <p:nvPr>
              <p:custDataLst>
                <p:tags r:id="rId20"/>
              </p:custDataLst>
            </p:nvPr>
          </p:nvSpPr>
          <p:spPr bwMode="auto">
            <a:xfrm>
              <a:off x="2536822" y="5400632"/>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 name="Line 26" descr="Horizontal dunkel">
              <a:extLst>
                <a:ext uri="{FF2B5EF4-FFF2-40B4-BE49-F238E27FC236}">
                  <a16:creationId xmlns:a16="http://schemas.microsoft.com/office/drawing/2014/main" id="{0581C1F4-10B5-421A-A57A-021E4A132548}"/>
                </a:ext>
              </a:extLst>
            </p:cNvPr>
            <p:cNvSpPr>
              <a:spLocks noChangeShapeType="1"/>
            </p:cNvSpPr>
            <p:nvPr>
              <p:custDataLst>
                <p:tags r:id="rId21"/>
              </p:custDataLst>
            </p:nvPr>
          </p:nvSpPr>
          <p:spPr bwMode="auto">
            <a:xfrm>
              <a:off x="998537" y="2322495"/>
              <a:ext cx="3175"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 name="Freeform 27">
              <a:extLst>
                <a:ext uri="{FF2B5EF4-FFF2-40B4-BE49-F238E27FC236}">
                  <a16:creationId xmlns:a16="http://schemas.microsoft.com/office/drawing/2014/main" id="{0A6BFCC3-ACEA-4CE5-8C2F-C64F5B1F743E}"/>
                </a:ext>
              </a:extLst>
            </p:cNvPr>
            <p:cNvSpPr>
              <a:spLocks/>
            </p:cNvSpPr>
            <p:nvPr>
              <p:custDataLst>
                <p:tags r:id="rId22"/>
              </p:custDataLst>
            </p:nvPr>
          </p:nvSpPr>
          <p:spPr bwMode="auto">
            <a:xfrm>
              <a:off x="1001712" y="2319320"/>
              <a:ext cx="3175" cy="55562"/>
            </a:xfrm>
            <a:custGeom>
              <a:avLst/>
              <a:gdLst>
                <a:gd name="T0" fmla="*/ 0 w 6"/>
                <a:gd name="T1" fmla="*/ 55562 h 24"/>
                <a:gd name="T2" fmla="*/ 0 w 6"/>
                <a:gd name="T3" fmla="*/ 43987 h 24"/>
                <a:gd name="T4" fmla="*/ 529 w 6"/>
                <a:gd name="T5" fmla="*/ 32411 h 24"/>
                <a:gd name="T6" fmla="*/ 1588 w 6"/>
                <a:gd name="T7" fmla="*/ 18521 h 24"/>
                <a:gd name="T8" fmla="*/ 3175 w 6"/>
                <a:gd name="T9" fmla="*/ 0 h 2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24">
                  <a:moveTo>
                    <a:pt x="0" y="24"/>
                  </a:moveTo>
                  <a:lnTo>
                    <a:pt x="0" y="19"/>
                  </a:lnTo>
                  <a:lnTo>
                    <a:pt x="1" y="14"/>
                  </a:lnTo>
                  <a:lnTo>
                    <a:pt x="3" y="8"/>
                  </a:lnTo>
                  <a:lnTo>
                    <a:pt x="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7" name="Freeform 28">
              <a:extLst>
                <a:ext uri="{FF2B5EF4-FFF2-40B4-BE49-F238E27FC236}">
                  <a16:creationId xmlns:a16="http://schemas.microsoft.com/office/drawing/2014/main" id="{F9DD95D1-21C8-4766-9F7F-A754A1888AA5}"/>
                </a:ext>
              </a:extLst>
            </p:cNvPr>
            <p:cNvSpPr>
              <a:spLocks/>
            </p:cNvSpPr>
            <p:nvPr>
              <p:custDataLst>
                <p:tags r:id="rId23"/>
              </p:custDataLst>
            </p:nvPr>
          </p:nvSpPr>
          <p:spPr bwMode="auto">
            <a:xfrm>
              <a:off x="977899" y="2373295"/>
              <a:ext cx="23813" cy="57150"/>
            </a:xfrm>
            <a:custGeom>
              <a:avLst/>
              <a:gdLst>
                <a:gd name="T0" fmla="*/ 0 w 47"/>
                <a:gd name="T1" fmla="*/ 20472 h 67"/>
                <a:gd name="T2" fmla="*/ 0 w 47"/>
                <a:gd name="T3" fmla="*/ 25590 h 67"/>
                <a:gd name="T4" fmla="*/ 1013 w 47"/>
                <a:gd name="T5" fmla="*/ 30707 h 67"/>
                <a:gd name="T6" fmla="*/ 1520 w 47"/>
                <a:gd name="T7" fmla="*/ 35825 h 67"/>
                <a:gd name="T8" fmla="*/ 2533 w 47"/>
                <a:gd name="T9" fmla="*/ 40090 h 67"/>
                <a:gd name="T10" fmla="*/ 4560 w 47"/>
                <a:gd name="T11" fmla="*/ 49473 h 67"/>
                <a:gd name="T12" fmla="*/ 7093 w 47"/>
                <a:gd name="T13" fmla="*/ 57150 h 67"/>
                <a:gd name="T14" fmla="*/ 23813 w 47"/>
                <a:gd name="T15" fmla="*/ 57150 h 67"/>
                <a:gd name="T16" fmla="*/ 23813 w 47"/>
                <a:gd name="T17" fmla="*/ 0 h 67"/>
                <a:gd name="T18" fmla="*/ 18240 w 47"/>
                <a:gd name="T19" fmla="*/ 1706 h 67"/>
                <a:gd name="T20" fmla="*/ 13173 w 47"/>
                <a:gd name="T21" fmla="*/ 3412 h 67"/>
                <a:gd name="T22" fmla="*/ 9120 w 47"/>
                <a:gd name="T23" fmla="*/ 5971 h 67"/>
                <a:gd name="T24" fmla="*/ 5573 w 47"/>
                <a:gd name="T25" fmla="*/ 7677 h 67"/>
                <a:gd name="T26" fmla="*/ 3040 w 47"/>
                <a:gd name="T27" fmla="*/ 10236 h 67"/>
                <a:gd name="T28" fmla="*/ 1520 w 47"/>
                <a:gd name="T29" fmla="*/ 13648 h 67"/>
                <a:gd name="T30" fmla="*/ 0 w 47"/>
                <a:gd name="T31" fmla="*/ 17060 h 67"/>
                <a:gd name="T32" fmla="*/ 0 w 47"/>
                <a:gd name="T33" fmla="*/ 20472 h 67"/>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7" h="67">
                  <a:moveTo>
                    <a:pt x="0" y="24"/>
                  </a:moveTo>
                  <a:lnTo>
                    <a:pt x="0" y="30"/>
                  </a:lnTo>
                  <a:lnTo>
                    <a:pt x="2" y="36"/>
                  </a:lnTo>
                  <a:lnTo>
                    <a:pt x="3" y="42"/>
                  </a:lnTo>
                  <a:lnTo>
                    <a:pt x="5" y="47"/>
                  </a:lnTo>
                  <a:lnTo>
                    <a:pt x="9" y="58"/>
                  </a:lnTo>
                  <a:lnTo>
                    <a:pt x="14" y="67"/>
                  </a:lnTo>
                  <a:lnTo>
                    <a:pt x="47" y="67"/>
                  </a:lnTo>
                  <a:lnTo>
                    <a:pt x="47" y="0"/>
                  </a:lnTo>
                  <a:lnTo>
                    <a:pt x="36" y="2"/>
                  </a:lnTo>
                  <a:lnTo>
                    <a:pt x="26" y="4"/>
                  </a:lnTo>
                  <a:lnTo>
                    <a:pt x="18" y="7"/>
                  </a:lnTo>
                  <a:lnTo>
                    <a:pt x="11" y="9"/>
                  </a:lnTo>
                  <a:lnTo>
                    <a:pt x="6" y="12"/>
                  </a:lnTo>
                  <a:lnTo>
                    <a:pt x="3" y="16"/>
                  </a:lnTo>
                  <a:lnTo>
                    <a:pt x="0" y="20"/>
                  </a:lnTo>
                  <a:lnTo>
                    <a:pt x="0" y="2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 name="Freeform 29">
              <a:extLst>
                <a:ext uri="{FF2B5EF4-FFF2-40B4-BE49-F238E27FC236}">
                  <a16:creationId xmlns:a16="http://schemas.microsoft.com/office/drawing/2014/main" id="{963292A3-4095-4C48-A757-10EA0291E651}"/>
                </a:ext>
              </a:extLst>
            </p:cNvPr>
            <p:cNvSpPr>
              <a:spLocks/>
            </p:cNvSpPr>
            <p:nvPr>
              <p:custDataLst>
                <p:tags r:id="rId24"/>
              </p:custDataLst>
            </p:nvPr>
          </p:nvSpPr>
          <p:spPr bwMode="auto">
            <a:xfrm>
              <a:off x="2303461" y="2368532"/>
              <a:ext cx="49212" cy="57150"/>
            </a:xfrm>
            <a:custGeom>
              <a:avLst/>
              <a:gdLst>
                <a:gd name="T0" fmla="*/ 0 w 112"/>
                <a:gd name="T1" fmla="*/ 57150 h 36"/>
                <a:gd name="T2" fmla="*/ 25924 w 112"/>
                <a:gd name="T3" fmla="*/ 57150 h 36"/>
                <a:gd name="T4" fmla="*/ 29439 w 112"/>
                <a:gd name="T5" fmla="*/ 47625 h 36"/>
                <a:gd name="T6" fmla="*/ 32954 w 112"/>
                <a:gd name="T7" fmla="*/ 41275 h 36"/>
                <a:gd name="T8" fmla="*/ 36909 w 112"/>
                <a:gd name="T9" fmla="*/ 36513 h 36"/>
                <a:gd name="T10" fmla="*/ 39985 w 112"/>
                <a:gd name="T11" fmla="*/ 31750 h 36"/>
                <a:gd name="T12" fmla="*/ 43061 w 112"/>
                <a:gd name="T13" fmla="*/ 26988 h 36"/>
                <a:gd name="T14" fmla="*/ 45697 w 112"/>
                <a:gd name="T15" fmla="*/ 20638 h 36"/>
                <a:gd name="T16" fmla="*/ 47015 w 112"/>
                <a:gd name="T17" fmla="*/ 17463 h 36"/>
                <a:gd name="T18" fmla="*/ 47894 w 112"/>
                <a:gd name="T19" fmla="*/ 12700 h 36"/>
                <a:gd name="T20" fmla="*/ 48773 w 112"/>
                <a:gd name="T21" fmla="*/ 6350 h 36"/>
                <a:gd name="T22" fmla="*/ 49212 w 112"/>
                <a:gd name="T23" fmla="*/ 0 h 36"/>
                <a:gd name="T24" fmla="*/ 43939 w 112"/>
                <a:gd name="T25" fmla="*/ 0 h 36"/>
                <a:gd name="T26" fmla="*/ 37348 w 112"/>
                <a:gd name="T27" fmla="*/ 1588 h 36"/>
                <a:gd name="T28" fmla="*/ 29439 w 112"/>
                <a:gd name="T29" fmla="*/ 4763 h 36"/>
                <a:gd name="T30" fmla="*/ 21091 w 112"/>
                <a:gd name="T31" fmla="*/ 11113 h 36"/>
                <a:gd name="T32" fmla="*/ 17576 w 112"/>
                <a:gd name="T33" fmla="*/ 14288 h 36"/>
                <a:gd name="T34" fmla="*/ 13621 w 112"/>
                <a:gd name="T35" fmla="*/ 17463 h 36"/>
                <a:gd name="T36" fmla="*/ 10106 w 112"/>
                <a:gd name="T37" fmla="*/ 22225 h 36"/>
                <a:gd name="T38" fmla="*/ 7470 w 112"/>
                <a:gd name="T39" fmla="*/ 28575 h 36"/>
                <a:gd name="T40" fmla="*/ 4394 w 112"/>
                <a:gd name="T41" fmla="*/ 34925 h 36"/>
                <a:gd name="T42" fmla="*/ 2636 w 112"/>
                <a:gd name="T43" fmla="*/ 41275 h 36"/>
                <a:gd name="T44" fmla="*/ 439 w 112"/>
                <a:gd name="T45" fmla="*/ 49213 h 36"/>
                <a:gd name="T46" fmla="*/ 0 w 112"/>
                <a:gd name="T47" fmla="*/ 57150 h 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12" h="36">
                  <a:moveTo>
                    <a:pt x="0" y="36"/>
                  </a:moveTo>
                  <a:lnTo>
                    <a:pt x="59" y="36"/>
                  </a:lnTo>
                  <a:lnTo>
                    <a:pt x="67" y="30"/>
                  </a:lnTo>
                  <a:lnTo>
                    <a:pt x="75" y="26"/>
                  </a:lnTo>
                  <a:lnTo>
                    <a:pt x="84" y="23"/>
                  </a:lnTo>
                  <a:lnTo>
                    <a:pt x="91" y="20"/>
                  </a:lnTo>
                  <a:lnTo>
                    <a:pt x="98" y="17"/>
                  </a:lnTo>
                  <a:lnTo>
                    <a:pt x="104" y="13"/>
                  </a:lnTo>
                  <a:lnTo>
                    <a:pt x="107" y="11"/>
                  </a:lnTo>
                  <a:lnTo>
                    <a:pt x="109" y="8"/>
                  </a:lnTo>
                  <a:lnTo>
                    <a:pt x="111" y="4"/>
                  </a:lnTo>
                  <a:lnTo>
                    <a:pt x="112" y="0"/>
                  </a:lnTo>
                  <a:lnTo>
                    <a:pt x="100" y="0"/>
                  </a:lnTo>
                  <a:lnTo>
                    <a:pt x="85" y="1"/>
                  </a:lnTo>
                  <a:lnTo>
                    <a:pt x="67" y="3"/>
                  </a:lnTo>
                  <a:lnTo>
                    <a:pt x="48" y="7"/>
                  </a:lnTo>
                  <a:lnTo>
                    <a:pt x="40" y="9"/>
                  </a:lnTo>
                  <a:lnTo>
                    <a:pt x="31" y="11"/>
                  </a:lnTo>
                  <a:lnTo>
                    <a:pt x="23" y="14"/>
                  </a:lnTo>
                  <a:lnTo>
                    <a:pt x="17" y="18"/>
                  </a:lnTo>
                  <a:lnTo>
                    <a:pt x="10" y="22"/>
                  </a:lnTo>
                  <a:lnTo>
                    <a:pt x="6" y="26"/>
                  </a:lnTo>
                  <a:lnTo>
                    <a:pt x="1" y="31"/>
                  </a:lnTo>
                  <a:lnTo>
                    <a:pt x="0" y="3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 name="Freeform 30">
              <a:extLst>
                <a:ext uri="{FF2B5EF4-FFF2-40B4-BE49-F238E27FC236}">
                  <a16:creationId xmlns:a16="http://schemas.microsoft.com/office/drawing/2014/main" id="{275EACED-F406-44FB-AC25-1F8CCE10A363}"/>
                </a:ext>
              </a:extLst>
            </p:cNvPr>
            <p:cNvSpPr>
              <a:spLocks/>
            </p:cNvSpPr>
            <p:nvPr>
              <p:custDataLst>
                <p:tags r:id="rId25"/>
              </p:custDataLst>
            </p:nvPr>
          </p:nvSpPr>
          <p:spPr bwMode="auto">
            <a:xfrm>
              <a:off x="5041894" y="1925623"/>
              <a:ext cx="874712" cy="452433"/>
            </a:xfrm>
            <a:custGeom>
              <a:avLst/>
              <a:gdLst>
                <a:gd name="T0" fmla="*/ 188809 w 2006"/>
                <a:gd name="T1" fmla="*/ 401059 h 863"/>
                <a:gd name="T2" fmla="*/ 179652 w 2006"/>
                <a:gd name="T3" fmla="*/ 400535 h 863"/>
                <a:gd name="T4" fmla="*/ 170059 w 2006"/>
                <a:gd name="T5" fmla="*/ 416263 h 863"/>
                <a:gd name="T6" fmla="*/ 163518 w 2006"/>
                <a:gd name="T7" fmla="*/ 415214 h 863"/>
                <a:gd name="T8" fmla="*/ 161338 w 2006"/>
                <a:gd name="T9" fmla="*/ 393720 h 863"/>
                <a:gd name="T10" fmla="*/ 141280 w 2006"/>
                <a:gd name="T11" fmla="*/ 379565 h 863"/>
                <a:gd name="T12" fmla="*/ 136047 w 2006"/>
                <a:gd name="T13" fmla="*/ 371177 h 863"/>
                <a:gd name="T14" fmla="*/ 125582 w 2006"/>
                <a:gd name="T15" fmla="*/ 362788 h 863"/>
                <a:gd name="T16" fmla="*/ 109448 w 2006"/>
                <a:gd name="T17" fmla="*/ 336051 h 863"/>
                <a:gd name="T18" fmla="*/ 101163 w 2006"/>
                <a:gd name="T19" fmla="*/ 319799 h 863"/>
                <a:gd name="T20" fmla="*/ 110320 w 2006"/>
                <a:gd name="T21" fmla="*/ 311411 h 863"/>
                <a:gd name="T22" fmla="*/ 121657 w 2006"/>
                <a:gd name="T23" fmla="*/ 300401 h 863"/>
                <a:gd name="T24" fmla="*/ 147384 w 2006"/>
                <a:gd name="T25" fmla="*/ 285198 h 863"/>
                <a:gd name="T26" fmla="*/ 139099 w 2006"/>
                <a:gd name="T27" fmla="*/ 255315 h 863"/>
                <a:gd name="T28" fmla="*/ 112500 w 2006"/>
                <a:gd name="T29" fmla="*/ 249024 h 863"/>
                <a:gd name="T30" fmla="*/ 91134 w 2006"/>
                <a:gd name="T31" fmla="*/ 246403 h 863"/>
                <a:gd name="T32" fmla="*/ 68460 w 2006"/>
                <a:gd name="T33" fmla="*/ 259509 h 863"/>
                <a:gd name="T34" fmla="*/ 46221 w 2006"/>
                <a:gd name="T35" fmla="*/ 264752 h 863"/>
                <a:gd name="T36" fmla="*/ 11773 w 2006"/>
                <a:gd name="T37" fmla="*/ 216520 h 863"/>
                <a:gd name="T38" fmla="*/ 8721 w 2006"/>
                <a:gd name="T39" fmla="*/ 148366 h 863"/>
                <a:gd name="T40" fmla="*/ 49273 w 2006"/>
                <a:gd name="T41" fmla="*/ 135784 h 863"/>
                <a:gd name="T42" fmla="*/ 127326 w 2006"/>
                <a:gd name="T43" fmla="*/ 116386 h 863"/>
                <a:gd name="T44" fmla="*/ 217152 w 2006"/>
                <a:gd name="T45" fmla="*/ 132638 h 863"/>
                <a:gd name="T46" fmla="*/ 312647 w 2006"/>
                <a:gd name="T47" fmla="*/ 132638 h 863"/>
                <a:gd name="T48" fmla="*/ 286920 w 2006"/>
                <a:gd name="T49" fmla="*/ 96988 h 863"/>
                <a:gd name="T50" fmla="*/ 361920 w 2006"/>
                <a:gd name="T51" fmla="*/ 35650 h 863"/>
                <a:gd name="T52" fmla="*/ 457851 w 2006"/>
                <a:gd name="T53" fmla="*/ 6815 h 863"/>
                <a:gd name="T54" fmla="*/ 512793 w 2006"/>
                <a:gd name="T55" fmla="*/ 31980 h 863"/>
                <a:gd name="T56" fmla="*/ 565119 w 2006"/>
                <a:gd name="T57" fmla="*/ 58193 h 863"/>
                <a:gd name="T58" fmla="*/ 628782 w 2006"/>
                <a:gd name="T59" fmla="*/ 51902 h 863"/>
                <a:gd name="T60" fmla="*/ 718172 w 2006"/>
                <a:gd name="T61" fmla="*/ 142075 h 863"/>
                <a:gd name="T62" fmla="*/ 781835 w 2006"/>
                <a:gd name="T63" fmla="*/ 138929 h 863"/>
                <a:gd name="T64" fmla="*/ 872097 w 2006"/>
                <a:gd name="T65" fmla="*/ 177724 h 863"/>
                <a:gd name="T66" fmla="*/ 872969 w 2006"/>
                <a:gd name="T67" fmla="*/ 199743 h 863"/>
                <a:gd name="T68" fmla="*/ 863812 w 2006"/>
                <a:gd name="T69" fmla="*/ 209180 h 863"/>
                <a:gd name="T70" fmla="*/ 854655 w 2006"/>
                <a:gd name="T71" fmla="*/ 211801 h 863"/>
                <a:gd name="T72" fmla="*/ 855963 w 2006"/>
                <a:gd name="T73" fmla="*/ 222811 h 863"/>
                <a:gd name="T74" fmla="*/ 865556 w 2006"/>
                <a:gd name="T75" fmla="*/ 244305 h 863"/>
                <a:gd name="T76" fmla="*/ 862940 w 2006"/>
                <a:gd name="T77" fmla="*/ 250597 h 863"/>
                <a:gd name="T78" fmla="*/ 845498 w 2006"/>
                <a:gd name="T79" fmla="*/ 252169 h 863"/>
                <a:gd name="T80" fmla="*/ 825440 w 2006"/>
                <a:gd name="T81" fmla="*/ 248500 h 863"/>
                <a:gd name="T82" fmla="*/ 812794 w 2006"/>
                <a:gd name="T83" fmla="*/ 248500 h 863"/>
                <a:gd name="T84" fmla="*/ 818899 w 2006"/>
                <a:gd name="T85" fmla="*/ 287295 h 863"/>
                <a:gd name="T86" fmla="*/ 819771 w 2006"/>
                <a:gd name="T87" fmla="*/ 307217 h 863"/>
                <a:gd name="T88" fmla="*/ 780091 w 2006"/>
                <a:gd name="T89" fmla="*/ 308265 h 863"/>
                <a:gd name="T90" fmla="*/ 770933 w 2006"/>
                <a:gd name="T91" fmla="*/ 316653 h 863"/>
                <a:gd name="T92" fmla="*/ 782707 w 2006"/>
                <a:gd name="T93" fmla="*/ 324517 h 863"/>
                <a:gd name="T94" fmla="*/ 790992 w 2006"/>
                <a:gd name="T95" fmla="*/ 340769 h 863"/>
                <a:gd name="T96" fmla="*/ 799713 w 2006"/>
                <a:gd name="T97" fmla="*/ 361216 h 863"/>
                <a:gd name="T98" fmla="*/ 801021 w 2006"/>
                <a:gd name="T99" fmla="*/ 370128 h 863"/>
                <a:gd name="T100" fmla="*/ 801021 w 2006"/>
                <a:gd name="T101" fmla="*/ 395293 h 863"/>
                <a:gd name="T102" fmla="*/ 759160 w 2006"/>
                <a:gd name="T103" fmla="*/ 387953 h 863"/>
                <a:gd name="T104" fmla="*/ 643171 w 2006"/>
                <a:gd name="T105" fmla="*/ 400535 h 863"/>
                <a:gd name="T106" fmla="*/ 573840 w 2006"/>
                <a:gd name="T107" fmla="*/ 416787 h 863"/>
                <a:gd name="T108" fmla="*/ 497967 w 2006"/>
                <a:gd name="T109" fmla="*/ 439330 h 863"/>
                <a:gd name="T110" fmla="*/ 419915 w 2006"/>
                <a:gd name="T111" fmla="*/ 365410 h 863"/>
                <a:gd name="T112" fmla="*/ 298257 w 2006"/>
                <a:gd name="T113" fmla="*/ 307217 h 863"/>
                <a:gd name="T114" fmla="*/ 254652 w 2006"/>
                <a:gd name="T115" fmla="*/ 436185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 name="Freeform 31">
              <a:extLst>
                <a:ext uri="{FF2B5EF4-FFF2-40B4-BE49-F238E27FC236}">
                  <a16:creationId xmlns:a16="http://schemas.microsoft.com/office/drawing/2014/main" id="{FC23779F-3CD3-4510-BC5D-DA99F04EF623}"/>
                </a:ext>
              </a:extLst>
            </p:cNvPr>
            <p:cNvSpPr>
              <a:spLocks/>
            </p:cNvSpPr>
            <p:nvPr>
              <p:custDataLst>
                <p:tags r:id="rId26"/>
              </p:custDataLst>
            </p:nvPr>
          </p:nvSpPr>
          <p:spPr bwMode="auto">
            <a:xfrm>
              <a:off x="5272082" y="2228833"/>
              <a:ext cx="409574" cy="249236"/>
            </a:xfrm>
            <a:custGeom>
              <a:avLst/>
              <a:gdLst>
                <a:gd name="T0" fmla="*/ 275062 w 950"/>
                <a:gd name="T1" fmla="*/ 235924 h 468"/>
                <a:gd name="T2" fmla="*/ 240571 w 950"/>
                <a:gd name="T3" fmla="*/ 222610 h 468"/>
                <a:gd name="T4" fmla="*/ 203063 w 950"/>
                <a:gd name="T5" fmla="*/ 200242 h 468"/>
                <a:gd name="T6" fmla="*/ 169004 w 950"/>
                <a:gd name="T7" fmla="*/ 163496 h 468"/>
                <a:gd name="T8" fmla="*/ 131495 w 950"/>
                <a:gd name="T9" fmla="*/ 137400 h 468"/>
                <a:gd name="T10" fmla="*/ 109076 w 950"/>
                <a:gd name="T11" fmla="*/ 111305 h 468"/>
                <a:gd name="T12" fmla="*/ 80190 w 950"/>
                <a:gd name="T13" fmla="*/ 91600 h 468"/>
                <a:gd name="T14" fmla="*/ 57341 w 950"/>
                <a:gd name="T15" fmla="*/ 101186 h 468"/>
                <a:gd name="T16" fmla="*/ 42682 w 950"/>
                <a:gd name="T17" fmla="*/ 127814 h 468"/>
                <a:gd name="T18" fmla="*/ 17245 w 950"/>
                <a:gd name="T19" fmla="*/ 131010 h 468"/>
                <a:gd name="T20" fmla="*/ 0 w 950"/>
                <a:gd name="T21" fmla="*/ 12781 h 468"/>
                <a:gd name="T22" fmla="*/ 34059 w 950"/>
                <a:gd name="T23" fmla="*/ 3195 h 468"/>
                <a:gd name="T24" fmla="*/ 57341 w 950"/>
                <a:gd name="T25" fmla="*/ 29291 h 468"/>
                <a:gd name="T26" fmla="*/ 67688 w 950"/>
                <a:gd name="T27" fmla="*/ 7988 h 468"/>
                <a:gd name="T28" fmla="*/ 143136 w 950"/>
                <a:gd name="T29" fmla="*/ 62310 h 468"/>
                <a:gd name="T30" fmla="*/ 188836 w 950"/>
                <a:gd name="T31" fmla="*/ 62310 h 468"/>
                <a:gd name="T32" fmla="*/ 226344 w 950"/>
                <a:gd name="T33" fmla="*/ 71896 h 468"/>
                <a:gd name="T34" fmla="*/ 257386 w 950"/>
                <a:gd name="T35" fmla="*/ 121424 h 468"/>
                <a:gd name="T36" fmla="*/ 289289 w 950"/>
                <a:gd name="T37" fmla="*/ 134205 h 468"/>
                <a:gd name="T38" fmla="*/ 314726 w 950"/>
                <a:gd name="T39" fmla="*/ 137400 h 468"/>
                <a:gd name="T40" fmla="*/ 341025 w 950"/>
                <a:gd name="T41" fmla="*/ 114500 h 468"/>
                <a:gd name="T42" fmla="*/ 363444 w 950"/>
                <a:gd name="T43" fmla="*/ 104382 h 468"/>
                <a:gd name="T44" fmla="*/ 355252 w 950"/>
                <a:gd name="T45" fmla="*/ 134205 h 468"/>
                <a:gd name="T46" fmla="*/ 375084 w 950"/>
                <a:gd name="T47" fmla="*/ 127814 h 468"/>
                <a:gd name="T48" fmla="*/ 409575 w 950"/>
                <a:gd name="T49" fmla="*/ 150714 h 468"/>
                <a:gd name="T50" fmla="*/ 380689 w 950"/>
                <a:gd name="T51" fmla="*/ 170419 h 468"/>
                <a:gd name="T52" fmla="*/ 355252 w 950"/>
                <a:gd name="T53" fmla="*/ 150714 h 468"/>
                <a:gd name="T54" fmla="*/ 329385 w 950"/>
                <a:gd name="T55" fmla="*/ 147519 h 468"/>
                <a:gd name="T56" fmla="*/ 317744 w 950"/>
                <a:gd name="T57" fmla="*/ 170419 h 468"/>
                <a:gd name="T58" fmla="*/ 294894 w 950"/>
                <a:gd name="T59" fmla="*/ 190124 h 468"/>
                <a:gd name="T60" fmla="*/ 306103 w 950"/>
                <a:gd name="T61" fmla="*/ 206633 h 468"/>
                <a:gd name="T62" fmla="*/ 320331 w 950"/>
                <a:gd name="T63" fmla="*/ 232729 h 468"/>
                <a:gd name="T64" fmla="*/ 309121 w 950"/>
                <a:gd name="T65" fmla="*/ 249238 h 468"/>
                <a:gd name="T66" fmla="*/ 303086 w 950"/>
                <a:gd name="T67" fmla="*/ 247640 h 468"/>
                <a:gd name="T68" fmla="*/ 294894 w 950"/>
                <a:gd name="T69" fmla="*/ 245510 h 468"/>
                <a:gd name="T70" fmla="*/ 283685 w 950"/>
                <a:gd name="T71" fmla="*/ 245510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 name="Freeform 32">
              <a:extLst>
                <a:ext uri="{FF2B5EF4-FFF2-40B4-BE49-F238E27FC236}">
                  <a16:creationId xmlns:a16="http://schemas.microsoft.com/office/drawing/2014/main" id="{CABEE7A3-6DE2-4ABB-A5DF-FD5A7FBE52CF}"/>
                </a:ext>
              </a:extLst>
            </p:cNvPr>
            <p:cNvSpPr>
              <a:spLocks/>
            </p:cNvSpPr>
            <p:nvPr>
              <p:custDataLst>
                <p:tags r:id="rId27"/>
              </p:custDataLst>
            </p:nvPr>
          </p:nvSpPr>
          <p:spPr bwMode="auto">
            <a:xfrm>
              <a:off x="4079870" y="3232125"/>
              <a:ext cx="296862" cy="288923"/>
            </a:xfrm>
            <a:custGeom>
              <a:avLst/>
              <a:gdLst>
                <a:gd name="T0" fmla="*/ 2655 w 671"/>
                <a:gd name="T1" fmla="*/ 201563 h 549"/>
                <a:gd name="T2" fmla="*/ 3539 w 671"/>
                <a:gd name="T3" fmla="*/ 166303 h 549"/>
                <a:gd name="T4" fmla="*/ 7521 w 671"/>
                <a:gd name="T5" fmla="*/ 151041 h 549"/>
                <a:gd name="T6" fmla="*/ 23006 w 671"/>
                <a:gd name="T7" fmla="*/ 125253 h 549"/>
                <a:gd name="T8" fmla="*/ 31412 w 671"/>
                <a:gd name="T9" fmla="*/ 107886 h 549"/>
                <a:gd name="T10" fmla="*/ 32297 w 671"/>
                <a:gd name="T11" fmla="*/ 87888 h 549"/>
                <a:gd name="T12" fmla="*/ 32297 w 671"/>
                <a:gd name="T13" fmla="*/ 72100 h 549"/>
                <a:gd name="T14" fmla="*/ 23891 w 671"/>
                <a:gd name="T15" fmla="*/ 56838 h 549"/>
                <a:gd name="T16" fmla="*/ 26988 w 671"/>
                <a:gd name="T17" fmla="*/ 41576 h 549"/>
                <a:gd name="T18" fmla="*/ 33624 w 671"/>
                <a:gd name="T19" fmla="*/ 26314 h 549"/>
                <a:gd name="T20" fmla="*/ 42472 w 671"/>
                <a:gd name="T21" fmla="*/ 13157 h 549"/>
                <a:gd name="T22" fmla="*/ 53090 w 671"/>
                <a:gd name="T23" fmla="*/ 3684 h 549"/>
                <a:gd name="T24" fmla="*/ 64593 w 671"/>
                <a:gd name="T25" fmla="*/ 0 h 549"/>
                <a:gd name="T26" fmla="*/ 76538 w 671"/>
                <a:gd name="T27" fmla="*/ 2631 h 549"/>
                <a:gd name="T28" fmla="*/ 91138 w 671"/>
                <a:gd name="T29" fmla="*/ 13683 h 549"/>
                <a:gd name="T30" fmla="*/ 104411 w 671"/>
                <a:gd name="T31" fmla="*/ 23682 h 549"/>
                <a:gd name="T32" fmla="*/ 114586 w 671"/>
                <a:gd name="T33" fmla="*/ 26314 h 549"/>
                <a:gd name="T34" fmla="*/ 120338 w 671"/>
                <a:gd name="T35" fmla="*/ 23156 h 549"/>
                <a:gd name="T36" fmla="*/ 125647 w 671"/>
                <a:gd name="T37" fmla="*/ 18420 h 549"/>
                <a:gd name="T38" fmla="*/ 132726 w 671"/>
                <a:gd name="T39" fmla="*/ 16841 h 549"/>
                <a:gd name="T40" fmla="*/ 140689 w 671"/>
                <a:gd name="T41" fmla="*/ 20525 h 549"/>
                <a:gd name="T42" fmla="*/ 149095 w 671"/>
                <a:gd name="T43" fmla="*/ 34208 h 549"/>
                <a:gd name="T44" fmla="*/ 156174 w 671"/>
                <a:gd name="T45" fmla="*/ 41576 h 549"/>
                <a:gd name="T46" fmla="*/ 163695 w 671"/>
                <a:gd name="T47" fmla="*/ 42628 h 549"/>
                <a:gd name="T48" fmla="*/ 168562 w 671"/>
                <a:gd name="T49" fmla="*/ 39471 h 549"/>
                <a:gd name="T50" fmla="*/ 175640 w 671"/>
                <a:gd name="T51" fmla="*/ 29471 h 549"/>
                <a:gd name="T52" fmla="*/ 185373 w 671"/>
                <a:gd name="T53" fmla="*/ 19998 h 549"/>
                <a:gd name="T54" fmla="*/ 202628 w 671"/>
                <a:gd name="T55" fmla="*/ 11578 h 549"/>
                <a:gd name="T56" fmla="*/ 215458 w 671"/>
                <a:gd name="T57" fmla="*/ 13157 h 549"/>
                <a:gd name="T58" fmla="*/ 226076 w 671"/>
                <a:gd name="T59" fmla="*/ 18420 h 549"/>
                <a:gd name="T60" fmla="*/ 237579 w 671"/>
                <a:gd name="T61" fmla="*/ 22630 h 549"/>
                <a:gd name="T62" fmla="*/ 252621 w 671"/>
                <a:gd name="T63" fmla="*/ 20525 h 549"/>
                <a:gd name="T64" fmla="*/ 285803 w 671"/>
                <a:gd name="T65" fmla="*/ 35260 h 549"/>
                <a:gd name="T66" fmla="*/ 294208 w 671"/>
                <a:gd name="T67" fmla="*/ 55259 h 549"/>
                <a:gd name="T68" fmla="*/ 275627 w 671"/>
                <a:gd name="T69" fmla="*/ 96308 h 549"/>
                <a:gd name="T70" fmla="*/ 262354 w 671"/>
                <a:gd name="T71" fmla="*/ 122622 h 549"/>
                <a:gd name="T72" fmla="*/ 252179 w 671"/>
                <a:gd name="T73" fmla="*/ 153146 h 549"/>
                <a:gd name="T74" fmla="*/ 243330 w 671"/>
                <a:gd name="T75" fmla="*/ 180512 h 549"/>
                <a:gd name="T76" fmla="*/ 232270 w 671"/>
                <a:gd name="T77" fmla="*/ 214194 h 549"/>
                <a:gd name="T78" fmla="*/ 228288 w 671"/>
                <a:gd name="T79" fmla="*/ 222088 h 549"/>
                <a:gd name="T80" fmla="*/ 221209 w 671"/>
                <a:gd name="T81" fmla="*/ 231035 h 549"/>
                <a:gd name="T82" fmla="*/ 213246 w 671"/>
                <a:gd name="T83" fmla="*/ 233140 h 549"/>
                <a:gd name="T84" fmla="*/ 203070 w 671"/>
                <a:gd name="T85" fmla="*/ 227351 h 549"/>
                <a:gd name="T86" fmla="*/ 194664 w 671"/>
                <a:gd name="T87" fmla="*/ 221562 h 549"/>
                <a:gd name="T88" fmla="*/ 180507 w 671"/>
                <a:gd name="T89" fmla="*/ 223141 h 549"/>
                <a:gd name="T90" fmla="*/ 168562 w 671"/>
                <a:gd name="T91" fmla="*/ 232087 h 549"/>
                <a:gd name="T92" fmla="*/ 161040 w 671"/>
                <a:gd name="T93" fmla="*/ 246823 h 549"/>
                <a:gd name="T94" fmla="*/ 151307 w 671"/>
                <a:gd name="T95" fmla="*/ 274189 h 549"/>
                <a:gd name="T96" fmla="*/ 143786 w 671"/>
                <a:gd name="T97" fmla="*/ 288925 h 549"/>
                <a:gd name="T98" fmla="*/ 101314 w 671"/>
                <a:gd name="T99" fmla="*/ 287346 h 549"/>
                <a:gd name="T100" fmla="*/ 96005 w 671"/>
                <a:gd name="T101" fmla="*/ 288399 h 549"/>
                <a:gd name="T102" fmla="*/ 79193 w 671"/>
                <a:gd name="T103" fmla="*/ 285767 h 549"/>
                <a:gd name="T104" fmla="*/ 71229 w 671"/>
                <a:gd name="T105" fmla="*/ 284189 h 549"/>
                <a:gd name="T106" fmla="*/ 63708 w 671"/>
                <a:gd name="T107" fmla="*/ 279452 h 549"/>
                <a:gd name="T108" fmla="*/ 57072 w 671"/>
                <a:gd name="T109" fmla="*/ 271032 h 549"/>
                <a:gd name="T110" fmla="*/ 52648 w 671"/>
                <a:gd name="T111" fmla="*/ 261032 h 549"/>
                <a:gd name="T112" fmla="*/ 49993 w 671"/>
                <a:gd name="T113" fmla="*/ 248402 h 549"/>
                <a:gd name="T114" fmla="*/ 44242 w 671"/>
                <a:gd name="T115" fmla="*/ 242087 h 549"/>
                <a:gd name="T116" fmla="*/ 36721 w 671"/>
                <a:gd name="T117" fmla="*/ 235245 h 549"/>
                <a:gd name="T118" fmla="*/ 27872 w 671"/>
                <a:gd name="T119" fmla="*/ 227351 h 549"/>
                <a:gd name="T120" fmla="*/ 17254 w 671"/>
                <a:gd name="T121" fmla="*/ 225772 h 549"/>
                <a:gd name="T122" fmla="*/ 0 w 671"/>
                <a:gd name="T123" fmla="*/ 230508 h 549"/>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71" h="549">
                  <a:moveTo>
                    <a:pt x="0" y="438"/>
                  </a:moveTo>
                  <a:lnTo>
                    <a:pt x="4" y="405"/>
                  </a:lnTo>
                  <a:lnTo>
                    <a:pt x="6" y="383"/>
                  </a:lnTo>
                  <a:lnTo>
                    <a:pt x="7" y="360"/>
                  </a:lnTo>
                  <a:lnTo>
                    <a:pt x="7" y="327"/>
                  </a:lnTo>
                  <a:lnTo>
                    <a:pt x="8" y="316"/>
                  </a:lnTo>
                  <a:lnTo>
                    <a:pt x="9" y="306"/>
                  </a:lnTo>
                  <a:lnTo>
                    <a:pt x="12" y="296"/>
                  </a:lnTo>
                  <a:lnTo>
                    <a:pt x="17" y="287"/>
                  </a:lnTo>
                  <a:lnTo>
                    <a:pt x="28" y="270"/>
                  </a:lnTo>
                  <a:lnTo>
                    <a:pt x="40" y="254"/>
                  </a:lnTo>
                  <a:lnTo>
                    <a:pt x="52" y="238"/>
                  </a:lnTo>
                  <a:lnTo>
                    <a:pt x="63" y="222"/>
                  </a:lnTo>
                  <a:lnTo>
                    <a:pt x="67" y="214"/>
                  </a:lnTo>
                  <a:lnTo>
                    <a:pt x="71" y="205"/>
                  </a:lnTo>
                  <a:lnTo>
                    <a:pt x="73" y="196"/>
                  </a:lnTo>
                  <a:lnTo>
                    <a:pt x="73" y="185"/>
                  </a:lnTo>
                  <a:lnTo>
                    <a:pt x="73" y="167"/>
                  </a:lnTo>
                  <a:lnTo>
                    <a:pt x="73" y="156"/>
                  </a:lnTo>
                  <a:lnTo>
                    <a:pt x="73" y="148"/>
                  </a:lnTo>
                  <a:lnTo>
                    <a:pt x="73" y="137"/>
                  </a:lnTo>
                  <a:lnTo>
                    <a:pt x="63" y="126"/>
                  </a:lnTo>
                  <a:lnTo>
                    <a:pt x="53" y="117"/>
                  </a:lnTo>
                  <a:lnTo>
                    <a:pt x="54" y="108"/>
                  </a:lnTo>
                  <a:lnTo>
                    <a:pt x="55" y="99"/>
                  </a:lnTo>
                  <a:lnTo>
                    <a:pt x="57" y="89"/>
                  </a:lnTo>
                  <a:lnTo>
                    <a:pt x="61" y="79"/>
                  </a:lnTo>
                  <a:lnTo>
                    <a:pt x="65" y="68"/>
                  </a:lnTo>
                  <a:lnTo>
                    <a:pt x="71" y="59"/>
                  </a:lnTo>
                  <a:lnTo>
                    <a:pt x="76" y="50"/>
                  </a:lnTo>
                  <a:lnTo>
                    <a:pt x="83" y="41"/>
                  </a:lnTo>
                  <a:lnTo>
                    <a:pt x="89" y="33"/>
                  </a:lnTo>
                  <a:lnTo>
                    <a:pt x="96" y="25"/>
                  </a:lnTo>
                  <a:lnTo>
                    <a:pt x="104" y="17"/>
                  </a:lnTo>
                  <a:lnTo>
                    <a:pt x="112" y="12"/>
                  </a:lnTo>
                  <a:lnTo>
                    <a:pt x="120" y="7"/>
                  </a:lnTo>
                  <a:lnTo>
                    <a:pt x="129" y="3"/>
                  </a:lnTo>
                  <a:lnTo>
                    <a:pt x="138" y="1"/>
                  </a:lnTo>
                  <a:lnTo>
                    <a:pt x="146" y="0"/>
                  </a:lnTo>
                  <a:lnTo>
                    <a:pt x="156" y="1"/>
                  </a:lnTo>
                  <a:lnTo>
                    <a:pt x="164" y="3"/>
                  </a:lnTo>
                  <a:lnTo>
                    <a:pt x="173" y="5"/>
                  </a:lnTo>
                  <a:lnTo>
                    <a:pt x="179" y="8"/>
                  </a:lnTo>
                  <a:lnTo>
                    <a:pt x="194" y="16"/>
                  </a:lnTo>
                  <a:lnTo>
                    <a:pt x="206" y="26"/>
                  </a:lnTo>
                  <a:lnTo>
                    <a:pt x="217" y="35"/>
                  </a:lnTo>
                  <a:lnTo>
                    <a:pt x="230" y="42"/>
                  </a:lnTo>
                  <a:lnTo>
                    <a:pt x="236" y="45"/>
                  </a:lnTo>
                  <a:lnTo>
                    <a:pt x="243" y="48"/>
                  </a:lnTo>
                  <a:lnTo>
                    <a:pt x="251" y="49"/>
                  </a:lnTo>
                  <a:lnTo>
                    <a:pt x="259" y="50"/>
                  </a:lnTo>
                  <a:lnTo>
                    <a:pt x="264" y="49"/>
                  </a:lnTo>
                  <a:lnTo>
                    <a:pt x="268" y="47"/>
                  </a:lnTo>
                  <a:lnTo>
                    <a:pt x="272" y="44"/>
                  </a:lnTo>
                  <a:lnTo>
                    <a:pt x="276" y="41"/>
                  </a:lnTo>
                  <a:lnTo>
                    <a:pt x="279" y="37"/>
                  </a:lnTo>
                  <a:lnTo>
                    <a:pt x="284" y="35"/>
                  </a:lnTo>
                  <a:lnTo>
                    <a:pt x="288" y="32"/>
                  </a:lnTo>
                  <a:lnTo>
                    <a:pt x="292" y="32"/>
                  </a:lnTo>
                  <a:lnTo>
                    <a:pt x="300" y="32"/>
                  </a:lnTo>
                  <a:lnTo>
                    <a:pt x="308" y="34"/>
                  </a:lnTo>
                  <a:lnTo>
                    <a:pt x="313" y="36"/>
                  </a:lnTo>
                  <a:lnTo>
                    <a:pt x="318" y="39"/>
                  </a:lnTo>
                  <a:lnTo>
                    <a:pt x="325" y="47"/>
                  </a:lnTo>
                  <a:lnTo>
                    <a:pt x="332" y="56"/>
                  </a:lnTo>
                  <a:lnTo>
                    <a:pt x="337" y="65"/>
                  </a:lnTo>
                  <a:lnTo>
                    <a:pt x="344" y="73"/>
                  </a:lnTo>
                  <a:lnTo>
                    <a:pt x="348" y="76"/>
                  </a:lnTo>
                  <a:lnTo>
                    <a:pt x="353" y="79"/>
                  </a:lnTo>
                  <a:lnTo>
                    <a:pt x="358" y="81"/>
                  </a:lnTo>
                  <a:lnTo>
                    <a:pt x="366" y="81"/>
                  </a:lnTo>
                  <a:lnTo>
                    <a:pt x="370" y="81"/>
                  </a:lnTo>
                  <a:lnTo>
                    <a:pt x="375" y="80"/>
                  </a:lnTo>
                  <a:lnTo>
                    <a:pt x="378" y="77"/>
                  </a:lnTo>
                  <a:lnTo>
                    <a:pt x="381" y="75"/>
                  </a:lnTo>
                  <a:lnTo>
                    <a:pt x="387" y="70"/>
                  </a:lnTo>
                  <a:lnTo>
                    <a:pt x="392" y="63"/>
                  </a:lnTo>
                  <a:lnTo>
                    <a:pt x="397" y="56"/>
                  </a:lnTo>
                  <a:lnTo>
                    <a:pt x="403" y="49"/>
                  </a:lnTo>
                  <a:lnTo>
                    <a:pt x="410" y="43"/>
                  </a:lnTo>
                  <a:lnTo>
                    <a:pt x="419" y="38"/>
                  </a:lnTo>
                  <a:lnTo>
                    <a:pt x="433" y="30"/>
                  </a:lnTo>
                  <a:lnTo>
                    <a:pt x="446" y="25"/>
                  </a:lnTo>
                  <a:lnTo>
                    <a:pt x="458" y="22"/>
                  </a:lnTo>
                  <a:lnTo>
                    <a:pt x="468" y="21"/>
                  </a:lnTo>
                  <a:lnTo>
                    <a:pt x="478" y="22"/>
                  </a:lnTo>
                  <a:lnTo>
                    <a:pt x="487" y="25"/>
                  </a:lnTo>
                  <a:lnTo>
                    <a:pt x="496" y="28"/>
                  </a:lnTo>
                  <a:lnTo>
                    <a:pt x="503" y="31"/>
                  </a:lnTo>
                  <a:lnTo>
                    <a:pt x="511" y="35"/>
                  </a:lnTo>
                  <a:lnTo>
                    <a:pt x="520" y="38"/>
                  </a:lnTo>
                  <a:lnTo>
                    <a:pt x="528" y="41"/>
                  </a:lnTo>
                  <a:lnTo>
                    <a:pt x="537" y="43"/>
                  </a:lnTo>
                  <a:lnTo>
                    <a:pt x="547" y="43"/>
                  </a:lnTo>
                  <a:lnTo>
                    <a:pt x="559" y="42"/>
                  </a:lnTo>
                  <a:lnTo>
                    <a:pt x="571" y="39"/>
                  </a:lnTo>
                  <a:lnTo>
                    <a:pt x="586" y="33"/>
                  </a:lnTo>
                  <a:lnTo>
                    <a:pt x="632" y="74"/>
                  </a:lnTo>
                  <a:lnTo>
                    <a:pt x="646" y="67"/>
                  </a:lnTo>
                  <a:lnTo>
                    <a:pt x="651" y="81"/>
                  </a:lnTo>
                  <a:lnTo>
                    <a:pt x="658" y="93"/>
                  </a:lnTo>
                  <a:lnTo>
                    <a:pt x="665" y="105"/>
                  </a:lnTo>
                  <a:lnTo>
                    <a:pt x="671" y="117"/>
                  </a:lnTo>
                  <a:lnTo>
                    <a:pt x="646" y="152"/>
                  </a:lnTo>
                  <a:lnTo>
                    <a:pt x="623" y="183"/>
                  </a:lnTo>
                  <a:lnTo>
                    <a:pt x="612" y="199"/>
                  </a:lnTo>
                  <a:lnTo>
                    <a:pt x="602" y="216"/>
                  </a:lnTo>
                  <a:lnTo>
                    <a:pt x="593" y="233"/>
                  </a:lnTo>
                  <a:lnTo>
                    <a:pt x="584" y="254"/>
                  </a:lnTo>
                  <a:lnTo>
                    <a:pt x="578" y="273"/>
                  </a:lnTo>
                  <a:lnTo>
                    <a:pt x="570" y="291"/>
                  </a:lnTo>
                  <a:lnTo>
                    <a:pt x="564" y="309"/>
                  </a:lnTo>
                  <a:lnTo>
                    <a:pt x="557" y="326"/>
                  </a:lnTo>
                  <a:lnTo>
                    <a:pt x="550" y="343"/>
                  </a:lnTo>
                  <a:lnTo>
                    <a:pt x="543" y="363"/>
                  </a:lnTo>
                  <a:lnTo>
                    <a:pt x="534" y="383"/>
                  </a:lnTo>
                  <a:lnTo>
                    <a:pt x="525" y="407"/>
                  </a:lnTo>
                  <a:lnTo>
                    <a:pt x="524" y="410"/>
                  </a:lnTo>
                  <a:lnTo>
                    <a:pt x="521" y="416"/>
                  </a:lnTo>
                  <a:lnTo>
                    <a:pt x="516" y="422"/>
                  </a:lnTo>
                  <a:lnTo>
                    <a:pt x="511" y="428"/>
                  </a:lnTo>
                  <a:lnTo>
                    <a:pt x="505" y="434"/>
                  </a:lnTo>
                  <a:lnTo>
                    <a:pt x="500" y="439"/>
                  </a:lnTo>
                  <a:lnTo>
                    <a:pt x="496" y="443"/>
                  </a:lnTo>
                  <a:lnTo>
                    <a:pt x="492" y="444"/>
                  </a:lnTo>
                  <a:lnTo>
                    <a:pt x="482" y="443"/>
                  </a:lnTo>
                  <a:lnTo>
                    <a:pt x="474" y="440"/>
                  </a:lnTo>
                  <a:lnTo>
                    <a:pt x="466" y="436"/>
                  </a:lnTo>
                  <a:lnTo>
                    <a:pt x="459" y="432"/>
                  </a:lnTo>
                  <a:lnTo>
                    <a:pt x="453" y="428"/>
                  </a:lnTo>
                  <a:lnTo>
                    <a:pt x="446" y="424"/>
                  </a:lnTo>
                  <a:lnTo>
                    <a:pt x="440" y="421"/>
                  </a:lnTo>
                  <a:lnTo>
                    <a:pt x="432" y="420"/>
                  </a:lnTo>
                  <a:lnTo>
                    <a:pt x="419" y="421"/>
                  </a:lnTo>
                  <a:lnTo>
                    <a:pt x="408" y="424"/>
                  </a:lnTo>
                  <a:lnTo>
                    <a:pt x="398" y="428"/>
                  </a:lnTo>
                  <a:lnTo>
                    <a:pt x="389" y="434"/>
                  </a:lnTo>
                  <a:lnTo>
                    <a:pt x="381" y="441"/>
                  </a:lnTo>
                  <a:lnTo>
                    <a:pt x="375" y="449"/>
                  </a:lnTo>
                  <a:lnTo>
                    <a:pt x="369" y="458"/>
                  </a:lnTo>
                  <a:lnTo>
                    <a:pt x="364" y="469"/>
                  </a:lnTo>
                  <a:lnTo>
                    <a:pt x="355" y="489"/>
                  </a:lnTo>
                  <a:lnTo>
                    <a:pt x="346" y="510"/>
                  </a:lnTo>
                  <a:lnTo>
                    <a:pt x="342" y="521"/>
                  </a:lnTo>
                  <a:lnTo>
                    <a:pt x="336" y="531"/>
                  </a:lnTo>
                  <a:lnTo>
                    <a:pt x="332" y="541"/>
                  </a:lnTo>
                  <a:lnTo>
                    <a:pt x="325" y="549"/>
                  </a:lnTo>
                  <a:lnTo>
                    <a:pt x="233" y="543"/>
                  </a:lnTo>
                  <a:lnTo>
                    <a:pt x="231" y="545"/>
                  </a:lnTo>
                  <a:lnTo>
                    <a:pt x="229" y="546"/>
                  </a:lnTo>
                  <a:lnTo>
                    <a:pt x="227" y="547"/>
                  </a:lnTo>
                  <a:lnTo>
                    <a:pt x="223" y="548"/>
                  </a:lnTo>
                  <a:lnTo>
                    <a:pt x="217" y="548"/>
                  </a:lnTo>
                  <a:lnTo>
                    <a:pt x="209" y="547"/>
                  </a:lnTo>
                  <a:lnTo>
                    <a:pt x="193" y="545"/>
                  </a:lnTo>
                  <a:lnTo>
                    <a:pt x="179" y="543"/>
                  </a:lnTo>
                  <a:lnTo>
                    <a:pt x="173" y="543"/>
                  </a:lnTo>
                  <a:lnTo>
                    <a:pt x="167" y="542"/>
                  </a:lnTo>
                  <a:lnTo>
                    <a:pt x="161" y="540"/>
                  </a:lnTo>
                  <a:lnTo>
                    <a:pt x="155" y="537"/>
                  </a:lnTo>
                  <a:lnTo>
                    <a:pt x="150" y="534"/>
                  </a:lnTo>
                  <a:lnTo>
                    <a:pt x="144" y="531"/>
                  </a:lnTo>
                  <a:lnTo>
                    <a:pt x="139" y="527"/>
                  </a:lnTo>
                  <a:lnTo>
                    <a:pt x="134" y="521"/>
                  </a:lnTo>
                  <a:lnTo>
                    <a:pt x="129" y="515"/>
                  </a:lnTo>
                  <a:lnTo>
                    <a:pt x="126" y="509"/>
                  </a:lnTo>
                  <a:lnTo>
                    <a:pt x="122" y="503"/>
                  </a:lnTo>
                  <a:lnTo>
                    <a:pt x="119" y="496"/>
                  </a:lnTo>
                  <a:lnTo>
                    <a:pt x="117" y="489"/>
                  </a:lnTo>
                  <a:lnTo>
                    <a:pt x="115" y="481"/>
                  </a:lnTo>
                  <a:lnTo>
                    <a:pt x="113" y="472"/>
                  </a:lnTo>
                  <a:lnTo>
                    <a:pt x="113" y="462"/>
                  </a:lnTo>
                  <a:lnTo>
                    <a:pt x="106" y="462"/>
                  </a:lnTo>
                  <a:lnTo>
                    <a:pt x="100" y="460"/>
                  </a:lnTo>
                  <a:lnTo>
                    <a:pt x="95" y="457"/>
                  </a:lnTo>
                  <a:lnTo>
                    <a:pt x="90" y="454"/>
                  </a:lnTo>
                  <a:lnTo>
                    <a:pt x="83" y="447"/>
                  </a:lnTo>
                  <a:lnTo>
                    <a:pt x="74" y="439"/>
                  </a:lnTo>
                  <a:lnTo>
                    <a:pt x="70" y="435"/>
                  </a:lnTo>
                  <a:lnTo>
                    <a:pt x="63" y="432"/>
                  </a:lnTo>
                  <a:lnTo>
                    <a:pt x="56" y="430"/>
                  </a:lnTo>
                  <a:lnTo>
                    <a:pt x="49" y="429"/>
                  </a:lnTo>
                  <a:lnTo>
                    <a:pt x="39" y="429"/>
                  </a:lnTo>
                  <a:lnTo>
                    <a:pt x="28" y="430"/>
                  </a:lnTo>
                  <a:lnTo>
                    <a:pt x="15" y="433"/>
                  </a:lnTo>
                  <a:lnTo>
                    <a:pt x="0" y="43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 name="Freeform 33">
              <a:extLst>
                <a:ext uri="{FF2B5EF4-FFF2-40B4-BE49-F238E27FC236}">
                  <a16:creationId xmlns:a16="http://schemas.microsoft.com/office/drawing/2014/main" id="{CE83ADF6-8241-44B5-ADFE-E09588C37BD9}"/>
                </a:ext>
              </a:extLst>
            </p:cNvPr>
            <p:cNvSpPr>
              <a:spLocks/>
            </p:cNvSpPr>
            <p:nvPr>
              <p:custDataLst>
                <p:tags r:id="rId28"/>
              </p:custDataLst>
            </p:nvPr>
          </p:nvSpPr>
          <p:spPr bwMode="auto">
            <a:xfrm>
              <a:off x="4922832" y="3097189"/>
              <a:ext cx="152400" cy="169861"/>
            </a:xfrm>
            <a:custGeom>
              <a:avLst/>
              <a:gdLst>
                <a:gd name="T0" fmla="*/ 138778 w 358"/>
                <a:gd name="T1" fmla="*/ 168304 h 327"/>
                <a:gd name="T2" fmla="*/ 140906 w 358"/>
                <a:gd name="T3" fmla="*/ 166745 h 327"/>
                <a:gd name="T4" fmla="*/ 143460 w 358"/>
                <a:gd name="T5" fmla="*/ 165187 h 327"/>
                <a:gd name="T6" fmla="*/ 147292 w 358"/>
                <a:gd name="T7" fmla="*/ 165187 h 327"/>
                <a:gd name="T8" fmla="*/ 151549 w 358"/>
                <a:gd name="T9" fmla="*/ 168304 h 327"/>
                <a:gd name="T10" fmla="*/ 135798 w 358"/>
                <a:gd name="T11" fmla="*/ 148045 h 327"/>
                <a:gd name="T12" fmla="*/ 118344 w 358"/>
                <a:gd name="T13" fmla="*/ 122072 h 327"/>
                <a:gd name="T14" fmla="*/ 107702 w 358"/>
                <a:gd name="T15" fmla="*/ 105969 h 327"/>
                <a:gd name="T16" fmla="*/ 98762 w 358"/>
                <a:gd name="T17" fmla="*/ 96619 h 327"/>
                <a:gd name="T18" fmla="*/ 93228 w 358"/>
                <a:gd name="T19" fmla="*/ 94021 h 327"/>
                <a:gd name="T20" fmla="*/ 88545 w 358"/>
                <a:gd name="T21" fmla="*/ 93502 h 327"/>
                <a:gd name="T22" fmla="*/ 85565 w 358"/>
                <a:gd name="T23" fmla="*/ 92983 h 327"/>
                <a:gd name="T24" fmla="*/ 84714 w 358"/>
                <a:gd name="T25" fmla="*/ 90385 h 327"/>
                <a:gd name="T26" fmla="*/ 84288 w 358"/>
                <a:gd name="T27" fmla="*/ 88307 h 327"/>
                <a:gd name="T28" fmla="*/ 83011 w 358"/>
                <a:gd name="T29" fmla="*/ 87788 h 327"/>
                <a:gd name="T30" fmla="*/ 78328 w 358"/>
                <a:gd name="T31" fmla="*/ 89346 h 327"/>
                <a:gd name="T32" fmla="*/ 72794 w 358"/>
                <a:gd name="T33" fmla="*/ 89346 h 327"/>
                <a:gd name="T34" fmla="*/ 70240 w 358"/>
                <a:gd name="T35" fmla="*/ 87269 h 327"/>
                <a:gd name="T36" fmla="*/ 68112 w 358"/>
                <a:gd name="T37" fmla="*/ 83632 h 327"/>
                <a:gd name="T38" fmla="*/ 64706 w 358"/>
                <a:gd name="T39" fmla="*/ 74802 h 327"/>
                <a:gd name="T40" fmla="*/ 60875 w 358"/>
                <a:gd name="T41" fmla="*/ 68049 h 327"/>
                <a:gd name="T42" fmla="*/ 56618 w 358"/>
                <a:gd name="T43" fmla="*/ 61815 h 327"/>
                <a:gd name="T44" fmla="*/ 54064 w 358"/>
                <a:gd name="T45" fmla="*/ 54543 h 327"/>
                <a:gd name="T46" fmla="*/ 51935 w 358"/>
                <a:gd name="T47" fmla="*/ 43634 h 327"/>
                <a:gd name="T48" fmla="*/ 50658 w 358"/>
                <a:gd name="T49" fmla="*/ 27531 h 327"/>
                <a:gd name="T50" fmla="*/ 49807 w 358"/>
                <a:gd name="T51" fmla="*/ 11947 h 327"/>
                <a:gd name="T52" fmla="*/ 47678 w 358"/>
                <a:gd name="T53" fmla="*/ 0 h 327"/>
                <a:gd name="T54" fmla="*/ 31076 w 358"/>
                <a:gd name="T55" fmla="*/ 13506 h 327"/>
                <a:gd name="T56" fmla="*/ 25968 w 358"/>
                <a:gd name="T57" fmla="*/ 17142 h 327"/>
                <a:gd name="T58" fmla="*/ 14048 w 358"/>
                <a:gd name="T59" fmla="*/ 25973 h 327"/>
                <a:gd name="T60" fmla="*/ 8940 w 358"/>
                <a:gd name="T61" fmla="*/ 31687 h 327"/>
                <a:gd name="T62" fmla="*/ 7237 w 358"/>
                <a:gd name="T63" fmla="*/ 37401 h 327"/>
                <a:gd name="T64" fmla="*/ 6811 w 358"/>
                <a:gd name="T65" fmla="*/ 43115 h 327"/>
                <a:gd name="T66" fmla="*/ 8514 w 358"/>
                <a:gd name="T67" fmla="*/ 48309 h 327"/>
                <a:gd name="T68" fmla="*/ 9365 w 358"/>
                <a:gd name="T69" fmla="*/ 51946 h 327"/>
                <a:gd name="T70" fmla="*/ 8514 w 358"/>
                <a:gd name="T71" fmla="*/ 57140 h 327"/>
                <a:gd name="T72" fmla="*/ 6385 w 358"/>
                <a:gd name="T73" fmla="*/ 63893 h 327"/>
                <a:gd name="T74" fmla="*/ 2980 w 358"/>
                <a:gd name="T75" fmla="*/ 70646 h 327"/>
                <a:gd name="T76" fmla="*/ 0 w 358"/>
                <a:gd name="T77" fmla="*/ 80516 h 327"/>
                <a:gd name="T78" fmla="*/ 0 w 358"/>
                <a:gd name="T79" fmla="*/ 90385 h 327"/>
                <a:gd name="T80" fmla="*/ 2128 w 358"/>
                <a:gd name="T81" fmla="*/ 94541 h 327"/>
                <a:gd name="T82" fmla="*/ 4683 w 358"/>
                <a:gd name="T83" fmla="*/ 97138 h 327"/>
                <a:gd name="T84" fmla="*/ 8514 w 358"/>
                <a:gd name="T85" fmla="*/ 96619 h 327"/>
                <a:gd name="T86" fmla="*/ 18731 w 358"/>
                <a:gd name="T87" fmla="*/ 87269 h 327"/>
                <a:gd name="T88" fmla="*/ 25542 w 358"/>
                <a:gd name="T89" fmla="*/ 83632 h 327"/>
                <a:gd name="T90" fmla="*/ 32353 w 358"/>
                <a:gd name="T91" fmla="*/ 77918 h 327"/>
                <a:gd name="T92" fmla="*/ 39590 w 358"/>
                <a:gd name="T93" fmla="*/ 82593 h 327"/>
                <a:gd name="T94" fmla="*/ 46827 w 358"/>
                <a:gd name="T95" fmla="*/ 85191 h 327"/>
                <a:gd name="T96" fmla="*/ 60449 w 358"/>
                <a:gd name="T97" fmla="*/ 93502 h 327"/>
                <a:gd name="T98" fmla="*/ 69389 w 358"/>
                <a:gd name="T99" fmla="*/ 98697 h 327"/>
                <a:gd name="T100" fmla="*/ 83437 w 358"/>
                <a:gd name="T101" fmla="*/ 108566 h 327"/>
                <a:gd name="T102" fmla="*/ 93228 w 358"/>
                <a:gd name="T103" fmla="*/ 116878 h 327"/>
                <a:gd name="T104" fmla="*/ 104296 w 358"/>
                <a:gd name="T105" fmla="*/ 126747 h 327"/>
                <a:gd name="T106" fmla="*/ 108979 w 358"/>
                <a:gd name="T107" fmla="*/ 131942 h 327"/>
                <a:gd name="T108" fmla="*/ 113661 w 358"/>
                <a:gd name="T109" fmla="*/ 140253 h 327"/>
                <a:gd name="T110" fmla="*/ 114513 w 358"/>
                <a:gd name="T111" fmla="*/ 144928 h 327"/>
                <a:gd name="T112" fmla="*/ 114513 w 358"/>
                <a:gd name="T113" fmla="*/ 148564 h 327"/>
                <a:gd name="T114" fmla="*/ 114939 w 358"/>
                <a:gd name="T115" fmla="*/ 150642 h 327"/>
                <a:gd name="T116" fmla="*/ 117493 w 358"/>
                <a:gd name="T117" fmla="*/ 151681 h 327"/>
                <a:gd name="T118" fmla="*/ 124304 w 358"/>
                <a:gd name="T119" fmla="*/ 156876 h 327"/>
                <a:gd name="T120" fmla="*/ 135372 w 358"/>
                <a:gd name="T121" fmla="*/ 166745 h 32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58" h="327">
                  <a:moveTo>
                    <a:pt x="325" y="327"/>
                  </a:moveTo>
                  <a:lnTo>
                    <a:pt x="326" y="324"/>
                  </a:lnTo>
                  <a:lnTo>
                    <a:pt x="329" y="322"/>
                  </a:lnTo>
                  <a:lnTo>
                    <a:pt x="331" y="321"/>
                  </a:lnTo>
                  <a:lnTo>
                    <a:pt x="332" y="321"/>
                  </a:lnTo>
                  <a:lnTo>
                    <a:pt x="337" y="318"/>
                  </a:lnTo>
                  <a:lnTo>
                    <a:pt x="342" y="317"/>
                  </a:lnTo>
                  <a:lnTo>
                    <a:pt x="346" y="318"/>
                  </a:lnTo>
                  <a:lnTo>
                    <a:pt x="351" y="319"/>
                  </a:lnTo>
                  <a:lnTo>
                    <a:pt x="356" y="324"/>
                  </a:lnTo>
                  <a:lnTo>
                    <a:pt x="358" y="327"/>
                  </a:lnTo>
                  <a:lnTo>
                    <a:pt x="319" y="285"/>
                  </a:lnTo>
                  <a:lnTo>
                    <a:pt x="302" y="265"/>
                  </a:lnTo>
                  <a:lnTo>
                    <a:pt x="278" y="235"/>
                  </a:lnTo>
                  <a:lnTo>
                    <a:pt x="265" y="219"/>
                  </a:lnTo>
                  <a:lnTo>
                    <a:pt x="253" y="204"/>
                  </a:lnTo>
                  <a:lnTo>
                    <a:pt x="241" y="193"/>
                  </a:lnTo>
                  <a:lnTo>
                    <a:pt x="232" y="186"/>
                  </a:lnTo>
                  <a:lnTo>
                    <a:pt x="225" y="182"/>
                  </a:lnTo>
                  <a:lnTo>
                    <a:pt x="219" y="181"/>
                  </a:lnTo>
                  <a:lnTo>
                    <a:pt x="213" y="180"/>
                  </a:lnTo>
                  <a:lnTo>
                    <a:pt x="208" y="180"/>
                  </a:lnTo>
                  <a:lnTo>
                    <a:pt x="205" y="180"/>
                  </a:lnTo>
                  <a:lnTo>
                    <a:pt x="201" y="179"/>
                  </a:lnTo>
                  <a:lnTo>
                    <a:pt x="200" y="177"/>
                  </a:lnTo>
                  <a:lnTo>
                    <a:pt x="199" y="174"/>
                  </a:lnTo>
                  <a:lnTo>
                    <a:pt x="199" y="172"/>
                  </a:lnTo>
                  <a:lnTo>
                    <a:pt x="198" y="170"/>
                  </a:lnTo>
                  <a:lnTo>
                    <a:pt x="197" y="169"/>
                  </a:lnTo>
                  <a:lnTo>
                    <a:pt x="195" y="169"/>
                  </a:lnTo>
                  <a:lnTo>
                    <a:pt x="190" y="170"/>
                  </a:lnTo>
                  <a:lnTo>
                    <a:pt x="184" y="172"/>
                  </a:lnTo>
                  <a:lnTo>
                    <a:pt x="178" y="173"/>
                  </a:lnTo>
                  <a:lnTo>
                    <a:pt x="171" y="172"/>
                  </a:lnTo>
                  <a:lnTo>
                    <a:pt x="168" y="170"/>
                  </a:lnTo>
                  <a:lnTo>
                    <a:pt x="165" y="168"/>
                  </a:lnTo>
                  <a:lnTo>
                    <a:pt x="162" y="165"/>
                  </a:lnTo>
                  <a:lnTo>
                    <a:pt x="160" y="161"/>
                  </a:lnTo>
                  <a:lnTo>
                    <a:pt x="156" y="152"/>
                  </a:lnTo>
                  <a:lnTo>
                    <a:pt x="152" y="144"/>
                  </a:lnTo>
                  <a:lnTo>
                    <a:pt x="147" y="138"/>
                  </a:lnTo>
                  <a:lnTo>
                    <a:pt x="143" y="131"/>
                  </a:lnTo>
                  <a:lnTo>
                    <a:pt x="138" y="125"/>
                  </a:lnTo>
                  <a:lnTo>
                    <a:pt x="133" y="119"/>
                  </a:lnTo>
                  <a:lnTo>
                    <a:pt x="129" y="112"/>
                  </a:lnTo>
                  <a:lnTo>
                    <a:pt x="127" y="105"/>
                  </a:lnTo>
                  <a:lnTo>
                    <a:pt x="123" y="96"/>
                  </a:lnTo>
                  <a:lnTo>
                    <a:pt x="122" y="84"/>
                  </a:lnTo>
                  <a:lnTo>
                    <a:pt x="121" y="69"/>
                  </a:lnTo>
                  <a:lnTo>
                    <a:pt x="119" y="53"/>
                  </a:lnTo>
                  <a:lnTo>
                    <a:pt x="118" y="37"/>
                  </a:lnTo>
                  <a:lnTo>
                    <a:pt x="117" y="23"/>
                  </a:lnTo>
                  <a:lnTo>
                    <a:pt x="115" y="10"/>
                  </a:lnTo>
                  <a:lnTo>
                    <a:pt x="112" y="0"/>
                  </a:lnTo>
                  <a:lnTo>
                    <a:pt x="93" y="0"/>
                  </a:lnTo>
                  <a:lnTo>
                    <a:pt x="73" y="26"/>
                  </a:lnTo>
                  <a:lnTo>
                    <a:pt x="70" y="28"/>
                  </a:lnTo>
                  <a:lnTo>
                    <a:pt x="61" y="33"/>
                  </a:lnTo>
                  <a:lnTo>
                    <a:pt x="48" y="41"/>
                  </a:lnTo>
                  <a:lnTo>
                    <a:pt x="33" y="50"/>
                  </a:lnTo>
                  <a:lnTo>
                    <a:pt x="27" y="55"/>
                  </a:lnTo>
                  <a:lnTo>
                    <a:pt x="21" y="61"/>
                  </a:lnTo>
                  <a:lnTo>
                    <a:pt x="18" y="66"/>
                  </a:lnTo>
                  <a:lnTo>
                    <a:pt x="17" y="72"/>
                  </a:lnTo>
                  <a:lnTo>
                    <a:pt x="16" y="78"/>
                  </a:lnTo>
                  <a:lnTo>
                    <a:pt x="16" y="83"/>
                  </a:lnTo>
                  <a:lnTo>
                    <a:pt x="18" y="88"/>
                  </a:lnTo>
                  <a:lnTo>
                    <a:pt x="20" y="93"/>
                  </a:lnTo>
                  <a:lnTo>
                    <a:pt x="21" y="96"/>
                  </a:lnTo>
                  <a:lnTo>
                    <a:pt x="22" y="100"/>
                  </a:lnTo>
                  <a:lnTo>
                    <a:pt x="22" y="104"/>
                  </a:lnTo>
                  <a:lnTo>
                    <a:pt x="20" y="110"/>
                  </a:lnTo>
                  <a:lnTo>
                    <a:pt x="18" y="117"/>
                  </a:lnTo>
                  <a:lnTo>
                    <a:pt x="15" y="123"/>
                  </a:lnTo>
                  <a:lnTo>
                    <a:pt x="11" y="130"/>
                  </a:lnTo>
                  <a:lnTo>
                    <a:pt x="7" y="136"/>
                  </a:lnTo>
                  <a:lnTo>
                    <a:pt x="3" y="146"/>
                  </a:lnTo>
                  <a:lnTo>
                    <a:pt x="0" y="155"/>
                  </a:lnTo>
                  <a:lnTo>
                    <a:pt x="0" y="164"/>
                  </a:lnTo>
                  <a:lnTo>
                    <a:pt x="0" y="174"/>
                  </a:lnTo>
                  <a:lnTo>
                    <a:pt x="1" y="176"/>
                  </a:lnTo>
                  <a:lnTo>
                    <a:pt x="5" y="182"/>
                  </a:lnTo>
                  <a:lnTo>
                    <a:pt x="8" y="185"/>
                  </a:lnTo>
                  <a:lnTo>
                    <a:pt x="11" y="187"/>
                  </a:lnTo>
                  <a:lnTo>
                    <a:pt x="15" y="187"/>
                  </a:lnTo>
                  <a:lnTo>
                    <a:pt x="20" y="186"/>
                  </a:lnTo>
                  <a:lnTo>
                    <a:pt x="31" y="177"/>
                  </a:lnTo>
                  <a:lnTo>
                    <a:pt x="44" y="168"/>
                  </a:lnTo>
                  <a:lnTo>
                    <a:pt x="55" y="163"/>
                  </a:lnTo>
                  <a:lnTo>
                    <a:pt x="60" y="161"/>
                  </a:lnTo>
                  <a:lnTo>
                    <a:pt x="73" y="149"/>
                  </a:lnTo>
                  <a:lnTo>
                    <a:pt x="76" y="150"/>
                  </a:lnTo>
                  <a:lnTo>
                    <a:pt x="84" y="155"/>
                  </a:lnTo>
                  <a:lnTo>
                    <a:pt x="93" y="159"/>
                  </a:lnTo>
                  <a:lnTo>
                    <a:pt x="99" y="161"/>
                  </a:lnTo>
                  <a:lnTo>
                    <a:pt x="110" y="164"/>
                  </a:lnTo>
                  <a:lnTo>
                    <a:pt x="126" y="170"/>
                  </a:lnTo>
                  <a:lnTo>
                    <a:pt x="142" y="180"/>
                  </a:lnTo>
                  <a:lnTo>
                    <a:pt x="153" y="186"/>
                  </a:lnTo>
                  <a:lnTo>
                    <a:pt x="163" y="190"/>
                  </a:lnTo>
                  <a:lnTo>
                    <a:pt x="179" y="199"/>
                  </a:lnTo>
                  <a:lnTo>
                    <a:pt x="196" y="209"/>
                  </a:lnTo>
                  <a:lnTo>
                    <a:pt x="206" y="216"/>
                  </a:lnTo>
                  <a:lnTo>
                    <a:pt x="219" y="225"/>
                  </a:lnTo>
                  <a:lnTo>
                    <a:pt x="232" y="235"/>
                  </a:lnTo>
                  <a:lnTo>
                    <a:pt x="245" y="244"/>
                  </a:lnTo>
                  <a:lnTo>
                    <a:pt x="252" y="247"/>
                  </a:lnTo>
                  <a:lnTo>
                    <a:pt x="256" y="254"/>
                  </a:lnTo>
                  <a:lnTo>
                    <a:pt x="266" y="265"/>
                  </a:lnTo>
                  <a:lnTo>
                    <a:pt x="267" y="270"/>
                  </a:lnTo>
                  <a:lnTo>
                    <a:pt x="268" y="274"/>
                  </a:lnTo>
                  <a:lnTo>
                    <a:pt x="269" y="279"/>
                  </a:lnTo>
                  <a:lnTo>
                    <a:pt x="269" y="283"/>
                  </a:lnTo>
                  <a:lnTo>
                    <a:pt x="269" y="286"/>
                  </a:lnTo>
                  <a:lnTo>
                    <a:pt x="269" y="289"/>
                  </a:lnTo>
                  <a:lnTo>
                    <a:pt x="270" y="290"/>
                  </a:lnTo>
                  <a:lnTo>
                    <a:pt x="273" y="291"/>
                  </a:lnTo>
                  <a:lnTo>
                    <a:pt x="276" y="292"/>
                  </a:lnTo>
                  <a:lnTo>
                    <a:pt x="284" y="296"/>
                  </a:lnTo>
                  <a:lnTo>
                    <a:pt x="292" y="302"/>
                  </a:lnTo>
                  <a:lnTo>
                    <a:pt x="301" y="309"/>
                  </a:lnTo>
                  <a:lnTo>
                    <a:pt x="318" y="321"/>
                  </a:lnTo>
                  <a:lnTo>
                    <a:pt x="325" y="32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 name="Freeform 34">
              <a:extLst>
                <a:ext uri="{FF2B5EF4-FFF2-40B4-BE49-F238E27FC236}">
                  <a16:creationId xmlns:a16="http://schemas.microsoft.com/office/drawing/2014/main" id="{DD0BADBC-0E96-4876-BAE4-D75F8A963E88}"/>
                </a:ext>
              </a:extLst>
            </p:cNvPr>
            <p:cNvSpPr>
              <a:spLocks/>
            </p:cNvSpPr>
            <p:nvPr>
              <p:custDataLst>
                <p:tags r:id="rId29"/>
              </p:custDataLst>
            </p:nvPr>
          </p:nvSpPr>
          <p:spPr bwMode="auto">
            <a:xfrm>
              <a:off x="4384670" y="2101834"/>
              <a:ext cx="125413" cy="57150"/>
            </a:xfrm>
            <a:custGeom>
              <a:avLst/>
              <a:gdLst>
                <a:gd name="T0" fmla="*/ 54117 w 292"/>
                <a:gd name="T1" fmla="*/ 0 h 99"/>
                <a:gd name="T2" fmla="*/ 65713 w 292"/>
                <a:gd name="T3" fmla="*/ 0 h 99"/>
                <a:gd name="T4" fmla="*/ 85040 w 292"/>
                <a:gd name="T5" fmla="*/ 577 h 99"/>
                <a:gd name="T6" fmla="*/ 107374 w 292"/>
                <a:gd name="T7" fmla="*/ 3464 h 99"/>
                <a:gd name="T8" fmla="*/ 125413 w 292"/>
                <a:gd name="T9" fmla="*/ 4041 h 99"/>
                <a:gd name="T10" fmla="*/ 124554 w 292"/>
                <a:gd name="T11" fmla="*/ 11545 h 99"/>
                <a:gd name="T12" fmla="*/ 122407 w 292"/>
                <a:gd name="T13" fmla="*/ 19050 h 99"/>
                <a:gd name="T14" fmla="*/ 119830 w 292"/>
                <a:gd name="T15" fmla="*/ 31750 h 99"/>
                <a:gd name="T16" fmla="*/ 57982 w 292"/>
                <a:gd name="T17" fmla="*/ 40409 h 99"/>
                <a:gd name="T18" fmla="*/ 42520 w 292"/>
                <a:gd name="T19" fmla="*/ 51377 h 99"/>
                <a:gd name="T20" fmla="*/ 33930 w 292"/>
                <a:gd name="T21" fmla="*/ 55418 h 99"/>
                <a:gd name="T22" fmla="*/ 28347 w 292"/>
                <a:gd name="T23" fmla="*/ 56573 h 99"/>
                <a:gd name="T24" fmla="*/ 23622 w 292"/>
                <a:gd name="T25" fmla="*/ 56573 h 99"/>
                <a:gd name="T26" fmla="*/ 19327 w 292"/>
                <a:gd name="T27" fmla="*/ 54264 h 99"/>
                <a:gd name="T28" fmla="*/ 14173 w 292"/>
                <a:gd name="T29" fmla="*/ 49645 h 99"/>
                <a:gd name="T30" fmla="*/ 8590 w 292"/>
                <a:gd name="T31" fmla="*/ 44450 h 99"/>
                <a:gd name="T32" fmla="*/ 3006 w 292"/>
                <a:gd name="T33" fmla="*/ 39832 h 99"/>
                <a:gd name="T34" fmla="*/ 429 w 292"/>
                <a:gd name="T35" fmla="*/ 32905 h 99"/>
                <a:gd name="T36" fmla="*/ 0 w 292"/>
                <a:gd name="T37" fmla="*/ 24245 h 99"/>
                <a:gd name="T38" fmla="*/ 429 w 292"/>
                <a:gd name="T39" fmla="*/ 14432 h 99"/>
                <a:gd name="T40" fmla="*/ 1288 w 292"/>
                <a:gd name="T41" fmla="*/ 11545 h 99"/>
                <a:gd name="T42" fmla="*/ 3865 w 292"/>
                <a:gd name="T43" fmla="*/ 10391 h 99"/>
                <a:gd name="T44" fmla="*/ 6442 w 292"/>
                <a:gd name="T45" fmla="*/ 12123 h 99"/>
                <a:gd name="T46" fmla="*/ 10737 w 292"/>
                <a:gd name="T47" fmla="*/ 16164 h 99"/>
                <a:gd name="T48" fmla="*/ 15032 w 292"/>
                <a:gd name="T49" fmla="*/ 18473 h 99"/>
                <a:gd name="T50" fmla="*/ 19327 w 292"/>
                <a:gd name="T51" fmla="*/ 19627 h 99"/>
                <a:gd name="T52" fmla="*/ 23193 w 292"/>
                <a:gd name="T53" fmla="*/ 19050 h 99"/>
                <a:gd name="T54" fmla="*/ 28776 w 292"/>
                <a:gd name="T55" fmla="*/ 16741 h 99"/>
                <a:gd name="T56" fmla="*/ 34789 w 292"/>
                <a:gd name="T57" fmla="*/ 10968 h 99"/>
                <a:gd name="T58" fmla="*/ 37796 w 292"/>
                <a:gd name="T59" fmla="*/ 6350 h 99"/>
                <a:gd name="T60" fmla="*/ 40373 w 292"/>
                <a:gd name="T61" fmla="*/ 3464 h 99"/>
                <a:gd name="T62" fmla="*/ 46815 w 292"/>
                <a:gd name="T63" fmla="*/ 57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 name="Freeform 35">
              <a:extLst>
                <a:ext uri="{FF2B5EF4-FFF2-40B4-BE49-F238E27FC236}">
                  <a16:creationId xmlns:a16="http://schemas.microsoft.com/office/drawing/2014/main" id="{79257792-C1F6-49B2-A3E9-4F2D386B97DF}"/>
                </a:ext>
              </a:extLst>
            </p:cNvPr>
            <p:cNvSpPr>
              <a:spLocks/>
            </p:cNvSpPr>
            <p:nvPr>
              <p:custDataLst>
                <p:tags r:id="rId30"/>
              </p:custDataLst>
            </p:nvPr>
          </p:nvSpPr>
          <p:spPr bwMode="auto">
            <a:xfrm>
              <a:off x="5248269" y="2822553"/>
              <a:ext cx="19050" cy="57150"/>
            </a:xfrm>
            <a:custGeom>
              <a:avLst/>
              <a:gdLst>
                <a:gd name="T0" fmla="*/ 17278 w 43"/>
                <a:gd name="T1" fmla="*/ 57150 h 93"/>
                <a:gd name="T2" fmla="*/ 13734 w 43"/>
                <a:gd name="T3" fmla="*/ 55921 h 93"/>
                <a:gd name="T4" fmla="*/ 11519 w 43"/>
                <a:gd name="T5" fmla="*/ 54692 h 93"/>
                <a:gd name="T6" fmla="*/ 9303 w 43"/>
                <a:gd name="T7" fmla="*/ 53463 h 93"/>
                <a:gd name="T8" fmla="*/ 7974 w 43"/>
                <a:gd name="T9" fmla="*/ 51619 h 93"/>
                <a:gd name="T10" fmla="*/ 6645 w 43"/>
                <a:gd name="T11" fmla="*/ 48547 h 93"/>
                <a:gd name="T12" fmla="*/ 6202 w 43"/>
                <a:gd name="T13" fmla="*/ 44860 h 93"/>
                <a:gd name="T14" fmla="*/ 5759 w 43"/>
                <a:gd name="T15" fmla="*/ 39944 h 93"/>
                <a:gd name="T16" fmla="*/ 4873 w 43"/>
                <a:gd name="T17" fmla="*/ 33798 h 93"/>
                <a:gd name="T18" fmla="*/ 4873 w 43"/>
                <a:gd name="T19" fmla="*/ 29497 h 93"/>
                <a:gd name="T20" fmla="*/ 3987 w 43"/>
                <a:gd name="T21" fmla="*/ 25810 h 93"/>
                <a:gd name="T22" fmla="*/ 2658 w 43"/>
                <a:gd name="T23" fmla="*/ 23352 h 93"/>
                <a:gd name="T24" fmla="*/ 1772 w 43"/>
                <a:gd name="T25" fmla="*/ 22123 h 93"/>
                <a:gd name="T26" fmla="*/ 886 w 43"/>
                <a:gd name="T27" fmla="*/ 20894 h 93"/>
                <a:gd name="T28" fmla="*/ 0 w 43"/>
                <a:gd name="T29" fmla="*/ 19665 h 93"/>
                <a:gd name="T30" fmla="*/ 886 w 43"/>
                <a:gd name="T31" fmla="*/ 17821 h 93"/>
                <a:gd name="T32" fmla="*/ 2215 w 43"/>
                <a:gd name="T33" fmla="*/ 14748 h 93"/>
                <a:gd name="T34" fmla="*/ 2658 w 43"/>
                <a:gd name="T35" fmla="*/ 17206 h 93"/>
                <a:gd name="T36" fmla="*/ 3101 w 43"/>
                <a:gd name="T37" fmla="*/ 17821 h 93"/>
                <a:gd name="T38" fmla="*/ 3544 w 43"/>
                <a:gd name="T39" fmla="*/ 18435 h 93"/>
                <a:gd name="T40" fmla="*/ 3987 w 43"/>
                <a:gd name="T41" fmla="*/ 17821 h 93"/>
                <a:gd name="T42" fmla="*/ 4873 w 43"/>
                <a:gd name="T43" fmla="*/ 15363 h 93"/>
                <a:gd name="T44" fmla="*/ 6202 w 43"/>
                <a:gd name="T45" fmla="*/ 11676 h 93"/>
                <a:gd name="T46" fmla="*/ 7088 w 43"/>
                <a:gd name="T47" fmla="*/ 7374 h 93"/>
                <a:gd name="T48" fmla="*/ 8860 w 43"/>
                <a:gd name="T49" fmla="*/ 3687 h 93"/>
                <a:gd name="T50" fmla="*/ 9747 w 43"/>
                <a:gd name="T51" fmla="*/ 2458 h 93"/>
                <a:gd name="T52" fmla="*/ 11076 w 43"/>
                <a:gd name="T53" fmla="*/ 1229 h 93"/>
                <a:gd name="T54" fmla="*/ 12405 w 43"/>
                <a:gd name="T55" fmla="*/ 0 h 93"/>
                <a:gd name="T56" fmla="*/ 14177 w 43"/>
                <a:gd name="T57" fmla="*/ 0 h 93"/>
                <a:gd name="T58" fmla="*/ 14620 w 43"/>
                <a:gd name="T59" fmla="*/ 6145 h 93"/>
                <a:gd name="T60" fmla="*/ 14620 w 43"/>
                <a:gd name="T61" fmla="*/ 9832 h 93"/>
                <a:gd name="T62" fmla="*/ 14620 w 43"/>
                <a:gd name="T63" fmla="*/ 12290 h 93"/>
                <a:gd name="T64" fmla="*/ 14177 w 43"/>
                <a:gd name="T65" fmla="*/ 14134 h 93"/>
                <a:gd name="T66" fmla="*/ 14177 w 43"/>
                <a:gd name="T67" fmla="*/ 16592 h 93"/>
                <a:gd name="T68" fmla="*/ 14177 w 43"/>
                <a:gd name="T69" fmla="*/ 19050 h 93"/>
                <a:gd name="T70" fmla="*/ 15506 w 43"/>
                <a:gd name="T71" fmla="*/ 22123 h 93"/>
                <a:gd name="T72" fmla="*/ 17278 w 43"/>
                <a:gd name="T73" fmla="*/ 26424 h 93"/>
                <a:gd name="T74" fmla="*/ 16835 w 43"/>
                <a:gd name="T75" fmla="*/ 27039 h 93"/>
                <a:gd name="T76" fmla="*/ 16392 w 43"/>
                <a:gd name="T77" fmla="*/ 27653 h 93"/>
                <a:gd name="T78" fmla="*/ 16392 w 43"/>
                <a:gd name="T79" fmla="*/ 29497 h 93"/>
                <a:gd name="T80" fmla="*/ 16835 w 43"/>
                <a:gd name="T81" fmla="*/ 31340 h 93"/>
                <a:gd name="T82" fmla="*/ 17278 w 43"/>
                <a:gd name="T83" fmla="*/ 36256 h 93"/>
                <a:gd name="T84" fmla="*/ 18164 w 43"/>
                <a:gd name="T85" fmla="*/ 41787 h 93"/>
                <a:gd name="T86" fmla="*/ 18607 w 43"/>
                <a:gd name="T87" fmla="*/ 46703 h 93"/>
                <a:gd name="T88" fmla="*/ 19050 w 43"/>
                <a:gd name="T89" fmla="*/ 52234 h 93"/>
                <a:gd name="T90" fmla="*/ 19050 w 43"/>
                <a:gd name="T91" fmla="*/ 54077 h 93"/>
                <a:gd name="T92" fmla="*/ 18607 w 43"/>
                <a:gd name="T93" fmla="*/ 55921 h 93"/>
                <a:gd name="T94" fmla="*/ 17721 w 43"/>
                <a:gd name="T95" fmla="*/ 56535 h 93"/>
                <a:gd name="T96" fmla="*/ 17278 w 43"/>
                <a:gd name="T97" fmla="*/ 57150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 name="Freeform 36">
              <a:extLst>
                <a:ext uri="{FF2B5EF4-FFF2-40B4-BE49-F238E27FC236}">
                  <a16:creationId xmlns:a16="http://schemas.microsoft.com/office/drawing/2014/main" id="{37FB0BC4-ADF3-4999-91B8-2B43564B1C82}"/>
                </a:ext>
              </a:extLst>
            </p:cNvPr>
            <p:cNvSpPr>
              <a:spLocks/>
            </p:cNvSpPr>
            <p:nvPr>
              <p:custDataLst>
                <p:tags r:id="rId31"/>
              </p:custDataLst>
            </p:nvPr>
          </p:nvSpPr>
          <p:spPr bwMode="auto">
            <a:xfrm>
              <a:off x="5367332" y="2827316"/>
              <a:ext cx="14287" cy="57150"/>
            </a:xfrm>
            <a:custGeom>
              <a:avLst/>
              <a:gdLst>
                <a:gd name="T0" fmla="*/ 14287 w 40"/>
                <a:gd name="T1" fmla="*/ 57150 h 56"/>
                <a:gd name="T2" fmla="*/ 13215 w 40"/>
                <a:gd name="T3" fmla="*/ 46945 h 56"/>
                <a:gd name="T4" fmla="*/ 11787 w 40"/>
                <a:gd name="T5" fmla="*/ 38780 h 56"/>
                <a:gd name="T6" fmla="*/ 10001 w 40"/>
                <a:gd name="T7" fmla="*/ 32657 h 56"/>
                <a:gd name="T8" fmla="*/ 8215 w 40"/>
                <a:gd name="T9" fmla="*/ 28575 h 56"/>
                <a:gd name="T10" fmla="*/ 3929 w 40"/>
                <a:gd name="T11" fmla="*/ 21431 h 56"/>
                <a:gd name="T12" fmla="*/ 0 w 40"/>
                <a:gd name="T13" fmla="*/ 12246 h 56"/>
                <a:gd name="T14" fmla="*/ 4643 w 40"/>
                <a:gd name="T15" fmla="*/ 4082 h 56"/>
                <a:gd name="T16" fmla="*/ 7144 w 40"/>
                <a:gd name="T17" fmla="*/ 0 h 56"/>
                <a:gd name="T18" fmla="*/ 10001 w 40"/>
                <a:gd name="T19" fmla="*/ 12246 h 56"/>
                <a:gd name="T20" fmla="*/ 12501 w 40"/>
                <a:gd name="T21" fmla="*/ 22452 h 56"/>
                <a:gd name="T22" fmla="*/ 13215 w 40"/>
                <a:gd name="T23" fmla="*/ 25513 h 56"/>
                <a:gd name="T24" fmla="*/ 13930 w 40"/>
                <a:gd name="T25" fmla="*/ 29596 h 56"/>
                <a:gd name="T26" fmla="*/ 13930 w 40"/>
                <a:gd name="T27" fmla="*/ 33678 h 56"/>
                <a:gd name="T28" fmla="*/ 14287 w 40"/>
                <a:gd name="T29" fmla="*/ 37760 h 56"/>
                <a:gd name="T30" fmla="*/ 14287 w 40"/>
                <a:gd name="T31" fmla="*/ 44904 h 56"/>
                <a:gd name="T32" fmla="*/ 14287 w 40"/>
                <a:gd name="T33" fmla="*/ 46945 h 56"/>
                <a:gd name="T34" fmla="*/ 14287 w 40"/>
                <a:gd name="T35" fmla="*/ 50006 h 56"/>
                <a:gd name="T36" fmla="*/ 14287 w 40"/>
                <a:gd name="T37" fmla="*/ 57150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 name="Freeform 37">
              <a:extLst>
                <a:ext uri="{FF2B5EF4-FFF2-40B4-BE49-F238E27FC236}">
                  <a16:creationId xmlns:a16="http://schemas.microsoft.com/office/drawing/2014/main" id="{AC1F752F-0531-4D92-BA57-58E1BB5EBF06}"/>
                </a:ext>
              </a:extLst>
            </p:cNvPr>
            <p:cNvSpPr>
              <a:spLocks/>
            </p:cNvSpPr>
            <p:nvPr>
              <p:custDataLst>
                <p:tags r:id="rId32"/>
              </p:custDataLst>
            </p:nvPr>
          </p:nvSpPr>
          <p:spPr bwMode="auto">
            <a:xfrm>
              <a:off x="6854817" y="3487711"/>
              <a:ext cx="44450" cy="57150"/>
            </a:xfrm>
            <a:custGeom>
              <a:avLst/>
              <a:gdLst>
                <a:gd name="T0" fmla="*/ 0 w 106"/>
                <a:gd name="T1" fmla="*/ 5635 h 71"/>
                <a:gd name="T2" fmla="*/ 5032 w 106"/>
                <a:gd name="T3" fmla="*/ 8049 h 71"/>
                <a:gd name="T4" fmla="*/ 10064 w 106"/>
                <a:gd name="T5" fmla="*/ 9659 h 71"/>
                <a:gd name="T6" fmla="*/ 14677 w 106"/>
                <a:gd name="T7" fmla="*/ 10464 h 71"/>
                <a:gd name="T8" fmla="*/ 18870 w 106"/>
                <a:gd name="T9" fmla="*/ 10464 h 71"/>
                <a:gd name="T10" fmla="*/ 22644 w 106"/>
                <a:gd name="T11" fmla="*/ 8854 h 71"/>
                <a:gd name="T12" fmla="*/ 25580 w 106"/>
                <a:gd name="T13" fmla="*/ 6439 h 71"/>
                <a:gd name="T14" fmla="*/ 28515 w 106"/>
                <a:gd name="T15" fmla="*/ 4025 h 71"/>
                <a:gd name="T16" fmla="*/ 31031 w 106"/>
                <a:gd name="T17" fmla="*/ 0 h 71"/>
                <a:gd name="T18" fmla="*/ 35225 w 106"/>
                <a:gd name="T19" fmla="*/ 12879 h 71"/>
                <a:gd name="T20" fmla="*/ 39418 w 106"/>
                <a:gd name="T21" fmla="*/ 24148 h 71"/>
                <a:gd name="T22" fmla="*/ 42353 w 106"/>
                <a:gd name="T23" fmla="*/ 35417 h 71"/>
                <a:gd name="T24" fmla="*/ 44031 w 106"/>
                <a:gd name="T25" fmla="*/ 44271 h 71"/>
                <a:gd name="T26" fmla="*/ 44450 w 106"/>
                <a:gd name="T27" fmla="*/ 48296 h 71"/>
                <a:gd name="T28" fmla="*/ 44450 w 106"/>
                <a:gd name="T29" fmla="*/ 50711 h 71"/>
                <a:gd name="T30" fmla="*/ 44031 w 106"/>
                <a:gd name="T31" fmla="*/ 53930 h 71"/>
                <a:gd name="T32" fmla="*/ 43192 w 106"/>
                <a:gd name="T33" fmla="*/ 55540 h 71"/>
                <a:gd name="T34" fmla="*/ 42353 w 106"/>
                <a:gd name="T35" fmla="*/ 56345 h 71"/>
                <a:gd name="T36" fmla="*/ 41095 w 106"/>
                <a:gd name="T37" fmla="*/ 56345 h 71"/>
                <a:gd name="T38" fmla="*/ 38579 w 106"/>
                <a:gd name="T39" fmla="*/ 56345 h 71"/>
                <a:gd name="T40" fmla="*/ 36483 w 106"/>
                <a:gd name="T41" fmla="*/ 54735 h 71"/>
                <a:gd name="T42" fmla="*/ 31031 w 106"/>
                <a:gd name="T43" fmla="*/ 56345 h 71"/>
                <a:gd name="T44" fmla="*/ 26418 w 106"/>
                <a:gd name="T45" fmla="*/ 57150 h 71"/>
                <a:gd name="T46" fmla="*/ 22225 w 106"/>
                <a:gd name="T47" fmla="*/ 55540 h 71"/>
                <a:gd name="T48" fmla="*/ 18870 w 106"/>
                <a:gd name="T49" fmla="*/ 53125 h 71"/>
                <a:gd name="T50" fmla="*/ 15516 w 106"/>
                <a:gd name="T51" fmla="*/ 49906 h 71"/>
                <a:gd name="T52" fmla="*/ 13419 w 106"/>
                <a:gd name="T53" fmla="*/ 45881 h 71"/>
                <a:gd name="T54" fmla="*/ 11322 w 106"/>
                <a:gd name="T55" fmla="*/ 41051 h 71"/>
                <a:gd name="T56" fmla="*/ 10064 w 106"/>
                <a:gd name="T57" fmla="*/ 36222 h 71"/>
                <a:gd name="T58" fmla="*/ 8806 w 106"/>
                <a:gd name="T59" fmla="*/ 30587 h 71"/>
                <a:gd name="T60" fmla="*/ 8387 w 106"/>
                <a:gd name="T61" fmla="*/ 24148 h 71"/>
                <a:gd name="T62" fmla="*/ 7967 w 106"/>
                <a:gd name="T63" fmla="*/ 19318 h 71"/>
                <a:gd name="T64" fmla="*/ 7548 w 106"/>
                <a:gd name="T65" fmla="*/ 15294 h 71"/>
                <a:gd name="T66" fmla="*/ 7548 w 106"/>
                <a:gd name="T67" fmla="*/ 11269 h 71"/>
                <a:gd name="T68" fmla="*/ 7967 w 106"/>
                <a:gd name="T69" fmla="*/ 8049 h 71"/>
                <a:gd name="T70" fmla="*/ 8387 w 106"/>
                <a:gd name="T71" fmla="*/ 5635 h 71"/>
                <a:gd name="T72" fmla="*/ 8806 w 106"/>
                <a:gd name="T73" fmla="*/ 5635 h 71"/>
                <a:gd name="T74" fmla="*/ 8387 w 106"/>
                <a:gd name="T75" fmla="*/ 8049 h 71"/>
                <a:gd name="T76" fmla="*/ 7967 w 106"/>
                <a:gd name="T77" fmla="*/ 12879 h 71"/>
                <a:gd name="T78" fmla="*/ 7967 w 106"/>
                <a:gd name="T79" fmla="*/ 13684 h 71"/>
                <a:gd name="T80" fmla="*/ 7967 w 106"/>
                <a:gd name="T81" fmla="*/ 13684 h 71"/>
                <a:gd name="T82" fmla="*/ 8387 w 106"/>
                <a:gd name="T83" fmla="*/ 13684 h 71"/>
                <a:gd name="T84" fmla="*/ 8806 w 106"/>
                <a:gd name="T85" fmla="*/ 13684 h 71"/>
                <a:gd name="T86" fmla="*/ 9645 w 106"/>
                <a:gd name="T87" fmla="*/ 10464 h 71"/>
                <a:gd name="T88" fmla="*/ 11322 w 106"/>
                <a:gd name="T89" fmla="*/ 5635 h 71"/>
                <a:gd name="T90" fmla="*/ 0 w 106"/>
                <a:gd name="T91" fmla="*/ 5635 h 71"/>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106" h="71">
                  <a:moveTo>
                    <a:pt x="0" y="7"/>
                  </a:moveTo>
                  <a:lnTo>
                    <a:pt x="12" y="10"/>
                  </a:lnTo>
                  <a:lnTo>
                    <a:pt x="24" y="12"/>
                  </a:lnTo>
                  <a:lnTo>
                    <a:pt x="35" y="13"/>
                  </a:lnTo>
                  <a:lnTo>
                    <a:pt x="45" y="13"/>
                  </a:lnTo>
                  <a:lnTo>
                    <a:pt x="54" y="11"/>
                  </a:lnTo>
                  <a:lnTo>
                    <a:pt x="61" y="8"/>
                  </a:lnTo>
                  <a:lnTo>
                    <a:pt x="68" y="5"/>
                  </a:lnTo>
                  <a:lnTo>
                    <a:pt x="74" y="0"/>
                  </a:lnTo>
                  <a:lnTo>
                    <a:pt x="84" y="16"/>
                  </a:lnTo>
                  <a:lnTo>
                    <a:pt x="94" y="30"/>
                  </a:lnTo>
                  <a:lnTo>
                    <a:pt x="101" y="44"/>
                  </a:lnTo>
                  <a:lnTo>
                    <a:pt x="105" y="55"/>
                  </a:lnTo>
                  <a:lnTo>
                    <a:pt x="106" y="60"/>
                  </a:lnTo>
                  <a:lnTo>
                    <a:pt x="106" y="63"/>
                  </a:lnTo>
                  <a:lnTo>
                    <a:pt x="105" y="67"/>
                  </a:lnTo>
                  <a:lnTo>
                    <a:pt x="103" y="69"/>
                  </a:lnTo>
                  <a:lnTo>
                    <a:pt x="101" y="70"/>
                  </a:lnTo>
                  <a:lnTo>
                    <a:pt x="98" y="70"/>
                  </a:lnTo>
                  <a:lnTo>
                    <a:pt x="92" y="70"/>
                  </a:lnTo>
                  <a:lnTo>
                    <a:pt x="87" y="68"/>
                  </a:lnTo>
                  <a:lnTo>
                    <a:pt x="74" y="70"/>
                  </a:lnTo>
                  <a:lnTo>
                    <a:pt x="63" y="71"/>
                  </a:lnTo>
                  <a:lnTo>
                    <a:pt x="53" y="69"/>
                  </a:lnTo>
                  <a:lnTo>
                    <a:pt x="45" y="66"/>
                  </a:lnTo>
                  <a:lnTo>
                    <a:pt x="37" y="62"/>
                  </a:lnTo>
                  <a:lnTo>
                    <a:pt x="32" y="57"/>
                  </a:lnTo>
                  <a:lnTo>
                    <a:pt x="27" y="51"/>
                  </a:lnTo>
                  <a:lnTo>
                    <a:pt x="24" y="45"/>
                  </a:lnTo>
                  <a:lnTo>
                    <a:pt x="21" y="38"/>
                  </a:lnTo>
                  <a:lnTo>
                    <a:pt x="20" y="30"/>
                  </a:lnTo>
                  <a:lnTo>
                    <a:pt x="19" y="24"/>
                  </a:lnTo>
                  <a:lnTo>
                    <a:pt x="18" y="19"/>
                  </a:lnTo>
                  <a:lnTo>
                    <a:pt x="18" y="14"/>
                  </a:lnTo>
                  <a:lnTo>
                    <a:pt x="19" y="10"/>
                  </a:lnTo>
                  <a:lnTo>
                    <a:pt x="20" y="7"/>
                  </a:lnTo>
                  <a:lnTo>
                    <a:pt x="21" y="7"/>
                  </a:lnTo>
                  <a:lnTo>
                    <a:pt x="20" y="10"/>
                  </a:lnTo>
                  <a:lnTo>
                    <a:pt x="19" y="16"/>
                  </a:lnTo>
                  <a:lnTo>
                    <a:pt x="19" y="17"/>
                  </a:lnTo>
                  <a:lnTo>
                    <a:pt x="20" y="17"/>
                  </a:lnTo>
                  <a:lnTo>
                    <a:pt x="21" y="17"/>
                  </a:lnTo>
                  <a:lnTo>
                    <a:pt x="23" y="13"/>
                  </a:lnTo>
                  <a:lnTo>
                    <a:pt x="27" y="7"/>
                  </a:lnTo>
                  <a:lnTo>
                    <a:pt x="0"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37" name="Group 38">
              <a:extLst>
                <a:ext uri="{FF2B5EF4-FFF2-40B4-BE49-F238E27FC236}">
                  <a16:creationId xmlns:a16="http://schemas.microsoft.com/office/drawing/2014/main" id="{CE60B825-1537-4B91-B788-03B714B2444A}"/>
                </a:ext>
              </a:extLst>
            </p:cNvPr>
            <p:cNvGrpSpPr>
              <a:grpSpLocks/>
            </p:cNvGrpSpPr>
            <p:nvPr>
              <p:custDataLst>
                <p:tags r:id="rId33"/>
              </p:custDataLst>
            </p:nvPr>
          </p:nvGrpSpPr>
          <p:grpSpPr bwMode="auto">
            <a:xfrm>
              <a:off x="2706685" y="5295859"/>
              <a:ext cx="65087" cy="55562"/>
              <a:chOff x="1654" y="3671"/>
              <a:chExt cx="49" cy="17"/>
            </a:xfrm>
          </p:grpSpPr>
          <p:sp>
            <p:nvSpPr>
              <p:cNvPr id="548" name="Freeform 39">
                <a:extLst>
                  <a:ext uri="{FF2B5EF4-FFF2-40B4-BE49-F238E27FC236}">
                    <a16:creationId xmlns:a16="http://schemas.microsoft.com/office/drawing/2014/main" id="{56FEFA2E-1611-4A32-9067-819E5DED97A0}"/>
                  </a:ext>
                </a:extLst>
              </p:cNvPr>
              <p:cNvSpPr>
                <a:spLocks/>
              </p:cNvSpPr>
              <p:nvPr/>
            </p:nvSpPr>
            <p:spPr bwMode="auto">
              <a:xfrm>
                <a:off x="1654" y="3672"/>
                <a:ext cx="20" cy="14"/>
              </a:xfrm>
              <a:custGeom>
                <a:avLst/>
                <a:gdLst>
                  <a:gd name="T0" fmla="*/ 9 w 59"/>
                  <a:gd name="T1" fmla="*/ 14 h 43"/>
                  <a:gd name="T2" fmla="*/ 20 w 59"/>
                  <a:gd name="T3" fmla="*/ 6 h 43"/>
                  <a:gd name="T4" fmla="*/ 19 w 59"/>
                  <a:gd name="T5" fmla="*/ 5 h 43"/>
                  <a:gd name="T6" fmla="*/ 17 w 59"/>
                  <a:gd name="T7" fmla="*/ 3 h 43"/>
                  <a:gd name="T8" fmla="*/ 16 w 59"/>
                  <a:gd name="T9" fmla="*/ 2 h 43"/>
                  <a:gd name="T10" fmla="*/ 16 w 59"/>
                  <a:gd name="T11" fmla="*/ 0 h 43"/>
                  <a:gd name="T12" fmla="*/ 14 w 59"/>
                  <a:gd name="T13" fmla="*/ 0 h 43"/>
                  <a:gd name="T14" fmla="*/ 12 w 59"/>
                  <a:gd name="T15" fmla="*/ 1 h 43"/>
                  <a:gd name="T16" fmla="*/ 11 w 59"/>
                  <a:gd name="T17" fmla="*/ 2 h 43"/>
                  <a:gd name="T18" fmla="*/ 10 w 59"/>
                  <a:gd name="T19" fmla="*/ 3 h 43"/>
                  <a:gd name="T20" fmla="*/ 9 w 59"/>
                  <a:gd name="T21" fmla="*/ 3 h 43"/>
                  <a:gd name="T22" fmla="*/ 9 w 59"/>
                  <a:gd name="T23" fmla="*/ 4 h 43"/>
                  <a:gd name="T24" fmla="*/ 7 w 59"/>
                  <a:gd name="T25" fmla="*/ 4 h 43"/>
                  <a:gd name="T26" fmla="*/ 4 w 59"/>
                  <a:gd name="T27" fmla="*/ 5 h 43"/>
                  <a:gd name="T28" fmla="*/ 2 w 59"/>
                  <a:gd name="T29" fmla="*/ 7 h 43"/>
                  <a:gd name="T30" fmla="*/ 0 w 59"/>
                  <a:gd name="T31" fmla="*/ 8 h 43"/>
                  <a:gd name="T32" fmla="*/ 2 w 59"/>
                  <a:gd name="T33" fmla="*/ 9 h 43"/>
                  <a:gd name="T34" fmla="*/ 3 w 59"/>
                  <a:gd name="T35" fmla="*/ 11 h 43"/>
                  <a:gd name="T36" fmla="*/ 6 w 59"/>
                  <a:gd name="T37" fmla="*/ 13 h 43"/>
                  <a:gd name="T38" fmla="*/ 9 w 59"/>
                  <a:gd name="T39" fmla="*/ 14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59" h="43">
                    <a:moveTo>
                      <a:pt x="26" y="43"/>
                    </a:moveTo>
                    <a:lnTo>
                      <a:pt x="59" y="18"/>
                    </a:lnTo>
                    <a:lnTo>
                      <a:pt x="55" y="14"/>
                    </a:lnTo>
                    <a:lnTo>
                      <a:pt x="51" y="9"/>
                    </a:lnTo>
                    <a:lnTo>
                      <a:pt x="47" y="5"/>
                    </a:lnTo>
                    <a:lnTo>
                      <a:pt x="46" y="0"/>
                    </a:lnTo>
                    <a:lnTo>
                      <a:pt x="41" y="1"/>
                    </a:lnTo>
                    <a:lnTo>
                      <a:pt x="34" y="4"/>
                    </a:lnTo>
                    <a:lnTo>
                      <a:pt x="31" y="6"/>
                    </a:lnTo>
                    <a:lnTo>
                      <a:pt x="29" y="8"/>
                    </a:lnTo>
                    <a:lnTo>
                      <a:pt x="26" y="10"/>
                    </a:lnTo>
                    <a:lnTo>
                      <a:pt x="26" y="12"/>
                    </a:lnTo>
                    <a:lnTo>
                      <a:pt x="20" y="13"/>
                    </a:lnTo>
                    <a:lnTo>
                      <a:pt x="13" y="16"/>
                    </a:lnTo>
                    <a:lnTo>
                      <a:pt x="6" y="20"/>
                    </a:lnTo>
                    <a:lnTo>
                      <a:pt x="0" y="24"/>
                    </a:lnTo>
                    <a:lnTo>
                      <a:pt x="5" y="29"/>
                    </a:lnTo>
                    <a:lnTo>
                      <a:pt x="10" y="34"/>
                    </a:lnTo>
                    <a:lnTo>
                      <a:pt x="18" y="39"/>
                    </a:lnTo>
                    <a:lnTo>
                      <a:pt x="26"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9" name="Freeform 40">
                <a:extLst>
                  <a:ext uri="{FF2B5EF4-FFF2-40B4-BE49-F238E27FC236}">
                    <a16:creationId xmlns:a16="http://schemas.microsoft.com/office/drawing/2014/main" id="{C8FE4D15-51A9-45DF-A14B-26D2A121798A}"/>
                  </a:ext>
                </a:extLst>
              </p:cNvPr>
              <p:cNvSpPr>
                <a:spLocks/>
              </p:cNvSpPr>
              <p:nvPr/>
            </p:nvSpPr>
            <p:spPr bwMode="auto">
              <a:xfrm>
                <a:off x="1681" y="3671"/>
                <a:ext cx="22" cy="17"/>
              </a:xfrm>
              <a:custGeom>
                <a:avLst/>
                <a:gdLst>
                  <a:gd name="T0" fmla="*/ 0 w 67"/>
                  <a:gd name="T1" fmla="*/ 1 h 51"/>
                  <a:gd name="T2" fmla="*/ 8 w 67"/>
                  <a:gd name="T3" fmla="*/ 0 h 51"/>
                  <a:gd name="T4" fmla="*/ 13 w 67"/>
                  <a:gd name="T5" fmla="*/ 0 h 51"/>
                  <a:gd name="T6" fmla="*/ 15 w 67"/>
                  <a:gd name="T7" fmla="*/ 0 h 51"/>
                  <a:gd name="T8" fmla="*/ 17 w 67"/>
                  <a:gd name="T9" fmla="*/ 1 h 51"/>
                  <a:gd name="T10" fmla="*/ 19 w 67"/>
                  <a:gd name="T11" fmla="*/ 1 h 51"/>
                  <a:gd name="T12" fmla="*/ 22 w 67"/>
                  <a:gd name="T13" fmla="*/ 3 h 51"/>
                  <a:gd name="T14" fmla="*/ 18 w 67"/>
                  <a:gd name="T15" fmla="*/ 4 h 51"/>
                  <a:gd name="T16" fmla="*/ 15 w 67"/>
                  <a:gd name="T17" fmla="*/ 6 h 51"/>
                  <a:gd name="T18" fmla="*/ 14 w 67"/>
                  <a:gd name="T19" fmla="*/ 7 h 51"/>
                  <a:gd name="T20" fmla="*/ 12 w 67"/>
                  <a:gd name="T21" fmla="*/ 8 h 51"/>
                  <a:gd name="T22" fmla="*/ 10 w 67"/>
                  <a:gd name="T23" fmla="*/ 9 h 51"/>
                  <a:gd name="T24" fmla="*/ 7 w 67"/>
                  <a:gd name="T25" fmla="*/ 9 h 51"/>
                  <a:gd name="T26" fmla="*/ 8 w 67"/>
                  <a:gd name="T27" fmla="*/ 9 h 51"/>
                  <a:gd name="T28" fmla="*/ 11 w 67"/>
                  <a:gd name="T29" fmla="*/ 9 h 51"/>
                  <a:gd name="T30" fmla="*/ 10 w 67"/>
                  <a:gd name="T31" fmla="*/ 11 h 51"/>
                  <a:gd name="T32" fmla="*/ 8 w 67"/>
                  <a:gd name="T33" fmla="*/ 13 h 51"/>
                  <a:gd name="T34" fmla="*/ 7 w 67"/>
                  <a:gd name="T35" fmla="*/ 15 h 51"/>
                  <a:gd name="T36" fmla="*/ 7 w 67"/>
                  <a:gd name="T37" fmla="*/ 15 h 51"/>
                  <a:gd name="T38" fmla="*/ 4 w 67"/>
                  <a:gd name="T39" fmla="*/ 16 h 51"/>
                  <a:gd name="T40" fmla="*/ 0 w 67"/>
                  <a:gd name="T41" fmla="*/ 17 h 51"/>
                  <a:gd name="T42" fmla="*/ 0 w 67"/>
                  <a:gd name="T43" fmla="*/ 1 h 51"/>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7" h="51">
                    <a:moveTo>
                      <a:pt x="0" y="2"/>
                    </a:moveTo>
                    <a:lnTo>
                      <a:pt x="24" y="1"/>
                    </a:lnTo>
                    <a:lnTo>
                      <a:pt x="39" y="0"/>
                    </a:lnTo>
                    <a:lnTo>
                      <a:pt x="45" y="1"/>
                    </a:lnTo>
                    <a:lnTo>
                      <a:pt x="51" y="2"/>
                    </a:lnTo>
                    <a:lnTo>
                      <a:pt x="58" y="4"/>
                    </a:lnTo>
                    <a:lnTo>
                      <a:pt x="67" y="8"/>
                    </a:lnTo>
                    <a:lnTo>
                      <a:pt x="55" y="13"/>
                    </a:lnTo>
                    <a:lnTo>
                      <a:pt x="46" y="19"/>
                    </a:lnTo>
                    <a:lnTo>
                      <a:pt x="42" y="22"/>
                    </a:lnTo>
                    <a:lnTo>
                      <a:pt x="36" y="24"/>
                    </a:lnTo>
                    <a:lnTo>
                      <a:pt x="29" y="26"/>
                    </a:lnTo>
                    <a:lnTo>
                      <a:pt x="20" y="26"/>
                    </a:lnTo>
                    <a:lnTo>
                      <a:pt x="24" y="26"/>
                    </a:lnTo>
                    <a:lnTo>
                      <a:pt x="34" y="26"/>
                    </a:lnTo>
                    <a:lnTo>
                      <a:pt x="29" y="34"/>
                    </a:lnTo>
                    <a:lnTo>
                      <a:pt x="25" y="40"/>
                    </a:lnTo>
                    <a:lnTo>
                      <a:pt x="22" y="44"/>
                    </a:lnTo>
                    <a:lnTo>
                      <a:pt x="20" y="46"/>
                    </a:lnTo>
                    <a:lnTo>
                      <a:pt x="12" y="48"/>
                    </a:lnTo>
                    <a:lnTo>
                      <a:pt x="0" y="51"/>
                    </a:lnTo>
                    <a:lnTo>
                      <a:pt x="0" y="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38" name="Freeform 41">
              <a:extLst>
                <a:ext uri="{FF2B5EF4-FFF2-40B4-BE49-F238E27FC236}">
                  <a16:creationId xmlns:a16="http://schemas.microsoft.com/office/drawing/2014/main" id="{3D2F4DB1-CC0A-4F1B-9B81-CC8B9B0C21A6}"/>
                </a:ext>
              </a:extLst>
            </p:cNvPr>
            <p:cNvSpPr>
              <a:spLocks/>
            </p:cNvSpPr>
            <p:nvPr>
              <p:custDataLst>
                <p:tags r:id="rId34"/>
              </p:custDataLst>
            </p:nvPr>
          </p:nvSpPr>
          <p:spPr bwMode="auto">
            <a:xfrm>
              <a:off x="2354261" y="3090839"/>
              <a:ext cx="31750" cy="58737"/>
            </a:xfrm>
            <a:custGeom>
              <a:avLst/>
              <a:gdLst>
                <a:gd name="T0" fmla="*/ 0 w 80"/>
                <a:gd name="T1" fmla="*/ 25913 h 34"/>
                <a:gd name="T2" fmla="*/ 397 w 80"/>
                <a:gd name="T3" fmla="*/ 32824 h 34"/>
                <a:gd name="T4" fmla="*/ 794 w 80"/>
                <a:gd name="T5" fmla="*/ 36279 h 34"/>
                <a:gd name="T6" fmla="*/ 1588 w 80"/>
                <a:gd name="T7" fmla="*/ 41461 h 34"/>
                <a:gd name="T8" fmla="*/ 2778 w 80"/>
                <a:gd name="T9" fmla="*/ 44917 h 34"/>
                <a:gd name="T10" fmla="*/ 5159 w 80"/>
                <a:gd name="T11" fmla="*/ 50099 h 34"/>
                <a:gd name="T12" fmla="*/ 8731 w 80"/>
                <a:gd name="T13" fmla="*/ 53554 h 34"/>
                <a:gd name="T14" fmla="*/ 15875 w 80"/>
                <a:gd name="T15" fmla="*/ 57009 h 34"/>
                <a:gd name="T16" fmla="*/ 21431 w 80"/>
                <a:gd name="T17" fmla="*/ 58737 h 34"/>
                <a:gd name="T18" fmla="*/ 23019 w 80"/>
                <a:gd name="T19" fmla="*/ 57009 h 34"/>
                <a:gd name="T20" fmla="*/ 24606 w 80"/>
                <a:gd name="T21" fmla="*/ 55282 h 34"/>
                <a:gd name="T22" fmla="*/ 25797 w 80"/>
                <a:gd name="T23" fmla="*/ 50099 h 34"/>
                <a:gd name="T24" fmla="*/ 26591 w 80"/>
                <a:gd name="T25" fmla="*/ 46644 h 34"/>
                <a:gd name="T26" fmla="*/ 28972 w 80"/>
                <a:gd name="T27" fmla="*/ 36279 h 34"/>
                <a:gd name="T28" fmla="*/ 31750 w 80"/>
                <a:gd name="T29" fmla="*/ 25913 h 34"/>
                <a:gd name="T30" fmla="*/ 29766 w 80"/>
                <a:gd name="T31" fmla="*/ 17276 h 34"/>
                <a:gd name="T32" fmla="*/ 27781 w 80"/>
                <a:gd name="T33" fmla="*/ 12093 h 34"/>
                <a:gd name="T34" fmla="*/ 25797 w 80"/>
                <a:gd name="T35" fmla="*/ 6910 h 34"/>
                <a:gd name="T36" fmla="*/ 23813 w 80"/>
                <a:gd name="T37" fmla="*/ 3455 h 34"/>
                <a:gd name="T38" fmla="*/ 21828 w 80"/>
                <a:gd name="T39" fmla="*/ 0 h 34"/>
                <a:gd name="T40" fmla="*/ 20241 w 80"/>
                <a:gd name="T41" fmla="*/ 0 h 34"/>
                <a:gd name="T42" fmla="*/ 17859 w 80"/>
                <a:gd name="T43" fmla="*/ 1728 h 34"/>
                <a:gd name="T44" fmla="*/ 16272 w 80"/>
                <a:gd name="T45" fmla="*/ 3455 h 34"/>
                <a:gd name="T46" fmla="*/ 13494 w 80"/>
                <a:gd name="T47" fmla="*/ 3455 h 34"/>
                <a:gd name="T48" fmla="*/ 8334 w 80"/>
                <a:gd name="T49" fmla="*/ 3455 h 34"/>
                <a:gd name="T50" fmla="*/ 5159 w 80"/>
                <a:gd name="T51" fmla="*/ 5183 h 34"/>
                <a:gd name="T52" fmla="*/ 2778 w 80"/>
                <a:gd name="T53" fmla="*/ 8638 h 34"/>
                <a:gd name="T54" fmla="*/ 1588 w 80"/>
                <a:gd name="T55" fmla="*/ 12093 h 34"/>
                <a:gd name="T56" fmla="*/ 794 w 80"/>
                <a:gd name="T57" fmla="*/ 15548 h 34"/>
                <a:gd name="T58" fmla="*/ 397 w 80"/>
                <a:gd name="T59" fmla="*/ 19003 h 34"/>
                <a:gd name="T60" fmla="*/ 0 w 80"/>
                <a:gd name="T61" fmla="*/ 25913 h 34"/>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80" h="34">
                  <a:moveTo>
                    <a:pt x="0" y="15"/>
                  </a:moveTo>
                  <a:lnTo>
                    <a:pt x="1" y="19"/>
                  </a:lnTo>
                  <a:lnTo>
                    <a:pt x="2" y="21"/>
                  </a:lnTo>
                  <a:lnTo>
                    <a:pt x="4" y="24"/>
                  </a:lnTo>
                  <a:lnTo>
                    <a:pt x="7" y="26"/>
                  </a:lnTo>
                  <a:lnTo>
                    <a:pt x="13" y="29"/>
                  </a:lnTo>
                  <a:lnTo>
                    <a:pt x="22" y="31"/>
                  </a:lnTo>
                  <a:lnTo>
                    <a:pt x="40" y="33"/>
                  </a:lnTo>
                  <a:lnTo>
                    <a:pt x="54" y="34"/>
                  </a:lnTo>
                  <a:lnTo>
                    <a:pt x="58" y="33"/>
                  </a:lnTo>
                  <a:lnTo>
                    <a:pt x="62" y="32"/>
                  </a:lnTo>
                  <a:lnTo>
                    <a:pt x="65" y="29"/>
                  </a:lnTo>
                  <a:lnTo>
                    <a:pt x="67" y="27"/>
                  </a:lnTo>
                  <a:lnTo>
                    <a:pt x="73" y="21"/>
                  </a:lnTo>
                  <a:lnTo>
                    <a:pt x="80" y="15"/>
                  </a:lnTo>
                  <a:lnTo>
                    <a:pt x="75" y="10"/>
                  </a:lnTo>
                  <a:lnTo>
                    <a:pt x="70" y="7"/>
                  </a:lnTo>
                  <a:lnTo>
                    <a:pt x="65" y="4"/>
                  </a:lnTo>
                  <a:lnTo>
                    <a:pt x="60" y="2"/>
                  </a:lnTo>
                  <a:lnTo>
                    <a:pt x="55" y="0"/>
                  </a:lnTo>
                  <a:lnTo>
                    <a:pt x="51" y="0"/>
                  </a:lnTo>
                  <a:lnTo>
                    <a:pt x="45" y="1"/>
                  </a:lnTo>
                  <a:lnTo>
                    <a:pt x="41" y="2"/>
                  </a:lnTo>
                  <a:lnTo>
                    <a:pt x="34" y="2"/>
                  </a:lnTo>
                  <a:lnTo>
                    <a:pt x="21" y="2"/>
                  </a:lnTo>
                  <a:lnTo>
                    <a:pt x="13" y="3"/>
                  </a:lnTo>
                  <a:lnTo>
                    <a:pt x="7" y="5"/>
                  </a:lnTo>
                  <a:lnTo>
                    <a:pt x="4" y="7"/>
                  </a:lnTo>
                  <a:lnTo>
                    <a:pt x="2" y="9"/>
                  </a:lnTo>
                  <a:lnTo>
                    <a:pt x="1" y="11"/>
                  </a:lnTo>
                  <a:lnTo>
                    <a:pt x="0" y="1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 name="Freeform 42">
              <a:extLst>
                <a:ext uri="{FF2B5EF4-FFF2-40B4-BE49-F238E27FC236}">
                  <a16:creationId xmlns:a16="http://schemas.microsoft.com/office/drawing/2014/main" id="{F2985B2A-2BA1-4836-9A66-23464C8586AF}"/>
                </a:ext>
              </a:extLst>
            </p:cNvPr>
            <p:cNvSpPr>
              <a:spLocks/>
            </p:cNvSpPr>
            <p:nvPr>
              <p:custDataLst>
                <p:tags r:id="rId35"/>
              </p:custDataLst>
            </p:nvPr>
          </p:nvSpPr>
          <p:spPr bwMode="auto">
            <a:xfrm>
              <a:off x="2409822" y="3097189"/>
              <a:ext cx="1588" cy="58737"/>
            </a:xfrm>
            <a:custGeom>
              <a:avLst/>
              <a:gdLst>
                <a:gd name="T0" fmla="*/ 0 w 7"/>
                <a:gd name="T1" fmla="*/ 0 h 13"/>
                <a:gd name="T2" fmla="*/ 1588 w 7"/>
                <a:gd name="T3" fmla="*/ 58737 h 13"/>
                <a:gd name="T4" fmla="*/ 1588 w 7"/>
                <a:gd name="T5" fmla="*/ 31628 h 13"/>
                <a:gd name="T6" fmla="*/ 0 60000 65536"/>
                <a:gd name="T7" fmla="*/ 0 60000 65536"/>
                <a:gd name="T8" fmla="*/ 0 60000 65536"/>
              </a:gdLst>
              <a:ahLst/>
              <a:cxnLst>
                <a:cxn ang="T6">
                  <a:pos x="T0" y="T1"/>
                </a:cxn>
                <a:cxn ang="T7">
                  <a:pos x="T2" y="T3"/>
                </a:cxn>
                <a:cxn ang="T8">
                  <a:pos x="T4" y="T5"/>
                </a:cxn>
              </a:cxnLst>
              <a:rect l="0" t="0" r="r" b="b"/>
              <a:pathLst>
                <a:path w="7" h="13">
                  <a:moveTo>
                    <a:pt x="0" y="0"/>
                  </a:moveTo>
                  <a:lnTo>
                    <a:pt x="7" y="13"/>
                  </a:lnTo>
                  <a:lnTo>
                    <a:pt x="7"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 name="Freeform 43">
              <a:extLst>
                <a:ext uri="{FF2B5EF4-FFF2-40B4-BE49-F238E27FC236}">
                  <a16:creationId xmlns:a16="http://schemas.microsoft.com/office/drawing/2014/main" id="{DD78EB44-4DE0-4597-905F-143186A46897}"/>
                </a:ext>
              </a:extLst>
            </p:cNvPr>
            <p:cNvSpPr>
              <a:spLocks/>
            </p:cNvSpPr>
            <p:nvPr>
              <p:custDataLst>
                <p:tags r:id="rId36"/>
              </p:custDataLst>
            </p:nvPr>
          </p:nvSpPr>
          <p:spPr bwMode="auto">
            <a:xfrm>
              <a:off x="2422522" y="3098776"/>
              <a:ext cx="6350" cy="58738"/>
            </a:xfrm>
            <a:custGeom>
              <a:avLst/>
              <a:gdLst>
                <a:gd name="T0" fmla="*/ 0 w 20"/>
                <a:gd name="T1" fmla="*/ 0 h 6"/>
                <a:gd name="T2" fmla="*/ 2223 w 20"/>
                <a:gd name="T3" fmla="*/ 29369 h 6"/>
                <a:gd name="T4" fmla="*/ 6350 w 20"/>
                <a:gd name="T5" fmla="*/ 58738 h 6"/>
                <a:gd name="T6" fmla="*/ 0 w 20"/>
                <a:gd name="T7" fmla="*/ 0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6">
                  <a:moveTo>
                    <a:pt x="0" y="0"/>
                  </a:moveTo>
                  <a:lnTo>
                    <a:pt x="7" y="3"/>
                  </a:lnTo>
                  <a:lnTo>
                    <a:pt x="20" y="6"/>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 name="Freeform 44">
              <a:extLst>
                <a:ext uri="{FF2B5EF4-FFF2-40B4-BE49-F238E27FC236}">
                  <a16:creationId xmlns:a16="http://schemas.microsoft.com/office/drawing/2014/main" id="{DE03BC8B-9416-499D-88B8-A66A455BC5F3}"/>
                </a:ext>
              </a:extLst>
            </p:cNvPr>
            <p:cNvSpPr>
              <a:spLocks/>
            </p:cNvSpPr>
            <p:nvPr>
              <p:custDataLst>
                <p:tags r:id="rId37"/>
              </p:custDataLst>
            </p:nvPr>
          </p:nvSpPr>
          <p:spPr bwMode="auto">
            <a:xfrm>
              <a:off x="2436811" y="3089251"/>
              <a:ext cx="7937" cy="57150"/>
            </a:xfrm>
            <a:custGeom>
              <a:avLst/>
              <a:gdLst>
                <a:gd name="T0" fmla="*/ 0 w 14"/>
                <a:gd name="T1" fmla="*/ 57150 h 12"/>
                <a:gd name="T2" fmla="*/ 7937 w 14"/>
                <a:gd name="T3" fmla="*/ 0 h 12"/>
                <a:gd name="T4" fmla="*/ 0 w 14"/>
                <a:gd name="T5" fmla="*/ 57150 h 12"/>
                <a:gd name="T6" fmla="*/ 0 60000 65536"/>
                <a:gd name="T7" fmla="*/ 0 60000 65536"/>
                <a:gd name="T8" fmla="*/ 0 60000 65536"/>
              </a:gdLst>
              <a:ahLst/>
              <a:cxnLst>
                <a:cxn ang="T6">
                  <a:pos x="T0" y="T1"/>
                </a:cxn>
                <a:cxn ang="T7">
                  <a:pos x="T2" y="T3"/>
                </a:cxn>
                <a:cxn ang="T8">
                  <a:pos x="T4" y="T5"/>
                </a:cxn>
              </a:cxnLst>
              <a:rect l="0" t="0" r="r" b="b"/>
              <a:pathLst>
                <a:path w="14" h="12">
                  <a:moveTo>
                    <a:pt x="0" y="12"/>
                  </a:moveTo>
                  <a:lnTo>
                    <a:pt x="14" y="0"/>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 name="Freeform 45">
              <a:extLst>
                <a:ext uri="{FF2B5EF4-FFF2-40B4-BE49-F238E27FC236}">
                  <a16:creationId xmlns:a16="http://schemas.microsoft.com/office/drawing/2014/main" id="{09B2953D-DCB2-49D5-9E38-33147137A020}"/>
                </a:ext>
              </a:extLst>
            </p:cNvPr>
            <p:cNvSpPr>
              <a:spLocks/>
            </p:cNvSpPr>
            <p:nvPr>
              <p:custDataLst>
                <p:tags r:id="rId38"/>
              </p:custDataLst>
            </p:nvPr>
          </p:nvSpPr>
          <p:spPr bwMode="auto">
            <a:xfrm>
              <a:off x="2416172" y="3081314"/>
              <a:ext cx="11113" cy="58737"/>
            </a:xfrm>
            <a:custGeom>
              <a:avLst/>
              <a:gdLst>
                <a:gd name="T0" fmla="*/ 0 w 27"/>
                <a:gd name="T1" fmla="*/ 0 h 7"/>
                <a:gd name="T2" fmla="*/ 0 w 27"/>
                <a:gd name="T3" fmla="*/ 33564 h 7"/>
                <a:gd name="T4" fmla="*/ 823 w 27"/>
                <a:gd name="T5" fmla="*/ 50346 h 7"/>
                <a:gd name="T6" fmla="*/ 2881 w 27"/>
                <a:gd name="T7" fmla="*/ 58737 h 7"/>
                <a:gd name="T8" fmla="*/ 4116 w 27"/>
                <a:gd name="T9" fmla="*/ 58737 h 7"/>
                <a:gd name="T10" fmla="*/ 6174 w 27"/>
                <a:gd name="T11" fmla="*/ 50346 h 7"/>
                <a:gd name="T12" fmla="*/ 7820 w 27"/>
                <a:gd name="T13" fmla="*/ 33564 h 7"/>
                <a:gd name="T14" fmla="*/ 9467 w 27"/>
                <a:gd name="T15" fmla="*/ 16782 h 7"/>
                <a:gd name="T16" fmla="*/ 11113 w 27"/>
                <a:gd name="T17" fmla="*/ 0 h 7"/>
                <a:gd name="T18" fmla="*/ 0 w 27"/>
                <a:gd name="T19" fmla="*/ 0 h 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7" h="7">
                  <a:moveTo>
                    <a:pt x="0" y="0"/>
                  </a:moveTo>
                  <a:lnTo>
                    <a:pt x="0" y="4"/>
                  </a:lnTo>
                  <a:lnTo>
                    <a:pt x="2" y="6"/>
                  </a:lnTo>
                  <a:lnTo>
                    <a:pt x="7" y="7"/>
                  </a:lnTo>
                  <a:lnTo>
                    <a:pt x="10" y="7"/>
                  </a:lnTo>
                  <a:lnTo>
                    <a:pt x="15" y="6"/>
                  </a:lnTo>
                  <a:lnTo>
                    <a:pt x="19" y="4"/>
                  </a:lnTo>
                  <a:lnTo>
                    <a:pt x="23" y="2"/>
                  </a:lnTo>
                  <a:lnTo>
                    <a:pt x="27"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 name="Freeform 46">
              <a:extLst>
                <a:ext uri="{FF2B5EF4-FFF2-40B4-BE49-F238E27FC236}">
                  <a16:creationId xmlns:a16="http://schemas.microsoft.com/office/drawing/2014/main" id="{8A0D3117-DD0A-46AA-BE6E-9063127B7E54}"/>
                </a:ext>
              </a:extLst>
            </p:cNvPr>
            <p:cNvSpPr>
              <a:spLocks/>
            </p:cNvSpPr>
            <p:nvPr>
              <p:custDataLst>
                <p:tags r:id="rId39"/>
              </p:custDataLst>
            </p:nvPr>
          </p:nvSpPr>
          <p:spPr bwMode="auto">
            <a:xfrm>
              <a:off x="2465385" y="3109889"/>
              <a:ext cx="14287" cy="60325"/>
            </a:xfrm>
            <a:custGeom>
              <a:avLst/>
              <a:gdLst>
                <a:gd name="T0" fmla="*/ 0 w 27"/>
                <a:gd name="T1" fmla="*/ 0 h 6"/>
                <a:gd name="T2" fmla="*/ 5821 w 27"/>
                <a:gd name="T3" fmla="*/ 30163 h 6"/>
                <a:gd name="T4" fmla="*/ 14287 w 27"/>
                <a:gd name="T5" fmla="*/ 60325 h 6"/>
                <a:gd name="T6" fmla="*/ 0 60000 65536"/>
                <a:gd name="T7" fmla="*/ 0 60000 65536"/>
                <a:gd name="T8" fmla="*/ 0 60000 65536"/>
              </a:gdLst>
              <a:ahLst/>
              <a:cxnLst>
                <a:cxn ang="T6">
                  <a:pos x="T0" y="T1"/>
                </a:cxn>
                <a:cxn ang="T7">
                  <a:pos x="T2" y="T3"/>
                </a:cxn>
                <a:cxn ang="T8">
                  <a:pos x="T4" y="T5"/>
                </a:cxn>
              </a:cxnLst>
              <a:rect l="0" t="0" r="r" b="b"/>
              <a:pathLst>
                <a:path w="27" h="6">
                  <a:moveTo>
                    <a:pt x="0" y="0"/>
                  </a:moveTo>
                  <a:lnTo>
                    <a:pt x="11" y="3"/>
                  </a:lnTo>
                  <a:lnTo>
                    <a:pt x="27"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 name="Line 47">
              <a:extLst>
                <a:ext uri="{FF2B5EF4-FFF2-40B4-BE49-F238E27FC236}">
                  <a16:creationId xmlns:a16="http://schemas.microsoft.com/office/drawing/2014/main" id="{F28A350A-3D80-4B74-8F6C-29BC302F0F85}"/>
                </a:ext>
              </a:extLst>
            </p:cNvPr>
            <p:cNvSpPr>
              <a:spLocks noChangeShapeType="1"/>
            </p:cNvSpPr>
            <p:nvPr>
              <p:custDataLst>
                <p:tags r:id="rId40"/>
              </p:custDataLst>
            </p:nvPr>
          </p:nvSpPr>
          <p:spPr bwMode="auto">
            <a:xfrm flipH="1" flipV="1">
              <a:off x="2473323" y="3106714"/>
              <a:ext cx="6350" cy="952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 name="Line 48">
              <a:extLst>
                <a:ext uri="{FF2B5EF4-FFF2-40B4-BE49-F238E27FC236}">
                  <a16:creationId xmlns:a16="http://schemas.microsoft.com/office/drawing/2014/main" id="{CC0A3423-433B-4AAB-8452-A29FC5BB6C10}"/>
                </a:ext>
              </a:extLst>
            </p:cNvPr>
            <p:cNvSpPr>
              <a:spLocks noChangeShapeType="1"/>
            </p:cNvSpPr>
            <p:nvPr>
              <p:custDataLst>
                <p:tags r:id="rId41"/>
              </p:custDataLst>
            </p:nvPr>
          </p:nvSpPr>
          <p:spPr bwMode="auto">
            <a:xfrm flipH="1">
              <a:off x="2473323" y="3132114"/>
              <a:ext cx="6350" cy="1111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 name="Freeform 49">
              <a:extLst>
                <a:ext uri="{FF2B5EF4-FFF2-40B4-BE49-F238E27FC236}">
                  <a16:creationId xmlns:a16="http://schemas.microsoft.com/office/drawing/2014/main" id="{6CA70C4A-70F2-4EF7-AFE8-C1B65769F47E}"/>
                </a:ext>
              </a:extLst>
            </p:cNvPr>
            <p:cNvSpPr>
              <a:spLocks/>
            </p:cNvSpPr>
            <p:nvPr>
              <p:custDataLst>
                <p:tags r:id="rId42"/>
              </p:custDataLst>
            </p:nvPr>
          </p:nvSpPr>
          <p:spPr bwMode="auto">
            <a:xfrm>
              <a:off x="2473323" y="3127351"/>
              <a:ext cx="11113" cy="58738"/>
            </a:xfrm>
            <a:custGeom>
              <a:avLst/>
              <a:gdLst>
                <a:gd name="T0" fmla="*/ 0 w 20"/>
                <a:gd name="T1" fmla="*/ 58738 h 24"/>
                <a:gd name="T2" fmla="*/ 1111 w 20"/>
                <a:gd name="T3" fmla="*/ 58738 h 24"/>
                <a:gd name="T4" fmla="*/ 3334 w 20"/>
                <a:gd name="T5" fmla="*/ 53843 h 24"/>
                <a:gd name="T6" fmla="*/ 5001 w 20"/>
                <a:gd name="T7" fmla="*/ 48948 h 24"/>
                <a:gd name="T8" fmla="*/ 6668 w 20"/>
                <a:gd name="T9" fmla="*/ 39159 h 24"/>
                <a:gd name="T10" fmla="*/ 8335 w 20"/>
                <a:gd name="T11" fmla="*/ 31816 h 24"/>
                <a:gd name="T12" fmla="*/ 10002 w 20"/>
                <a:gd name="T13" fmla="*/ 22027 h 24"/>
                <a:gd name="T14" fmla="*/ 10557 w 20"/>
                <a:gd name="T15" fmla="*/ 9790 h 24"/>
                <a:gd name="T16" fmla="*/ 11113 w 20"/>
                <a:gd name="T17" fmla="*/ 0 h 2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20" h="24">
                  <a:moveTo>
                    <a:pt x="0" y="24"/>
                  </a:moveTo>
                  <a:lnTo>
                    <a:pt x="2" y="24"/>
                  </a:lnTo>
                  <a:lnTo>
                    <a:pt x="6" y="22"/>
                  </a:lnTo>
                  <a:lnTo>
                    <a:pt x="9" y="20"/>
                  </a:lnTo>
                  <a:lnTo>
                    <a:pt x="12" y="16"/>
                  </a:lnTo>
                  <a:lnTo>
                    <a:pt x="15" y="13"/>
                  </a:lnTo>
                  <a:lnTo>
                    <a:pt x="18" y="9"/>
                  </a:lnTo>
                  <a:lnTo>
                    <a:pt x="19" y="4"/>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 name="Freeform 50">
              <a:extLst>
                <a:ext uri="{FF2B5EF4-FFF2-40B4-BE49-F238E27FC236}">
                  <a16:creationId xmlns:a16="http://schemas.microsoft.com/office/drawing/2014/main" id="{3FB30319-15C3-4D87-8580-ED980608F501}"/>
                </a:ext>
              </a:extLst>
            </p:cNvPr>
            <p:cNvSpPr>
              <a:spLocks/>
            </p:cNvSpPr>
            <p:nvPr>
              <p:custDataLst>
                <p:tags r:id="rId43"/>
              </p:custDataLst>
            </p:nvPr>
          </p:nvSpPr>
          <p:spPr bwMode="auto">
            <a:xfrm>
              <a:off x="2479672" y="3155925"/>
              <a:ext cx="17463" cy="55562"/>
            </a:xfrm>
            <a:custGeom>
              <a:avLst/>
              <a:gdLst>
                <a:gd name="T0" fmla="*/ 6879 w 33"/>
                <a:gd name="T1" fmla="*/ 15558 h 25"/>
                <a:gd name="T2" fmla="*/ 0 w 33"/>
                <a:gd name="T3" fmla="*/ 42228 h 25"/>
                <a:gd name="T4" fmla="*/ 5292 w 33"/>
                <a:gd name="T5" fmla="*/ 44450 h 25"/>
                <a:gd name="T6" fmla="*/ 10054 w 33"/>
                <a:gd name="T7" fmla="*/ 48895 h 25"/>
                <a:gd name="T8" fmla="*/ 14288 w 33"/>
                <a:gd name="T9" fmla="*/ 55563 h 25"/>
                <a:gd name="T10" fmla="*/ 17463 w 33"/>
                <a:gd name="T11" fmla="*/ 55563 h 25"/>
                <a:gd name="T12" fmla="*/ 17463 w 33"/>
                <a:gd name="T13" fmla="*/ 0 h 25"/>
                <a:gd name="T14" fmla="*/ 14288 w 33"/>
                <a:gd name="T15" fmla="*/ 0 h 25"/>
                <a:gd name="T16" fmla="*/ 6879 w 33"/>
                <a:gd name="T17" fmla="*/ 15558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13" y="7"/>
                  </a:moveTo>
                  <a:lnTo>
                    <a:pt x="0" y="19"/>
                  </a:lnTo>
                  <a:lnTo>
                    <a:pt x="10" y="20"/>
                  </a:lnTo>
                  <a:lnTo>
                    <a:pt x="19" y="22"/>
                  </a:lnTo>
                  <a:lnTo>
                    <a:pt x="27" y="25"/>
                  </a:lnTo>
                  <a:lnTo>
                    <a:pt x="33" y="25"/>
                  </a:lnTo>
                  <a:lnTo>
                    <a:pt x="33" y="0"/>
                  </a:lnTo>
                  <a:lnTo>
                    <a:pt x="27" y="0"/>
                  </a:lnTo>
                  <a:lnTo>
                    <a:pt x="13"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 name="Freeform 51">
              <a:extLst>
                <a:ext uri="{FF2B5EF4-FFF2-40B4-BE49-F238E27FC236}">
                  <a16:creationId xmlns:a16="http://schemas.microsoft.com/office/drawing/2014/main" id="{B6491C5C-59C4-4A20-B92D-85EE22DF2399}"/>
                </a:ext>
              </a:extLst>
            </p:cNvPr>
            <p:cNvSpPr>
              <a:spLocks/>
            </p:cNvSpPr>
            <p:nvPr>
              <p:custDataLst>
                <p:tags r:id="rId44"/>
              </p:custDataLst>
            </p:nvPr>
          </p:nvSpPr>
          <p:spPr bwMode="auto">
            <a:xfrm>
              <a:off x="2486022" y="3203550"/>
              <a:ext cx="15875" cy="57150"/>
            </a:xfrm>
            <a:custGeom>
              <a:avLst/>
              <a:gdLst>
                <a:gd name="T0" fmla="*/ 0 w 40"/>
                <a:gd name="T1" fmla="*/ 0 h 18"/>
                <a:gd name="T2" fmla="*/ 1191 w 40"/>
                <a:gd name="T3" fmla="*/ 19050 h 18"/>
                <a:gd name="T4" fmla="*/ 2381 w 40"/>
                <a:gd name="T5" fmla="*/ 34925 h 18"/>
                <a:gd name="T6" fmla="*/ 3969 w 40"/>
                <a:gd name="T7" fmla="*/ 44450 h 18"/>
                <a:gd name="T8" fmla="*/ 5953 w 40"/>
                <a:gd name="T9" fmla="*/ 50800 h 18"/>
                <a:gd name="T10" fmla="*/ 10716 w 40"/>
                <a:gd name="T11" fmla="*/ 57150 h 18"/>
                <a:gd name="T12" fmla="*/ 15875 w 40"/>
                <a:gd name="T13" fmla="*/ 57150 h 18"/>
                <a:gd name="T14" fmla="*/ 15875 w 40"/>
                <a:gd name="T15" fmla="*/ 0 h 18"/>
                <a:gd name="T16" fmla="*/ 11906 w 40"/>
                <a:gd name="T17" fmla="*/ 0 h 18"/>
                <a:gd name="T18" fmla="*/ 7938 w 40"/>
                <a:gd name="T19" fmla="*/ 0 h 18"/>
                <a:gd name="T20" fmla="*/ 3969 w 40"/>
                <a:gd name="T21" fmla="*/ 0 h 18"/>
                <a:gd name="T22" fmla="*/ 0 w 4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0" h="18">
                  <a:moveTo>
                    <a:pt x="0" y="0"/>
                  </a:moveTo>
                  <a:lnTo>
                    <a:pt x="3" y="6"/>
                  </a:lnTo>
                  <a:lnTo>
                    <a:pt x="6" y="11"/>
                  </a:lnTo>
                  <a:lnTo>
                    <a:pt x="10" y="14"/>
                  </a:lnTo>
                  <a:lnTo>
                    <a:pt x="15" y="16"/>
                  </a:lnTo>
                  <a:lnTo>
                    <a:pt x="27" y="18"/>
                  </a:lnTo>
                  <a:lnTo>
                    <a:pt x="40" y="18"/>
                  </a:lnTo>
                  <a:lnTo>
                    <a:pt x="40" y="0"/>
                  </a:lnTo>
                  <a:lnTo>
                    <a:pt x="30" y="0"/>
                  </a:lnTo>
                  <a:lnTo>
                    <a:pt x="20"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 name="Freeform 52">
              <a:extLst>
                <a:ext uri="{FF2B5EF4-FFF2-40B4-BE49-F238E27FC236}">
                  <a16:creationId xmlns:a16="http://schemas.microsoft.com/office/drawing/2014/main" id="{D5058BBA-D409-4D03-9D00-D120953EDD17}"/>
                </a:ext>
              </a:extLst>
            </p:cNvPr>
            <p:cNvSpPr>
              <a:spLocks/>
            </p:cNvSpPr>
            <p:nvPr>
              <p:custDataLst>
                <p:tags r:id="rId45"/>
              </p:custDataLst>
            </p:nvPr>
          </p:nvSpPr>
          <p:spPr bwMode="auto">
            <a:xfrm>
              <a:off x="2495547" y="3228950"/>
              <a:ext cx="3175" cy="57150"/>
            </a:xfrm>
            <a:custGeom>
              <a:avLst/>
              <a:gdLst>
                <a:gd name="T0" fmla="*/ 1155 w 11"/>
                <a:gd name="T1" fmla="*/ 57150 h 32"/>
                <a:gd name="T2" fmla="*/ 1732 w 11"/>
                <a:gd name="T3" fmla="*/ 50006 h 32"/>
                <a:gd name="T4" fmla="*/ 2309 w 11"/>
                <a:gd name="T5" fmla="*/ 44648 h 32"/>
                <a:gd name="T6" fmla="*/ 2598 w 11"/>
                <a:gd name="T7" fmla="*/ 39291 h 32"/>
                <a:gd name="T8" fmla="*/ 2886 w 11"/>
                <a:gd name="T9" fmla="*/ 32147 h 32"/>
                <a:gd name="T10" fmla="*/ 3175 w 11"/>
                <a:gd name="T11" fmla="*/ 16073 h 32"/>
                <a:gd name="T12" fmla="*/ 3175 w 11"/>
                <a:gd name="T13" fmla="*/ 0 h 32"/>
                <a:gd name="T14" fmla="*/ 1732 w 11"/>
                <a:gd name="T15" fmla="*/ 5358 h 32"/>
                <a:gd name="T16" fmla="*/ 866 w 11"/>
                <a:gd name="T17" fmla="*/ 12502 h 32"/>
                <a:gd name="T18" fmla="*/ 289 w 11"/>
                <a:gd name="T19" fmla="*/ 19645 h 32"/>
                <a:gd name="T20" fmla="*/ 0 w 11"/>
                <a:gd name="T21" fmla="*/ 28575 h 32"/>
                <a:gd name="T22" fmla="*/ 0 w 11"/>
                <a:gd name="T23" fmla="*/ 35719 h 32"/>
                <a:gd name="T24" fmla="*/ 289 w 11"/>
                <a:gd name="T25" fmla="*/ 42863 h 32"/>
                <a:gd name="T26" fmla="*/ 577 w 11"/>
                <a:gd name="T27" fmla="*/ 50006 h 32"/>
                <a:gd name="T28" fmla="*/ 1155 w 11"/>
                <a:gd name="T29" fmla="*/ 57150 h 3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1" h="32">
                  <a:moveTo>
                    <a:pt x="4" y="32"/>
                  </a:moveTo>
                  <a:lnTo>
                    <a:pt x="6" y="28"/>
                  </a:lnTo>
                  <a:lnTo>
                    <a:pt x="8" y="25"/>
                  </a:lnTo>
                  <a:lnTo>
                    <a:pt x="9" y="22"/>
                  </a:lnTo>
                  <a:lnTo>
                    <a:pt x="10" y="18"/>
                  </a:lnTo>
                  <a:lnTo>
                    <a:pt x="11" y="9"/>
                  </a:lnTo>
                  <a:lnTo>
                    <a:pt x="11" y="0"/>
                  </a:lnTo>
                  <a:lnTo>
                    <a:pt x="6" y="3"/>
                  </a:lnTo>
                  <a:lnTo>
                    <a:pt x="3" y="7"/>
                  </a:lnTo>
                  <a:lnTo>
                    <a:pt x="1" y="11"/>
                  </a:lnTo>
                  <a:lnTo>
                    <a:pt x="0" y="16"/>
                  </a:lnTo>
                  <a:lnTo>
                    <a:pt x="0" y="20"/>
                  </a:lnTo>
                  <a:lnTo>
                    <a:pt x="1" y="24"/>
                  </a:lnTo>
                  <a:lnTo>
                    <a:pt x="2" y="28"/>
                  </a:lnTo>
                  <a:lnTo>
                    <a:pt x="4" y="3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 name="Freeform 53">
              <a:extLst>
                <a:ext uri="{FF2B5EF4-FFF2-40B4-BE49-F238E27FC236}">
                  <a16:creationId xmlns:a16="http://schemas.microsoft.com/office/drawing/2014/main" id="{8096D85D-423D-4ECD-B5DA-7A6971F6465F}"/>
                </a:ext>
              </a:extLst>
            </p:cNvPr>
            <p:cNvSpPr>
              <a:spLocks/>
            </p:cNvSpPr>
            <p:nvPr>
              <p:custDataLst>
                <p:tags r:id="rId46"/>
              </p:custDataLst>
            </p:nvPr>
          </p:nvSpPr>
          <p:spPr bwMode="auto">
            <a:xfrm>
              <a:off x="2517772" y="3259113"/>
              <a:ext cx="1588" cy="55562"/>
            </a:xfrm>
            <a:custGeom>
              <a:avLst/>
              <a:gdLst>
                <a:gd name="T0" fmla="*/ 0 w 14"/>
                <a:gd name="T1" fmla="*/ 0 h 24"/>
                <a:gd name="T2" fmla="*/ 0 w 14"/>
                <a:gd name="T3" fmla="*/ 55562 h 24"/>
                <a:gd name="T4" fmla="*/ 1588 w 14"/>
                <a:gd name="T5" fmla="*/ 27781 h 24"/>
                <a:gd name="T6" fmla="*/ 0 w 14"/>
                <a:gd name="T7" fmla="*/ 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 h="24">
                  <a:moveTo>
                    <a:pt x="0" y="0"/>
                  </a:moveTo>
                  <a:lnTo>
                    <a:pt x="0" y="24"/>
                  </a:lnTo>
                  <a:lnTo>
                    <a:pt x="14" y="12"/>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 name="Freeform 54">
              <a:extLst>
                <a:ext uri="{FF2B5EF4-FFF2-40B4-BE49-F238E27FC236}">
                  <a16:creationId xmlns:a16="http://schemas.microsoft.com/office/drawing/2014/main" id="{2314EC90-5C86-4CB5-9E81-44B9462233C1}"/>
                </a:ext>
              </a:extLst>
            </p:cNvPr>
            <p:cNvSpPr>
              <a:spLocks/>
            </p:cNvSpPr>
            <p:nvPr>
              <p:custDataLst>
                <p:tags r:id="rId47"/>
              </p:custDataLst>
            </p:nvPr>
          </p:nvSpPr>
          <p:spPr bwMode="auto">
            <a:xfrm>
              <a:off x="2479672" y="3271812"/>
              <a:ext cx="15875" cy="58737"/>
            </a:xfrm>
            <a:custGeom>
              <a:avLst/>
              <a:gdLst>
                <a:gd name="T0" fmla="*/ 0 w 27"/>
                <a:gd name="T1" fmla="*/ 39158 h 18"/>
                <a:gd name="T2" fmla="*/ 4116 w 27"/>
                <a:gd name="T3" fmla="*/ 48948 h 18"/>
                <a:gd name="T4" fmla="*/ 7644 w 27"/>
                <a:gd name="T5" fmla="*/ 58737 h 18"/>
                <a:gd name="T6" fmla="*/ 12935 w 27"/>
                <a:gd name="T7" fmla="*/ 22842 h 18"/>
                <a:gd name="T8" fmla="*/ 15875 w 27"/>
                <a:gd name="T9" fmla="*/ 0 h 18"/>
                <a:gd name="T10" fmla="*/ 12935 w 27"/>
                <a:gd name="T11" fmla="*/ 0 h 18"/>
                <a:gd name="T12" fmla="*/ 10583 w 27"/>
                <a:gd name="T13" fmla="*/ 3263 h 18"/>
                <a:gd name="T14" fmla="*/ 7644 w 27"/>
                <a:gd name="T15" fmla="*/ 6526 h 18"/>
                <a:gd name="T16" fmla="*/ 5880 w 27"/>
                <a:gd name="T17" fmla="*/ 13053 h 18"/>
                <a:gd name="T18" fmla="*/ 2940 w 27"/>
                <a:gd name="T19" fmla="*/ 26105 h 18"/>
                <a:gd name="T20" fmla="*/ 0 w 27"/>
                <a:gd name="T21" fmla="*/ 39158 h 1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7" h="18">
                  <a:moveTo>
                    <a:pt x="0" y="12"/>
                  </a:moveTo>
                  <a:lnTo>
                    <a:pt x="7" y="15"/>
                  </a:lnTo>
                  <a:lnTo>
                    <a:pt x="13" y="18"/>
                  </a:lnTo>
                  <a:lnTo>
                    <a:pt x="22" y="7"/>
                  </a:lnTo>
                  <a:lnTo>
                    <a:pt x="27" y="0"/>
                  </a:lnTo>
                  <a:lnTo>
                    <a:pt x="22" y="0"/>
                  </a:lnTo>
                  <a:lnTo>
                    <a:pt x="18" y="1"/>
                  </a:lnTo>
                  <a:lnTo>
                    <a:pt x="13" y="2"/>
                  </a:lnTo>
                  <a:lnTo>
                    <a:pt x="10" y="4"/>
                  </a:lnTo>
                  <a:lnTo>
                    <a:pt x="5" y="8"/>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 name="Freeform 55">
              <a:extLst>
                <a:ext uri="{FF2B5EF4-FFF2-40B4-BE49-F238E27FC236}">
                  <a16:creationId xmlns:a16="http://schemas.microsoft.com/office/drawing/2014/main" id="{DFC7C63F-900E-4865-A2C9-C680201E1291}"/>
                </a:ext>
              </a:extLst>
            </p:cNvPr>
            <p:cNvSpPr>
              <a:spLocks/>
            </p:cNvSpPr>
            <p:nvPr>
              <p:custDataLst>
                <p:tags r:id="rId48"/>
              </p:custDataLst>
            </p:nvPr>
          </p:nvSpPr>
          <p:spPr bwMode="auto">
            <a:xfrm>
              <a:off x="2465385" y="3336899"/>
              <a:ext cx="23812" cy="57150"/>
            </a:xfrm>
            <a:custGeom>
              <a:avLst/>
              <a:gdLst>
                <a:gd name="T0" fmla="*/ 0 w 47"/>
                <a:gd name="T1" fmla="*/ 41988 h 49"/>
                <a:gd name="T2" fmla="*/ 507 w 47"/>
                <a:gd name="T3" fmla="*/ 45487 h 49"/>
                <a:gd name="T4" fmla="*/ 1013 w 47"/>
                <a:gd name="T5" fmla="*/ 47819 h 49"/>
                <a:gd name="T6" fmla="*/ 2027 w 47"/>
                <a:gd name="T7" fmla="*/ 50152 h 49"/>
                <a:gd name="T8" fmla="*/ 3040 w 47"/>
                <a:gd name="T9" fmla="*/ 52485 h 49"/>
                <a:gd name="T10" fmla="*/ 6080 w 47"/>
                <a:gd name="T11" fmla="*/ 55984 h 49"/>
                <a:gd name="T12" fmla="*/ 7093 w 47"/>
                <a:gd name="T13" fmla="*/ 57150 h 49"/>
                <a:gd name="T14" fmla="*/ 9119 w 47"/>
                <a:gd name="T15" fmla="*/ 57150 h 49"/>
                <a:gd name="T16" fmla="*/ 12159 w 47"/>
                <a:gd name="T17" fmla="*/ 53651 h 49"/>
                <a:gd name="T18" fmla="*/ 14693 w 47"/>
                <a:gd name="T19" fmla="*/ 48986 h 49"/>
                <a:gd name="T20" fmla="*/ 17732 w 47"/>
                <a:gd name="T21" fmla="*/ 45487 h 49"/>
                <a:gd name="T22" fmla="*/ 19759 w 47"/>
                <a:gd name="T23" fmla="*/ 40821 h 49"/>
                <a:gd name="T24" fmla="*/ 22292 w 47"/>
                <a:gd name="T25" fmla="*/ 36156 h 49"/>
                <a:gd name="T26" fmla="*/ 23305 w 47"/>
                <a:gd name="T27" fmla="*/ 31491 h 49"/>
                <a:gd name="T28" fmla="*/ 23812 w 47"/>
                <a:gd name="T29" fmla="*/ 27992 h 49"/>
                <a:gd name="T30" fmla="*/ 23812 w 47"/>
                <a:gd name="T31" fmla="*/ 13996 h 49"/>
                <a:gd name="T32" fmla="*/ 23812 w 47"/>
                <a:gd name="T33" fmla="*/ 0 h 49"/>
                <a:gd name="T34" fmla="*/ 13679 w 47"/>
                <a:gd name="T35" fmla="*/ 0 h 49"/>
                <a:gd name="T36" fmla="*/ 8613 w 47"/>
                <a:gd name="T37" fmla="*/ 9331 h 49"/>
                <a:gd name="T38" fmla="*/ 4560 w 47"/>
                <a:gd name="T39" fmla="*/ 18661 h 49"/>
                <a:gd name="T40" fmla="*/ 2533 w 47"/>
                <a:gd name="T41" fmla="*/ 23327 h 49"/>
                <a:gd name="T42" fmla="*/ 1013 w 47"/>
                <a:gd name="T43" fmla="*/ 29158 h 49"/>
                <a:gd name="T44" fmla="*/ 507 w 47"/>
                <a:gd name="T45" fmla="*/ 34990 h 49"/>
                <a:gd name="T46" fmla="*/ 0 w 47"/>
                <a:gd name="T47" fmla="*/ 41988 h 49"/>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7" h="49">
                  <a:moveTo>
                    <a:pt x="0" y="36"/>
                  </a:moveTo>
                  <a:lnTo>
                    <a:pt x="1" y="39"/>
                  </a:lnTo>
                  <a:lnTo>
                    <a:pt x="2" y="41"/>
                  </a:lnTo>
                  <a:lnTo>
                    <a:pt x="4" y="43"/>
                  </a:lnTo>
                  <a:lnTo>
                    <a:pt x="6" y="45"/>
                  </a:lnTo>
                  <a:lnTo>
                    <a:pt x="12" y="48"/>
                  </a:lnTo>
                  <a:lnTo>
                    <a:pt x="14" y="49"/>
                  </a:lnTo>
                  <a:lnTo>
                    <a:pt x="18" y="49"/>
                  </a:lnTo>
                  <a:lnTo>
                    <a:pt x="24" y="46"/>
                  </a:lnTo>
                  <a:lnTo>
                    <a:pt x="29" y="42"/>
                  </a:lnTo>
                  <a:lnTo>
                    <a:pt x="35" y="39"/>
                  </a:lnTo>
                  <a:lnTo>
                    <a:pt x="39" y="35"/>
                  </a:lnTo>
                  <a:lnTo>
                    <a:pt x="44" y="31"/>
                  </a:lnTo>
                  <a:lnTo>
                    <a:pt x="46" y="27"/>
                  </a:lnTo>
                  <a:lnTo>
                    <a:pt x="47" y="24"/>
                  </a:lnTo>
                  <a:lnTo>
                    <a:pt x="47" y="12"/>
                  </a:lnTo>
                  <a:lnTo>
                    <a:pt x="47" y="0"/>
                  </a:lnTo>
                  <a:lnTo>
                    <a:pt x="27" y="0"/>
                  </a:lnTo>
                  <a:lnTo>
                    <a:pt x="17" y="8"/>
                  </a:lnTo>
                  <a:lnTo>
                    <a:pt x="9" y="16"/>
                  </a:lnTo>
                  <a:lnTo>
                    <a:pt x="5" y="20"/>
                  </a:lnTo>
                  <a:lnTo>
                    <a:pt x="2" y="25"/>
                  </a:lnTo>
                  <a:lnTo>
                    <a:pt x="1" y="30"/>
                  </a:lnTo>
                  <a:lnTo>
                    <a:pt x="0" y="3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 name="Freeform 56">
              <a:extLst>
                <a:ext uri="{FF2B5EF4-FFF2-40B4-BE49-F238E27FC236}">
                  <a16:creationId xmlns:a16="http://schemas.microsoft.com/office/drawing/2014/main" id="{D42FFB6E-180B-4E66-AF64-07C251764283}"/>
                </a:ext>
              </a:extLst>
            </p:cNvPr>
            <p:cNvSpPr>
              <a:spLocks/>
            </p:cNvSpPr>
            <p:nvPr>
              <p:custDataLst>
                <p:tags r:id="rId49"/>
              </p:custDataLst>
            </p:nvPr>
          </p:nvSpPr>
          <p:spPr bwMode="auto">
            <a:xfrm>
              <a:off x="2484435" y="3313087"/>
              <a:ext cx="12700" cy="57150"/>
            </a:xfrm>
            <a:custGeom>
              <a:avLst/>
              <a:gdLst>
                <a:gd name="T0" fmla="*/ 0 w 26"/>
                <a:gd name="T1" fmla="*/ 0 h 9"/>
                <a:gd name="T2" fmla="*/ 0 w 26"/>
                <a:gd name="T3" fmla="*/ 25400 h 9"/>
                <a:gd name="T4" fmla="*/ 1465 w 26"/>
                <a:gd name="T5" fmla="*/ 44450 h 9"/>
                <a:gd name="T6" fmla="*/ 2931 w 26"/>
                <a:gd name="T7" fmla="*/ 50800 h 9"/>
                <a:gd name="T8" fmla="*/ 5373 w 26"/>
                <a:gd name="T9" fmla="*/ 57150 h 9"/>
                <a:gd name="T10" fmla="*/ 7327 w 26"/>
                <a:gd name="T11" fmla="*/ 50800 h 9"/>
                <a:gd name="T12" fmla="*/ 9769 w 26"/>
                <a:gd name="T13" fmla="*/ 44450 h 9"/>
                <a:gd name="T14" fmla="*/ 11235 w 26"/>
                <a:gd name="T15" fmla="*/ 25400 h 9"/>
                <a:gd name="T16" fmla="*/ 12700 w 26"/>
                <a:gd name="T17" fmla="*/ 0 h 9"/>
                <a:gd name="T18" fmla="*/ 0 w 26"/>
                <a:gd name="T19" fmla="*/ 0 h 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9">
                  <a:moveTo>
                    <a:pt x="0" y="0"/>
                  </a:moveTo>
                  <a:lnTo>
                    <a:pt x="0" y="4"/>
                  </a:lnTo>
                  <a:lnTo>
                    <a:pt x="3" y="7"/>
                  </a:lnTo>
                  <a:lnTo>
                    <a:pt x="6" y="8"/>
                  </a:lnTo>
                  <a:lnTo>
                    <a:pt x="11" y="9"/>
                  </a:lnTo>
                  <a:lnTo>
                    <a:pt x="15" y="8"/>
                  </a:lnTo>
                  <a:lnTo>
                    <a:pt x="20" y="7"/>
                  </a:lnTo>
                  <a:lnTo>
                    <a:pt x="23" y="4"/>
                  </a:lnTo>
                  <a:lnTo>
                    <a:pt x="26"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 name="Freeform 57">
              <a:extLst>
                <a:ext uri="{FF2B5EF4-FFF2-40B4-BE49-F238E27FC236}">
                  <a16:creationId xmlns:a16="http://schemas.microsoft.com/office/drawing/2014/main" id="{302AAC56-7A3D-4181-910E-FDC769957CA2}"/>
                </a:ext>
              </a:extLst>
            </p:cNvPr>
            <p:cNvSpPr>
              <a:spLocks/>
            </p:cNvSpPr>
            <p:nvPr>
              <p:custDataLst>
                <p:tags r:id="rId50"/>
              </p:custDataLst>
            </p:nvPr>
          </p:nvSpPr>
          <p:spPr bwMode="auto">
            <a:xfrm>
              <a:off x="1966911" y="2984477"/>
              <a:ext cx="15875" cy="57150"/>
            </a:xfrm>
            <a:custGeom>
              <a:avLst/>
              <a:gdLst>
                <a:gd name="T0" fmla="*/ 0 w 39"/>
                <a:gd name="T1" fmla="*/ 0 h 18"/>
                <a:gd name="T2" fmla="*/ 0 w 39"/>
                <a:gd name="T3" fmla="*/ 57150 h 18"/>
                <a:gd name="T4" fmla="*/ 2442 w 39"/>
                <a:gd name="T5" fmla="*/ 57150 h 18"/>
                <a:gd name="T6" fmla="*/ 5292 w 39"/>
                <a:gd name="T7" fmla="*/ 57150 h 18"/>
                <a:gd name="T8" fmla="*/ 9362 w 39"/>
                <a:gd name="T9" fmla="*/ 53975 h 18"/>
                <a:gd name="T10" fmla="*/ 12212 w 39"/>
                <a:gd name="T11" fmla="*/ 44450 h 18"/>
                <a:gd name="T12" fmla="*/ 13840 w 39"/>
                <a:gd name="T13" fmla="*/ 38100 h 18"/>
                <a:gd name="T14" fmla="*/ 15061 w 39"/>
                <a:gd name="T15" fmla="*/ 31750 h 18"/>
                <a:gd name="T16" fmla="*/ 15468 w 39"/>
                <a:gd name="T17" fmla="*/ 25400 h 18"/>
                <a:gd name="T18" fmla="*/ 15875 w 39"/>
                <a:gd name="T19" fmla="*/ 19050 h 18"/>
                <a:gd name="T20" fmla="*/ 11804 w 39"/>
                <a:gd name="T21" fmla="*/ 15875 h 18"/>
                <a:gd name="T22" fmla="*/ 7734 w 39"/>
                <a:gd name="T23" fmla="*/ 9525 h 18"/>
                <a:gd name="T24" fmla="*/ 4071 w 39"/>
                <a:gd name="T25" fmla="*/ 0 h 18"/>
                <a:gd name="T26" fmla="*/ 0 w 39"/>
                <a:gd name="T27" fmla="*/ 0 h 18"/>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18">
                  <a:moveTo>
                    <a:pt x="0" y="0"/>
                  </a:moveTo>
                  <a:lnTo>
                    <a:pt x="0" y="18"/>
                  </a:lnTo>
                  <a:lnTo>
                    <a:pt x="6" y="18"/>
                  </a:lnTo>
                  <a:lnTo>
                    <a:pt x="13" y="18"/>
                  </a:lnTo>
                  <a:lnTo>
                    <a:pt x="23" y="17"/>
                  </a:lnTo>
                  <a:lnTo>
                    <a:pt x="30" y="14"/>
                  </a:lnTo>
                  <a:lnTo>
                    <a:pt x="34" y="12"/>
                  </a:lnTo>
                  <a:lnTo>
                    <a:pt x="37" y="10"/>
                  </a:lnTo>
                  <a:lnTo>
                    <a:pt x="38" y="8"/>
                  </a:lnTo>
                  <a:lnTo>
                    <a:pt x="39" y="6"/>
                  </a:lnTo>
                  <a:lnTo>
                    <a:pt x="29" y="5"/>
                  </a:lnTo>
                  <a:lnTo>
                    <a:pt x="19" y="3"/>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55" name="Group 58">
              <a:extLst>
                <a:ext uri="{FF2B5EF4-FFF2-40B4-BE49-F238E27FC236}">
                  <a16:creationId xmlns:a16="http://schemas.microsoft.com/office/drawing/2014/main" id="{31F6C1F0-4113-4ED2-9B2C-1EFEAEF3B0C0}"/>
                </a:ext>
              </a:extLst>
            </p:cNvPr>
            <p:cNvGrpSpPr>
              <a:grpSpLocks/>
            </p:cNvGrpSpPr>
            <p:nvPr>
              <p:custDataLst>
                <p:tags r:id="rId51"/>
              </p:custDataLst>
            </p:nvPr>
          </p:nvGrpSpPr>
          <p:grpSpPr bwMode="auto">
            <a:xfrm>
              <a:off x="2092323" y="2817791"/>
              <a:ext cx="131763" cy="195260"/>
              <a:chOff x="1199" y="2121"/>
              <a:chExt cx="97" cy="123"/>
            </a:xfrm>
          </p:grpSpPr>
          <p:sp>
            <p:nvSpPr>
              <p:cNvPr id="538" name="Freeform 59">
                <a:extLst>
                  <a:ext uri="{FF2B5EF4-FFF2-40B4-BE49-F238E27FC236}">
                    <a16:creationId xmlns:a16="http://schemas.microsoft.com/office/drawing/2014/main" id="{D2D0FA39-AF95-4193-B7C7-36CF34B74D6D}"/>
                  </a:ext>
                </a:extLst>
              </p:cNvPr>
              <p:cNvSpPr>
                <a:spLocks/>
              </p:cNvSpPr>
              <p:nvPr/>
            </p:nvSpPr>
            <p:spPr bwMode="auto">
              <a:xfrm>
                <a:off x="1274" y="2236"/>
                <a:ext cx="16" cy="8"/>
              </a:xfrm>
              <a:custGeom>
                <a:avLst/>
                <a:gdLst>
                  <a:gd name="T0" fmla="*/ 0 w 52"/>
                  <a:gd name="T1" fmla="*/ 8 h 25"/>
                  <a:gd name="T2" fmla="*/ 2 w 52"/>
                  <a:gd name="T3" fmla="*/ 8 h 25"/>
                  <a:gd name="T4" fmla="*/ 5 w 52"/>
                  <a:gd name="T5" fmla="*/ 8 h 25"/>
                  <a:gd name="T6" fmla="*/ 7 w 52"/>
                  <a:gd name="T7" fmla="*/ 7 h 25"/>
                  <a:gd name="T8" fmla="*/ 9 w 52"/>
                  <a:gd name="T9" fmla="*/ 6 h 25"/>
                  <a:gd name="T10" fmla="*/ 12 w 52"/>
                  <a:gd name="T11" fmla="*/ 5 h 25"/>
                  <a:gd name="T12" fmla="*/ 13 w 52"/>
                  <a:gd name="T13" fmla="*/ 4 h 25"/>
                  <a:gd name="T14" fmla="*/ 15 w 52"/>
                  <a:gd name="T15" fmla="*/ 2 h 25"/>
                  <a:gd name="T16" fmla="*/ 16 w 52"/>
                  <a:gd name="T17" fmla="*/ 0 h 25"/>
                  <a:gd name="T18" fmla="*/ 12 w 52"/>
                  <a:gd name="T19" fmla="*/ 0 h 25"/>
                  <a:gd name="T20" fmla="*/ 10 w 52"/>
                  <a:gd name="T21" fmla="*/ 0 h 25"/>
                  <a:gd name="T22" fmla="*/ 7 w 52"/>
                  <a:gd name="T23" fmla="*/ 0 h 25"/>
                  <a:gd name="T24" fmla="*/ 5 w 52"/>
                  <a:gd name="T25" fmla="*/ 1 h 25"/>
                  <a:gd name="T26" fmla="*/ 3 w 52"/>
                  <a:gd name="T27" fmla="*/ 2 h 25"/>
                  <a:gd name="T28" fmla="*/ 2 w 52"/>
                  <a:gd name="T29" fmla="*/ 3 h 25"/>
                  <a:gd name="T30" fmla="*/ 1 w 52"/>
                  <a:gd name="T31" fmla="*/ 5 h 25"/>
                  <a:gd name="T32" fmla="*/ 0 w 52"/>
                  <a:gd name="T33" fmla="*/ 8 h 2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2" h="25">
                    <a:moveTo>
                      <a:pt x="0" y="25"/>
                    </a:moveTo>
                    <a:lnTo>
                      <a:pt x="7" y="25"/>
                    </a:lnTo>
                    <a:lnTo>
                      <a:pt x="15" y="24"/>
                    </a:lnTo>
                    <a:lnTo>
                      <a:pt x="23" y="22"/>
                    </a:lnTo>
                    <a:lnTo>
                      <a:pt x="30" y="19"/>
                    </a:lnTo>
                    <a:lnTo>
                      <a:pt x="38" y="15"/>
                    </a:lnTo>
                    <a:lnTo>
                      <a:pt x="43" y="11"/>
                    </a:lnTo>
                    <a:lnTo>
                      <a:pt x="49" y="6"/>
                    </a:lnTo>
                    <a:lnTo>
                      <a:pt x="52" y="0"/>
                    </a:lnTo>
                    <a:lnTo>
                      <a:pt x="40" y="0"/>
                    </a:lnTo>
                    <a:lnTo>
                      <a:pt x="31" y="0"/>
                    </a:lnTo>
                    <a:lnTo>
                      <a:pt x="23" y="1"/>
                    </a:lnTo>
                    <a:lnTo>
                      <a:pt x="16" y="3"/>
                    </a:lnTo>
                    <a:lnTo>
                      <a:pt x="11" y="6"/>
                    </a:lnTo>
                    <a:lnTo>
                      <a:pt x="5" y="10"/>
                    </a:lnTo>
                    <a:lnTo>
                      <a:pt x="2" y="16"/>
                    </a:lnTo>
                    <a:lnTo>
                      <a:pt x="0"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9" name="Freeform 60">
                <a:extLst>
                  <a:ext uri="{FF2B5EF4-FFF2-40B4-BE49-F238E27FC236}">
                    <a16:creationId xmlns:a16="http://schemas.microsoft.com/office/drawing/2014/main" id="{67434171-170E-4EFD-BA0B-90CB0312449F}"/>
                  </a:ext>
                </a:extLst>
              </p:cNvPr>
              <p:cNvSpPr>
                <a:spLocks/>
              </p:cNvSpPr>
              <p:nvPr/>
            </p:nvSpPr>
            <p:spPr bwMode="auto">
              <a:xfrm>
                <a:off x="1199" y="2131"/>
                <a:ext cx="11" cy="4"/>
              </a:xfrm>
              <a:custGeom>
                <a:avLst/>
                <a:gdLst>
                  <a:gd name="T0" fmla="*/ 0 w 33"/>
                  <a:gd name="T1" fmla="*/ 0 h 13"/>
                  <a:gd name="T2" fmla="*/ 0 w 33"/>
                  <a:gd name="T3" fmla="*/ 2 h 13"/>
                  <a:gd name="T4" fmla="*/ 0 w 33"/>
                  <a:gd name="T5" fmla="*/ 4 h 13"/>
                  <a:gd name="T6" fmla="*/ 3 w 33"/>
                  <a:gd name="T7" fmla="*/ 4 h 13"/>
                  <a:gd name="T8" fmla="*/ 5 w 33"/>
                  <a:gd name="T9" fmla="*/ 4 h 13"/>
                  <a:gd name="T10" fmla="*/ 8 w 33"/>
                  <a:gd name="T11" fmla="*/ 3 h 13"/>
                  <a:gd name="T12" fmla="*/ 11 w 33"/>
                  <a:gd name="T13" fmla="*/ 2 h 13"/>
                  <a:gd name="T14" fmla="*/ 8 w 33"/>
                  <a:gd name="T15" fmla="*/ 1 h 13"/>
                  <a:gd name="T16" fmla="*/ 5 w 33"/>
                  <a:gd name="T17" fmla="*/ 0 h 13"/>
                  <a:gd name="T18" fmla="*/ 3 w 33"/>
                  <a:gd name="T19" fmla="*/ 0 h 13"/>
                  <a:gd name="T20" fmla="*/ 0 w 33"/>
                  <a:gd name="T21" fmla="*/ 0 h 1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3">
                    <a:moveTo>
                      <a:pt x="0" y="0"/>
                    </a:moveTo>
                    <a:lnTo>
                      <a:pt x="0" y="6"/>
                    </a:lnTo>
                    <a:lnTo>
                      <a:pt x="0" y="13"/>
                    </a:lnTo>
                    <a:lnTo>
                      <a:pt x="9" y="13"/>
                    </a:lnTo>
                    <a:lnTo>
                      <a:pt x="16" y="13"/>
                    </a:lnTo>
                    <a:lnTo>
                      <a:pt x="24" y="11"/>
                    </a:lnTo>
                    <a:lnTo>
                      <a:pt x="33" y="6"/>
                    </a:lnTo>
                    <a:lnTo>
                      <a:pt x="24" y="3"/>
                    </a:lnTo>
                    <a:lnTo>
                      <a:pt x="16" y="1"/>
                    </a:lnTo>
                    <a:lnTo>
                      <a:pt x="9"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0" name="Freeform 61">
                <a:extLst>
                  <a:ext uri="{FF2B5EF4-FFF2-40B4-BE49-F238E27FC236}">
                    <a16:creationId xmlns:a16="http://schemas.microsoft.com/office/drawing/2014/main" id="{216A9D44-0206-46E5-83D1-AC965FB061E6}"/>
                  </a:ext>
                </a:extLst>
              </p:cNvPr>
              <p:cNvSpPr>
                <a:spLocks/>
              </p:cNvSpPr>
              <p:nvPr/>
            </p:nvSpPr>
            <p:spPr bwMode="auto">
              <a:xfrm>
                <a:off x="1210" y="2121"/>
                <a:ext cx="20" cy="28"/>
              </a:xfrm>
              <a:custGeom>
                <a:avLst/>
                <a:gdLst>
                  <a:gd name="T0" fmla="*/ 8 w 67"/>
                  <a:gd name="T1" fmla="*/ 6 h 86"/>
                  <a:gd name="T2" fmla="*/ 0 w 67"/>
                  <a:gd name="T3" fmla="*/ 0 h 86"/>
                  <a:gd name="T4" fmla="*/ 8 w 67"/>
                  <a:gd name="T5" fmla="*/ 0 h 86"/>
                  <a:gd name="T6" fmla="*/ 9 w 67"/>
                  <a:gd name="T7" fmla="*/ 1 h 86"/>
                  <a:gd name="T8" fmla="*/ 10 w 67"/>
                  <a:gd name="T9" fmla="*/ 3 h 86"/>
                  <a:gd name="T10" fmla="*/ 11 w 67"/>
                  <a:gd name="T11" fmla="*/ 4 h 86"/>
                  <a:gd name="T12" fmla="*/ 12 w 67"/>
                  <a:gd name="T13" fmla="*/ 5 h 86"/>
                  <a:gd name="T14" fmla="*/ 14 w 67"/>
                  <a:gd name="T15" fmla="*/ 6 h 86"/>
                  <a:gd name="T16" fmla="*/ 16 w 67"/>
                  <a:gd name="T17" fmla="*/ 6 h 86"/>
                  <a:gd name="T18" fmla="*/ 17 w 67"/>
                  <a:gd name="T19" fmla="*/ 10 h 86"/>
                  <a:gd name="T20" fmla="*/ 19 w 67"/>
                  <a:gd name="T21" fmla="*/ 13 h 86"/>
                  <a:gd name="T22" fmla="*/ 19 w 67"/>
                  <a:gd name="T23" fmla="*/ 15 h 86"/>
                  <a:gd name="T24" fmla="*/ 20 w 67"/>
                  <a:gd name="T25" fmla="*/ 16 h 86"/>
                  <a:gd name="T26" fmla="*/ 20 w 67"/>
                  <a:gd name="T27" fmla="*/ 18 h 86"/>
                  <a:gd name="T28" fmla="*/ 20 w 67"/>
                  <a:gd name="T29" fmla="*/ 20 h 86"/>
                  <a:gd name="T30" fmla="*/ 19 w 67"/>
                  <a:gd name="T31" fmla="*/ 24 h 86"/>
                  <a:gd name="T32" fmla="*/ 18 w 67"/>
                  <a:gd name="T33" fmla="*/ 28 h 86"/>
                  <a:gd name="T34" fmla="*/ 16 w 67"/>
                  <a:gd name="T35" fmla="*/ 22 h 86"/>
                  <a:gd name="T36" fmla="*/ 15 w 67"/>
                  <a:gd name="T37" fmla="*/ 18 h 86"/>
                  <a:gd name="T38" fmla="*/ 15 w 67"/>
                  <a:gd name="T39" fmla="*/ 15 h 86"/>
                  <a:gd name="T40" fmla="*/ 15 w 67"/>
                  <a:gd name="T41" fmla="*/ 13 h 86"/>
                  <a:gd name="T42" fmla="*/ 15 w 67"/>
                  <a:gd name="T43" fmla="*/ 11 h 86"/>
                  <a:gd name="T44" fmla="*/ 16 w 67"/>
                  <a:gd name="T45" fmla="*/ 10 h 86"/>
                  <a:gd name="T46" fmla="*/ 13 w 67"/>
                  <a:gd name="T47" fmla="*/ 10 h 86"/>
                  <a:gd name="T48" fmla="*/ 10 w 67"/>
                  <a:gd name="T49" fmla="*/ 9 h 86"/>
                  <a:gd name="T50" fmla="*/ 10 w 67"/>
                  <a:gd name="T51" fmla="*/ 9 h 86"/>
                  <a:gd name="T52" fmla="*/ 8 w 67"/>
                  <a:gd name="T53" fmla="*/ 8 h 86"/>
                  <a:gd name="T54" fmla="*/ 8 w 67"/>
                  <a:gd name="T55" fmla="*/ 7 h 86"/>
                  <a:gd name="T56" fmla="*/ 8 w 67"/>
                  <a:gd name="T57" fmla="*/ 6 h 8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67" h="86">
                    <a:moveTo>
                      <a:pt x="26" y="18"/>
                    </a:moveTo>
                    <a:lnTo>
                      <a:pt x="0" y="0"/>
                    </a:lnTo>
                    <a:lnTo>
                      <a:pt x="26" y="0"/>
                    </a:lnTo>
                    <a:lnTo>
                      <a:pt x="29" y="4"/>
                    </a:lnTo>
                    <a:lnTo>
                      <a:pt x="33" y="8"/>
                    </a:lnTo>
                    <a:lnTo>
                      <a:pt x="36" y="11"/>
                    </a:lnTo>
                    <a:lnTo>
                      <a:pt x="39" y="14"/>
                    </a:lnTo>
                    <a:lnTo>
                      <a:pt x="47" y="17"/>
                    </a:lnTo>
                    <a:lnTo>
                      <a:pt x="54" y="18"/>
                    </a:lnTo>
                    <a:lnTo>
                      <a:pt x="58" y="30"/>
                    </a:lnTo>
                    <a:lnTo>
                      <a:pt x="62" y="40"/>
                    </a:lnTo>
                    <a:lnTo>
                      <a:pt x="63" y="45"/>
                    </a:lnTo>
                    <a:lnTo>
                      <a:pt x="66" y="50"/>
                    </a:lnTo>
                    <a:lnTo>
                      <a:pt x="66" y="55"/>
                    </a:lnTo>
                    <a:lnTo>
                      <a:pt x="67" y="61"/>
                    </a:lnTo>
                    <a:lnTo>
                      <a:pt x="63" y="74"/>
                    </a:lnTo>
                    <a:lnTo>
                      <a:pt x="60" y="86"/>
                    </a:lnTo>
                    <a:lnTo>
                      <a:pt x="55" y="69"/>
                    </a:lnTo>
                    <a:lnTo>
                      <a:pt x="51" y="54"/>
                    </a:lnTo>
                    <a:lnTo>
                      <a:pt x="50" y="47"/>
                    </a:lnTo>
                    <a:lnTo>
                      <a:pt x="50" y="41"/>
                    </a:lnTo>
                    <a:lnTo>
                      <a:pt x="51" y="35"/>
                    </a:lnTo>
                    <a:lnTo>
                      <a:pt x="54" y="30"/>
                    </a:lnTo>
                    <a:lnTo>
                      <a:pt x="44" y="30"/>
                    </a:lnTo>
                    <a:lnTo>
                      <a:pt x="35" y="29"/>
                    </a:lnTo>
                    <a:lnTo>
                      <a:pt x="32" y="27"/>
                    </a:lnTo>
                    <a:lnTo>
                      <a:pt x="28" y="25"/>
                    </a:lnTo>
                    <a:lnTo>
                      <a:pt x="27" y="22"/>
                    </a:lnTo>
                    <a:lnTo>
                      <a:pt x="26"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1" name="Freeform 62">
                <a:extLst>
                  <a:ext uri="{FF2B5EF4-FFF2-40B4-BE49-F238E27FC236}">
                    <a16:creationId xmlns:a16="http://schemas.microsoft.com/office/drawing/2014/main" id="{5B109F60-17D2-423B-8A46-391C90384233}"/>
                  </a:ext>
                </a:extLst>
              </p:cNvPr>
              <p:cNvSpPr>
                <a:spLocks/>
              </p:cNvSpPr>
              <p:nvPr/>
            </p:nvSpPr>
            <p:spPr bwMode="auto">
              <a:xfrm>
                <a:off x="1201" y="2159"/>
                <a:ext cx="16" cy="28"/>
              </a:xfrm>
              <a:custGeom>
                <a:avLst/>
                <a:gdLst>
                  <a:gd name="T0" fmla="*/ 9 w 49"/>
                  <a:gd name="T1" fmla="*/ 4 h 86"/>
                  <a:gd name="T2" fmla="*/ 7 w 49"/>
                  <a:gd name="T3" fmla="*/ 2 h 86"/>
                  <a:gd name="T4" fmla="*/ 5 w 49"/>
                  <a:gd name="T5" fmla="*/ 0 h 86"/>
                  <a:gd name="T6" fmla="*/ 3 w 49"/>
                  <a:gd name="T7" fmla="*/ 2 h 86"/>
                  <a:gd name="T8" fmla="*/ 2 w 49"/>
                  <a:gd name="T9" fmla="*/ 4 h 86"/>
                  <a:gd name="T10" fmla="*/ 0 w 49"/>
                  <a:gd name="T11" fmla="*/ 7 h 86"/>
                  <a:gd name="T12" fmla="*/ 0 w 49"/>
                  <a:gd name="T13" fmla="*/ 10 h 86"/>
                  <a:gd name="T14" fmla="*/ 0 w 49"/>
                  <a:gd name="T15" fmla="*/ 12 h 86"/>
                  <a:gd name="T16" fmla="*/ 1 w 49"/>
                  <a:gd name="T17" fmla="*/ 14 h 86"/>
                  <a:gd name="T18" fmla="*/ 2 w 49"/>
                  <a:gd name="T19" fmla="*/ 16 h 86"/>
                  <a:gd name="T20" fmla="*/ 3 w 49"/>
                  <a:gd name="T21" fmla="*/ 19 h 86"/>
                  <a:gd name="T22" fmla="*/ 4 w 49"/>
                  <a:gd name="T23" fmla="*/ 21 h 86"/>
                  <a:gd name="T24" fmla="*/ 6 w 49"/>
                  <a:gd name="T25" fmla="*/ 24 h 86"/>
                  <a:gd name="T26" fmla="*/ 7 w 49"/>
                  <a:gd name="T27" fmla="*/ 26 h 86"/>
                  <a:gd name="T28" fmla="*/ 9 w 49"/>
                  <a:gd name="T29" fmla="*/ 28 h 86"/>
                  <a:gd name="T30" fmla="*/ 10 w 49"/>
                  <a:gd name="T31" fmla="*/ 26 h 86"/>
                  <a:gd name="T32" fmla="*/ 12 w 49"/>
                  <a:gd name="T33" fmla="*/ 22 h 86"/>
                  <a:gd name="T34" fmla="*/ 14 w 49"/>
                  <a:gd name="T35" fmla="*/ 19 h 86"/>
                  <a:gd name="T36" fmla="*/ 15 w 49"/>
                  <a:gd name="T37" fmla="*/ 15 h 86"/>
                  <a:gd name="T38" fmla="*/ 16 w 49"/>
                  <a:gd name="T39" fmla="*/ 13 h 86"/>
                  <a:gd name="T40" fmla="*/ 16 w 49"/>
                  <a:gd name="T41" fmla="*/ 11 h 86"/>
                  <a:gd name="T42" fmla="*/ 16 w 49"/>
                  <a:gd name="T43" fmla="*/ 8 h 86"/>
                  <a:gd name="T44" fmla="*/ 16 w 49"/>
                  <a:gd name="T45" fmla="*/ 7 h 86"/>
                  <a:gd name="T46" fmla="*/ 14 w 49"/>
                  <a:gd name="T47" fmla="*/ 6 h 86"/>
                  <a:gd name="T48" fmla="*/ 13 w 49"/>
                  <a:gd name="T49" fmla="*/ 5 h 86"/>
                  <a:gd name="T50" fmla="*/ 11 w 49"/>
                  <a:gd name="T51" fmla="*/ 4 h 86"/>
                  <a:gd name="T52" fmla="*/ 9 w 49"/>
                  <a:gd name="T53" fmla="*/ 4 h 8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9" h="86">
                    <a:moveTo>
                      <a:pt x="27" y="12"/>
                    </a:moveTo>
                    <a:lnTo>
                      <a:pt x="20" y="6"/>
                    </a:lnTo>
                    <a:lnTo>
                      <a:pt x="14" y="0"/>
                    </a:lnTo>
                    <a:lnTo>
                      <a:pt x="9" y="5"/>
                    </a:lnTo>
                    <a:lnTo>
                      <a:pt x="5" y="13"/>
                    </a:lnTo>
                    <a:lnTo>
                      <a:pt x="1" y="21"/>
                    </a:lnTo>
                    <a:lnTo>
                      <a:pt x="0" y="30"/>
                    </a:lnTo>
                    <a:lnTo>
                      <a:pt x="0" y="36"/>
                    </a:lnTo>
                    <a:lnTo>
                      <a:pt x="3" y="43"/>
                    </a:lnTo>
                    <a:lnTo>
                      <a:pt x="5" y="50"/>
                    </a:lnTo>
                    <a:lnTo>
                      <a:pt x="8" y="58"/>
                    </a:lnTo>
                    <a:lnTo>
                      <a:pt x="12" y="66"/>
                    </a:lnTo>
                    <a:lnTo>
                      <a:pt x="17" y="74"/>
                    </a:lnTo>
                    <a:lnTo>
                      <a:pt x="22" y="80"/>
                    </a:lnTo>
                    <a:lnTo>
                      <a:pt x="27" y="86"/>
                    </a:lnTo>
                    <a:lnTo>
                      <a:pt x="31" y="79"/>
                    </a:lnTo>
                    <a:lnTo>
                      <a:pt x="37" y="69"/>
                    </a:lnTo>
                    <a:lnTo>
                      <a:pt x="42" y="57"/>
                    </a:lnTo>
                    <a:lnTo>
                      <a:pt x="46" y="45"/>
                    </a:lnTo>
                    <a:lnTo>
                      <a:pt x="49" y="39"/>
                    </a:lnTo>
                    <a:lnTo>
                      <a:pt x="49" y="33"/>
                    </a:lnTo>
                    <a:lnTo>
                      <a:pt x="49" y="26"/>
                    </a:lnTo>
                    <a:lnTo>
                      <a:pt x="48" y="22"/>
                    </a:lnTo>
                    <a:lnTo>
                      <a:pt x="44" y="18"/>
                    </a:lnTo>
                    <a:lnTo>
                      <a:pt x="40" y="15"/>
                    </a:lnTo>
                    <a:lnTo>
                      <a:pt x="34" y="13"/>
                    </a:lnTo>
                    <a:lnTo>
                      <a:pt x="27"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2" name="Freeform 63">
                <a:extLst>
                  <a:ext uri="{FF2B5EF4-FFF2-40B4-BE49-F238E27FC236}">
                    <a16:creationId xmlns:a16="http://schemas.microsoft.com/office/drawing/2014/main" id="{6BFB947E-DA55-4BBB-9A2E-6C6553670797}"/>
                  </a:ext>
                </a:extLst>
              </p:cNvPr>
              <p:cNvSpPr>
                <a:spLocks/>
              </p:cNvSpPr>
              <p:nvPr/>
            </p:nvSpPr>
            <p:spPr bwMode="auto">
              <a:xfrm>
                <a:off x="1226" y="2161"/>
                <a:ext cx="2" cy="4"/>
              </a:xfrm>
              <a:custGeom>
                <a:avLst/>
                <a:gdLst>
                  <a:gd name="T0" fmla="*/ 0 w 6"/>
                  <a:gd name="T1" fmla="*/ 4 h 12"/>
                  <a:gd name="T2" fmla="*/ 2 w 6"/>
                  <a:gd name="T3" fmla="*/ 0 h 12"/>
                  <a:gd name="T4" fmla="*/ 1 w 6"/>
                  <a:gd name="T5" fmla="*/ 0 h 12"/>
                  <a:gd name="T6" fmla="*/ 1 w 6"/>
                  <a:gd name="T7" fmla="*/ 1 h 12"/>
                  <a:gd name="T8" fmla="*/ 0 w 6"/>
                  <a:gd name="T9" fmla="*/ 1 h 12"/>
                  <a:gd name="T10" fmla="*/ 0 w 6"/>
                  <a:gd name="T11" fmla="*/ 2 h 12"/>
                  <a:gd name="T12" fmla="*/ 0 w 6"/>
                  <a:gd name="T13" fmla="*/ 3 h 12"/>
                  <a:gd name="T14" fmla="*/ 0 w 6"/>
                  <a:gd name="T15" fmla="*/ 4 h 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 h="12">
                    <a:moveTo>
                      <a:pt x="0" y="12"/>
                    </a:moveTo>
                    <a:lnTo>
                      <a:pt x="6" y="0"/>
                    </a:lnTo>
                    <a:lnTo>
                      <a:pt x="4" y="0"/>
                    </a:lnTo>
                    <a:lnTo>
                      <a:pt x="2" y="2"/>
                    </a:lnTo>
                    <a:lnTo>
                      <a:pt x="1" y="4"/>
                    </a:lnTo>
                    <a:lnTo>
                      <a:pt x="0" y="6"/>
                    </a:lnTo>
                    <a:lnTo>
                      <a:pt x="0" y="10"/>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3" name="Freeform 64">
                <a:extLst>
                  <a:ext uri="{FF2B5EF4-FFF2-40B4-BE49-F238E27FC236}">
                    <a16:creationId xmlns:a16="http://schemas.microsoft.com/office/drawing/2014/main" id="{B43E0323-47F0-48F9-8DD8-6C81F50B4AF1}"/>
                  </a:ext>
                </a:extLst>
              </p:cNvPr>
              <p:cNvSpPr>
                <a:spLocks/>
              </p:cNvSpPr>
              <p:nvPr/>
            </p:nvSpPr>
            <p:spPr bwMode="auto">
              <a:xfrm>
                <a:off x="1230" y="2154"/>
                <a:ext cx="13" cy="15"/>
              </a:xfrm>
              <a:custGeom>
                <a:avLst/>
                <a:gdLst>
                  <a:gd name="T0" fmla="*/ 0 w 39"/>
                  <a:gd name="T1" fmla="*/ 0 h 48"/>
                  <a:gd name="T2" fmla="*/ 4 w 39"/>
                  <a:gd name="T3" fmla="*/ 3 h 48"/>
                  <a:gd name="T4" fmla="*/ 7 w 39"/>
                  <a:gd name="T5" fmla="*/ 5 h 48"/>
                  <a:gd name="T6" fmla="*/ 11 w 39"/>
                  <a:gd name="T7" fmla="*/ 8 h 48"/>
                  <a:gd name="T8" fmla="*/ 13 w 39"/>
                  <a:gd name="T9" fmla="*/ 9 h 48"/>
                  <a:gd name="T10" fmla="*/ 12 w 39"/>
                  <a:gd name="T11" fmla="*/ 12 h 48"/>
                  <a:gd name="T12" fmla="*/ 11 w 39"/>
                  <a:gd name="T13" fmla="*/ 15 h 48"/>
                  <a:gd name="T14" fmla="*/ 6 w 39"/>
                  <a:gd name="T15" fmla="*/ 11 h 48"/>
                  <a:gd name="T16" fmla="*/ 3 w 39"/>
                  <a:gd name="T17" fmla="*/ 8 h 48"/>
                  <a:gd name="T18" fmla="*/ 1 w 39"/>
                  <a:gd name="T19" fmla="*/ 7 h 48"/>
                  <a:gd name="T20" fmla="*/ 1 w 39"/>
                  <a:gd name="T21" fmla="*/ 5 h 48"/>
                  <a:gd name="T22" fmla="*/ 0 w 39"/>
                  <a:gd name="T23" fmla="*/ 3 h 48"/>
                  <a:gd name="T24" fmla="*/ 0 w 39"/>
                  <a:gd name="T25" fmla="*/ 0 h 4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48">
                    <a:moveTo>
                      <a:pt x="0" y="0"/>
                    </a:moveTo>
                    <a:lnTo>
                      <a:pt x="11" y="9"/>
                    </a:lnTo>
                    <a:lnTo>
                      <a:pt x="22" y="17"/>
                    </a:lnTo>
                    <a:lnTo>
                      <a:pt x="32" y="24"/>
                    </a:lnTo>
                    <a:lnTo>
                      <a:pt x="39" y="30"/>
                    </a:lnTo>
                    <a:lnTo>
                      <a:pt x="36" y="39"/>
                    </a:lnTo>
                    <a:lnTo>
                      <a:pt x="33" y="48"/>
                    </a:lnTo>
                    <a:lnTo>
                      <a:pt x="18" y="36"/>
                    </a:lnTo>
                    <a:lnTo>
                      <a:pt x="8" y="26"/>
                    </a:lnTo>
                    <a:lnTo>
                      <a:pt x="4" y="21"/>
                    </a:lnTo>
                    <a:lnTo>
                      <a:pt x="2" y="15"/>
                    </a:lnTo>
                    <a:lnTo>
                      <a:pt x="0" y="8"/>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4" name="Freeform 65">
                <a:extLst>
                  <a:ext uri="{FF2B5EF4-FFF2-40B4-BE49-F238E27FC236}">
                    <a16:creationId xmlns:a16="http://schemas.microsoft.com/office/drawing/2014/main" id="{EEF41D43-8A97-4C51-89AE-3DC394DAE7D5}"/>
                  </a:ext>
                </a:extLst>
              </p:cNvPr>
              <p:cNvSpPr>
                <a:spLocks/>
              </p:cNvSpPr>
              <p:nvPr/>
            </p:nvSpPr>
            <p:spPr bwMode="auto">
              <a:xfrm>
                <a:off x="1247" y="2167"/>
                <a:ext cx="6" cy="14"/>
              </a:xfrm>
              <a:custGeom>
                <a:avLst/>
                <a:gdLst>
                  <a:gd name="T0" fmla="*/ 3 w 16"/>
                  <a:gd name="T1" fmla="*/ 0 h 43"/>
                  <a:gd name="T2" fmla="*/ 4 w 16"/>
                  <a:gd name="T3" fmla="*/ 3 h 43"/>
                  <a:gd name="T4" fmla="*/ 6 w 16"/>
                  <a:gd name="T5" fmla="*/ 5 h 43"/>
                  <a:gd name="T6" fmla="*/ 6 w 16"/>
                  <a:gd name="T7" fmla="*/ 7 h 43"/>
                  <a:gd name="T8" fmla="*/ 6 w 16"/>
                  <a:gd name="T9" fmla="*/ 9 h 43"/>
                  <a:gd name="T10" fmla="*/ 6 w 16"/>
                  <a:gd name="T11" fmla="*/ 10 h 43"/>
                  <a:gd name="T12" fmla="*/ 4 w 16"/>
                  <a:gd name="T13" fmla="*/ 11 h 43"/>
                  <a:gd name="T14" fmla="*/ 3 w 16"/>
                  <a:gd name="T15" fmla="*/ 13 h 43"/>
                  <a:gd name="T16" fmla="*/ 0 w 16"/>
                  <a:gd name="T17" fmla="*/ 14 h 43"/>
                  <a:gd name="T18" fmla="*/ 1 w 16"/>
                  <a:gd name="T19" fmla="*/ 9 h 43"/>
                  <a:gd name="T20" fmla="*/ 2 w 16"/>
                  <a:gd name="T21" fmla="*/ 6 h 43"/>
                  <a:gd name="T22" fmla="*/ 2 w 16"/>
                  <a:gd name="T23" fmla="*/ 3 h 43"/>
                  <a:gd name="T24" fmla="*/ 3 w 16"/>
                  <a:gd name="T25" fmla="*/ 0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6" h="43">
                    <a:moveTo>
                      <a:pt x="7" y="0"/>
                    </a:moveTo>
                    <a:lnTo>
                      <a:pt x="11" y="9"/>
                    </a:lnTo>
                    <a:lnTo>
                      <a:pt x="15" y="16"/>
                    </a:lnTo>
                    <a:lnTo>
                      <a:pt x="16" y="22"/>
                    </a:lnTo>
                    <a:lnTo>
                      <a:pt x="16" y="27"/>
                    </a:lnTo>
                    <a:lnTo>
                      <a:pt x="15" y="31"/>
                    </a:lnTo>
                    <a:lnTo>
                      <a:pt x="11" y="35"/>
                    </a:lnTo>
                    <a:lnTo>
                      <a:pt x="7" y="39"/>
                    </a:lnTo>
                    <a:lnTo>
                      <a:pt x="0" y="43"/>
                    </a:lnTo>
                    <a:lnTo>
                      <a:pt x="2" y="28"/>
                    </a:lnTo>
                    <a:lnTo>
                      <a:pt x="4" y="18"/>
                    </a:lnTo>
                    <a:lnTo>
                      <a:pt x="6" y="9"/>
                    </a:lnTo>
                    <a:lnTo>
                      <a:pt x="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5" name="Freeform 66">
                <a:extLst>
                  <a:ext uri="{FF2B5EF4-FFF2-40B4-BE49-F238E27FC236}">
                    <a16:creationId xmlns:a16="http://schemas.microsoft.com/office/drawing/2014/main" id="{37E40515-02BC-43AF-8F8F-BCDDE3C065B3}"/>
                  </a:ext>
                </a:extLst>
              </p:cNvPr>
              <p:cNvSpPr>
                <a:spLocks/>
              </p:cNvSpPr>
              <p:nvPr/>
            </p:nvSpPr>
            <p:spPr bwMode="auto">
              <a:xfrm>
                <a:off x="1248" y="2190"/>
                <a:ext cx="8" cy="12"/>
              </a:xfrm>
              <a:custGeom>
                <a:avLst/>
                <a:gdLst>
                  <a:gd name="T0" fmla="*/ 8 w 24"/>
                  <a:gd name="T1" fmla="*/ 12 h 37"/>
                  <a:gd name="T2" fmla="*/ 6 w 24"/>
                  <a:gd name="T3" fmla="*/ 9 h 37"/>
                  <a:gd name="T4" fmla="*/ 5 w 24"/>
                  <a:gd name="T5" fmla="*/ 6 h 37"/>
                  <a:gd name="T6" fmla="*/ 4 w 24"/>
                  <a:gd name="T7" fmla="*/ 3 h 37"/>
                  <a:gd name="T8" fmla="*/ 4 w 24"/>
                  <a:gd name="T9" fmla="*/ 0 h 37"/>
                  <a:gd name="T10" fmla="*/ 2 w 24"/>
                  <a:gd name="T11" fmla="*/ 3 h 37"/>
                  <a:gd name="T12" fmla="*/ 1 w 24"/>
                  <a:gd name="T13" fmla="*/ 6 h 37"/>
                  <a:gd name="T14" fmla="*/ 0 w 24"/>
                  <a:gd name="T15" fmla="*/ 8 h 37"/>
                  <a:gd name="T16" fmla="*/ 0 w 24"/>
                  <a:gd name="T17" fmla="*/ 10 h 37"/>
                  <a:gd name="T18" fmla="*/ 0 w 24"/>
                  <a:gd name="T19" fmla="*/ 11 h 37"/>
                  <a:gd name="T20" fmla="*/ 1 w 24"/>
                  <a:gd name="T21" fmla="*/ 11 h 37"/>
                  <a:gd name="T22" fmla="*/ 1 w 24"/>
                  <a:gd name="T23" fmla="*/ 12 h 37"/>
                  <a:gd name="T24" fmla="*/ 2 w 24"/>
                  <a:gd name="T25" fmla="*/ 12 h 37"/>
                  <a:gd name="T26" fmla="*/ 5 w 24"/>
                  <a:gd name="T27" fmla="*/ 12 h 37"/>
                  <a:gd name="T28" fmla="*/ 8 w 24"/>
                  <a:gd name="T29" fmla="*/ 12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4" h="37">
                    <a:moveTo>
                      <a:pt x="24" y="36"/>
                    </a:moveTo>
                    <a:lnTo>
                      <a:pt x="19" y="27"/>
                    </a:lnTo>
                    <a:lnTo>
                      <a:pt x="15" y="18"/>
                    </a:lnTo>
                    <a:lnTo>
                      <a:pt x="12" y="9"/>
                    </a:lnTo>
                    <a:lnTo>
                      <a:pt x="11" y="0"/>
                    </a:lnTo>
                    <a:lnTo>
                      <a:pt x="6" y="10"/>
                    </a:lnTo>
                    <a:lnTo>
                      <a:pt x="3" y="19"/>
                    </a:lnTo>
                    <a:lnTo>
                      <a:pt x="1" y="26"/>
                    </a:lnTo>
                    <a:lnTo>
                      <a:pt x="0" y="31"/>
                    </a:lnTo>
                    <a:lnTo>
                      <a:pt x="1" y="33"/>
                    </a:lnTo>
                    <a:lnTo>
                      <a:pt x="2" y="35"/>
                    </a:lnTo>
                    <a:lnTo>
                      <a:pt x="4" y="36"/>
                    </a:lnTo>
                    <a:lnTo>
                      <a:pt x="6" y="37"/>
                    </a:lnTo>
                    <a:lnTo>
                      <a:pt x="14" y="37"/>
                    </a:lnTo>
                    <a:lnTo>
                      <a:pt x="24" y="3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6" name="Freeform 67">
                <a:extLst>
                  <a:ext uri="{FF2B5EF4-FFF2-40B4-BE49-F238E27FC236}">
                    <a16:creationId xmlns:a16="http://schemas.microsoft.com/office/drawing/2014/main" id="{8BA94983-7B03-439E-938B-7065D493AA35}"/>
                  </a:ext>
                </a:extLst>
              </p:cNvPr>
              <p:cNvSpPr>
                <a:spLocks/>
              </p:cNvSpPr>
              <p:nvPr/>
            </p:nvSpPr>
            <p:spPr bwMode="auto">
              <a:xfrm>
                <a:off x="1265" y="2204"/>
                <a:ext cx="11" cy="17"/>
              </a:xfrm>
              <a:custGeom>
                <a:avLst/>
                <a:gdLst>
                  <a:gd name="T0" fmla="*/ 11 w 34"/>
                  <a:gd name="T1" fmla="*/ 0 h 55"/>
                  <a:gd name="T2" fmla="*/ 11 w 34"/>
                  <a:gd name="T3" fmla="*/ 4 h 55"/>
                  <a:gd name="T4" fmla="*/ 11 w 34"/>
                  <a:gd name="T5" fmla="*/ 8 h 55"/>
                  <a:gd name="T6" fmla="*/ 11 w 34"/>
                  <a:gd name="T7" fmla="*/ 10 h 55"/>
                  <a:gd name="T8" fmla="*/ 10 w 34"/>
                  <a:gd name="T9" fmla="*/ 12 h 55"/>
                  <a:gd name="T10" fmla="*/ 9 w 34"/>
                  <a:gd name="T11" fmla="*/ 13 h 55"/>
                  <a:gd name="T12" fmla="*/ 8 w 34"/>
                  <a:gd name="T13" fmla="*/ 15 h 55"/>
                  <a:gd name="T14" fmla="*/ 6 w 34"/>
                  <a:gd name="T15" fmla="*/ 16 h 55"/>
                  <a:gd name="T16" fmla="*/ 5 w 34"/>
                  <a:gd name="T17" fmla="*/ 16 h 55"/>
                  <a:gd name="T18" fmla="*/ 3 w 34"/>
                  <a:gd name="T19" fmla="*/ 17 h 55"/>
                  <a:gd name="T20" fmla="*/ 0 w 34"/>
                  <a:gd name="T21" fmla="*/ 17 h 55"/>
                  <a:gd name="T22" fmla="*/ 3 w 34"/>
                  <a:gd name="T23" fmla="*/ 11 h 55"/>
                  <a:gd name="T24" fmla="*/ 5 w 34"/>
                  <a:gd name="T25" fmla="*/ 6 h 55"/>
                  <a:gd name="T26" fmla="*/ 6 w 34"/>
                  <a:gd name="T27" fmla="*/ 5 h 55"/>
                  <a:gd name="T28" fmla="*/ 7 w 34"/>
                  <a:gd name="T29" fmla="*/ 3 h 55"/>
                  <a:gd name="T30" fmla="*/ 9 w 34"/>
                  <a:gd name="T31" fmla="*/ 2 h 55"/>
                  <a:gd name="T32" fmla="*/ 11 w 34"/>
                  <a:gd name="T33" fmla="*/ 0 h 5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4" h="55">
                    <a:moveTo>
                      <a:pt x="34" y="0"/>
                    </a:moveTo>
                    <a:lnTo>
                      <a:pt x="34" y="13"/>
                    </a:lnTo>
                    <a:lnTo>
                      <a:pt x="34" y="25"/>
                    </a:lnTo>
                    <a:lnTo>
                      <a:pt x="33" y="32"/>
                    </a:lnTo>
                    <a:lnTo>
                      <a:pt x="31" y="38"/>
                    </a:lnTo>
                    <a:lnTo>
                      <a:pt x="29" y="43"/>
                    </a:lnTo>
                    <a:lnTo>
                      <a:pt x="24" y="47"/>
                    </a:lnTo>
                    <a:lnTo>
                      <a:pt x="20" y="51"/>
                    </a:lnTo>
                    <a:lnTo>
                      <a:pt x="14" y="53"/>
                    </a:lnTo>
                    <a:lnTo>
                      <a:pt x="8" y="55"/>
                    </a:lnTo>
                    <a:lnTo>
                      <a:pt x="0" y="55"/>
                    </a:lnTo>
                    <a:lnTo>
                      <a:pt x="9" y="36"/>
                    </a:lnTo>
                    <a:lnTo>
                      <a:pt x="14" y="21"/>
                    </a:lnTo>
                    <a:lnTo>
                      <a:pt x="18" y="16"/>
                    </a:lnTo>
                    <a:lnTo>
                      <a:pt x="22" y="10"/>
                    </a:lnTo>
                    <a:lnTo>
                      <a:pt x="28" y="5"/>
                    </a:lnTo>
                    <a:lnTo>
                      <a:pt x="3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47" name="Freeform 68">
                <a:extLst>
                  <a:ext uri="{FF2B5EF4-FFF2-40B4-BE49-F238E27FC236}">
                    <a16:creationId xmlns:a16="http://schemas.microsoft.com/office/drawing/2014/main" id="{BEC84872-7314-4E28-80F6-1589A2321E02}"/>
                  </a:ext>
                </a:extLst>
              </p:cNvPr>
              <p:cNvSpPr>
                <a:spLocks/>
              </p:cNvSpPr>
              <p:nvPr/>
            </p:nvSpPr>
            <p:spPr bwMode="auto">
              <a:xfrm>
                <a:off x="1285" y="2215"/>
                <a:ext cx="11" cy="4"/>
              </a:xfrm>
              <a:custGeom>
                <a:avLst/>
                <a:gdLst>
                  <a:gd name="T0" fmla="*/ 0 w 33"/>
                  <a:gd name="T1" fmla="*/ 0 h 12"/>
                  <a:gd name="T2" fmla="*/ 1 w 33"/>
                  <a:gd name="T3" fmla="*/ 1 h 12"/>
                  <a:gd name="T4" fmla="*/ 2 w 33"/>
                  <a:gd name="T5" fmla="*/ 2 h 12"/>
                  <a:gd name="T6" fmla="*/ 3 w 33"/>
                  <a:gd name="T7" fmla="*/ 3 h 12"/>
                  <a:gd name="T8" fmla="*/ 5 w 33"/>
                  <a:gd name="T9" fmla="*/ 4 h 12"/>
                  <a:gd name="T10" fmla="*/ 8 w 33"/>
                  <a:gd name="T11" fmla="*/ 4 h 12"/>
                  <a:gd name="T12" fmla="*/ 11 w 33"/>
                  <a:gd name="T13" fmla="*/ 4 h 12"/>
                  <a:gd name="T14" fmla="*/ 9 w 33"/>
                  <a:gd name="T15" fmla="*/ 3 h 12"/>
                  <a:gd name="T16" fmla="*/ 6 w 33"/>
                  <a:gd name="T17" fmla="*/ 1 h 12"/>
                  <a:gd name="T18" fmla="*/ 3 w 33"/>
                  <a:gd name="T19" fmla="*/ 0 h 12"/>
                  <a:gd name="T20" fmla="*/ 0 w 33"/>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12">
                    <a:moveTo>
                      <a:pt x="0" y="0"/>
                    </a:moveTo>
                    <a:lnTo>
                      <a:pt x="2" y="4"/>
                    </a:lnTo>
                    <a:lnTo>
                      <a:pt x="6" y="7"/>
                    </a:lnTo>
                    <a:lnTo>
                      <a:pt x="10" y="9"/>
                    </a:lnTo>
                    <a:lnTo>
                      <a:pt x="14" y="11"/>
                    </a:lnTo>
                    <a:lnTo>
                      <a:pt x="23" y="12"/>
                    </a:lnTo>
                    <a:lnTo>
                      <a:pt x="33" y="12"/>
                    </a:lnTo>
                    <a:lnTo>
                      <a:pt x="28" y="8"/>
                    </a:lnTo>
                    <a:lnTo>
                      <a:pt x="19" y="4"/>
                    </a:lnTo>
                    <a:lnTo>
                      <a:pt x="10" y="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56" name="Freeform 69">
              <a:extLst>
                <a:ext uri="{FF2B5EF4-FFF2-40B4-BE49-F238E27FC236}">
                  <a16:creationId xmlns:a16="http://schemas.microsoft.com/office/drawing/2014/main" id="{D1A1562D-B7EC-4A9D-AC22-5139B9053560}"/>
                </a:ext>
              </a:extLst>
            </p:cNvPr>
            <p:cNvSpPr>
              <a:spLocks/>
            </p:cNvSpPr>
            <p:nvPr>
              <p:custDataLst>
                <p:tags r:id="rId52"/>
              </p:custDataLst>
            </p:nvPr>
          </p:nvSpPr>
          <p:spPr bwMode="auto">
            <a:xfrm>
              <a:off x="7905741" y="4244941"/>
              <a:ext cx="12700" cy="57150"/>
            </a:xfrm>
            <a:custGeom>
              <a:avLst/>
              <a:gdLst>
                <a:gd name="T0" fmla="*/ 0 w 33"/>
                <a:gd name="T1" fmla="*/ 57150 h 62"/>
                <a:gd name="T2" fmla="*/ 0 w 33"/>
                <a:gd name="T3" fmla="*/ 48854 h 62"/>
                <a:gd name="T4" fmla="*/ 0 w 33"/>
                <a:gd name="T5" fmla="*/ 41480 h 62"/>
                <a:gd name="T6" fmla="*/ 0 w 33"/>
                <a:gd name="T7" fmla="*/ 34106 h 62"/>
                <a:gd name="T8" fmla="*/ 0 w 33"/>
                <a:gd name="T9" fmla="*/ 28575 h 62"/>
                <a:gd name="T10" fmla="*/ 0 w 33"/>
                <a:gd name="T11" fmla="*/ 23966 h 62"/>
                <a:gd name="T12" fmla="*/ 770 w 33"/>
                <a:gd name="T13" fmla="*/ 20279 h 62"/>
                <a:gd name="T14" fmla="*/ 1539 w 33"/>
                <a:gd name="T15" fmla="*/ 15670 h 62"/>
                <a:gd name="T16" fmla="*/ 3079 w 33"/>
                <a:gd name="T17" fmla="*/ 11983 h 62"/>
                <a:gd name="T18" fmla="*/ 5388 w 33"/>
                <a:gd name="T19" fmla="*/ 5531 h 62"/>
                <a:gd name="T20" fmla="*/ 7697 w 33"/>
                <a:gd name="T21" fmla="*/ 0 h 62"/>
                <a:gd name="T22" fmla="*/ 10006 w 33"/>
                <a:gd name="T23" fmla="*/ 5531 h 62"/>
                <a:gd name="T24" fmla="*/ 12700 w 33"/>
                <a:gd name="T25" fmla="*/ 11983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3" h="62">
                  <a:moveTo>
                    <a:pt x="0" y="62"/>
                  </a:moveTo>
                  <a:lnTo>
                    <a:pt x="0" y="53"/>
                  </a:lnTo>
                  <a:lnTo>
                    <a:pt x="0" y="45"/>
                  </a:lnTo>
                  <a:lnTo>
                    <a:pt x="0" y="37"/>
                  </a:lnTo>
                  <a:lnTo>
                    <a:pt x="0" y="31"/>
                  </a:lnTo>
                  <a:lnTo>
                    <a:pt x="0" y="26"/>
                  </a:lnTo>
                  <a:lnTo>
                    <a:pt x="2" y="22"/>
                  </a:lnTo>
                  <a:lnTo>
                    <a:pt x="4" y="17"/>
                  </a:lnTo>
                  <a:lnTo>
                    <a:pt x="8" y="13"/>
                  </a:lnTo>
                  <a:lnTo>
                    <a:pt x="14" y="6"/>
                  </a:lnTo>
                  <a:lnTo>
                    <a:pt x="20" y="0"/>
                  </a:lnTo>
                  <a:lnTo>
                    <a:pt x="26" y="6"/>
                  </a:lnTo>
                  <a:lnTo>
                    <a:pt x="33"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7" name="Freeform 70">
              <a:extLst>
                <a:ext uri="{FF2B5EF4-FFF2-40B4-BE49-F238E27FC236}">
                  <a16:creationId xmlns:a16="http://schemas.microsoft.com/office/drawing/2014/main" id="{31CA79CE-4C34-47E0-8EEC-4ED7124A43CB}"/>
                </a:ext>
              </a:extLst>
            </p:cNvPr>
            <p:cNvSpPr>
              <a:spLocks/>
            </p:cNvSpPr>
            <p:nvPr>
              <p:custDataLst>
                <p:tags r:id="rId53"/>
              </p:custDataLst>
            </p:nvPr>
          </p:nvSpPr>
          <p:spPr bwMode="auto">
            <a:xfrm>
              <a:off x="7915265" y="4335429"/>
              <a:ext cx="9525" cy="58737"/>
            </a:xfrm>
            <a:custGeom>
              <a:avLst/>
              <a:gdLst>
                <a:gd name="T0" fmla="*/ 0 w 26"/>
                <a:gd name="T1" fmla="*/ 58737 h 18"/>
                <a:gd name="T2" fmla="*/ 0 w 26"/>
                <a:gd name="T3" fmla="*/ 0 h 18"/>
                <a:gd name="T4" fmla="*/ 9525 w 26"/>
                <a:gd name="T5" fmla="*/ 0 h 18"/>
                <a:gd name="T6" fmla="*/ 2198 w 26"/>
                <a:gd name="T7" fmla="*/ 39158 h 18"/>
                <a:gd name="T8" fmla="*/ 2198 w 26"/>
                <a:gd name="T9" fmla="*/ 19579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 h="18">
                  <a:moveTo>
                    <a:pt x="0" y="18"/>
                  </a:moveTo>
                  <a:lnTo>
                    <a:pt x="0" y="0"/>
                  </a:lnTo>
                  <a:lnTo>
                    <a:pt x="26" y="0"/>
                  </a:lnTo>
                  <a:lnTo>
                    <a:pt x="6" y="12"/>
                  </a:lnTo>
                  <a:lnTo>
                    <a:pt x="6"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8" name="Freeform 71">
              <a:extLst>
                <a:ext uri="{FF2B5EF4-FFF2-40B4-BE49-F238E27FC236}">
                  <a16:creationId xmlns:a16="http://schemas.microsoft.com/office/drawing/2014/main" id="{DFE94101-2F83-441A-991B-D2A2873D9C43}"/>
                </a:ext>
              </a:extLst>
            </p:cNvPr>
            <p:cNvSpPr>
              <a:spLocks/>
            </p:cNvSpPr>
            <p:nvPr>
              <p:custDataLst>
                <p:tags r:id="rId54"/>
              </p:custDataLst>
            </p:nvPr>
          </p:nvSpPr>
          <p:spPr bwMode="auto">
            <a:xfrm>
              <a:off x="8029565" y="4244941"/>
              <a:ext cx="77788" cy="130174"/>
            </a:xfrm>
            <a:custGeom>
              <a:avLst/>
              <a:gdLst>
                <a:gd name="T0" fmla="*/ 77788 w 180"/>
                <a:gd name="T1" fmla="*/ 120412 h 240"/>
                <a:gd name="T2" fmla="*/ 75627 w 180"/>
                <a:gd name="T3" fmla="*/ 120954 h 240"/>
                <a:gd name="T4" fmla="*/ 73899 w 180"/>
                <a:gd name="T5" fmla="*/ 120954 h 240"/>
                <a:gd name="T6" fmla="*/ 72170 w 180"/>
                <a:gd name="T7" fmla="*/ 122039 h 240"/>
                <a:gd name="T8" fmla="*/ 70874 w 180"/>
                <a:gd name="T9" fmla="*/ 123124 h 240"/>
                <a:gd name="T10" fmla="*/ 68281 w 180"/>
                <a:gd name="T11" fmla="*/ 125836 h 240"/>
                <a:gd name="T12" fmla="*/ 66120 w 180"/>
                <a:gd name="T13" fmla="*/ 130175 h 240"/>
                <a:gd name="T14" fmla="*/ 60502 w 180"/>
                <a:gd name="T15" fmla="*/ 125836 h 240"/>
                <a:gd name="T16" fmla="*/ 56612 w 180"/>
                <a:gd name="T17" fmla="*/ 120954 h 240"/>
                <a:gd name="T18" fmla="*/ 53155 w 180"/>
                <a:gd name="T19" fmla="*/ 116073 h 240"/>
                <a:gd name="T20" fmla="*/ 50994 w 180"/>
                <a:gd name="T21" fmla="*/ 111734 h 240"/>
                <a:gd name="T22" fmla="*/ 48401 w 180"/>
                <a:gd name="T23" fmla="*/ 105767 h 240"/>
                <a:gd name="T24" fmla="*/ 45808 w 180"/>
                <a:gd name="T25" fmla="*/ 100343 h 240"/>
                <a:gd name="T26" fmla="*/ 42351 w 180"/>
                <a:gd name="T27" fmla="*/ 94377 h 240"/>
                <a:gd name="T28" fmla="*/ 37598 w 180"/>
                <a:gd name="T29" fmla="*/ 87326 h 240"/>
                <a:gd name="T30" fmla="*/ 35437 w 180"/>
                <a:gd name="T31" fmla="*/ 82987 h 240"/>
                <a:gd name="T32" fmla="*/ 32412 w 180"/>
                <a:gd name="T33" fmla="*/ 79190 h 240"/>
                <a:gd name="T34" fmla="*/ 30251 w 180"/>
                <a:gd name="T35" fmla="*/ 75393 h 240"/>
                <a:gd name="T36" fmla="*/ 26794 w 180"/>
                <a:gd name="T37" fmla="*/ 72139 h 240"/>
                <a:gd name="T38" fmla="*/ 20743 w 180"/>
                <a:gd name="T39" fmla="*/ 65630 h 240"/>
                <a:gd name="T40" fmla="*/ 14261 w 180"/>
                <a:gd name="T41" fmla="*/ 59664 h 240"/>
                <a:gd name="T42" fmla="*/ 11668 w 180"/>
                <a:gd name="T43" fmla="*/ 56409 h 240"/>
                <a:gd name="T44" fmla="*/ 9075 w 180"/>
                <a:gd name="T45" fmla="*/ 53155 h 240"/>
                <a:gd name="T46" fmla="*/ 6482 w 180"/>
                <a:gd name="T47" fmla="*/ 49900 h 240"/>
                <a:gd name="T48" fmla="*/ 4322 w 180"/>
                <a:gd name="T49" fmla="*/ 45561 h 240"/>
                <a:gd name="T50" fmla="*/ 2593 w 180"/>
                <a:gd name="T51" fmla="*/ 41764 h 240"/>
                <a:gd name="T52" fmla="*/ 1729 w 180"/>
                <a:gd name="T53" fmla="*/ 36883 h 240"/>
                <a:gd name="T54" fmla="*/ 432 w 180"/>
                <a:gd name="T55" fmla="*/ 32544 h 240"/>
                <a:gd name="T56" fmla="*/ 0 w 180"/>
                <a:gd name="T57" fmla="*/ 27120 h 240"/>
                <a:gd name="T58" fmla="*/ 0 w 180"/>
                <a:gd name="T59" fmla="*/ 18984 h 240"/>
                <a:gd name="T60" fmla="*/ 0 w 180"/>
                <a:gd name="T61" fmla="*/ 13560 h 240"/>
                <a:gd name="T62" fmla="*/ 0 w 180"/>
                <a:gd name="T63" fmla="*/ 8136 h 240"/>
                <a:gd name="T64" fmla="*/ 0 w 180"/>
                <a:gd name="T65" fmla="*/ 0 h 240"/>
                <a:gd name="T66" fmla="*/ 4322 w 180"/>
                <a:gd name="T67" fmla="*/ 4339 h 240"/>
                <a:gd name="T68" fmla="*/ 8211 w 180"/>
                <a:gd name="T69" fmla="*/ 9221 h 240"/>
                <a:gd name="T70" fmla="*/ 11668 w 180"/>
                <a:gd name="T71" fmla="*/ 14645 h 240"/>
                <a:gd name="T72" fmla="*/ 14693 w 180"/>
                <a:gd name="T73" fmla="*/ 20611 h 240"/>
                <a:gd name="T74" fmla="*/ 17718 w 180"/>
                <a:gd name="T75" fmla="*/ 26035 h 240"/>
                <a:gd name="T76" fmla="*/ 19879 w 180"/>
                <a:gd name="T77" fmla="*/ 31459 h 240"/>
                <a:gd name="T78" fmla="*/ 22040 w 180"/>
                <a:gd name="T79" fmla="*/ 35798 h 240"/>
                <a:gd name="T80" fmla="*/ 23336 w 180"/>
                <a:gd name="T81" fmla="*/ 40137 h 240"/>
                <a:gd name="T82" fmla="*/ 25929 w 180"/>
                <a:gd name="T83" fmla="*/ 46646 h 240"/>
                <a:gd name="T84" fmla="*/ 28522 w 180"/>
                <a:gd name="T85" fmla="*/ 53155 h 240"/>
                <a:gd name="T86" fmla="*/ 31980 w 180"/>
                <a:gd name="T87" fmla="*/ 58036 h 240"/>
                <a:gd name="T88" fmla="*/ 35437 w 180"/>
                <a:gd name="T89" fmla="*/ 62918 h 240"/>
                <a:gd name="T90" fmla="*/ 43216 w 180"/>
                <a:gd name="T91" fmla="*/ 72139 h 240"/>
                <a:gd name="T92" fmla="*/ 51427 w 180"/>
                <a:gd name="T93" fmla="*/ 80817 h 240"/>
                <a:gd name="T94" fmla="*/ 60070 w 180"/>
                <a:gd name="T95" fmla="*/ 88953 h 240"/>
                <a:gd name="T96" fmla="*/ 66984 w 180"/>
                <a:gd name="T97" fmla="*/ 97631 h 240"/>
                <a:gd name="T98" fmla="*/ 70441 w 180"/>
                <a:gd name="T99" fmla="*/ 102513 h 240"/>
                <a:gd name="T100" fmla="*/ 73034 w 180"/>
                <a:gd name="T101" fmla="*/ 107937 h 240"/>
                <a:gd name="T102" fmla="*/ 75627 w 180"/>
                <a:gd name="T103" fmla="*/ 113903 h 240"/>
                <a:gd name="T104" fmla="*/ 77788 w 180"/>
                <a:gd name="T105" fmla="*/ 120412 h 2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80" h="240">
                  <a:moveTo>
                    <a:pt x="180" y="222"/>
                  </a:moveTo>
                  <a:lnTo>
                    <a:pt x="175" y="223"/>
                  </a:lnTo>
                  <a:lnTo>
                    <a:pt x="171" y="223"/>
                  </a:lnTo>
                  <a:lnTo>
                    <a:pt x="167" y="225"/>
                  </a:lnTo>
                  <a:lnTo>
                    <a:pt x="164" y="227"/>
                  </a:lnTo>
                  <a:lnTo>
                    <a:pt x="158" y="232"/>
                  </a:lnTo>
                  <a:lnTo>
                    <a:pt x="153" y="240"/>
                  </a:lnTo>
                  <a:lnTo>
                    <a:pt x="140" y="232"/>
                  </a:lnTo>
                  <a:lnTo>
                    <a:pt x="131" y="223"/>
                  </a:lnTo>
                  <a:lnTo>
                    <a:pt x="123" y="214"/>
                  </a:lnTo>
                  <a:lnTo>
                    <a:pt x="118" y="206"/>
                  </a:lnTo>
                  <a:lnTo>
                    <a:pt x="112" y="195"/>
                  </a:lnTo>
                  <a:lnTo>
                    <a:pt x="106" y="185"/>
                  </a:lnTo>
                  <a:lnTo>
                    <a:pt x="98" y="174"/>
                  </a:lnTo>
                  <a:lnTo>
                    <a:pt x="87" y="161"/>
                  </a:lnTo>
                  <a:lnTo>
                    <a:pt x="82" y="153"/>
                  </a:lnTo>
                  <a:lnTo>
                    <a:pt x="75" y="146"/>
                  </a:lnTo>
                  <a:lnTo>
                    <a:pt x="70" y="139"/>
                  </a:lnTo>
                  <a:lnTo>
                    <a:pt x="62" y="133"/>
                  </a:lnTo>
                  <a:lnTo>
                    <a:pt x="48" y="121"/>
                  </a:lnTo>
                  <a:lnTo>
                    <a:pt x="33" y="110"/>
                  </a:lnTo>
                  <a:lnTo>
                    <a:pt x="27" y="104"/>
                  </a:lnTo>
                  <a:lnTo>
                    <a:pt x="21" y="98"/>
                  </a:lnTo>
                  <a:lnTo>
                    <a:pt x="15" y="92"/>
                  </a:lnTo>
                  <a:lnTo>
                    <a:pt x="10" y="84"/>
                  </a:lnTo>
                  <a:lnTo>
                    <a:pt x="6" y="77"/>
                  </a:lnTo>
                  <a:lnTo>
                    <a:pt x="4" y="68"/>
                  </a:lnTo>
                  <a:lnTo>
                    <a:pt x="1" y="60"/>
                  </a:lnTo>
                  <a:lnTo>
                    <a:pt x="0" y="50"/>
                  </a:lnTo>
                  <a:lnTo>
                    <a:pt x="0" y="35"/>
                  </a:lnTo>
                  <a:lnTo>
                    <a:pt x="0" y="25"/>
                  </a:lnTo>
                  <a:lnTo>
                    <a:pt x="0" y="15"/>
                  </a:lnTo>
                  <a:lnTo>
                    <a:pt x="0" y="0"/>
                  </a:lnTo>
                  <a:lnTo>
                    <a:pt x="10" y="8"/>
                  </a:lnTo>
                  <a:lnTo>
                    <a:pt x="19" y="17"/>
                  </a:lnTo>
                  <a:lnTo>
                    <a:pt x="27" y="27"/>
                  </a:lnTo>
                  <a:lnTo>
                    <a:pt x="34" y="38"/>
                  </a:lnTo>
                  <a:lnTo>
                    <a:pt x="41" y="48"/>
                  </a:lnTo>
                  <a:lnTo>
                    <a:pt x="46" y="58"/>
                  </a:lnTo>
                  <a:lnTo>
                    <a:pt x="51" y="66"/>
                  </a:lnTo>
                  <a:lnTo>
                    <a:pt x="54" y="74"/>
                  </a:lnTo>
                  <a:lnTo>
                    <a:pt x="60" y="86"/>
                  </a:lnTo>
                  <a:lnTo>
                    <a:pt x="66" y="98"/>
                  </a:lnTo>
                  <a:lnTo>
                    <a:pt x="74" y="107"/>
                  </a:lnTo>
                  <a:lnTo>
                    <a:pt x="82" y="116"/>
                  </a:lnTo>
                  <a:lnTo>
                    <a:pt x="100" y="133"/>
                  </a:lnTo>
                  <a:lnTo>
                    <a:pt x="119" y="149"/>
                  </a:lnTo>
                  <a:lnTo>
                    <a:pt x="139" y="164"/>
                  </a:lnTo>
                  <a:lnTo>
                    <a:pt x="155" y="180"/>
                  </a:lnTo>
                  <a:lnTo>
                    <a:pt x="163" y="189"/>
                  </a:lnTo>
                  <a:lnTo>
                    <a:pt x="169" y="199"/>
                  </a:lnTo>
                  <a:lnTo>
                    <a:pt x="175" y="210"/>
                  </a:lnTo>
                  <a:lnTo>
                    <a:pt x="180" y="22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9" name="Freeform 72">
              <a:extLst>
                <a:ext uri="{FF2B5EF4-FFF2-40B4-BE49-F238E27FC236}">
                  <a16:creationId xmlns:a16="http://schemas.microsoft.com/office/drawing/2014/main" id="{DD4A7775-71E5-48B8-8E47-2BC056A9C787}"/>
                </a:ext>
              </a:extLst>
            </p:cNvPr>
            <p:cNvSpPr>
              <a:spLocks/>
            </p:cNvSpPr>
            <p:nvPr>
              <p:custDataLst>
                <p:tags r:id="rId55"/>
              </p:custDataLst>
            </p:nvPr>
          </p:nvSpPr>
          <p:spPr bwMode="auto">
            <a:xfrm>
              <a:off x="8029565" y="4217955"/>
              <a:ext cx="14288" cy="57150"/>
            </a:xfrm>
            <a:custGeom>
              <a:avLst/>
              <a:gdLst>
                <a:gd name="T0" fmla="*/ 0 w 27"/>
                <a:gd name="T1" fmla="*/ 0 h 30"/>
                <a:gd name="T2" fmla="*/ 529 w 27"/>
                <a:gd name="T3" fmla="*/ 9525 h 30"/>
                <a:gd name="T4" fmla="*/ 1588 w 27"/>
                <a:gd name="T5" fmla="*/ 20955 h 30"/>
                <a:gd name="T6" fmla="*/ 2117 w 27"/>
                <a:gd name="T7" fmla="*/ 26670 h 30"/>
                <a:gd name="T8" fmla="*/ 2117 w 27"/>
                <a:gd name="T9" fmla="*/ 36195 h 30"/>
                <a:gd name="T10" fmla="*/ 1588 w 27"/>
                <a:gd name="T11" fmla="*/ 45720 h 30"/>
                <a:gd name="T12" fmla="*/ 0 w 27"/>
                <a:gd name="T13" fmla="*/ 57150 h 30"/>
                <a:gd name="T14" fmla="*/ 8996 w 27"/>
                <a:gd name="T15" fmla="*/ 51435 h 30"/>
                <a:gd name="T16" fmla="*/ 14288 w 27"/>
                <a:gd name="T17" fmla="*/ 45720 h 30"/>
                <a:gd name="T18" fmla="*/ 12171 w 27"/>
                <a:gd name="T19" fmla="*/ 38100 h 30"/>
                <a:gd name="T20" fmla="*/ 8996 w 27"/>
                <a:gd name="T21" fmla="*/ 22860 h 30"/>
                <a:gd name="T22" fmla="*/ 5821 w 27"/>
                <a:gd name="T23" fmla="*/ 15240 h 30"/>
                <a:gd name="T24" fmla="*/ 3704 w 27"/>
                <a:gd name="T25" fmla="*/ 7620 h 30"/>
                <a:gd name="T26" fmla="*/ 2117 w 27"/>
                <a:gd name="T27" fmla="*/ 1905 h 30"/>
                <a:gd name="T28" fmla="*/ 0 w 27"/>
                <a:gd name="T29" fmla="*/ 0 h 3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7" h="30">
                  <a:moveTo>
                    <a:pt x="0" y="0"/>
                  </a:moveTo>
                  <a:lnTo>
                    <a:pt x="1" y="5"/>
                  </a:lnTo>
                  <a:lnTo>
                    <a:pt x="3" y="11"/>
                  </a:lnTo>
                  <a:lnTo>
                    <a:pt x="4" y="14"/>
                  </a:lnTo>
                  <a:lnTo>
                    <a:pt x="4" y="19"/>
                  </a:lnTo>
                  <a:lnTo>
                    <a:pt x="3" y="24"/>
                  </a:lnTo>
                  <a:lnTo>
                    <a:pt x="0" y="30"/>
                  </a:lnTo>
                  <a:lnTo>
                    <a:pt x="17" y="27"/>
                  </a:lnTo>
                  <a:lnTo>
                    <a:pt x="27" y="24"/>
                  </a:lnTo>
                  <a:lnTo>
                    <a:pt x="23" y="20"/>
                  </a:lnTo>
                  <a:lnTo>
                    <a:pt x="17" y="12"/>
                  </a:lnTo>
                  <a:lnTo>
                    <a:pt x="11" y="8"/>
                  </a:lnTo>
                  <a:lnTo>
                    <a:pt x="7"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60" name="Group 73">
              <a:extLst>
                <a:ext uri="{FF2B5EF4-FFF2-40B4-BE49-F238E27FC236}">
                  <a16:creationId xmlns:a16="http://schemas.microsoft.com/office/drawing/2014/main" id="{1B211D95-6D72-4F07-962F-9C75DB58AE4E}"/>
                </a:ext>
              </a:extLst>
            </p:cNvPr>
            <p:cNvGrpSpPr>
              <a:grpSpLocks/>
            </p:cNvGrpSpPr>
            <p:nvPr>
              <p:custDataLst>
                <p:tags r:id="rId56"/>
              </p:custDataLst>
            </p:nvPr>
          </p:nvGrpSpPr>
          <p:grpSpPr bwMode="auto">
            <a:xfrm>
              <a:off x="7720004" y="4738651"/>
              <a:ext cx="458786" cy="404809"/>
              <a:chOff x="5372" y="3323"/>
              <a:chExt cx="341" cy="253"/>
            </a:xfrm>
          </p:grpSpPr>
          <p:sp>
            <p:nvSpPr>
              <p:cNvPr id="535" name="Freeform 74">
                <a:extLst>
                  <a:ext uri="{FF2B5EF4-FFF2-40B4-BE49-F238E27FC236}">
                    <a16:creationId xmlns:a16="http://schemas.microsoft.com/office/drawing/2014/main" id="{029D822B-F910-4D9B-8C43-275C104F7389}"/>
                  </a:ext>
                </a:extLst>
              </p:cNvPr>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6" name="Freeform 75">
                <a:extLst>
                  <a:ext uri="{FF2B5EF4-FFF2-40B4-BE49-F238E27FC236}">
                    <a16:creationId xmlns:a16="http://schemas.microsoft.com/office/drawing/2014/main" id="{358BDBBD-148B-4AD8-868F-A625119E0ED8}"/>
                  </a:ext>
                </a:extLst>
              </p:cNvPr>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7" name="Freeform 76">
                <a:extLst>
                  <a:ext uri="{FF2B5EF4-FFF2-40B4-BE49-F238E27FC236}">
                    <a16:creationId xmlns:a16="http://schemas.microsoft.com/office/drawing/2014/main" id="{5472DD69-7251-4299-B5A3-8DB554FA5A53}"/>
                  </a:ext>
                </a:extLst>
              </p:cNvPr>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61" name="Freeform 77">
              <a:extLst>
                <a:ext uri="{FF2B5EF4-FFF2-40B4-BE49-F238E27FC236}">
                  <a16:creationId xmlns:a16="http://schemas.microsoft.com/office/drawing/2014/main" id="{945B6D7A-8886-4113-8945-170888913C6F}"/>
                </a:ext>
              </a:extLst>
            </p:cNvPr>
            <p:cNvSpPr>
              <a:spLocks/>
            </p:cNvSpPr>
            <p:nvPr>
              <p:custDataLst>
                <p:tags r:id="rId57"/>
              </p:custDataLst>
            </p:nvPr>
          </p:nvSpPr>
          <p:spPr bwMode="auto">
            <a:xfrm>
              <a:off x="7362816" y="3395637"/>
              <a:ext cx="9525" cy="57150"/>
            </a:xfrm>
            <a:custGeom>
              <a:avLst/>
              <a:gdLst>
                <a:gd name="T0" fmla="*/ 0 w 21"/>
                <a:gd name="T1" fmla="*/ 39636 h 62"/>
                <a:gd name="T2" fmla="*/ 454 w 21"/>
                <a:gd name="T3" fmla="*/ 26731 h 62"/>
                <a:gd name="T4" fmla="*/ 1361 w 21"/>
                <a:gd name="T5" fmla="*/ 15670 h 62"/>
                <a:gd name="T6" fmla="*/ 1814 w 21"/>
                <a:gd name="T7" fmla="*/ 10140 h 62"/>
                <a:gd name="T8" fmla="*/ 2721 w 21"/>
                <a:gd name="T9" fmla="*/ 6452 h 62"/>
                <a:gd name="T10" fmla="*/ 4082 w 21"/>
                <a:gd name="T11" fmla="*/ 2765 h 62"/>
                <a:gd name="T12" fmla="*/ 6804 w 21"/>
                <a:gd name="T13" fmla="*/ 0 h 62"/>
                <a:gd name="T14" fmla="*/ 6804 w 21"/>
                <a:gd name="T15" fmla="*/ 13827 h 62"/>
                <a:gd name="T16" fmla="*/ 8164 w 21"/>
                <a:gd name="T17" fmla="*/ 28575 h 62"/>
                <a:gd name="T18" fmla="*/ 9071 w 21"/>
                <a:gd name="T19" fmla="*/ 40558 h 62"/>
                <a:gd name="T20" fmla="*/ 9525 w 21"/>
                <a:gd name="T21" fmla="*/ 45167 h 62"/>
                <a:gd name="T22" fmla="*/ 4536 w 21"/>
                <a:gd name="T23" fmla="*/ 50698 h 62"/>
                <a:gd name="T24" fmla="*/ 0 w 21"/>
                <a:gd name="T25" fmla="*/ 57150 h 62"/>
                <a:gd name="T26" fmla="*/ 0 w 21"/>
                <a:gd name="T27" fmla="*/ 39636 h 6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21" h="62">
                  <a:moveTo>
                    <a:pt x="0" y="43"/>
                  </a:moveTo>
                  <a:lnTo>
                    <a:pt x="1" y="29"/>
                  </a:lnTo>
                  <a:lnTo>
                    <a:pt x="3" y="17"/>
                  </a:lnTo>
                  <a:lnTo>
                    <a:pt x="4" y="11"/>
                  </a:lnTo>
                  <a:lnTo>
                    <a:pt x="6" y="7"/>
                  </a:lnTo>
                  <a:lnTo>
                    <a:pt x="9" y="3"/>
                  </a:lnTo>
                  <a:lnTo>
                    <a:pt x="15" y="0"/>
                  </a:lnTo>
                  <a:lnTo>
                    <a:pt x="15" y="15"/>
                  </a:lnTo>
                  <a:lnTo>
                    <a:pt x="18" y="31"/>
                  </a:lnTo>
                  <a:lnTo>
                    <a:pt x="20" y="44"/>
                  </a:lnTo>
                  <a:lnTo>
                    <a:pt x="21" y="49"/>
                  </a:lnTo>
                  <a:lnTo>
                    <a:pt x="10" y="55"/>
                  </a:lnTo>
                  <a:lnTo>
                    <a:pt x="0" y="62"/>
                  </a:lnTo>
                  <a:lnTo>
                    <a:pt x="0"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2" name="Freeform 78">
              <a:extLst>
                <a:ext uri="{FF2B5EF4-FFF2-40B4-BE49-F238E27FC236}">
                  <a16:creationId xmlns:a16="http://schemas.microsoft.com/office/drawing/2014/main" id="{5B3A9403-7226-4123-9701-28497C6E159C}"/>
                </a:ext>
              </a:extLst>
            </p:cNvPr>
            <p:cNvSpPr>
              <a:spLocks/>
            </p:cNvSpPr>
            <p:nvPr>
              <p:custDataLst>
                <p:tags r:id="rId58"/>
              </p:custDataLst>
            </p:nvPr>
          </p:nvSpPr>
          <p:spPr bwMode="auto">
            <a:xfrm>
              <a:off x="8089890" y="4297329"/>
              <a:ext cx="14288" cy="57150"/>
            </a:xfrm>
            <a:custGeom>
              <a:avLst/>
              <a:gdLst>
                <a:gd name="T0" fmla="*/ 0 w 33"/>
                <a:gd name="T1" fmla="*/ 0 h 24"/>
                <a:gd name="T2" fmla="*/ 2165 w 33"/>
                <a:gd name="T3" fmla="*/ 11906 h 24"/>
                <a:gd name="T4" fmla="*/ 4330 w 33"/>
                <a:gd name="T5" fmla="*/ 23813 h 24"/>
                <a:gd name="T6" fmla="*/ 4763 w 33"/>
                <a:gd name="T7" fmla="*/ 30956 h 24"/>
                <a:gd name="T8" fmla="*/ 5196 w 33"/>
                <a:gd name="T9" fmla="*/ 38100 h 24"/>
                <a:gd name="T10" fmla="*/ 5629 w 33"/>
                <a:gd name="T11" fmla="*/ 47625 h 24"/>
                <a:gd name="T12" fmla="*/ 5629 w 33"/>
                <a:gd name="T13" fmla="*/ 57150 h 24"/>
                <a:gd name="T14" fmla="*/ 14288 w 33"/>
                <a:gd name="T15" fmla="*/ 0 h 24"/>
                <a:gd name="T16" fmla="*/ 10391 w 33"/>
                <a:gd name="T17" fmla="*/ 0 h 24"/>
                <a:gd name="T18" fmla="*/ 6928 w 33"/>
                <a:gd name="T19" fmla="*/ 0 h 24"/>
                <a:gd name="T20" fmla="*/ 3897 w 33"/>
                <a:gd name="T21" fmla="*/ 0 h 24"/>
                <a:gd name="T22" fmla="*/ 0 w 33"/>
                <a:gd name="T23" fmla="*/ 0 h 24"/>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24">
                  <a:moveTo>
                    <a:pt x="0" y="0"/>
                  </a:moveTo>
                  <a:lnTo>
                    <a:pt x="5" y="5"/>
                  </a:lnTo>
                  <a:lnTo>
                    <a:pt x="10" y="10"/>
                  </a:lnTo>
                  <a:lnTo>
                    <a:pt x="11" y="13"/>
                  </a:lnTo>
                  <a:lnTo>
                    <a:pt x="12" y="16"/>
                  </a:lnTo>
                  <a:lnTo>
                    <a:pt x="13" y="20"/>
                  </a:lnTo>
                  <a:lnTo>
                    <a:pt x="13" y="24"/>
                  </a:lnTo>
                  <a:lnTo>
                    <a:pt x="33" y="0"/>
                  </a:lnTo>
                  <a:lnTo>
                    <a:pt x="24" y="0"/>
                  </a:lnTo>
                  <a:lnTo>
                    <a:pt x="16" y="0"/>
                  </a:lnTo>
                  <a:lnTo>
                    <a:pt x="9"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3" name="Freeform 79">
              <a:extLst>
                <a:ext uri="{FF2B5EF4-FFF2-40B4-BE49-F238E27FC236}">
                  <a16:creationId xmlns:a16="http://schemas.microsoft.com/office/drawing/2014/main" id="{CE2497D0-0F97-4DFF-B7D3-13272997DB0E}"/>
                </a:ext>
              </a:extLst>
            </p:cNvPr>
            <p:cNvSpPr>
              <a:spLocks/>
            </p:cNvSpPr>
            <p:nvPr>
              <p:custDataLst>
                <p:tags r:id="rId59"/>
              </p:custDataLst>
            </p:nvPr>
          </p:nvSpPr>
          <p:spPr bwMode="auto">
            <a:xfrm>
              <a:off x="8112115" y="4306854"/>
              <a:ext cx="17463" cy="58737"/>
            </a:xfrm>
            <a:custGeom>
              <a:avLst/>
              <a:gdLst>
                <a:gd name="T0" fmla="*/ 13759 w 33"/>
                <a:gd name="T1" fmla="*/ 58737 h 25"/>
                <a:gd name="T2" fmla="*/ 15346 w 33"/>
                <a:gd name="T3" fmla="*/ 51689 h 25"/>
                <a:gd name="T4" fmla="*/ 17463 w 33"/>
                <a:gd name="T5" fmla="*/ 42291 h 25"/>
                <a:gd name="T6" fmla="*/ 17463 w 33"/>
                <a:gd name="T7" fmla="*/ 0 h 25"/>
                <a:gd name="T8" fmla="*/ 13230 w 33"/>
                <a:gd name="T9" fmla="*/ 0 h 25"/>
                <a:gd name="T10" fmla="*/ 8467 w 33"/>
                <a:gd name="T11" fmla="*/ 0 h 25"/>
                <a:gd name="T12" fmla="*/ 3175 w 33"/>
                <a:gd name="T13" fmla="*/ 0 h 25"/>
                <a:gd name="T14" fmla="*/ 0 w 33"/>
                <a:gd name="T15" fmla="*/ 0 h 25"/>
                <a:gd name="T16" fmla="*/ 13759 w 33"/>
                <a:gd name="T17" fmla="*/ 58737 h 2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25">
                  <a:moveTo>
                    <a:pt x="26" y="25"/>
                  </a:moveTo>
                  <a:lnTo>
                    <a:pt x="29" y="22"/>
                  </a:lnTo>
                  <a:lnTo>
                    <a:pt x="33" y="18"/>
                  </a:lnTo>
                  <a:lnTo>
                    <a:pt x="33" y="0"/>
                  </a:lnTo>
                  <a:lnTo>
                    <a:pt x="25" y="0"/>
                  </a:lnTo>
                  <a:lnTo>
                    <a:pt x="16" y="0"/>
                  </a:lnTo>
                  <a:lnTo>
                    <a:pt x="6" y="0"/>
                  </a:lnTo>
                  <a:lnTo>
                    <a:pt x="0" y="0"/>
                  </a:lnTo>
                  <a:lnTo>
                    <a:pt x="26"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4" name="Freeform 80">
              <a:extLst>
                <a:ext uri="{FF2B5EF4-FFF2-40B4-BE49-F238E27FC236}">
                  <a16:creationId xmlns:a16="http://schemas.microsoft.com/office/drawing/2014/main" id="{47F30531-7F8E-452D-A357-4498D4F2411C}"/>
                </a:ext>
              </a:extLst>
            </p:cNvPr>
            <p:cNvSpPr>
              <a:spLocks/>
            </p:cNvSpPr>
            <p:nvPr>
              <p:custDataLst>
                <p:tags r:id="rId60"/>
              </p:custDataLst>
            </p:nvPr>
          </p:nvSpPr>
          <p:spPr bwMode="auto">
            <a:xfrm>
              <a:off x="7426316" y="3384524"/>
              <a:ext cx="1588" cy="55562"/>
            </a:xfrm>
            <a:custGeom>
              <a:avLst/>
              <a:gdLst>
                <a:gd name="T0" fmla="*/ 0 w 7"/>
                <a:gd name="T1" fmla="*/ 0 h 55563"/>
                <a:gd name="T2" fmla="*/ 1588 w 7"/>
                <a:gd name="T3" fmla="*/ 0 h 55563"/>
                <a:gd name="T4" fmla="*/ 0 w 7"/>
                <a:gd name="T5" fmla="*/ 0 h 55563"/>
                <a:gd name="T6" fmla="*/ 0 60000 65536"/>
                <a:gd name="T7" fmla="*/ 0 60000 65536"/>
                <a:gd name="T8" fmla="*/ 0 60000 65536"/>
              </a:gdLst>
              <a:ahLst/>
              <a:cxnLst>
                <a:cxn ang="T6">
                  <a:pos x="T0" y="T1"/>
                </a:cxn>
                <a:cxn ang="T7">
                  <a:pos x="T2" y="T3"/>
                </a:cxn>
                <a:cxn ang="T8">
                  <a:pos x="T4" y="T5"/>
                </a:cxn>
              </a:cxnLst>
              <a:rect l="0" t="0" r="r" b="b"/>
              <a:pathLst>
                <a:path w="7" h="55563">
                  <a:moveTo>
                    <a:pt x="0" y="0"/>
                  </a:moveTo>
                  <a:lnTo>
                    <a:pt x="7"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5" name="Freeform 81">
              <a:extLst>
                <a:ext uri="{FF2B5EF4-FFF2-40B4-BE49-F238E27FC236}">
                  <a16:creationId xmlns:a16="http://schemas.microsoft.com/office/drawing/2014/main" id="{02A59221-B2BB-4250-A453-F71EB1E44637}"/>
                </a:ext>
              </a:extLst>
            </p:cNvPr>
            <p:cNvSpPr>
              <a:spLocks/>
            </p:cNvSpPr>
            <p:nvPr>
              <p:custDataLst>
                <p:tags r:id="rId61"/>
              </p:custDataLst>
            </p:nvPr>
          </p:nvSpPr>
          <p:spPr bwMode="auto">
            <a:xfrm>
              <a:off x="7485054" y="3328962"/>
              <a:ext cx="6350" cy="57150"/>
            </a:xfrm>
            <a:custGeom>
              <a:avLst/>
              <a:gdLst>
                <a:gd name="T0" fmla="*/ 6350 w 16"/>
                <a:gd name="T1" fmla="*/ 0 h 25"/>
                <a:gd name="T2" fmla="*/ 6350 w 16"/>
                <a:gd name="T3" fmla="*/ 13716 h 25"/>
                <a:gd name="T4" fmla="*/ 5556 w 16"/>
                <a:gd name="T5" fmla="*/ 29718 h 25"/>
                <a:gd name="T6" fmla="*/ 5159 w 16"/>
                <a:gd name="T7" fmla="*/ 36576 h 25"/>
                <a:gd name="T8" fmla="*/ 4366 w 16"/>
                <a:gd name="T9" fmla="*/ 45720 h 25"/>
                <a:gd name="T10" fmla="*/ 2778 w 16"/>
                <a:gd name="T11" fmla="*/ 52578 h 25"/>
                <a:gd name="T12" fmla="*/ 1191 w 16"/>
                <a:gd name="T13" fmla="*/ 57150 h 25"/>
                <a:gd name="T14" fmla="*/ 397 w 16"/>
                <a:gd name="T15" fmla="*/ 54864 h 25"/>
                <a:gd name="T16" fmla="*/ 0 w 16"/>
                <a:gd name="T17" fmla="*/ 48006 h 25"/>
                <a:gd name="T18" fmla="*/ 397 w 16"/>
                <a:gd name="T19" fmla="*/ 41148 h 25"/>
                <a:gd name="T20" fmla="*/ 794 w 16"/>
                <a:gd name="T21" fmla="*/ 29718 h 25"/>
                <a:gd name="T22" fmla="*/ 1588 w 16"/>
                <a:gd name="T23" fmla="*/ 20574 h 25"/>
                <a:gd name="T24" fmla="*/ 2778 w 16"/>
                <a:gd name="T25" fmla="*/ 9144 h 25"/>
                <a:gd name="T26" fmla="*/ 4366 w 16"/>
                <a:gd name="T27" fmla="*/ 2286 h 25"/>
                <a:gd name="T28" fmla="*/ 6350 w 16"/>
                <a:gd name="T29" fmla="*/ 0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6" h="25">
                  <a:moveTo>
                    <a:pt x="16" y="0"/>
                  </a:moveTo>
                  <a:lnTo>
                    <a:pt x="16" y="6"/>
                  </a:lnTo>
                  <a:lnTo>
                    <a:pt x="14" y="13"/>
                  </a:lnTo>
                  <a:lnTo>
                    <a:pt x="13" y="16"/>
                  </a:lnTo>
                  <a:lnTo>
                    <a:pt x="11" y="20"/>
                  </a:lnTo>
                  <a:lnTo>
                    <a:pt x="7" y="23"/>
                  </a:lnTo>
                  <a:lnTo>
                    <a:pt x="3" y="25"/>
                  </a:lnTo>
                  <a:lnTo>
                    <a:pt x="1" y="24"/>
                  </a:lnTo>
                  <a:lnTo>
                    <a:pt x="0" y="21"/>
                  </a:lnTo>
                  <a:lnTo>
                    <a:pt x="1" y="18"/>
                  </a:lnTo>
                  <a:lnTo>
                    <a:pt x="2" y="13"/>
                  </a:lnTo>
                  <a:lnTo>
                    <a:pt x="4" y="9"/>
                  </a:lnTo>
                  <a:lnTo>
                    <a:pt x="7" y="4"/>
                  </a:lnTo>
                  <a:lnTo>
                    <a:pt x="11" y="1"/>
                  </a:lnTo>
                  <a:lnTo>
                    <a:pt x="1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6" name="Freeform 82">
              <a:extLst>
                <a:ext uri="{FF2B5EF4-FFF2-40B4-BE49-F238E27FC236}">
                  <a16:creationId xmlns:a16="http://schemas.microsoft.com/office/drawing/2014/main" id="{C6604F09-02B6-4B1B-A1EC-73D0AF681B05}"/>
                </a:ext>
              </a:extLst>
            </p:cNvPr>
            <p:cNvSpPr>
              <a:spLocks/>
            </p:cNvSpPr>
            <p:nvPr>
              <p:custDataLst>
                <p:tags r:id="rId62"/>
              </p:custDataLst>
            </p:nvPr>
          </p:nvSpPr>
          <p:spPr bwMode="auto">
            <a:xfrm>
              <a:off x="7597766" y="3217838"/>
              <a:ext cx="4763" cy="57150"/>
            </a:xfrm>
            <a:custGeom>
              <a:avLst/>
              <a:gdLst>
                <a:gd name="T0" fmla="*/ 0 w 14"/>
                <a:gd name="T1" fmla="*/ 0 h 18"/>
                <a:gd name="T2" fmla="*/ 1021 w 14"/>
                <a:gd name="T3" fmla="*/ 3175 h 18"/>
                <a:gd name="T4" fmla="*/ 1701 w 14"/>
                <a:gd name="T5" fmla="*/ 6350 h 18"/>
                <a:gd name="T6" fmla="*/ 2382 w 14"/>
                <a:gd name="T7" fmla="*/ 12700 h 18"/>
                <a:gd name="T8" fmla="*/ 3062 w 14"/>
                <a:gd name="T9" fmla="*/ 22225 h 18"/>
                <a:gd name="T10" fmla="*/ 4423 w 14"/>
                <a:gd name="T11" fmla="*/ 41275 h 18"/>
                <a:gd name="T12" fmla="*/ 4763 w 14"/>
                <a:gd name="T13" fmla="*/ 57150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7" name="Freeform 83">
              <a:extLst>
                <a:ext uri="{FF2B5EF4-FFF2-40B4-BE49-F238E27FC236}">
                  <a16:creationId xmlns:a16="http://schemas.microsoft.com/office/drawing/2014/main" id="{D3308C38-65C6-4827-8802-2ADABC9DC310}"/>
                </a:ext>
              </a:extLst>
            </p:cNvPr>
            <p:cNvSpPr>
              <a:spLocks/>
            </p:cNvSpPr>
            <p:nvPr>
              <p:custDataLst>
                <p:tags r:id="rId63"/>
              </p:custDataLst>
            </p:nvPr>
          </p:nvSpPr>
          <p:spPr bwMode="auto">
            <a:xfrm>
              <a:off x="7750165" y="3916332"/>
              <a:ext cx="26988" cy="58737"/>
            </a:xfrm>
            <a:custGeom>
              <a:avLst/>
              <a:gdLst>
                <a:gd name="T0" fmla="*/ 0 w 67"/>
                <a:gd name="T1" fmla="*/ 0 h 74"/>
                <a:gd name="T2" fmla="*/ 403 w 67"/>
                <a:gd name="T3" fmla="*/ 13494 h 74"/>
                <a:gd name="T4" fmla="*/ 1208 w 67"/>
                <a:gd name="T5" fmla="*/ 23812 h 74"/>
                <a:gd name="T6" fmla="*/ 2820 w 67"/>
                <a:gd name="T7" fmla="*/ 32543 h 74"/>
                <a:gd name="T8" fmla="*/ 4834 w 67"/>
                <a:gd name="T9" fmla="*/ 39687 h 74"/>
                <a:gd name="T10" fmla="*/ 6848 w 67"/>
                <a:gd name="T11" fmla="*/ 46037 h 74"/>
                <a:gd name="T12" fmla="*/ 9265 w 67"/>
                <a:gd name="T13" fmla="*/ 50800 h 74"/>
                <a:gd name="T14" fmla="*/ 11279 w 67"/>
                <a:gd name="T15" fmla="*/ 54768 h 74"/>
                <a:gd name="T16" fmla="*/ 13293 w 67"/>
                <a:gd name="T17" fmla="*/ 58737 h 74"/>
                <a:gd name="T18" fmla="*/ 17723 w 67"/>
                <a:gd name="T19" fmla="*/ 51593 h 74"/>
                <a:gd name="T20" fmla="*/ 22154 w 67"/>
                <a:gd name="T21" fmla="*/ 43656 h 74"/>
                <a:gd name="T22" fmla="*/ 23766 w 67"/>
                <a:gd name="T23" fmla="*/ 38893 h 74"/>
                <a:gd name="T24" fmla="*/ 25377 w 67"/>
                <a:gd name="T25" fmla="*/ 34131 h 74"/>
                <a:gd name="T26" fmla="*/ 26585 w 67"/>
                <a:gd name="T27" fmla="*/ 29369 h 74"/>
                <a:gd name="T28" fmla="*/ 26988 w 67"/>
                <a:gd name="T29" fmla="*/ 23812 h 74"/>
                <a:gd name="T30" fmla="*/ 26988 w 67"/>
                <a:gd name="T31" fmla="*/ 19844 h 74"/>
                <a:gd name="T32" fmla="*/ 26988 w 67"/>
                <a:gd name="T33" fmla="*/ 14287 h 74"/>
                <a:gd name="T34" fmla="*/ 26988 w 67"/>
                <a:gd name="T35" fmla="*/ 7144 h 74"/>
                <a:gd name="T36" fmla="*/ 26988 w 67"/>
                <a:gd name="T37" fmla="*/ 0 h 74"/>
                <a:gd name="T38" fmla="*/ 19335 w 67"/>
                <a:gd name="T39" fmla="*/ 0 h 74"/>
                <a:gd name="T40" fmla="*/ 13293 w 67"/>
                <a:gd name="T41" fmla="*/ 0 h 74"/>
                <a:gd name="T42" fmla="*/ 6848 w 67"/>
                <a:gd name="T43" fmla="*/ 0 h 74"/>
                <a:gd name="T44" fmla="*/ 0 w 67"/>
                <a:gd name="T45" fmla="*/ 0 h 7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7" h="74">
                  <a:moveTo>
                    <a:pt x="0" y="0"/>
                  </a:moveTo>
                  <a:lnTo>
                    <a:pt x="1" y="17"/>
                  </a:lnTo>
                  <a:lnTo>
                    <a:pt x="3" y="30"/>
                  </a:lnTo>
                  <a:lnTo>
                    <a:pt x="7" y="41"/>
                  </a:lnTo>
                  <a:lnTo>
                    <a:pt x="12" y="50"/>
                  </a:lnTo>
                  <a:lnTo>
                    <a:pt x="17" y="58"/>
                  </a:lnTo>
                  <a:lnTo>
                    <a:pt x="23" y="64"/>
                  </a:lnTo>
                  <a:lnTo>
                    <a:pt x="28" y="69"/>
                  </a:lnTo>
                  <a:lnTo>
                    <a:pt x="33" y="74"/>
                  </a:lnTo>
                  <a:lnTo>
                    <a:pt x="44" y="65"/>
                  </a:lnTo>
                  <a:lnTo>
                    <a:pt x="55" y="55"/>
                  </a:lnTo>
                  <a:lnTo>
                    <a:pt x="59" y="49"/>
                  </a:lnTo>
                  <a:lnTo>
                    <a:pt x="63" y="43"/>
                  </a:lnTo>
                  <a:lnTo>
                    <a:pt x="66" y="37"/>
                  </a:lnTo>
                  <a:lnTo>
                    <a:pt x="67" y="30"/>
                  </a:lnTo>
                  <a:lnTo>
                    <a:pt x="67" y="25"/>
                  </a:lnTo>
                  <a:lnTo>
                    <a:pt x="67" y="18"/>
                  </a:lnTo>
                  <a:lnTo>
                    <a:pt x="67" y="9"/>
                  </a:lnTo>
                  <a:lnTo>
                    <a:pt x="67" y="0"/>
                  </a:lnTo>
                  <a:lnTo>
                    <a:pt x="48" y="0"/>
                  </a:lnTo>
                  <a:lnTo>
                    <a:pt x="33" y="0"/>
                  </a:lnTo>
                  <a:lnTo>
                    <a:pt x="17"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8" name="Freeform 84">
              <a:extLst>
                <a:ext uri="{FF2B5EF4-FFF2-40B4-BE49-F238E27FC236}">
                  <a16:creationId xmlns:a16="http://schemas.microsoft.com/office/drawing/2014/main" id="{B97C7381-23D0-46CC-97DF-1B8473987E6A}"/>
                </a:ext>
              </a:extLst>
            </p:cNvPr>
            <p:cNvSpPr>
              <a:spLocks/>
            </p:cNvSpPr>
            <p:nvPr>
              <p:custDataLst>
                <p:tags r:id="rId64"/>
              </p:custDataLst>
            </p:nvPr>
          </p:nvSpPr>
          <p:spPr bwMode="auto">
            <a:xfrm>
              <a:off x="7813666" y="3930619"/>
              <a:ext cx="12700" cy="57150"/>
            </a:xfrm>
            <a:custGeom>
              <a:avLst/>
              <a:gdLst>
                <a:gd name="T0" fmla="*/ 0 w 34"/>
                <a:gd name="T1" fmla="*/ 0 h 38"/>
                <a:gd name="T2" fmla="*/ 747 w 34"/>
                <a:gd name="T3" fmla="*/ 4512 h 38"/>
                <a:gd name="T4" fmla="*/ 1494 w 34"/>
                <a:gd name="T5" fmla="*/ 10528 h 38"/>
                <a:gd name="T6" fmla="*/ 1868 w 34"/>
                <a:gd name="T7" fmla="*/ 16543 h 38"/>
                <a:gd name="T8" fmla="*/ 2241 w 34"/>
                <a:gd name="T9" fmla="*/ 24063 h 38"/>
                <a:gd name="T10" fmla="*/ 3735 w 34"/>
                <a:gd name="T11" fmla="*/ 42111 h 38"/>
                <a:gd name="T12" fmla="*/ 4856 w 34"/>
                <a:gd name="T13" fmla="*/ 57150 h 38"/>
                <a:gd name="T14" fmla="*/ 5976 w 34"/>
                <a:gd name="T15" fmla="*/ 55646 h 38"/>
                <a:gd name="T16" fmla="*/ 7471 w 34"/>
                <a:gd name="T17" fmla="*/ 54142 h 38"/>
                <a:gd name="T18" fmla="*/ 8591 w 34"/>
                <a:gd name="T19" fmla="*/ 51134 h 38"/>
                <a:gd name="T20" fmla="*/ 9712 w 34"/>
                <a:gd name="T21" fmla="*/ 46622 h 38"/>
                <a:gd name="T22" fmla="*/ 10459 w 34"/>
                <a:gd name="T23" fmla="*/ 42111 h 38"/>
                <a:gd name="T24" fmla="*/ 11953 w 34"/>
                <a:gd name="T25" fmla="*/ 36095 h 38"/>
                <a:gd name="T26" fmla="*/ 12326 w 34"/>
                <a:gd name="T27" fmla="*/ 31583 h 38"/>
                <a:gd name="T28" fmla="*/ 12700 w 34"/>
                <a:gd name="T29" fmla="*/ 28575 h 38"/>
                <a:gd name="T30" fmla="*/ 11579 w 34"/>
                <a:gd name="T31" fmla="*/ 27071 h 38"/>
                <a:gd name="T32" fmla="*/ 10459 w 34"/>
                <a:gd name="T33" fmla="*/ 25567 h 38"/>
                <a:gd name="T34" fmla="*/ 9712 w 34"/>
                <a:gd name="T35" fmla="*/ 21055 h 38"/>
                <a:gd name="T36" fmla="*/ 8965 w 34"/>
                <a:gd name="T37" fmla="*/ 18047 h 38"/>
                <a:gd name="T38" fmla="*/ 7097 w 34"/>
                <a:gd name="T39" fmla="*/ 9024 h 38"/>
                <a:gd name="T40" fmla="*/ 4856 w 34"/>
                <a:gd name="T41" fmla="*/ 0 h 38"/>
                <a:gd name="T42" fmla="*/ 2241 w 34"/>
                <a:gd name="T43" fmla="*/ 0 h 38"/>
                <a:gd name="T44" fmla="*/ 0 w 34"/>
                <a:gd name="T45" fmla="*/ 0 h 3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34" h="38">
                  <a:moveTo>
                    <a:pt x="0" y="0"/>
                  </a:moveTo>
                  <a:lnTo>
                    <a:pt x="2" y="3"/>
                  </a:lnTo>
                  <a:lnTo>
                    <a:pt x="4" y="7"/>
                  </a:lnTo>
                  <a:lnTo>
                    <a:pt x="5" y="11"/>
                  </a:lnTo>
                  <a:lnTo>
                    <a:pt x="6" y="16"/>
                  </a:lnTo>
                  <a:lnTo>
                    <a:pt x="10" y="28"/>
                  </a:lnTo>
                  <a:lnTo>
                    <a:pt x="13" y="38"/>
                  </a:lnTo>
                  <a:lnTo>
                    <a:pt x="16" y="37"/>
                  </a:lnTo>
                  <a:lnTo>
                    <a:pt x="20" y="36"/>
                  </a:lnTo>
                  <a:lnTo>
                    <a:pt x="23" y="34"/>
                  </a:lnTo>
                  <a:lnTo>
                    <a:pt x="26" y="31"/>
                  </a:lnTo>
                  <a:lnTo>
                    <a:pt x="28" y="28"/>
                  </a:lnTo>
                  <a:lnTo>
                    <a:pt x="32" y="24"/>
                  </a:lnTo>
                  <a:lnTo>
                    <a:pt x="33" y="21"/>
                  </a:lnTo>
                  <a:lnTo>
                    <a:pt x="34" y="19"/>
                  </a:lnTo>
                  <a:lnTo>
                    <a:pt x="31" y="18"/>
                  </a:lnTo>
                  <a:lnTo>
                    <a:pt x="28" y="17"/>
                  </a:lnTo>
                  <a:lnTo>
                    <a:pt x="26" y="14"/>
                  </a:lnTo>
                  <a:lnTo>
                    <a:pt x="24" y="12"/>
                  </a:lnTo>
                  <a:lnTo>
                    <a:pt x="19" y="6"/>
                  </a:lnTo>
                  <a:lnTo>
                    <a:pt x="13" y="0"/>
                  </a:lnTo>
                  <a:lnTo>
                    <a:pt x="6"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69" name="Freeform 85">
              <a:extLst>
                <a:ext uri="{FF2B5EF4-FFF2-40B4-BE49-F238E27FC236}">
                  <a16:creationId xmlns:a16="http://schemas.microsoft.com/office/drawing/2014/main" id="{B8451A97-7684-4D56-8374-461788469813}"/>
                </a:ext>
              </a:extLst>
            </p:cNvPr>
            <p:cNvSpPr>
              <a:spLocks/>
            </p:cNvSpPr>
            <p:nvPr>
              <p:custDataLst>
                <p:tags r:id="rId65"/>
              </p:custDataLst>
            </p:nvPr>
          </p:nvSpPr>
          <p:spPr bwMode="auto">
            <a:xfrm>
              <a:off x="7670791" y="3706784"/>
              <a:ext cx="25400" cy="55562"/>
            </a:xfrm>
            <a:custGeom>
              <a:avLst/>
              <a:gdLst>
                <a:gd name="T0" fmla="*/ 25400 w 53"/>
                <a:gd name="T1" fmla="*/ 55562 h 23"/>
                <a:gd name="T2" fmla="*/ 25400 w 53"/>
                <a:gd name="T3" fmla="*/ 9663 h 23"/>
                <a:gd name="T4" fmla="*/ 23483 w 53"/>
                <a:gd name="T5" fmla="*/ 4831 h 23"/>
                <a:gd name="T6" fmla="*/ 21566 w 53"/>
                <a:gd name="T7" fmla="*/ 2416 h 23"/>
                <a:gd name="T8" fmla="*/ 20128 w 53"/>
                <a:gd name="T9" fmla="*/ 0 h 23"/>
                <a:gd name="T10" fmla="*/ 18211 w 53"/>
                <a:gd name="T11" fmla="*/ 0 h 23"/>
                <a:gd name="T12" fmla="*/ 14857 w 53"/>
                <a:gd name="T13" fmla="*/ 2416 h 23"/>
                <a:gd name="T14" fmla="*/ 11502 w 53"/>
                <a:gd name="T15" fmla="*/ 9663 h 23"/>
                <a:gd name="T16" fmla="*/ 5272 w 53"/>
                <a:gd name="T17" fmla="*/ 31405 h 23"/>
                <a:gd name="T18" fmla="*/ 0 w 53"/>
                <a:gd name="T19" fmla="*/ 55562 h 23"/>
                <a:gd name="T20" fmla="*/ 25400 w 53"/>
                <a:gd name="T21" fmla="*/ 55562 h 23"/>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53" h="23">
                  <a:moveTo>
                    <a:pt x="53" y="23"/>
                  </a:moveTo>
                  <a:lnTo>
                    <a:pt x="53" y="4"/>
                  </a:lnTo>
                  <a:lnTo>
                    <a:pt x="49" y="2"/>
                  </a:lnTo>
                  <a:lnTo>
                    <a:pt x="45" y="1"/>
                  </a:lnTo>
                  <a:lnTo>
                    <a:pt x="42" y="0"/>
                  </a:lnTo>
                  <a:lnTo>
                    <a:pt x="38" y="0"/>
                  </a:lnTo>
                  <a:lnTo>
                    <a:pt x="31" y="1"/>
                  </a:lnTo>
                  <a:lnTo>
                    <a:pt x="24" y="4"/>
                  </a:lnTo>
                  <a:lnTo>
                    <a:pt x="11" y="13"/>
                  </a:lnTo>
                  <a:lnTo>
                    <a:pt x="0" y="23"/>
                  </a:lnTo>
                  <a:lnTo>
                    <a:pt x="53" y="2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0" name="Freeform 86">
              <a:extLst>
                <a:ext uri="{FF2B5EF4-FFF2-40B4-BE49-F238E27FC236}">
                  <a16:creationId xmlns:a16="http://schemas.microsoft.com/office/drawing/2014/main" id="{7F50D152-FD70-4E98-9CB6-8C5C33884C7E}"/>
                </a:ext>
              </a:extLst>
            </p:cNvPr>
            <p:cNvSpPr>
              <a:spLocks/>
            </p:cNvSpPr>
            <p:nvPr>
              <p:custDataLst>
                <p:tags r:id="rId66"/>
              </p:custDataLst>
            </p:nvPr>
          </p:nvSpPr>
          <p:spPr bwMode="auto">
            <a:xfrm>
              <a:off x="7613641" y="3681384"/>
              <a:ext cx="11113" cy="57150"/>
            </a:xfrm>
            <a:custGeom>
              <a:avLst/>
              <a:gdLst>
                <a:gd name="T0" fmla="*/ 0 w 26"/>
                <a:gd name="T1" fmla="*/ 0 h 12"/>
                <a:gd name="T2" fmla="*/ 1710 w 26"/>
                <a:gd name="T3" fmla="*/ 19050 h 12"/>
                <a:gd name="T4" fmla="*/ 4702 w 26"/>
                <a:gd name="T5" fmla="*/ 38100 h 12"/>
                <a:gd name="T6" fmla="*/ 5984 w 26"/>
                <a:gd name="T7" fmla="*/ 42863 h 12"/>
                <a:gd name="T8" fmla="*/ 7694 w 26"/>
                <a:gd name="T9" fmla="*/ 52388 h 12"/>
                <a:gd name="T10" fmla="*/ 9403 w 26"/>
                <a:gd name="T11" fmla="*/ 52388 h 12"/>
                <a:gd name="T12" fmla="*/ 11113 w 26"/>
                <a:gd name="T13" fmla="*/ 57150 h 12"/>
                <a:gd name="T14" fmla="*/ 8976 w 26"/>
                <a:gd name="T15" fmla="*/ 33338 h 12"/>
                <a:gd name="T16" fmla="*/ 5557 w 26"/>
                <a:gd name="T17" fmla="*/ 14288 h 12"/>
                <a:gd name="T18" fmla="*/ 2137 w 26"/>
                <a:gd name="T19" fmla="*/ 4763 h 12"/>
                <a:gd name="T20" fmla="*/ 0 w 26"/>
                <a:gd name="T21" fmla="*/ 0 h 1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12">
                  <a:moveTo>
                    <a:pt x="0" y="0"/>
                  </a:moveTo>
                  <a:lnTo>
                    <a:pt x="4" y="4"/>
                  </a:lnTo>
                  <a:lnTo>
                    <a:pt x="11" y="8"/>
                  </a:lnTo>
                  <a:lnTo>
                    <a:pt x="14" y="9"/>
                  </a:lnTo>
                  <a:lnTo>
                    <a:pt x="18" y="11"/>
                  </a:lnTo>
                  <a:lnTo>
                    <a:pt x="22" y="11"/>
                  </a:lnTo>
                  <a:lnTo>
                    <a:pt x="26" y="12"/>
                  </a:lnTo>
                  <a:lnTo>
                    <a:pt x="21" y="7"/>
                  </a:lnTo>
                  <a:lnTo>
                    <a:pt x="13" y="3"/>
                  </a:lnTo>
                  <a:lnTo>
                    <a:pt x="5" y="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1" name="Freeform 87">
              <a:extLst>
                <a:ext uri="{FF2B5EF4-FFF2-40B4-BE49-F238E27FC236}">
                  <a16:creationId xmlns:a16="http://schemas.microsoft.com/office/drawing/2014/main" id="{78CF2B16-F389-4F8E-88FA-D1D64AE7E0CD}"/>
                </a:ext>
              </a:extLst>
            </p:cNvPr>
            <p:cNvSpPr>
              <a:spLocks/>
            </p:cNvSpPr>
            <p:nvPr>
              <p:custDataLst>
                <p:tags r:id="rId67"/>
              </p:custDataLst>
            </p:nvPr>
          </p:nvSpPr>
          <p:spPr bwMode="auto">
            <a:xfrm>
              <a:off x="7813666" y="4013169"/>
              <a:ext cx="31750" cy="57150"/>
            </a:xfrm>
            <a:custGeom>
              <a:avLst/>
              <a:gdLst>
                <a:gd name="T0" fmla="*/ 0 w 73"/>
                <a:gd name="T1" fmla="*/ 0 h 57150"/>
                <a:gd name="T2" fmla="*/ 8699 w 73"/>
                <a:gd name="T3" fmla="*/ 0 h 57150"/>
                <a:gd name="T4" fmla="*/ 16092 w 73"/>
                <a:gd name="T5" fmla="*/ 0 h 57150"/>
                <a:gd name="T6" fmla="*/ 23921 w 73"/>
                <a:gd name="T7" fmla="*/ 0 h 57150"/>
                <a:gd name="T8" fmla="*/ 31750 w 73"/>
                <a:gd name="T9" fmla="*/ 0 h 5715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3" h="57150">
                  <a:moveTo>
                    <a:pt x="0" y="0"/>
                  </a:moveTo>
                  <a:lnTo>
                    <a:pt x="20" y="0"/>
                  </a:lnTo>
                  <a:lnTo>
                    <a:pt x="37" y="0"/>
                  </a:lnTo>
                  <a:lnTo>
                    <a:pt x="55" y="0"/>
                  </a:lnTo>
                  <a:lnTo>
                    <a:pt x="7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2" name="Freeform 88">
              <a:extLst>
                <a:ext uri="{FF2B5EF4-FFF2-40B4-BE49-F238E27FC236}">
                  <a16:creationId xmlns:a16="http://schemas.microsoft.com/office/drawing/2014/main" id="{E2957719-C149-471D-AFC9-7AD933B0FBC3}"/>
                </a:ext>
              </a:extLst>
            </p:cNvPr>
            <p:cNvSpPr>
              <a:spLocks/>
            </p:cNvSpPr>
            <p:nvPr>
              <p:custDataLst>
                <p:tags r:id="rId68"/>
              </p:custDataLst>
            </p:nvPr>
          </p:nvSpPr>
          <p:spPr bwMode="auto">
            <a:xfrm>
              <a:off x="7769216" y="4002057"/>
              <a:ext cx="22225" cy="57150"/>
            </a:xfrm>
            <a:custGeom>
              <a:avLst/>
              <a:gdLst>
                <a:gd name="T0" fmla="*/ 0 w 53"/>
                <a:gd name="T1" fmla="*/ 0 h 3"/>
                <a:gd name="T2" fmla="*/ 5871 w 53"/>
                <a:gd name="T3" fmla="*/ 0 h 3"/>
                <a:gd name="T4" fmla="*/ 11322 w 53"/>
                <a:gd name="T5" fmla="*/ 57150 h 3"/>
                <a:gd name="T6" fmla="*/ 13419 w 53"/>
                <a:gd name="T7" fmla="*/ 57150 h 3"/>
                <a:gd name="T8" fmla="*/ 16354 w 53"/>
                <a:gd name="T9" fmla="*/ 57150 h 3"/>
                <a:gd name="T10" fmla="*/ 18870 w 53"/>
                <a:gd name="T11" fmla="*/ 19050 h 3"/>
                <a:gd name="T12" fmla="*/ 22225 w 53"/>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3" h="3">
                  <a:moveTo>
                    <a:pt x="0" y="0"/>
                  </a:moveTo>
                  <a:lnTo>
                    <a:pt x="14" y="0"/>
                  </a:lnTo>
                  <a:lnTo>
                    <a:pt x="27" y="3"/>
                  </a:lnTo>
                  <a:lnTo>
                    <a:pt x="32" y="3"/>
                  </a:lnTo>
                  <a:lnTo>
                    <a:pt x="39" y="3"/>
                  </a:lnTo>
                  <a:lnTo>
                    <a:pt x="45" y="1"/>
                  </a:lnTo>
                  <a:lnTo>
                    <a:pt x="5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3" name="Line 89">
              <a:extLst>
                <a:ext uri="{FF2B5EF4-FFF2-40B4-BE49-F238E27FC236}">
                  <a16:creationId xmlns:a16="http://schemas.microsoft.com/office/drawing/2014/main" id="{B3F32C54-04CF-4661-BE1B-8BC00B2D3DED}"/>
                </a:ext>
              </a:extLst>
            </p:cNvPr>
            <p:cNvSpPr>
              <a:spLocks noChangeShapeType="1"/>
            </p:cNvSpPr>
            <p:nvPr>
              <p:custDataLst>
                <p:tags r:id="rId69"/>
              </p:custDataLst>
            </p:nvPr>
          </p:nvSpPr>
          <p:spPr bwMode="auto">
            <a:xfrm>
              <a:off x="7802553" y="3987768"/>
              <a:ext cx="20637" cy="635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4" name="Freeform 90">
              <a:extLst>
                <a:ext uri="{FF2B5EF4-FFF2-40B4-BE49-F238E27FC236}">
                  <a16:creationId xmlns:a16="http://schemas.microsoft.com/office/drawing/2014/main" id="{E88BE724-D7D1-4078-9567-6206A0463FB7}"/>
                </a:ext>
              </a:extLst>
            </p:cNvPr>
            <p:cNvSpPr>
              <a:spLocks/>
            </p:cNvSpPr>
            <p:nvPr>
              <p:custDataLst>
                <p:tags r:id="rId70"/>
              </p:custDataLst>
            </p:nvPr>
          </p:nvSpPr>
          <p:spPr bwMode="auto">
            <a:xfrm>
              <a:off x="7823190" y="3994119"/>
              <a:ext cx="1588" cy="57150"/>
            </a:xfrm>
            <a:custGeom>
              <a:avLst/>
              <a:gdLst>
                <a:gd name="T0" fmla="*/ 0 w 1588"/>
                <a:gd name="T1" fmla="*/ 0 h 13"/>
                <a:gd name="T2" fmla="*/ 0 w 1588"/>
                <a:gd name="T3" fmla="*/ 26377 h 13"/>
                <a:gd name="T4" fmla="*/ 0 w 1588"/>
                <a:gd name="T5" fmla="*/ 57150 h 13"/>
                <a:gd name="T6" fmla="*/ 0 60000 65536"/>
                <a:gd name="T7" fmla="*/ 0 60000 65536"/>
                <a:gd name="T8" fmla="*/ 0 60000 65536"/>
              </a:gdLst>
              <a:ahLst/>
              <a:cxnLst>
                <a:cxn ang="T6">
                  <a:pos x="T0" y="T1"/>
                </a:cxn>
                <a:cxn ang="T7">
                  <a:pos x="T2" y="T3"/>
                </a:cxn>
                <a:cxn ang="T8">
                  <a:pos x="T4" y="T5"/>
                </a:cxn>
              </a:cxnLst>
              <a:rect l="0" t="0" r="r" b="b"/>
              <a:pathLst>
                <a:path w="1588" h="13">
                  <a:moveTo>
                    <a:pt x="0" y="0"/>
                  </a:moveTo>
                  <a:lnTo>
                    <a:pt x="0" y="6"/>
                  </a:lnTo>
                  <a:lnTo>
                    <a:pt x="0"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5" name="Freeform 91">
              <a:extLst>
                <a:ext uri="{FF2B5EF4-FFF2-40B4-BE49-F238E27FC236}">
                  <a16:creationId xmlns:a16="http://schemas.microsoft.com/office/drawing/2014/main" id="{5E607ED6-EC80-420B-AECA-1A72D1987A42}"/>
                </a:ext>
              </a:extLst>
            </p:cNvPr>
            <p:cNvSpPr>
              <a:spLocks/>
            </p:cNvSpPr>
            <p:nvPr>
              <p:custDataLst>
                <p:tags r:id="rId71"/>
              </p:custDataLst>
            </p:nvPr>
          </p:nvSpPr>
          <p:spPr bwMode="auto">
            <a:xfrm>
              <a:off x="7777153" y="3987768"/>
              <a:ext cx="14287" cy="58738"/>
            </a:xfrm>
            <a:custGeom>
              <a:avLst/>
              <a:gdLst>
                <a:gd name="T0" fmla="*/ 0 w 26"/>
                <a:gd name="T1" fmla="*/ 0 h 58738"/>
                <a:gd name="T2" fmla="*/ 8243 w 26"/>
                <a:gd name="T3" fmla="*/ 0 h 58738"/>
                <a:gd name="T4" fmla="*/ 14287 w 26"/>
                <a:gd name="T5" fmla="*/ 0 h 58738"/>
                <a:gd name="T6" fmla="*/ 0 60000 65536"/>
                <a:gd name="T7" fmla="*/ 0 60000 65536"/>
                <a:gd name="T8" fmla="*/ 0 60000 65536"/>
              </a:gdLst>
              <a:ahLst/>
              <a:cxnLst>
                <a:cxn ang="T6">
                  <a:pos x="T0" y="T1"/>
                </a:cxn>
                <a:cxn ang="T7">
                  <a:pos x="T2" y="T3"/>
                </a:cxn>
                <a:cxn ang="T8">
                  <a:pos x="T4" y="T5"/>
                </a:cxn>
              </a:cxnLst>
              <a:rect l="0" t="0" r="r" b="b"/>
              <a:pathLst>
                <a:path w="26" h="58738">
                  <a:moveTo>
                    <a:pt x="0" y="0"/>
                  </a:moveTo>
                  <a:lnTo>
                    <a:pt x="15" y="0"/>
                  </a:lnTo>
                  <a:lnTo>
                    <a:pt x="2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6" name="Freeform 92">
              <a:extLst>
                <a:ext uri="{FF2B5EF4-FFF2-40B4-BE49-F238E27FC236}">
                  <a16:creationId xmlns:a16="http://schemas.microsoft.com/office/drawing/2014/main" id="{AA9E248D-8EEC-448A-9E6D-96419CAC149B}"/>
                </a:ext>
              </a:extLst>
            </p:cNvPr>
            <p:cNvSpPr>
              <a:spLocks/>
            </p:cNvSpPr>
            <p:nvPr>
              <p:custDataLst>
                <p:tags r:id="rId72"/>
              </p:custDataLst>
            </p:nvPr>
          </p:nvSpPr>
          <p:spPr bwMode="auto">
            <a:xfrm>
              <a:off x="7770804" y="3968719"/>
              <a:ext cx="6350" cy="60325"/>
            </a:xfrm>
            <a:custGeom>
              <a:avLst/>
              <a:gdLst>
                <a:gd name="T0" fmla="*/ 6350 w 20"/>
                <a:gd name="T1" fmla="*/ 0 h 25"/>
                <a:gd name="T2" fmla="*/ 0 w 20"/>
                <a:gd name="T3" fmla="*/ 31369 h 25"/>
                <a:gd name="T4" fmla="*/ 1270 w 20"/>
                <a:gd name="T5" fmla="*/ 43434 h 25"/>
                <a:gd name="T6" fmla="*/ 3175 w 20"/>
                <a:gd name="T7" fmla="*/ 50673 h 25"/>
                <a:gd name="T8" fmla="*/ 4445 w 20"/>
                <a:gd name="T9" fmla="*/ 57912 h 25"/>
                <a:gd name="T10" fmla="*/ 6350 w 20"/>
                <a:gd name="T11" fmla="*/ 60325 h 25"/>
                <a:gd name="T12" fmla="*/ 6350 w 20"/>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25">
                  <a:moveTo>
                    <a:pt x="20" y="0"/>
                  </a:moveTo>
                  <a:lnTo>
                    <a:pt x="0" y="13"/>
                  </a:lnTo>
                  <a:lnTo>
                    <a:pt x="4" y="18"/>
                  </a:lnTo>
                  <a:lnTo>
                    <a:pt x="10" y="21"/>
                  </a:lnTo>
                  <a:lnTo>
                    <a:pt x="14" y="24"/>
                  </a:lnTo>
                  <a:lnTo>
                    <a:pt x="20" y="25"/>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77" name="Freeform 93">
              <a:extLst>
                <a:ext uri="{FF2B5EF4-FFF2-40B4-BE49-F238E27FC236}">
                  <a16:creationId xmlns:a16="http://schemas.microsoft.com/office/drawing/2014/main" id="{D09B0B36-0D57-4239-8602-45A39064C567}"/>
                </a:ext>
              </a:extLst>
            </p:cNvPr>
            <p:cNvSpPr>
              <a:spLocks/>
            </p:cNvSpPr>
            <p:nvPr>
              <p:custDataLst>
                <p:tags r:id="rId73"/>
              </p:custDataLst>
            </p:nvPr>
          </p:nvSpPr>
          <p:spPr bwMode="auto">
            <a:xfrm>
              <a:off x="7851765" y="3695671"/>
              <a:ext cx="1588" cy="57150"/>
            </a:xfrm>
            <a:custGeom>
              <a:avLst/>
              <a:gdLst>
                <a:gd name="T0" fmla="*/ 0 w 6"/>
                <a:gd name="T1" fmla="*/ 57150 h 24"/>
                <a:gd name="T2" fmla="*/ 0 w 6"/>
                <a:gd name="T3" fmla="*/ 0 h 24"/>
                <a:gd name="T4" fmla="*/ 1588 w 6"/>
                <a:gd name="T5" fmla="*/ 28575 h 24"/>
                <a:gd name="T6" fmla="*/ 0 w 6"/>
                <a:gd name="T7" fmla="*/ 57150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 h="24">
                  <a:moveTo>
                    <a:pt x="0" y="24"/>
                  </a:moveTo>
                  <a:lnTo>
                    <a:pt x="0" y="0"/>
                  </a:lnTo>
                  <a:lnTo>
                    <a:pt x="6" y="12"/>
                  </a:lnTo>
                  <a:lnTo>
                    <a:pt x="0" y="2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78" name="Group 94">
              <a:extLst>
                <a:ext uri="{FF2B5EF4-FFF2-40B4-BE49-F238E27FC236}">
                  <a16:creationId xmlns:a16="http://schemas.microsoft.com/office/drawing/2014/main" id="{03C8BEBE-DCFB-479E-AC9A-222F17FFFD89}"/>
                </a:ext>
              </a:extLst>
            </p:cNvPr>
            <p:cNvGrpSpPr>
              <a:grpSpLocks/>
            </p:cNvGrpSpPr>
            <p:nvPr>
              <p:custDataLst>
                <p:tags r:id="rId74"/>
              </p:custDataLst>
            </p:nvPr>
          </p:nvGrpSpPr>
          <p:grpSpPr bwMode="auto">
            <a:xfrm>
              <a:off x="7726354" y="3367062"/>
              <a:ext cx="163512" cy="114299"/>
              <a:chOff x="5379" y="2466"/>
              <a:chExt cx="122" cy="71"/>
            </a:xfrm>
          </p:grpSpPr>
          <p:sp>
            <p:nvSpPr>
              <p:cNvPr id="526" name="Freeform 95">
                <a:extLst>
                  <a:ext uri="{FF2B5EF4-FFF2-40B4-BE49-F238E27FC236}">
                    <a16:creationId xmlns:a16="http://schemas.microsoft.com/office/drawing/2014/main" id="{B41CDBAF-44AF-45B9-A64A-FD3DF98D742E}"/>
                  </a:ext>
                </a:extLst>
              </p:cNvPr>
              <p:cNvSpPr>
                <a:spLocks/>
              </p:cNvSpPr>
              <p:nvPr/>
            </p:nvSpPr>
            <p:spPr bwMode="auto">
              <a:xfrm>
                <a:off x="5428" y="2492"/>
                <a:ext cx="6" cy="9"/>
              </a:xfrm>
              <a:custGeom>
                <a:avLst/>
                <a:gdLst>
                  <a:gd name="T0" fmla="*/ 6 w 19"/>
                  <a:gd name="T1" fmla="*/ 9 h 25"/>
                  <a:gd name="T2" fmla="*/ 6 w 19"/>
                  <a:gd name="T3" fmla="*/ 7 h 25"/>
                  <a:gd name="T4" fmla="*/ 5 w 19"/>
                  <a:gd name="T5" fmla="*/ 4 h 25"/>
                  <a:gd name="T6" fmla="*/ 5 w 19"/>
                  <a:gd name="T7" fmla="*/ 3 h 25"/>
                  <a:gd name="T8" fmla="*/ 5 w 19"/>
                  <a:gd name="T9" fmla="*/ 2 h 25"/>
                  <a:gd name="T10" fmla="*/ 5 w 19"/>
                  <a:gd name="T11" fmla="*/ 1 h 25"/>
                  <a:gd name="T12" fmla="*/ 6 w 19"/>
                  <a:gd name="T13" fmla="*/ 0 h 25"/>
                  <a:gd name="T14" fmla="*/ 0 w 19"/>
                  <a:gd name="T15" fmla="*/ 0 h 25"/>
                  <a:gd name="T16" fmla="*/ 0 w 19"/>
                  <a:gd name="T17" fmla="*/ 3 h 25"/>
                  <a:gd name="T18" fmla="*/ 2 w 19"/>
                  <a:gd name="T19" fmla="*/ 5 h 25"/>
                  <a:gd name="T20" fmla="*/ 2 w 19"/>
                  <a:gd name="T21" fmla="*/ 7 h 25"/>
                  <a:gd name="T22" fmla="*/ 3 w 19"/>
                  <a:gd name="T23" fmla="*/ 8 h 25"/>
                  <a:gd name="T24" fmla="*/ 5 w 19"/>
                  <a:gd name="T25" fmla="*/ 9 h 25"/>
                  <a:gd name="T26" fmla="*/ 6 w 19"/>
                  <a:gd name="T27" fmla="*/ 9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9" h="25">
                    <a:moveTo>
                      <a:pt x="19" y="25"/>
                    </a:moveTo>
                    <a:lnTo>
                      <a:pt x="18" y="20"/>
                    </a:lnTo>
                    <a:lnTo>
                      <a:pt x="17" y="12"/>
                    </a:lnTo>
                    <a:lnTo>
                      <a:pt x="16" y="9"/>
                    </a:lnTo>
                    <a:lnTo>
                      <a:pt x="17" y="6"/>
                    </a:lnTo>
                    <a:lnTo>
                      <a:pt x="17" y="3"/>
                    </a:lnTo>
                    <a:lnTo>
                      <a:pt x="19" y="0"/>
                    </a:lnTo>
                    <a:lnTo>
                      <a:pt x="0" y="0"/>
                    </a:lnTo>
                    <a:lnTo>
                      <a:pt x="1" y="7"/>
                    </a:lnTo>
                    <a:lnTo>
                      <a:pt x="5" y="15"/>
                    </a:lnTo>
                    <a:lnTo>
                      <a:pt x="7" y="19"/>
                    </a:lnTo>
                    <a:lnTo>
                      <a:pt x="11" y="23"/>
                    </a:lnTo>
                    <a:lnTo>
                      <a:pt x="15" y="25"/>
                    </a:lnTo>
                    <a:lnTo>
                      <a:pt x="19"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7" name="Freeform 96">
                <a:extLst>
                  <a:ext uri="{FF2B5EF4-FFF2-40B4-BE49-F238E27FC236}">
                    <a16:creationId xmlns:a16="http://schemas.microsoft.com/office/drawing/2014/main" id="{3757C88B-789B-4243-A790-4757E5EB93A5}"/>
                  </a:ext>
                </a:extLst>
              </p:cNvPr>
              <p:cNvSpPr>
                <a:spLocks/>
              </p:cNvSpPr>
              <p:nvPr/>
            </p:nvSpPr>
            <p:spPr bwMode="auto">
              <a:xfrm>
                <a:off x="5379" y="2505"/>
                <a:ext cx="7" cy="6"/>
              </a:xfrm>
              <a:custGeom>
                <a:avLst/>
                <a:gdLst>
                  <a:gd name="T0" fmla="*/ 7 w 26"/>
                  <a:gd name="T1" fmla="*/ 6 h 18"/>
                  <a:gd name="T2" fmla="*/ 2 w 26"/>
                  <a:gd name="T3" fmla="*/ 6 h 18"/>
                  <a:gd name="T4" fmla="*/ 1 w 26"/>
                  <a:gd name="T5" fmla="*/ 3 h 18"/>
                  <a:gd name="T6" fmla="*/ 0 w 26"/>
                  <a:gd name="T7" fmla="*/ 0 h 18"/>
                  <a:gd name="T8" fmla="*/ 2 w 26"/>
                  <a:gd name="T9" fmla="*/ 1 h 18"/>
                  <a:gd name="T10" fmla="*/ 4 w 26"/>
                  <a:gd name="T11" fmla="*/ 2 h 18"/>
                  <a:gd name="T12" fmla="*/ 5 w 26"/>
                  <a:gd name="T13" fmla="*/ 4 h 18"/>
                  <a:gd name="T14" fmla="*/ 7 w 26"/>
                  <a:gd name="T15" fmla="*/ 6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18">
                    <a:moveTo>
                      <a:pt x="26" y="18"/>
                    </a:moveTo>
                    <a:lnTo>
                      <a:pt x="7" y="18"/>
                    </a:lnTo>
                    <a:lnTo>
                      <a:pt x="3" y="9"/>
                    </a:lnTo>
                    <a:lnTo>
                      <a:pt x="0" y="0"/>
                    </a:lnTo>
                    <a:lnTo>
                      <a:pt x="6" y="2"/>
                    </a:lnTo>
                    <a:lnTo>
                      <a:pt x="13" y="6"/>
                    </a:lnTo>
                    <a:lnTo>
                      <a:pt x="20" y="12"/>
                    </a:lnTo>
                    <a:lnTo>
                      <a:pt x="26"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8" name="Freeform 97">
                <a:extLst>
                  <a:ext uri="{FF2B5EF4-FFF2-40B4-BE49-F238E27FC236}">
                    <a16:creationId xmlns:a16="http://schemas.microsoft.com/office/drawing/2014/main" id="{008DFA45-62C7-477F-B00A-40086AC1D3F3}"/>
                  </a:ext>
                </a:extLst>
              </p:cNvPr>
              <p:cNvSpPr>
                <a:spLocks/>
              </p:cNvSpPr>
              <p:nvPr/>
            </p:nvSpPr>
            <p:spPr bwMode="auto">
              <a:xfrm>
                <a:off x="5392" y="2466"/>
                <a:ext cx="5" cy="6"/>
              </a:xfrm>
              <a:custGeom>
                <a:avLst/>
                <a:gdLst>
                  <a:gd name="T0" fmla="*/ 0 w 13"/>
                  <a:gd name="T1" fmla="*/ 6 h 18"/>
                  <a:gd name="T2" fmla="*/ 5 w 13"/>
                  <a:gd name="T3" fmla="*/ 0 h 18"/>
                  <a:gd name="T4" fmla="*/ 0 w 13"/>
                  <a:gd name="T5" fmla="*/ 6 h 18"/>
                  <a:gd name="T6" fmla="*/ 0 60000 65536"/>
                  <a:gd name="T7" fmla="*/ 0 60000 65536"/>
                  <a:gd name="T8" fmla="*/ 0 60000 65536"/>
                </a:gdLst>
                <a:ahLst/>
                <a:cxnLst>
                  <a:cxn ang="T6">
                    <a:pos x="T0" y="T1"/>
                  </a:cxn>
                  <a:cxn ang="T7">
                    <a:pos x="T2" y="T3"/>
                  </a:cxn>
                  <a:cxn ang="T8">
                    <a:pos x="T4" y="T5"/>
                  </a:cxn>
                </a:cxnLst>
                <a:rect l="0" t="0" r="r" b="b"/>
                <a:pathLst>
                  <a:path w="13" h="18">
                    <a:moveTo>
                      <a:pt x="0" y="18"/>
                    </a:moveTo>
                    <a:lnTo>
                      <a:pt x="13" y="0"/>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9" name="Freeform 98">
                <a:extLst>
                  <a:ext uri="{FF2B5EF4-FFF2-40B4-BE49-F238E27FC236}">
                    <a16:creationId xmlns:a16="http://schemas.microsoft.com/office/drawing/2014/main" id="{CA389998-11B3-4324-805F-451C9F3EE109}"/>
                  </a:ext>
                </a:extLst>
              </p:cNvPr>
              <p:cNvSpPr>
                <a:spLocks/>
              </p:cNvSpPr>
              <p:nvPr/>
            </p:nvSpPr>
            <p:spPr bwMode="auto">
              <a:xfrm>
                <a:off x="5426" y="2468"/>
                <a:ext cx="8" cy="8"/>
              </a:xfrm>
              <a:custGeom>
                <a:avLst/>
                <a:gdLst>
                  <a:gd name="T0" fmla="*/ 0 w 26"/>
                  <a:gd name="T1" fmla="*/ 8 h 24"/>
                  <a:gd name="T2" fmla="*/ 1 w 26"/>
                  <a:gd name="T3" fmla="*/ 8 h 24"/>
                  <a:gd name="T4" fmla="*/ 2 w 26"/>
                  <a:gd name="T5" fmla="*/ 7 h 24"/>
                  <a:gd name="T6" fmla="*/ 3 w 26"/>
                  <a:gd name="T7" fmla="*/ 6 h 24"/>
                  <a:gd name="T8" fmla="*/ 5 w 26"/>
                  <a:gd name="T9" fmla="*/ 5 h 24"/>
                  <a:gd name="T10" fmla="*/ 6 w 26"/>
                  <a:gd name="T11" fmla="*/ 4 h 24"/>
                  <a:gd name="T12" fmla="*/ 7 w 26"/>
                  <a:gd name="T13" fmla="*/ 3 h 24"/>
                  <a:gd name="T14" fmla="*/ 8 w 26"/>
                  <a:gd name="T15" fmla="*/ 1 h 24"/>
                  <a:gd name="T16" fmla="*/ 8 w 26"/>
                  <a:gd name="T17" fmla="*/ 0 h 24"/>
                  <a:gd name="T18" fmla="*/ 0 w 2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6" h="24">
                    <a:moveTo>
                      <a:pt x="0" y="24"/>
                    </a:moveTo>
                    <a:lnTo>
                      <a:pt x="3" y="23"/>
                    </a:lnTo>
                    <a:lnTo>
                      <a:pt x="7" y="22"/>
                    </a:lnTo>
                    <a:lnTo>
                      <a:pt x="11" y="19"/>
                    </a:lnTo>
                    <a:lnTo>
                      <a:pt x="16" y="16"/>
                    </a:lnTo>
                    <a:lnTo>
                      <a:pt x="20" y="13"/>
                    </a:lnTo>
                    <a:lnTo>
                      <a:pt x="23" y="9"/>
                    </a:lnTo>
                    <a:lnTo>
                      <a:pt x="25" y="4"/>
                    </a:lnTo>
                    <a:lnTo>
                      <a:pt x="26" y="0"/>
                    </a:lnTo>
                    <a:lnTo>
                      <a:pt x="0" y="2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0" name="Freeform 99">
                <a:extLst>
                  <a:ext uri="{FF2B5EF4-FFF2-40B4-BE49-F238E27FC236}">
                    <a16:creationId xmlns:a16="http://schemas.microsoft.com/office/drawing/2014/main" id="{62B1D5C0-83B0-4C50-89F3-3406A7CD9940}"/>
                  </a:ext>
                </a:extLst>
              </p:cNvPr>
              <p:cNvSpPr>
                <a:spLocks/>
              </p:cNvSpPr>
              <p:nvPr/>
            </p:nvSpPr>
            <p:spPr bwMode="auto">
              <a:xfrm>
                <a:off x="5490" y="2490"/>
                <a:ext cx="11" cy="2"/>
              </a:xfrm>
              <a:custGeom>
                <a:avLst/>
                <a:gdLst>
                  <a:gd name="T0" fmla="*/ 0 w 34"/>
                  <a:gd name="T1" fmla="*/ 2 h 6"/>
                  <a:gd name="T2" fmla="*/ 3 w 34"/>
                  <a:gd name="T3" fmla="*/ 2 h 6"/>
                  <a:gd name="T4" fmla="*/ 6 w 34"/>
                  <a:gd name="T5" fmla="*/ 2 h 6"/>
                  <a:gd name="T6" fmla="*/ 8 w 34"/>
                  <a:gd name="T7" fmla="*/ 1 h 6"/>
                  <a:gd name="T8" fmla="*/ 11 w 34"/>
                  <a:gd name="T9" fmla="*/ 0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4" h="6">
                    <a:moveTo>
                      <a:pt x="0" y="6"/>
                    </a:moveTo>
                    <a:lnTo>
                      <a:pt x="10" y="6"/>
                    </a:lnTo>
                    <a:lnTo>
                      <a:pt x="17" y="5"/>
                    </a:lnTo>
                    <a:lnTo>
                      <a:pt x="25" y="4"/>
                    </a:lnTo>
                    <a:lnTo>
                      <a:pt x="3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1" name="Line 100">
                <a:extLst>
                  <a:ext uri="{FF2B5EF4-FFF2-40B4-BE49-F238E27FC236}">
                    <a16:creationId xmlns:a16="http://schemas.microsoft.com/office/drawing/2014/main" id="{07F77479-A1C8-46FF-9507-009CD4F52BC2}"/>
                  </a:ext>
                </a:extLst>
              </p:cNvPr>
              <p:cNvSpPr>
                <a:spLocks noChangeShapeType="1"/>
              </p:cNvSpPr>
              <p:nvPr/>
            </p:nvSpPr>
            <p:spPr bwMode="auto">
              <a:xfrm flipH="1">
                <a:off x="5495" y="249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2" name="Freeform 101">
                <a:extLst>
                  <a:ext uri="{FF2B5EF4-FFF2-40B4-BE49-F238E27FC236}">
                    <a16:creationId xmlns:a16="http://schemas.microsoft.com/office/drawing/2014/main" id="{CB4492C7-D46C-4828-B8E2-340C6F4AE577}"/>
                  </a:ext>
                </a:extLst>
              </p:cNvPr>
              <p:cNvSpPr>
                <a:spLocks/>
              </p:cNvSpPr>
              <p:nvPr/>
            </p:nvSpPr>
            <p:spPr bwMode="auto">
              <a:xfrm>
                <a:off x="5464" y="2530"/>
                <a:ext cx="1" cy="7"/>
              </a:xfrm>
              <a:custGeom>
                <a:avLst/>
                <a:gdLst>
                  <a:gd name="T0" fmla="*/ 0 w 1"/>
                  <a:gd name="T1" fmla="*/ 7 h 19"/>
                  <a:gd name="T2" fmla="*/ 0 w 1"/>
                  <a:gd name="T3" fmla="*/ 3 h 19"/>
                  <a:gd name="T4" fmla="*/ 0 w 1"/>
                  <a:gd name="T5" fmla="*/ 0 h 19"/>
                  <a:gd name="T6" fmla="*/ 0 60000 65536"/>
                  <a:gd name="T7" fmla="*/ 0 60000 65536"/>
                  <a:gd name="T8" fmla="*/ 0 60000 65536"/>
                </a:gdLst>
                <a:ahLst/>
                <a:cxnLst>
                  <a:cxn ang="T6">
                    <a:pos x="T0" y="T1"/>
                  </a:cxn>
                  <a:cxn ang="T7">
                    <a:pos x="T2" y="T3"/>
                  </a:cxn>
                  <a:cxn ang="T8">
                    <a:pos x="T4" y="T5"/>
                  </a:cxn>
                </a:cxnLst>
                <a:rect l="0" t="0" r="r" b="b"/>
                <a:pathLst>
                  <a:path w="1" h="19">
                    <a:moveTo>
                      <a:pt x="0" y="19"/>
                    </a:moveTo>
                    <a:lnTo>
                      <a:pt x="0" y="9"/>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3" name="Line 102">
                <a:extLst>
                  <a:ext uri="{FF2B5EF4-FFF2-40B4-BE49-F238E27FC236}">
                    <a16:creationId xmlns:a16="http://schemas.microsoft.com/office/drawing/2014/main" id="{4FEF8368-4FC9-41C7-8574-FB40A382ACD0}"/>
                  </a:ext>
                </a:extLst>
              </p:cNvPr>
              <p:cNvSpPr>
                <a:spLocks noChangeShapeType="1"/>
              </p:cNvSpPr>
              <p:nvPr/>
            </p:nvSpPr>
            <p:spPr bwMode="auto">
              <a:xfrm>
                <a:off x="5464" y="2530"/>
                <a:ext cx="6"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34" name="Freeform 103">
                <a:extLst>
                  <a:ext uri="{FF2B5EF4-FFF2-40B4-BE49-F238E27FC236}">
                    <a16:creationId xmlns:a16="http://schemas.microsoft.com/office/drawing/2014/main" id="{5446FDFD-A69B-49D0-B1AA-05F4A45A3CAE}"/>
                  </a:ext>
                </a:extLst>
              </p:cNvPr>
              <p:cNvSpPr>
                <a:spLocks/>
              </p:cNvSpPr>
              <p:nvPr/>
            </p:nvSpPr>
            <p:spPr bwMode="auto">
              <a:xfrm>
                <a:off x="5466" y="2530"/>
                <a:ext cx="4" cy="2"/>
              </a:xfrm>
              <a:custGeom>
                <a:avLst/>
                <a:gdLst>
                  <a:gd name="T0" fmla="*/ 4 w 14"/>
                  <a:gd name="T1" fmla="*/ 0 h 6"/>
                  <a:gd name="T2" fmla="*/ 2 w 14"/>
                  <a:gd name="T3" fmla="*/ 1 h 6"/>
                  <a:gd name="T4" fmla="*/ 0 w 14"/>
                  <a:gd name="T5" fmla="*/ 2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7" y="3"/>
                    </a:lnTo>
                    <a:lnTo>
                      <a:pt x="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79" name="Freeform 104">
              <a:extLst>
                <a:ext uri="{FF2B5EF4-FFF2-40B4-BE49-F238E27FC236}">
                  <a16:creationId xmlns:a16="http://schemas.microsoft.com/office/drawing/2014/main" id="{0271F651-C920-4CD5-96F3-A57B48E9F108}"/>
                </a:ext>
              </a:extLst>
            </p:cNvPr>
            <p:cNvSpPr>
              <a:spLocks/>
            </p:cNvSpPr>
            <p:nvPr>
              <p:custDataLst>
                <p:tags r:id="rId75"/>
              </p:custDataLst>
            </p:nvPr>
          </p:nvSpPr>
          <p:spPr bwMode="auto">
            <a:xfrm>
              <a:off x="6310305" y="3228950"/>
              <a:ext cx="6350" cy="57150"/>
            </a:xfrm>
            <a:custGeom>
              <a:avLst/>
              <a:gdLst>
                <a:gd name="T0" fmla="*/ 3175 w 26"/>
                <a:gd name="T1" fmla="*/ 57150 h 111"/>
                <a:gd name="T2" fmla="*/ 2198 w 26"/>
                <a:gd name="T3" fmla="*/ 53031 h 111"/>
                <a:gd name="T4" fmla="*/ 977 w 26"/>
                <a:gd name="T5" fmla="*/ 48912 h 111"/>
                <a:gd name="T6" fmla="*/ 488 w 26"/>
                <a:gd name="T7" fmla="*/ 46853 h 111"/>
                <a:gd name="T8" fmla="*/ 244 w 26"/>
                <a:gd name="T9" fmla="*/ 44793 h 111"/>
                <a:gd name="T10" fmla="*/ 0 w 26"/>
                <a:gd name="T11" fmla="*/ 41189 h 111"/>
                <a:gd name="T12" fmla="*/ 0 w 26"/>
                <a:gd name="T13" fmla="*/ 38100 h 111"/>
                <a:gd name="T14" fmla="*/ 0 w 26"/>
                <a:gd name="T15" fmla="*/ 31407 h 111"/>
                <a:gd name="T16" fmla="*/ 244 w 26"/>
                <a:gd name="T17" fmla="*/ 26258 h 111"/>
                <a:gd name="T18" fmla="*/ 733 w 26"/>
                <a:gd name="T19" fmla="*/ 21109 h 111"/>
                <a:gd name="T20" fmla="*/ 1221 w 26"/>
                <a:gd name="T21" fmla="*/ 16991 h 111"/>
                <a:gd name="T22" fmla="*/ 2198 w 26"/>
                <a:gd name="T23" fmla="*/ 12357 h 111"/>
                <a:gd name="T24" fmla="*/ 3419 w 26"/>
                <a:gd name="T25" fmla="*/ 8753 h 111"/>
                <a:gd name="T26" fmla="*/ 4885 w 26"/>
                <a:gd name="T27" fmla="*/ 4634 h 111"/>
                <a:gd name="T28" fmla="*/ 6350 w 26"/>
                <a:gd name="T29" fmla="*/ 0 h 111"/>
                <a:gd name="T30" fmla="*/ 6350 w 26"/>
                <a:gd name="T31" fmla="*/ 3089 h 111"/>
                <a:gd name="T32" fmla="*/ 6350 w 26"/>
                <a:gd name="T33" fmla="*/ 6693 h 111"/>
                <a:gd name="T34" fmla="*/ 6350 w 26"/>
                <a:gd name="T35" fmla="*/ 11327 h 111"/>
                <a:gd name="T36" fmla="*/ 6350 w 26"/>
                <a:gd name="T37" fmla="*/ 16476 h 111"/>
                <a:gd name="T38" fmla="*/ 6106 w 26"/>
                <a:gd name="T39" fmla="*/ 22654 h 111"/>
                <a:gd name="T40" fmla="*/ 5373 w 26"/>
                <a:gd name="T41" fmla="*/ 28832 h 111"/>
                <a:gd name="T42" fmla="*/ 4396 w 26"/>
                <a:gd name="T43" fmla="*/ 34496 h 111"/>
                <a:gd name="T44" fmla="*/ 3175 w 26"/>
                <a:gd name="T45" fmla="*/ 41189 h 111"/>
                <a:gd name="T46" fmla="*/ 3175 w 26"/>
                <a:gd name="T47" fmla="*/ 57150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0" name="Freeform 105">
              <a:extLst>
                <a:ext uri="{FF2B5EF4-FFF2-40B4-BE49-F238E27FC236}">
                  <a16:creationId xmlns:a16="http://schemas.microsoft.com/office/drawing/2014/main" id="{D6FB7790-3C14-450B-8F2E-4C83FA638C79}"/>
                </a:ext>
              </a:extLst>
            </p:cNvPr>
            <p:cNvSpPr>
              <a:spLocks/>
            </p:cNvSpPr>
            <p:nvPr>
              <p:custDataLst>
                <p:tags r:id="rId76"/>
              </p:custDataLst>
            </p:nvPr>
          </p:nvSpPr>
          <p:spPr bwMode="auto">
            <a:xfrm>
              <a:off x="3209921" y="5368883"/>
              <a:ext cx="53975" cy="58738"/>
            </a:xfrm>
            <a:custGeom>
              <a:avLst/>
              <a:gdLst>
                <a:gd name="T0" fmla="*/ 0 w 126"/>
                <a:gd name="T1" fmla="*/ 18000 h 62"/>
                <a:gd name="T2" fmla="*/ 4712 w 126"/>
                <a:gd name="T3" fmla="*/ 18948 h 62"/>
                <a:gd name="T4" fmla="*/ 8996 w 126"/>
                <a:gd name="T5" fmla="*/ 19895 h 62"/>
                <a:gd name="T6" fmla="*/ 12423 w 126"/>
                <a:gd name="T7" fmla="*/ 21790 h 62"/>
                <a:gd name="T8" fmla="*/ 15421 w 126"/>
                <a:gd name="T9" fmla="*/ 24632 h 62"/>
                <a:gd name="T10" fmla="*/ 21419 w 126"/>
                <a:gd name="T11" fmla="*/ 31264 h 62"/>
                <a:gd name="T12" fmla="*/ 26131 w 126"/>
                <a:gd name="T13" fmla="*/ 37895 h 62"/>
                <a:gd name="T14" fmla="*/ 29986 w 126"/>
                <a:gd name="T15" fmla="*/ 45475 h 62"/>
                <a:gd name="T16" fmla="*/ 33841 w 126"/>
                <a:gd name="T17" fmla="*/ 52106 h 62"/>
                <a:gd name="T18" fmla="*/ 35983 w 126"/>
                <a:gd name="T19" fmla="*/ 54948 h 62"/>
                <a:gd name="T20" fmla="*/ 38125 w 126"/>
                <a:gd name="T21" fmla="*/ 56843 h 62"/>
                <a:gd name="T22" fmla="*/ 40695 w 126"/>
                <a:gd name="T23" fmla="*/ 57791 h 62"/>
                <a:gd name="T24" fmla="*/ 42837 w 126"/>
                <a:gd name="T25" fmla="*/ 58738 h 62"/>
                <a:gd name="T26" fmla="*/ 44979 w 126"/>
                <a:gd name="T27" fmla="*/ 57791 h 62"/>
                <a:gd name="T28" fmla="*/ 46693 w 126"/>
                <a:gd name="T29" fmla="*/ 56843 h 62"/>
                <a:gd name="T30" fmla="*/ 48406 w 126"/>
                <a:gd name="T31" fmla="*/ 54948 h 62"/>
                <a:gd name="T32" fmla="*/ 50120 w 126"/>
                <a:gd name="T33" fmla="*/ 53054 h 62"/>
                <a:gd name="T34" fmla="*/ 52262 w 126"/>
                <a:gd name="T35" fmla="*/ 48317 h 62"/>
                <a:gd name="T36" fmla="*/ 53975 w 126"/>
                <a:gd name="T37" fmla="*/ 46422 h 62"/>
                <a:gd name="T38" fmla="*/ 47121 w 126"/>
                <a:gd name="T39" fmla="*/ 31264 h 62"/>
                <a:gd name="T40" fmla="*/ 41124 w 126"/>
                <a:gd name="T41" fmla="*/ 19895 h 62"/>
                <a:gd name="T42" fmla="*/ 38125 w 126"/>
                <a:gd name="T43" fmla="*/ 14211 h 62"/>
                <a:gd name="T44" fmla="*/ 34698 w 126"/>
                <a:gd name="T45" fmla="*/ 8526 h 62"/>
                <a:gd name="T46" fmla="*/ 30843 w 126"/>
                <a:gd name="T47" fmla="*/ 4737 h 62"/>
                <a:gd name="T48" fmla="*/ 26131 w 126"/>
                <a:gd name="T49" fmla="*/ 0 h 62"/>
                <a:gd name="T50" fmla="*/ 0 w 126"/>
                <a:gd name="T51" fmla="*/ 0 h 62"/>
                <a:gd name="T52" fmla="*/ 0 w 126"/>
                <a:gd name="T53" fmla="*/ 8526 h 62"/>
                <a:gd name="T54" fmla="*/ 0 w 126"/>
                <a:gd name="T55" fmla="*/ 18000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26" h="62">
                  <a:moveTo>
                    <a:pt x="0" y="19"/>
                  </a:moveTo>
                  <a:lnTo>
                    <a:pt x="11" y="20"/>
                  </a:lnTo>
                  <a:lnTo>
                    <a:pt x="21" y="21"/>
                  </a:lnTo>
                  <a:lnTo>
                    <a:pt x="29" y="23"/>
                  </a:lnTo>
                  <a:lnTo>
                    <a:pt x="36" y="26"/>
                  </a:lnTo>
                  <a:lnTo>
                    <a:pt x="50" y="33"/>
                  </a:lnTo>
                  <a:lnTo>
                    <a:pt x="61" y="40"/>
                  </a:lnTo>
                  <a:lnTo>
                    <a:pt x="70" y="48"/>
                  </a:lnTo>
                  <a:lnTo>
                    <a:pt x="79" y="55"/>
                  </a:lnTo>
                  <a:lnTo>
                    <a:pt x="84" y="58"/>
                  </a:lnTo>
                  <a:lnTo>
                    <a:pt x="89" y="60"/>
                  </a:lnTo>
                  <a:lnTo>
                    <a:pt x="95" y="61"/>
                  </a:lnTo>
                  <a:lnTo>
                    <a:pt x="100" y="62"/>
                  </a:lnTo>
                  <a:lnTo>
                    <a:pt x="105" y="61"/>
                  </a:lnTo>
                  <a:lnTo>
                    <a:pt x="109" y="60"/>
                  </a:lnTo>
                  <a:lnTo>
                    <a:pt x="113" y="58"/>
                  </a:lnTo>
                  <a:lnTo>
                    <a:pt x="117" y="56"/>
                  </a:lnTo>
                  <a:lnTo>
                    <a:pt x="122" y="51"/>
                  </a:lnTo>
                  <a:lnTo>
                    <a:pt x="126" y="49"/>
                  </a:lnTo>
                  <a:lnTo>
                    <a:pt x="110" y="33"/>
                  </a:lnTo>
                  <a:lnTo>
                    <a:pt x="96" y="21"/>
                  </a:lnTo>
                  <a:lnTo>
                    <a:pt x="89" y="15"/>
                  </a:lnTo>
                  <a:lnTo>
                    <a:pt x="81" y="9"/>
                  </a:lnTo>
                  <a:lnTo>
                    <a:pt x="72" y="5"/>
                  </a:lnTo>
                  <a:lnTo>
                    <a:pt x="61" y="0"/>
                  </a:lnTo>
                  <a:lnTo>
                    <a:pt x="0" y="0"/>
                  </a:lnTo>
                  <a:lnTo>
                    <a:pt x="0" y="9"/>
                  </a:lnTo>
                  <a:lnTo>
                    <a:pt x="0"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1" name="Freeform 106">
              <a:extLst>
                <a:ext uri="{FF2B5EF4-FFF2-40B4-BE49-F238E27FC236}">
                  <a16:creationId xmlns:a16="http://schemas.microsoft.com/office/drawing/2014/main" id="{DFEDEB4D-D0CD-4C3B-8AC9-24088E0BED1E}"/>
                </a:ext>
              </a:extLst>
            </p:cNvPr>
            <p:cNvSpPr>
              <a:spLocks/>
            </p:cNvSpPr>
            <p:nvPr>
              <p:custDataLst>
                <p:tags r:id="rId77"/>
              </p:custDataLst>
            </p:nvPr>
          </p:nvSpPr>
          <p:spPr bwMode="auto">
            <a:xfrm>
              <a:off x="5511793" y="5206959"/>
              <a:ext cx="30163" cy="55562"/>
            </a:xfrm>
            <a:custGeom>
              <a:avLst/>
              <a:gdLst>
                <a:gd name="T0" fmla="*/ 0 w 66"/>
                <a:gd name="T1" fmla="*/ 0 h 44"/>
                <a:gd name="T2" fmla="*/ 5941 w 66"/>
                <a:gd name="T3" fmla="*/ 1263 h 44"/>
                <a:gd name="T4" fmla="*/ 10511 w 66"/>
                <a:gd name="T5" fmla="*/ 2526 h 44"/>
                <a:gd name="T6" fmla="*/ 14624 w 66"/>
                <a:gd name="T7" fmla="*/ 5051 h 44"/>
                <a:gd name="T8" fmla="*/ 17367 w 66"/>
                <a:gd name="T9" fmla="*/ 8840 h 44"/>
                <a:gd name="T10" fmla="*/ 20109 w 66"/>
                <a:gd name="T11" fmla="*/ 11365 h 44"/>
                <a:gd name="T12" fmla="*/ 22851 w 66"/>
                <a:gd name="T13" fmla="*/ 13891 h 44"/>
                <a:gd name="T14" fmla="*/ 26050 w 66"/>
                <a:gd name="T15" fmla="*/ 15154 h 44"/>
                <a:gd name="T16" fmla="*/ 30163 w 66"/>
                <a:gd name="T17" fmla="*/ 16416 h 44"/>
                <a:gd name="T18" fmla="*/ 29706 w 66"/>
                <a:gd name="T19" fmla="*/ 21468 h 44"/>
                <a:gd name="T20" fmla="*/ 28335 w 66"/>
                <a:gd name="T21" fmla="*/ 26519 h 44"/>
                <a:gd name="T22" fmla="*/ 27421 w 66"/>
                <a:gd name="T23" fmla="*/ 31570 h 44"/>
                <a:gd name="T24" fmla="*/ 26050 w 66"/>
                <a:gd name="T25" fmla="*/ 35358 h 44"/>
                <a:gd name="T26" fmla="*/ 22394 w 66"/>
                <a:gd name="T27" fmla="*/ 42935 h 44"/>
                <a:gd name="T28" fmla="*/ 18281 w 66"/>
                <a:gd name="T29" fmla="*/ 49249 h 44"/>
                <a:gd name="T30" fmla="*/ 14167 w 66"/>
                <a:gd name="T31" fmla="*/ 53037 h 44"/>
                <a:gd name="T32" fmla="*/ 9597 w 66"/>
                <a:gd name="T33" fmla="*/ 55563 h 44"/>
                <a:gd name="T34" fmla="*/ 4570 w 66"/>
                <a:gd name="T35" fmla="*/ 55563 h 44"/>
                <a:gd name="T36" fmla="*/ 0 w 66"/>
                <a:gd name="T37" fmla="*/ 54300 h 44"/>
                <a:gd name="T38" fmla="*/ 0 w 66"/>
                <a:gd name="T39" fmla="*/ 39147 h 44"/>
                <a:gd name="T40" fmla="*/ 0 w 66"/>
                <a:gd name="T41" fmla="*/ 27782 h 44"/>
                <a:gd name="T42" fmla="*/ 0 w 66"/>
                <a:gd name="T43" fmla="*/ 15154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2" name="Freeform 107">
              <a:extLst>
                <a:ext uri="{FF2B5EF4-FFF2-40B4-BE49-F238E27FC236}">
                  <a16:creationId xmlns:a16="http://schemas.microsoft.com/office/drawing/2014/main" id="{43C969B6-5628-47B7-94AF-3F758E019A9C}"/>
                </a:ext>
              </a:extLst>
            </p:cNvPr>
            <p:cNvSpPr>
              <a:spLocks/>
            </p:cNvSpPr>
            <p:nvPr>
              <p:custDataLst>
                <p:tags r:id="rId78"/>
              </p:custDataLst>
            </p:nvPr>
          </p:nvSpPr>
          <p:spPr bwMode="auto">
            <a:xfrm>
              <a:off x="7666029" y="1978010"/>
              <a:ext cx="20637" cy="57150"/>
            </a:xfrm>
            <a:custGeom>
              <a:avLst/>
              <a:gdLst>
                <a:gd name="T0" fmla="*/ 20637 w 46"/>
                <a:gd name="T1" fmla="*/ 0 h 16"/>
                <a:gd name="T2" fmla="*/ 17945 w 46"/>
                <a:gd name="T3" fmla="*/ 25003 h 16"/>
                <a:gd name="T4" fmla="*/ 15702 w 46"/>
                <a:gd name="T5" fmla="*/ 46434 h 16"/>
                <a:gd name="T6" fmla="*/ 13908 w 46"/>
                <a:gd name="T7" fmla="*/ 50006 h 16"/>
                <a:gd name="T8" fmla="*/ 13010 w 46"/>
                <a:gd name="T9" fmla="*/ 53578 h 16"/>
                <a:gd name="T10" fmla="*/ 11664 w 46"/>
                <a:gd name="T11" fmla="*/ 57150 h 16"/>
                <a:gd name="T12" fmla="*/ 10319 w 46"/>
                <a:gd name="T13" fmla="*/ 57150 h 16"/>
                <a:gd name="T14" fmla="*/ 7178 w 46"/>
                <a:gd name="T15" fmla="*/ 50006 h 16"/>
                <a:gd name="T16" fmla="*/ 4935 w 46"/>
                <a:gd name="T17" fmla="*/ 39291 h 16"/>
                <a:gd name="T18" fmla="*/ 2243 w 46"/>
                <a:gd name="T19" fmla="*/ 21431 h 16"/>
                <a:gd name="T20" fmla="*/ 0 w 46"/>
                <a:gd name="T21" fmla="*/ 0 h 16"/>
                <a:gd name="T22" fmla="*/ 2063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3" name="Freeform 108">
              <a:extLst>
                <a:ext uri="{FF2B5EF4-FFF2-40B4-BE49-F238E27FC236}">
                  <a16:creationId xmlns:a16="http://schemas.microsoft.com/office/drawing/2014/main" id="{12861DB0-AADF-436B-B898-CC42955B49FE}"/>
                </a:ext>
              </a:extLst>
            </p:cNvPr>
            <p:cNvSpPr>
              <a:spLocks/>
            </p:cNvSpPr>
            <p:nvPr>
              <p:custDataLst>
                <p:tags r:id="rId79"/>
              </p:custDataLst>
            </p:nvPr>
          </p:nvSpPr>
          <p:spPr bwMode="auto">
            <a:xfrm>
              <a:off x="7842240" y="2011348"/>
              <a:ext cx="15875" cy="57150"/>
            </a:xfrm>
            <a:custGeom>
              <a:avLst/>
              <a:gdLst>
                <a:gd name="T0" fmla="*/ 15875 w 39"/>
                <a:gd name="T1" fmla="*/ 54952 h 26"/>
                <a:gd name="T2" fmla="*/ 14654 w 39"/>
                <a:gd name="T3" fmla="*/ 57150 h 26"/>
                <a:gd name="T4" fmla="*/ 13026 w 39"/>
                <a:gd name="T5" fmla="*/ 57150 h 26"/>
                <a:gd name="T6" fmla="*/ 11397 w 39"/>
                <a:gd name="T7" fmla="*/ 57150 h 26"/>
                <a:gd name="T8" fmla="*/ 10176 w 39"/>
                <a:gd name="T9" fmla="*/ 54952 h 26"/>
                <a:gd name="T10" fmla="*/ 7327 w 39"/>
                <a:gd name="T11" fmla="*/ 48358 h 26"/>
                <a:gd name="T12" fmla="*/ 4885 w 39"/>
                <a:gd name="T13" fmla="*/ 39565 h 26"/>
                <a:gd name="T14" fmla="*/ 2849 w 39"/>
                <a:gd name="T15" fmla="*/ 28575 h 26"/>
                <a:gd name="T16" fmla="*/ 1221 w 39"/>
                <a:gd name="T17" fmla="*/ 15387 h 26"/>
                <a:gd name="T18" fmla="*/ 407 w 39"/>
                <a:gd name="T19" fmla="*/ 6594 h 26"/>
                <a:gd name="T20" fmla="*/ 0 w 39"/>
                <a:gd name="T21" fmla="*/ 0 h 26"/>
                <a:gd name="T22" fmla="*/ 4478 w 39"/>
                <a:gd name="T23" fmla="*/ 13188 h 26"/>
                <a:gd name="T24" fmla="*/ 8955 w 39"/>
                <a:gd name="T25" fmla="*/ 28575 h 26"/>
                <a:gd name="T26" fmla="*/ 13433 w 39"/>
                <a:gd name="T27" fmla="*/ 43962 h 26"/>
                <a:gd name="T28" fmla="*/ 15875 w 39"/>
                <a:gd name="T29" fmla="*/ 54952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4" name="Freeform 109">
              <a:extLst>
                <a:ext uri="{FF2B5EF4-FFF2-40B4-BE49-F238E27FC236}">
                  <a16:creationId xmlns:a16="http://schemas.microsoft.com/office/drawing/2014/main" id="{E9431037-1839-4BED-A209-035A34C9915A}"/>
                </a:ext>
              </a:extLst>
            </p:cNvPr>
            <p:cNvSpPr>
              <a:spLocks/>
            </p:cNvSpPr>
            <p:nvPr>
              <p:custDataLst>
                <p:tags r:id="rId80"/>
              </p:custDataLst>
            </p:nvPr>
          </p:nvSpPr>
          <p:spPr bwMode="auto">
            <a:xfrm>
              <a:off x="7291379" y="2241533"/>
              <a:ext cx="4762" cy="58738"/>
            </a:xfrm>
            <a:custGeom>
              <a:avLst/>
              <a:gdLst>
                <a:gd name="T0" fmla="*/ 4762 w 11"/>
                <a:gd name="T1" fmla="*/ 0 h 25"/>
                <a:gd name="T2" fmla="*/ 4762 w 11"/>
                <a:gd name="T3" fmla="*/ 11748 h 25"/>
                <a:gd name="T4" fmla="*/ 4329 w 11"/>
                <a:gd name="T5" fmla="*/ 28194 h 25"/>
                <a:gd name="T6" fmla="*/ 3896 w 11"/>
                <a:gd name="T7" fmla="*/ 46990 h 25"/>
                <a:gd name="T8" fmla="*/ 1732 w 11"/>
                <a:gd name="T9" fmla="*/ 58738 h 25"/>
                <a:gd name="T10" fmla="*/ 866 w 11"/>
                <a:gd name="T11" fmla="*/ 54039 h 25"/>
                <a:gd name="T12" fmla="*/ 433 w 11"/>
                <a:gd name="T13" fmla="*/ 46990 h 25"/>
                <a:gd name="T14" fmla="*/ 0 w 11"/>
                <a:gd name="T15" fmla="*/ 35243 h 25"/>
                <a:gd name="T16" fmla="*/ 0 w 11"/>
                <a:gd name="T17" fmla="*/ 28194 h 25"/>
                <a:gd name="T18" fmla="*/ 433 w 11"/>
                <a:gd name="T19" fmla="*/ 21146 h 25"/>
                <a:gd name="T20" fmla="*/ 1299 w 11"/>
                <a:gd name="T21" fmla="*/ 11748 h 25"/>
                <a:gd name="T22" fmla="*/ 2597 w 11"/>
                <a:gd name="T23" fmla="*/ 4699 h 25"/>
                <a:gd name="T24" fmla="*/ 4762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5" name="Freeform 110">
              <a:extLst>
                <a:ext uri="{FF2B5EF4-FFF2-40B4-BE49-F238E27FC236}">
                  <a16:creationId xmlns:a16="http://schemas.microsoft.com/office/drawing/2014/main" id="{4C704D57-F6F6-4B6E-9C82-F848BD336B3B}"/>
                </a:ext>
              </a:extLst>
            </p:cNvPr>
            <p:cNvSpPr>
              <a:spLocks/>
            </p:cNvSpPr>
            <p:nvPr>
              <p:custDataLst>
                <p:tags r:id="rId81"/>
              </p:custDataLst>
            </p:nvPr>
          </p:nvSpPr>
          <p:spPr bwMode="auto">
            <a:xfrm>
              <a:off x="7105641" y="2803503"/>
              <a:ext cx="14288" cy="58738"/>
            </a:xfrm>
            <a:custGeom>
              <a:avLst/>
              <a:gdLst>
                <a:gd name="T0" fmla="*/ 14288 w 20"/>
                <a:gd name="T1" fmla="*/ 0 h 31"/>
                <a:gd name="T2" fmla="*/ 11430 w 20"/>
                <a:gd name="T3" fmla="*/ 22737 h 31"/>
                <a:gd name="T4" fmla="*/ 7144 w 20"/>
                <a:gd name="T5" fmla="*/ 37895 h 31"/>
                <a:gd name="T6" fmla="*/ 3572 w 20"/>
                <a:gd name="T7" fmla="*/ 49264 h 31"/>
                <a:gd name="T8" fmla="*/ 0 w 20"/>
                <a:gd name="T9" fmla="*/ 58738 h 31"/>
                <a:gd name="T10" fmla="*/ 0 w 20"/>
                <a:gd name="T11" fmla="*/ 47369 h 31"/>
                <a:gd name="T12" fmla="*/ 714 w 20"/>
                <a:gd name="T13" fmla="*/ 36001 h 31"/>
                <a:gd name="T14" fmla="*/ 1429 w 20"/>
                <a:gd name="T15" fmla="*/ 24632 h 31"/>
                <a:gd name="T16" fmla="*/ 3572 w 20"/>
                <a:gd name="T17" fmla="*/ 17053 h 31"/>
                <a:gd name="T18" fmla="*/ 5715 w 20"/>
                <a:gd name="T19" fmla="*/ 11369 h 31"/>
                <a:gd name="T20" fmla="*/ 7858 w 20"/>
                <a:gd name="T21" fmla="*/ 5684 h 31"/>
                <a:gd name="T22" fmla="*/ 11430 w 20"/>
                <a:gd name="T23" fmla="*/ 0 h 31"/>
                <a:gd name="T24" fmla="*/ 14288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6" name="Freeform 111">
              <a:extLst>
                <a:ext uri="{FF2B5EF4-FFF2-40B4-BE49-F238E27FC236}">
                  <a16:creationId xmlns:a16="http://schemas.microsoft.com/office/drawing/2014/main" id="{66477346-4402-4634-B15E-0002C3C6F852}"/>
                </a:ext>
              </a:extLst>
            </p:cNvPr>
            <p:cNvSpPr>
              <a:spLocks/>
            </p:cNvSpPr>
            <p:nvPr>
              <p:custDataLst>
                <p:tags r:id="rId82"/>
              </p:custDataLst>
            </p:nvPr>
          </p:nvSpPr>
          <p:spPr bwMode="auto">
            <a:xfrm>
              <a:off x="7123104" y="2738417"/>
              <a:ext cx="15875" cy="57150"/>
            </a:xfrm>
            <a:custGeom>
              <a:avLst/>
              <a:gdLst>
                <a:gd name="T0" fmla="*/ 7938 w 26"/>
                <a:gd name="T1" fmla="*/ 57150 h 37"/>
                <a:gd name="T2" fmla="*/ 0 w 26"/>
                <a:gd name="T3" fmla="*/ 18535 h 37"/>
                <a:gd name="T4" fmla="*/ 3663 w 26"/>
                <a:gd name="T5" fmla="*/ 10812 h 37"/>
                <a:gd name="T6" fmla="*/ 7938 w 26"/>
                <a:gd name="T7" fmla="*/ 6178 h 37"/>
                <a:gd name="T8" fmla="*/ 12822 w 26"/>
                <a:gd name="T9" fmla="*/ 1545 h 37"/>
                <a:gd name="T10" fmla="*/ 15875 w 26"/>
                <a:gd name="T11" fmla="*/ 0 h 37"/>
                <a:gd name="T12" fmla="*/ 15875 w 26"/>
                <a:gd name="T13" fmla="*/ 9268 h 37"/>
                <a:gd name="T14" fmla="*/ 15264 w 26"/>
                <a:gd name="T15" fmla="*/ 16991 h 37"/>
                <a:gd name="T16" fmla="*/ 14654 w 26"/>
                <a:gd name="T17" fmla="*/ 26258 h 37"/>
                <a:gd name="T18" fmla="*/ 14043 w 26"/>
                <a:gd name="T19" fmla="*/ 32436 h 37"/>
                <a:gd name="T20" fmla="*/ 10990 w 26"/>
                <a:gd name="T21" fmla="*/ 44793 h 37"/>
                <a:gd name="T22" fmla="*/ 7938 w 26"/>
                <a:gd name="T23" fmla="*/ 57150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7" name="Freeform 112">
              <a:extLst>
                <a:ext uri="{FF2B5EF4-FFF2-40B4-BE49-F238E27FC236}">
                  <a16:creationId xmlns:a16="http://schemas.microsoft.com/office/drawing/2014/main" id="{06FD87D8-7718-429D-8377-9D5B8BC9B0AC}"/>
                </a:ext>
              </a:extLst>
            </p:cNvPr>
            <p:cNvSpPr>
              <a:spLocks/>
            </p:cNvSpPr>
            <p:nvPr>
              <p:custDataLst>
                <p:tags r:id="rId83"/>
              </p:custDataLst>
            </p:nvPr>
          </p:nvSpPr>
          <p:spPr bwMode="auto">
            <a:xfrm>
              <a:off x="7011979" y="2587605"/>
              <a:ext cx="1587" cy="60325"/>
            </a:xfrm>
            <a:custGeom>
              <a:avLst/>
              <a:gdLst>
                <a:gd name="T0" fmla="*/ 0 w 7"/>
                <a:gd name="T1" fmla="*/ 60325 h 18"/>
                <a:gd name="T2" fmla="*/ 0 w 7"/>
                <a:gd name="T3" fmla="*/ 0 h 18"/>
                <a:gd name="T4" fmla="*/ 1587 w 7"/>
                <a:gd name="T5" fmla="*/ 40217 h 18"/>
                <a:gd name="T6" fmla="*/ 0 w 7"/>
                <a:gd name="T7" fmla="*/ 60325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8" name="Freeform 113">
              <a:extLst>
                <a:ext uri="{FF2B5EF4-FFF2-40B4-BE49-F238E27FC236}">
                  <a16:creationId xmlns:a16="http://schemas.microsoft.com/office/drawing/2014/main" id="{195B5C25-182F-4078-97B3-F7E01F04F8A6}"/>
                </a:ext>
              </a:extLst>
            </p:cNvPr>
            <p:cNvSpPr>
              <a:spLocks/>
            </p:cNvSpPr>
            <p:nvPr>
              <p:custDataLst>
                <p:tags r:id="rId84"/>
              </p:custDataLst>
            </p:nvPr>
          </p:nvSpPr>
          <p:spPr bwMode="auto">
            <a:xfrm>
              <a:off x="3863970" y="1714487"/>
              <a:ext cx="9525" cy="57150"/>
            </a:xfrm>
            <a:custGeom>
              <a:avLst/>
              <a:gdLst>
                <a:gd name="T0" fmla="*/ 0 w 33"/>
                <a:gd name="T1" fmla="*/ 22123 h 31"/>
                <a:gd name="T2" fmla="*/ 5484 w 33"/>
                <a:gd name="T3" fmla="*/ 0 h 31"/>
                <a:gd name="T4" fmla="*/ 6927 w 33"/>
                <a:gd name="T5" fmla="*/ 9218 h 31"/>
                <a:gd name="T6" fmla="*/ 8082 w 33"/>
                <a:gd name="T7" fmla="*/ 22123 h 31"/>
                <a:gd name="T8" fmla="*/ 9236 w 33"/>
                <a:gd name="T9" fmla="*/ 40558 h 31"/>
                <a:gd name="T10" fmla="*/ 9525 w 33"/>
                <a:gd name="T11" fmla="*/ 57150 h 31"/>
                <a:gd name="T12" fmla="*/ 7793 w 33"/>
                <a:gd name="T13" fmla="*/ 55306 h 31"/>
                <a:gd name="T14" fmla="*/ 6350 w 33"/>
                <a:gd name="T15" fmla="*/ 51619 h 31"/>
                <a:gd name="T16" fmla="*/ 4618 w 33"/>
                <a:gd name="T17" fmla="*/ 46089 h 31"/>
                <a:gd name="T18" fmla="*/ 3175 w 33"/>
                <a:gd name="T19" fmla="*/ 40558 h 31"/>
                <a:gd name="T20" fmla="*/ 866 w 33"/>
                <a:gd name="T21" fmla="*/ 27653 h 31"/>
                <a:gd name="T22" fmla="*/ 0 w 33"/>
                <a:gd name="T23" fmla="*/ 22123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89" name="Freeform 114">
              <a:extLst>
                <a:ext uri="{FF2B5EF4-FFF2-40B4-BE49-F238E27FC236}">
                  <a16:creationId xmlns:a16="http://schemas.microsoft.com/office/drawing/2014/main" id="{6F1F1E1C-1657-499B-8E67-869FEB3FD730}"/>
                </a:ext>
              </a:extLst>
            </p:cNvPr>
            <p:cNvSpPr>
              <a:spLocks/>
            </p:cNvSpPr>
            <p:nvPr>
              <p:custDataLst>
                <p:tags r:id="rId85"/>
              </p:custDataLst>
            </p:nvPr>
          </p:nvSpPr>
          <p:spPr bwMode="auto">
            <a:xfrm>
              <a:off x="3849683" y="1482714"/>
              <a:ext cx="3175" cy="57150"/>
            </a:xfrm>
            <a:custGeom>
              <a:avLst/>
              <a:gdLst>
                <a:gd name="T0" fmla="*/ 3175 w 14"/>
                <a:gd name="T1" fmla="*/ 0 h 6"/>
                <a:gd name="T2" fmla="*/ 0 w 14"/>
                <a:gd name="T3" fmla="*/ 57150 h 6"/>
                <a:gd name="T4" fmla="*/ 3175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0" name="Freeform 115">
              <a:extLst>
                <a:ext uri="{FF2B5EF4-FFF2-40B4-BE49-F238E27FC236}">
                  <a16:creationId xmlns:a16="http://schemas.microsoft.com/office/drawing/2014/main" id="{C7B169EA-373B-4D81-AC69-E1D9E38A3533}"/>
                </a:ext>
              </a:extLst>
            </p:cNvPr>
            <p:cNvSpPr>
              <a:spLocks/>
            </p:cNvSpPr>
            <p:nvPr>
              <p:custDataLst>
                <p:tags r:id="rId86"/>
              </p:custDataLst>
            </p:nvPr>
          </p:nvSpPr>
          <p:spPr bwMode="auto">
            <a:xfrm>
              <a:off x="5330819" y="3260699"/>
              <a:ext cx="25400" cy="55562"/>
            </a:xfrm>
            <a:custGeom>
              <a:avLst/>
              <a:gdLst>
                <a:gd name="T0" fmla="*/ 25400 w 59"/>
                <a:gd name="T1" fmla="*/ 10754 h 31"/>
                <a:gd name="T2" fmla="*/ 24539 w 59"/>
                <a:gd name="T3" fmla="*/ 19716 h 31"/>
                <a:gd name="T4" fmla="*/ 22817 w 59"/>
                <a:gd name="T5" fmla="*/ 26885 h 31"/>
                <a:gd name="T6" fmla="*/ 21095 w 59"/>
                <a:gd name="T7" fmla="*/ 34055 h 31"/>
                <a:gd name="T8" fmla="*/ 19373 w 59"/>
                <a:gd name="T9" fmla="*/ 43017 h 31"/>
                <a:gd name="T10" fmla="*/ 17220 w 59"/>
                <a:gd name="T11" fmla="*/ 48394 h 31"/>
                <a:gd name="T12" fmla="*/ 15498 w 59"/>
                <a:gd name="T13" fmla="*/ 51978 h 31"/>
                <a:gd name="T14" fmla="*/ 12915 w 59"/>
                <a:gd name="T15" fmla="*/ 55563 h 31"/>
                <a:gd name="T16" fmla="*/ 11193 w 59"/>
                <a:gd name="T17" fmla="*/ 55563 h 31"/>
                <a:gd name="T18" fmla="*/ 9041 w 59"/>
                <a:gd name="T19" fmla="*/ 55563 h 31"/>
                <a:gd name="T20" fmla="*/ 7319 w 59"/>
                <a:gd name="T21" fmla="*/ 53771 h 31"/>
                <a:gd name="T22" fmla="*/ 6027 w 59"/>
                <a:gd name="T23" fmla="*/ 51978 h 31"/>
                <a:gd name="T24" fmla="*/ 4736 w 59"/>
                <a:gd name="T25" fmla="*/ 48394 h 31"/>
                <a:gd name="T26" fmla="*/ 1722 w 59"/>
                <a:gd name="T27" fmla="*/ 35847 h 31"/>
                <a:gd name="T28" fmla="*/ 0 w 59"/>
                <a:gd name="T29" fmla="*/ 21508 h 31"/>
                <a:gd name="T30" fmla="*/ 431 w 59"/>
                <a:gd name="T31" fmla="*/ 16131 h 31"/>
                <a:gd name="T32" fmla="*/ 1292 w 59"/>
                <a:gd name="T33" fmla="*/ 10754 h 31"/>
                <a:gd name="T34" fmla="*/ 2153 w 59"/>
                <a:gd name="T35" fmla="*/ 7169 h 31"/>
                <a:gd name="T36" fmla="*/ 3444 w 59"/>
                <a:gd name="T37" fmla="*/ 5377 h 31"/>
                <a:gd name="T38" fmla="*/ 6888 w 59"/>
                <a:gd name="T39" fmla="*/ 1792 h 31"/>
                <a:gd name="T40" fmla="*/ 10332 w 59"/>
                <a:gd name="T41" fmla="*/ 0 h 31"/>
                <a:gd name="T42" fmla="*/ 14637 w 59"/>
                <a:gd name="T43" fmla="*/ 0 h 31"/>
                <a:gd name="T44" fmla="*/ 18081 w 59"/>
                <a:gd name="T45" fmla="*/ 3585 h 31"/>
                <a:gd name="T46" fmla="*/ 21956 w 59"/>
                <a:gd name="T47" fmla="*/ 7169 h 31"/>
                <a:gd name="T48" fmla="*/ 25400 w 59"/>
                <a:gd name="T49" fmla="*/ 10754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1" name="Freeform 116">
              <a:extLst>
                <a:ext uri="{FF2B5EF4-FFF2-40B4-BE49-F238E27FC236}">
                  <a16:creationId xmlns:a16="http://schemas.microsoft.com/office/drawing/2014/main" id="{5CB1263D-DD4B-4615-8E36-7D0183F7008B}"/>
                </a:ext>
              </a:extLst>
            </p:cNvPr>
            <p:cNvSpPr>
              <a:spLocks/>
            </p:cNvSpPr>
            <p:nvPr>
              <p:custDataLst>
                <p:tags r:id="rId87"/>
              </p:custDataLst>
            </p:nvPr>
          </p:nvSpPr>
          <p:spPr bwMode="auto">
            <a:xfrm>
              <a:off x="5033957" y="3122589"/>
              <a:ext cx="19050" cy="58737"/>
            </a:xfrm>
            <a:custGeom>
              <a:avLst/>
              <a:gdLst>
                <a:gd name="T0" fmla="*/ 5674 w 47"/>
                <a:gd name="T1" fmla="*/ 0 h 68"/>
                <a:gd name="T2" fmla="*/ 3243 w 47"/>
                <a:gd name="T3" fmla="*/ 8638 h 68"/>
                <a:gd name="T4" fmla="*/ 1621 w 47"/>
                <a:gd name="T5" fmla="*/ 16412 h 68"/>
                <a:gd name="T6" fmla="*/ 811 w 47"/>
                <a:gd name="T7" fmla="*/ 24186 h 68"/>
                <a:gd name="T8" fmla="*/ 0 w 47"/>
                <a:gd name="T9" fmla="*/ 31960 h 68"/>
                <a:gd name="T10" fmla="*/ 0 w 47"/>
                <a:gd name="T11" fmla="*/ 36279 h 68"/>
                <a:gd name="T12" fmla="*/ 811 w 47"/>
                <a:gd name="T13" fmla="*/ 40598 h 68"/>
                <a:gd name="T14" fmla="*/ 1216 w 47"/>
                <a:gd name="T15" fmla="*/ 44053 h 68"/>
                <a:gd name="T16" fmla="*/ 2027 w 47"/>
                <a:gd name="T17" fmla="*/ 47508 h 68"/>
                <a:gd name="T18" fmla="*/ 2837 w 47"/>
                <a:gd name="T19" fmla="*/ 50099 h 68"/>
                <a:gd name="T20" fmla="*/ 3648 w 47"/>
                <a:gd name="T21" fmla="*/ 51827 h 68"/>
                <a:gd name="T22" fmla="*/ 5269 w 47"/>
                <a:gd name="T23" fmla="*/ 53554 h 68"/>
                <a:gd name="T24" fmla="*/ 6485 w 47"/>
                <a:gd name="T25" fmla="*/ 55282 h 68"/>
                <a:gd name="T26" fmla="*/ 8917 w 47"/>
                <a:gd name="T27" fmla="*/ 57873 h 68"/>
                <a:gd name="T28" fmla="*/ 12565 w 47"/>
                <a:gd name="T29" fmla="*/ 58737 h 68"/>
                <a:gd name="T30" fmla="*/ 15807 w 47"/>
                <a:gd name="T31" fmla="*/ 58737 h 68"/>
                <a:gd name="T32" fmla="*/ 19050 w 47"/>
                <a:gd name="T33" fmla="*/ 58737 h 68"/>
                <a:gd name="T34" fmla="*/ 16618 w 47"/>
                <a:gd name="T35" fmla="*/ 50099 h 68"/>
                <a:gd name="T36" fmla="*/ 15402 w 47"/>
                <a:gd name="T37" fmla="*/ 41461 h 68"/>
                <a:gd name="T38" fmla="*/ 14591 w 47"/>
                <a:gd name="T39" fmla="*/ 37143 h 68"/>
                <a:gd name="T40" fmla="*/ 14186 w 47"/>
                <a:gd name="T41" fmla="*/ 32824 h 68"/>
                <a:gd name="T42" fmla="*/ 13376 w 47"/>
                <a:gd name="T43" fmla="*/ 26777 h 68"/>
                <a:gd name="T44" fmla="*/ 13376 w 47"/>
                <a:gd name="T45" fmla="*/ 21594 h 68"/>
                <a:gd name="T46" fmla="*/ 9728 w 47"/>
                <a:gd name="T47" fmla="*/ 11229 h 68"/>
                <a:gd name="T48" fmla="*/ 5674 w 47"/>
                <a:gd name="T49" fmla="*/ 0 h 6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7" h="68">
                  <a:moveTo>
                    <a:pt x="14" y="0"/>
                  </a:moveTo>
                  <a:lnTo>
                    <a:pt x="8" y="10"/>
                  </a:lnTo>
                  <a:lnTo>
                    <a:pt x="4" y="19"/>
                  </a:lnTo>
                  <a:lnTo>
                    <a:pt x="2" y="28"/>
                  </a:lnTo>
                  <a:lnTo>
                    <a:pt x="0" y="37"/>
                  </a:lnTo>
                  <a:lnTo>
                    <a:pt x="0" y="42"/>
                  </a:lnTo>
                  <a:lnTo>
                    <a:pt x="2" y="47"/>
                  </a:lnTo>
                  <a:lnTo>
                    <a:pt x="3" y="51"/>
                  </a:lnTo>
                  <a:lnTo>
                    <a:pt x="5" y="55"/>
                  </a:lnTo>
                  <a:lnTo>
                    <a:pt x="7" y="58"/>
                  </a:lnTo>
                  <a:lnTo>
                    <a:pt x="9" y="60"/>
                  </a:lnTo>
                  <a:lnTo>
                    <a:pt x="13" y="62"/>
                  </a:lnTo>
                  <a:lnTo>
                    <a:pt x="16" y="64"/>
                  </a:lnTo>
                  <a:lnTo>
                    <a:pt x="22" y="67"/>
                  </a:lnTo>
                  <a:lnTo>
                    <a:pt x="31" y="68"/>
                  </a:lnTo>
                  <a:lnTo>
                    <a:pt x="39" y="68"/>
                  </a:lnTo>
                  <a:lnTo>
                    <a:pt x="47" y="68"/>
                  </a:lnTo>
                  <a:lnTo>
                    <a:pt x="41" y="58"/>
                  </a:lnTo>
                  <a:lnTo>
                    <a:pt x="38" y="48"/>
                  </a:lnTo>
                  <a:lnTo>
                    <a:pt x="36" y="43"/>
                  </a:lnTo>
                  <a:lnTo>
                    <a:pt x="35" y="38"/>
                  </a:lnTo>
                  <a:lnTo>
                    <a:pt x="33" y="31"/>
                  </a:lnTo>
                  <a:lnTo>
                    <a:pt x="33" y="25"/>
                  </a:lnTo>
                  <a:lnTo>
                    <a:pt x="24" y="13"/>
                  </a:lnTo>
                  <a:lnTo>
                    <a:pt x="1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92" name="Group 117">
              <a:extLst>
                <a:ext uri="{FF2B5EF4-FFF2-40B4-BE49-F238E27FC236}">
                  <a16:creationId xmlns:a16="http://schemas.microsoft.com/office/drawing/2014/main" id="{E49C3412-BE62-42A6-85A8-FD0446DC1408}"/>
                </a:ext>
              </a:extLst>
            </p:cNvPr>
            <p:cNvGrpSpPr>
              <a:grpSpLocks/>
            </p:cNvGrpSpPr>
            <p:nvPr>
              <p:custDataLst>
                <p:tags r:id="rId88"/>
              </p:custDataLst>
            </p:nvPr>
          </p:nvGrpSpPr>
          <p:grpSpPr bwMode="auto">
            <a:xfrm>
              <a:off x="5805481" y="3309912"/>
              <a:ext cx="46037" cy="374647"/>
              <a:chOff x="3950" y="2430"/>
              <a:chExt cx="36" cy="234"/>
            </a:xfrm>
          </p:grpSpPr>
          <p:sp>
            <p:nvSpPr>
              <p:cNvPr id="495" name="Freeform 118">
                <a:extLst>
                  <a:ext uri="{FF2B5EF4-FFF2-40B4-BE49-F238E27FC236}">
                    <a16:creationId xmlns:a16="http://schemas.microsoft.com/office/drawing/2014/main" id="{3E9BF8CB-8FDF-4FEF-B806-8EDC749EBCE8}"/>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6" name="Freeform 119">
                <a:extLst>
                  <a:ext uri="{FF2B5EF4-FFF2-40B4-BE49-F238E27FC236}">
                    <a16:creationId xmlns:a16="http://schemas.microsoft.com/office/drawing/2014/main" id="{ABCF3253-9B16-4F02-BAA6-5E3C46E3DC97}"/>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7" name="Freeform 120">
                <a:extLst>
                  <a:ext uri="{FF2B5EF4-FFF2-40B4-BE49-F238E27FC236}">
                    <a16:creationId xmlns:a16="http://schemas.microsoft.com/office/drawing/2014/main" id="{98BD8E6C-838D-428E-AD07-FEED804246F7}"/>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8" name="Rectangle 121">
                <a:extLst>
                  <a:ext uri="{FF2B5EF4-FFF2-40B4-BE49-F238E27FC236}">
                    <a16:creationId xmlns:a16="http://schemas.microsoft.com/office/drawing/2014/main" id="{3506EA23-6196-4A0F-98D8-BA349687D9F6}"/>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cs typeface="+mn-cs"/>
                </a:endParaRPr>
              </a:p>
            </p:txBody>
          </p:sp>
          <p:sp>
            <p:nvSpPr>
              <p:cNvPr id="499" name="Line 122">
                <a:extLst>
                  <a:ext uri="{FF2B5EF4-FFF2-40B4-BE49-F238E27FC236}">
                    <a16:creationId xmlns:a16="http://schemas.microsoft.com/office/drawing/2014/main" id="{5DCAF51E-3C05-4B05-9C7D-3D5BAED8102E}"/>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0" name="Freeform 123">
                <a:extLst>
                  <a:ext uri="{FF2B5EF4-FFF2-40B4-BE49-F238E27FC236}">
                    <a16:creationId xmlns:a16="http://schemas.microsoft.com/office/drawing/2014/main" id="{00FFA3B6-DDE0-4832-8890-E10C86902A6E}"/>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1" name="Freeform 124">
                <a:extLst>
                  <a:ext uri="{FF2B5EF4-FFF2-40B4-BE49-F238E27FC236}">
                    <a16:creationId xmlns:a16="http://schemas.microsoft.com/office/drawing/2014/main" id="{26891644-1DA1-4122-9C97-3A428C422F55}"/>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2" name="Line 125">
                <a:extLst>
                  <a:ext uri="{FF2B5EF4-FFF2-40B4-BE49-F238E27FC236}">
                    <a16:creationId xmlns:a16="http://schemas.microsoft.com/office/drawing/2014/main" id="{88550ADA-495E-41C9-BB2A-A68F084319F3}"/>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3" name="Freeform 126">
                <a:extLst>
                  <a:ext uri="{FF2B5EF4-FFF2-40B4-BE49-F238E27FC236}">
                    <a16:creationId xmlns:a16="http://schemas.microsoft.com/office/drawing/2014/main" id="{24ABC701-3694-4FC3-BF46-C015990B38C3}"/>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4" name="Freeform 127">
                <a:extLst>
                  <a:ext uri="{FF2B5EF4-FFF2-40B4-BE49-F238E27FC236}">
                    <a16:creationId xmlns:a16="http://schemas.microsoft.com/office/drawing/2014/main" id="{D0D7D534-16A1-4A1D-B46C-F1F0128AD035}"/>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5" name="Line 128">
                <a:extLst>
                  <a:ext uri="{FF2B5EF4-FFF2-40B4-BE49-F238E27FC236}">
                    <a16:creationId xmlns:a16="http://schemas.microsoft.com/office/drawing/2014/main" id="{79C37741-C4F3-4939-958B-A938F8819EC1}"/>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6" name="Freeform 129">
                <a:extLst>
                  <a:ext uri="{FF2B5EF4-FFF2-40B4-BE49-F238E27FC236}">
                    <a16:creationId xmlns:a16="http://schemas.microsoft.com/office/drawing/2014/main" id="{09A100C2-173A-475B-83D3-5EB335E919FD}"/>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7" name="Freeform 130">
                <a:extLst>
                  <a:ext uri="{FF2B5EF4-FFF2-40B4-BE49-F238E27FC236}">
                    <a16:creationId xmlns:a16="http://schemas.microsoft.com/office/drawing/2014/main" id="{84EDC3EF-5B05-406F-BF10-9FD23E2504DF}"/>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8" name="Freeform 131">
                <a:extLst>
                  <a:ext uri="{FF2B5EF4-FFF2-40B4-BE49-F238E27FC236}">
                    <a16:creationId xmlns:a16="http://schemas.microsoft.com/office/drawing/2014/main" id="{93AC28E0-DDC6-47A8-9758-F8E2E1884FEB}"/>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09" name="Freeform 132">
                <a:extLst>
                  <a:ext uri="{FF2B5EF4-FFF2-40B4-BE49-F238E27FC236}">
                    <a16:creationId xmlns:a16="http://schemas.microsoft.com/office/drawing/2014/main" id="{0AD3C816-3125-43C7-8D4C-84305DF0ED59}"/>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0" name="Freeform 133">
                <a:extLst>
                  <a:ext uri="{FF2B5EF4-FFF2-40B4-BE49-F238E27FC236}">
                    <a16:creationId xmlns:a16="http://schemas.microsoft.com/office/drawing/2014/main" id="{03BA9C18-1C5A-4EB4-8E7D-FBBE0ECF4B52}"/>
                  </a:ext>
                </a:extLst>
              </p:cNvPr>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1" name="Freeform 134">
                <a:extLst>
                  <a:ext uri="{FF2B5EF4-FFF2-40B4-BE49-F238E27FC236}">
                    <a16:creationId xmlns:a16="http://schemas.microsoft.com/office/drawing/2014/main" id="{DF9C43FC-D06C-42A6-A3ED-DA22212075C2}"/>
                  </a:ext>
                </a:extLst>
              </p:cNvPr>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2" name="Freeform 135">
                <a:extLst>
                  <a:ext uri="{FF2B5EF4-FFF2-40B4-BE49-F238E27FC236}">
                    <a16:creationId xmlns:a16="http://schemas.microsoft.com/office/drawing/2014/main" id="{C00F28D2-5B63-41A2-874C-84A90CDEF7F1}"/>
                  </a:ext>
                </a:extLst>
              </p:cNvPr>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3" name="Rectangle 136">
                <a:extLst>
                  <a:ext uri="{FF2B5EF4-FFF2-40B4-BE49-F238E27FC236}">
                    <a16:creationId xmlns:a16="http://schemas.microsoft.com/office/drawing/2014/main" id="{D1ECA20C-7E5B-496D-81A7-2718F6FC0577}"/>
                  </a:ext>
                </a:extLst>
              </p:cNvPr>
              <p:cNvSpPr>
                <a:spLocks noChangeArrowheads="1"/>
              </p:cNvSpPr>
              <p:nvPr/>
            </p:nvSpPr>
            <p:spPr bwMode="auto">
              <a:xfrm>
                <a:off x="3975" y="2632"/>
                <a:ext cx="8" cy="2"/>
              </a:xfrm>
              <a:prstGeom prst="rect">
                <a:avLst/>
              </a:prstGeom>
              <a:solidFill>
                <a:srgbClr val="C0C0C0"/>
              </a:solidFill>
              <a:ln w="9525">
                <a:solidFill>
                  <a:srgbClr val="FFFFFF"/>
                </a:solidFill>
                <a:miter lim="800000"/>
                <a:headEnd/>
                <a:tailEnd/>
              </a:ln>
            </p:spPr>
            <p:txBody>
              <a:bodyPr/>
              <a:lstStyle>
                <a:lvl1pPr eaLnBrk="0" hangingPunct="0">
                  <a:defRPr>
                    <a:solidFill>
                      <a:schemeClr val="tx1"/>
                    </a:solidFill>
                    <a:latin typeface="Arial" panose="020B0604020202020204" pitchFamily="34" charset="0"/>
                  </a:defRPr>
                </a:lvl1pPr>
                <a:lvl2pPr marL="742950" indent="-285750" eaLnBrk="0" hangingPunct="0">
                  <a:defRPr>
                    <a:solidFill>
                      <a:schemeClr val="tx1"/>
                    </a:solidFill>
                    <a:latin typeface="Arial" panose="020B0604020202020204" pitchFamily="34" charset="0"/>
                  </a:defRPr>
                </a:lvl2pPr>
                <a:lvl3pPr marL="1143000" indent="-228600" eaLnBrk="0" hangingPunct="0">
                  <a:defRPr>
                    <a:solidFill>
                      <a:schemeClr val="tx1"/>
                    </a:solidFill>
                    <a:latin typeface="Arial" panose="020B0604020202020204" pitchFamily="34" charset="0"/>
                  </a:defRPr>
                </a:lvl3pPr>
                <a:lvl4pPr marL="1600200" indent="-228600" eaLnBrk="0" hangingPunct="0">
                  <a:defRPr>
                    <a:solidFill>
                      <a:schemeClr val="tx1"/>
                    </a:solidFill>
                    <a:latin typeface="Arial" panose="020B0604020202020204" pitchFamily="34" charset="0"/>
                  </a:defRPr>
                </a:lvl4pPr>
                <a:lvl5pPr marL="2057400" indent="-228600" eaLnBrk="0" hangingPunct="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dirty="0">
                  <a:ln>
                    <a:noFill/>
                  </a:ln>
                  <a:solidFill>
                    <a:prstClr val="black"/>
                  </a:solidFill>
                  <a:effectLst/>
                  <a:uLnTx/>
                  <a:uFillTx/>
                  <a:latin typeface="Arial" panose="020B0604020202020204" pitchFamily="34" charset="0"/>
                  <a:cs typeface="+mn-cs"/>
                </a:endParaRPr>
              </a:p>
            </p:txBody>
          </p:sp>
          <p:sp>
            <p:nvSpPr>
              <p:cNvPr id="514" name="Line 137">
                <a:extLst>
                  <a:ext uri="{FF2B5EF4-FFF2-40B4-BE49-F238E27FC236}">
                    <a16:creationId xmlns:a16="http://schemas.microsoft.com/office/drawing/2014/main" id="{FE0383B7-322B-4C1C-9C4F-04862CAF6CEC}"/>
                  </a:ext>
                </a:extLst>
              </p:cNvPr>
              <p:cNvSpPr>
                <a:spLocks noChangeShapeType="1"/>
              </p:cNvSpPr>
              <p:nvPr/>
            </p:nvSpPr>
            <p:spPr bwMode="auto">
              <a:xfrm flipV="1">
                <a:off x="3972" y="2595"/>
                <a:ext cx="5"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5" name="Freeform 138">
                <a:extLst>
                  <a:ext uri="{FF2B5EF4-FFF2-40B4-BE49-F238E27FC236}">
                    <a16:creationId xmlns:a16="http://schemas.microsoft.com/office/drawing/2014/main" id="{6F2A7B14-9307-460C-AC68-10217B451DC4}"/>
                  </a:ext>
                </a:extLst>
              </p:cNvPr>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6" name="Freeform 139">
                <a:extLst>
                  <a:ext uri="{FF2B5EF4-FFF2-40B4-BE49-F238E27FC236}">
                    <a16:creationId xmlns:a16="http://schemas.microsoft.com/office/drawing/2014/main" id="{F6359C30-BF14-46A9-9BF6-C73AD377AEFE}"/>
                  </a:ext>
                </a:extLst>
              </p:cNvPr>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7" name="Line 140">
                <a:extLst>
                  <a:ext uri="{FF2B5EF4-FFF2-40B4-BE49-F238E27FC236}">
                    <a16:creationId xmlns:a16="http://schemas.microsoft.com/office/drawing/2014/main" id="{FB6F59DE-FE6B-4E2E-9B8C-344932E62982}"/>
                  </a:ext>
                </a:extLst>
              </p:cNvPr>
              <p:cNvSpPr>
                <a:spLocks noChangeShapeType="1"/>
              </p:cNvSpPr>
              <p:nvPr/>
            </p:nvSpPr>
            <p:spPr bwMode="auto">
              <a:xfrm>
                <a:off x="3981" y="2559"/>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8" name="Freeform 141">
                <a:extLst>
                  <a:ext uri="{FF2B5EF4-FFF2-40B4-BE49-F238E27FC236}">
                    <a16:creationId xmlns:a16="http://schemas.microsoft.com/office/drawing/2014/main" id="{4B9A8F5A-ABFD-49D1-9485-D1B023BCF803}"/>
                  </a:ext>
                </a:extLst>
              </p:cNvPr>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19" name="Freeform 142">
                <a:extLst>
                  <a:ext uri="{FF2B5EF4-FFF2-40B4-BE49-F238E27FC236}">
                    <a16:creationId xmlns:a16="http://schemas.microsoft.com/office/drawing/2014/main" id="{6F0061E7-3DA1-4610-B484-4EF066F30EE4}"/>
                  </a:ext>
                </a:extLst>
              </p:cNvPr>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0" name="Line 143">
                <a:extLst>
                  <a:ext uri="{FF2B5EF4-FFF2-40B4-BE49-F238E27FC236}">
                    <a16:creationId xmlns:a16="http://schemas.microsoft.com/office/drawing/2014/main" id="{E8DB0D84-7B60-44B8-84FE-D426552B551A}"/>
                  </a:ext>
                </a:extLst>
              </p:cNvPr>
              <p:cNvSpPr>
                <a:spLocks noChangeShapeType="1"/>
              </p:cNvSpPr>
              <p:nvPr/>
            </p:nvSpPr>
            <p:spPr bwMode="auto">
              <a:xfrm flipV="1">
                <a:off x="3981" y="2599"/>
                <a:ext cx="1" cy="4"/>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1" name="Freeform 144">
                <a:extLst>
                  <a:ext uri="{FF2B5EF4-FFF2-40B4-BE49-F238E27FC236}">
                    <a16:creationId xmlns:a16="http://schemas.microsoft.com/office/drawing/2014/main" id="{7943065F-F15D-458C-8CC3-D287B42E0D15}"/>
                  </a:ext>
                </a:extLst>
              </p:cNvPr>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2" name="Freeform 145">
                <a:extLst>
                  <a:ext uri="{FF2B5EF4-FFF2-40B4-BE49-F238E27FC236}">
                    <a16:creationId xmlns:a16="http://schemas.microsoft.com/office/drawing/2014/main" id="{A09BABF6-57D4-47ED-8818-9E86AEFAED8E}"/>
                  </a:ext>
                </a:extLst>
              </p:cNvPr>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3" name="Freeform 146">
                <a:extLst>
                  <a:ext uri="{FF2B5EF4-FFF2-40B4-BE49-F238E27FC236}">
                    <a16:creationId xmlns:a16="http://schemas.microsoft.com/office/drawing/2014/main" id="{BDD2E379-0E41-4DF3-8903-F5F63A789930}"/>
                  </a:ext>
                </a:extLst>
              </p:cNvPr>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4" name="Freeform 147">
                <a:extLst>
                  <a:ext uri="{FF2B5EF4-FFF2-40B4-BE49-F238E27FC236}">
                    <a16:creationId xmlns:a16="http://schemas.microsoft.com/office/drawing/2014/main" id="{C49D7219-8ACE-4D44-8332-3DA259B73750}"/>
                  </a:ext>
                </a:extLst>
              </p:cNvPr>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525" name="Freeform 148">
                <a:extLst>
                  <a:ext uri="{FF2B5EF4-FFF2-40B4-BE49-F238E27FC236}">
                    <a16:creationId xmlns:a16="http://schemas.microsoft.com/office/drawing/2014/main" id="{8DFD55D8-EBC9-413C-8BED-147CC0F68D8D}"/>
                  </a:ext>
                </a:extLst>
              </p:cNvPr>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grpSp>
          <p:nvGrpSpPr>
            <p:cNvPr id="93" name="Group 149">
              <a:extLst>
                <a:ext uri="{FF2B5EF4-FFF2-40B4-BE49-F238E27FC236}">
                  <a16:creationId xmlns:a16="http://schemas.microsoft.com/office/drawing/2014/main" id="{E5DFB820-1AC8-4B99-9A72-360B2B4871F4}"/>
                </a:ext>
              </a:extLst>
            </p:cNvPr>
            <p:cNvGrpSpPr>
              <a:grpSpLocks/>
            </p:cNvGrpSpPr>
            <p:nvPr>
              <p:custDataLst>
                <p:tags r:id="rId89"/>
              </p:custDataLst>
            </p:nvPr>
          </p:nvGrpSpPr>
          <p:grpSpPr bwMode="auto">
            <a:xfrm>
              <a:off x="7870815" y="3809970"/>
              <a:ext cx="185737" cy="214311"/>
              <a:chOff x="5486" y="2743"/>
              <a:chExt cx="137" cy="132"/>
            </a:xfrm>
          </p:grpSpPr>
          <p:sp>
            <p:nvSpPr>
              <p:cNvPr id="486" name="Freeform 150">
                <a:extLst>
                  <a:ext uri="{FF2B5EF4-FFF2-40B4-BE49-F238E27FC236}">
                    <a16:creationId xmlns:a16="http://schemas.microsoft.com/office/drawing/2014/main" id="{031DB4C6-D594-4CFA-96C7-ED268A74562F}"/>
                  </a:ext>
                </a:extLst>
              </p:cNvPr>
              <p:cNvSpPr>
                <a:spLocks/>
              </p:cNvSpPr>
              <p:nvPr/>
            </p:nvSpPr>
            <p:spPr bwMode="auto">
              <a:xfrm>
                <a:off x="5595" y="2806"/>
                <a:ext cx="13" cy="28"/>
              </a:xfrm>
              <a:custGeom>
                <a:avLst/>
                <a:gdLst>
                  <a:gd name="T0" fmla="*/ 0 w 40"/>
                  <a:gd name="T1" fmla="*/ 10 h 87"/>
                  <a:gd name="T2" fmla="*/ 0 w 40"/>
                  <a:gd name="T3" fmla="*/ 14 h 87"/>
                  <a:gd name="T4" fmla="*/ 1 w 40"/>
                  <a:gd name="T5" fmla="*/ 16 h 87"/>
                  <a:gd name="T6" fmla="*/ 2 w 40"/>
                  <a:gd name="T7" fmla="*/ 19 h 87"/>
                  <a:gd name="T8" fmla="*/ 3 w 40"/>
                  <a:gd name="T9" fmla="*/ 21 h 87"/>
                  <a:gd name="T10" fmla="*/ 5 w 40"/>
                  <a:gd name="T11" fmla="*/ 23 h 87"/>
                  <a:gd name="T12" fmla="*/ 7 w 40"/>
                  <a:gd name="T13" fmla="*/ 25 h 87"/>
                  <a:gd name="T14" fmla="*/ 10 w 40"/>
                  <a:gd name="T15" fmla="*/ 26 h 87"/>
                  <a:gd name="T16" fmla="*/ 13 w 40"/>
                  <a:gd name="T17" fmla="*/ 28 h 87"/>
                  <a:gd name="T18" fmla="*/ 11 w 40"/>
                  <a:gd name="T19" fmla="*/ 26 h 87"/>
                  <a:gd name="T20" fmla="*/ 10 w 40"/>
                  <a:gd name="T21" fmla="*/ 25 h 87"/>
                  <a:gd name="T22" fmla="*/ 9 w 40"/>
                  <a:gd name="T23" fmla="*/ 23 h 87"/>
                  <a:gd name="T24" fmla="*/ 8 w 40"/>
                  <a:gd name="T25" fmla="*/ 21 h 87"/>
                  <a:gd name="T26" fmla="*/ 7 w 40"/>
                  <a:gd name="T27" fmla="*/ 17 h 87"/>
                  <a:gd name="T28" fmla="*/ 7 w 40"/>
                  <a:gd name="T29" fmla="*/ 13 h 87"/>
                  <a:gd name="T30" fmla="*/ 6 w 40"/>
                  <a:gd name="T31" fmla="*/ 9 h 87"/>
                  <a:gd name="T32" fmla="*/ 4 w 40"/>
                  <a:gd name="T33" fmla="*/ 5 h 87"/>
                  <a:gd name="T34" fmla="*/ 4 w 40"/>
                  <a:gd name="T35" fmla="*/ 4 h 87"/>
                  <a:gd name="T36" fmla="*/ 3 w 40"/>
                  <a:gd name="T37" fmla="*/ 2 h 87"/>
                  <a:gd name="T38" fmla="*/ 1 w 40"/>
                  <a:gd name="T39" fmla="*/ 1 h 87"/>
                  <a:gd name="T40" fmla="*/ 0 w 40"/>
                  <a:gd name="T41" fmla="*/ 0 h 87"/>
                  <a:gd name="T42" fmla="*/ 0 w 40"/>
                  <a:gd name="T43" fmla="*/ 3 h 87"/>
                  <a:gd name="T44" fmla="*/ 0 w 40"/>
                  <a:gd name="T45" fmla="*/ 5 h 87"/>
                  <a:gd name="T46" fmla="*/ 0 w 40"/>
                  <a:gd name="T47" fmla="*/ 7 h 87"/>
                  <a:gd name="T48" fmla="*/ 0 w 40"/>
                  <a:gd name="T49" fmla="*/ 10 h 8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0" h="87">
                    <a:moveTo>
                      <a:pt x="0" y="31"/>
                    </a:moveTo>
                    <a:lnTo>
                      <a:pt x="0" y="42"/>
                    </a:lnTo>
                    <a:lnTo>
                      <a:pt x="2" y="51"/>
                    </a:lnTo>
                    <a:lnTo>
                      <a:pt x="5" y="59"/>
                    </a:lnTo>
                    <a:lnTo>
                      <a:pt x="10" y="66"/>
                    </a:lnTo>
                    <a:lnTo>
                      <a:pt x="15" y="72"/>
                    </a:lnTo>
                    <a:lnTo>
                      <a:pt x="22" y="77"/>
                    </a:lnTo>
                    <a:lnTo>
                      <a:pt x="31" y="82"/>
                    </a:lnTo>
                    <a:lnTo>
                      <a:pt x="40" y="87"/>
                    </a:lnTo>
                    <a:lnTo>
                      <a:pt x="35" y="82"/>
                    </a:lnTo>
                    <a:lnTo>
                      <a:pt x="32" y="77"/>
                    </a:lnTo>
                    <a:lnTo>
                      <a:pt x="29" y="71"/>
                    </a:lnTo>
                    <a:lnTo>
                      <a:pt x="26" y="65"/>
                    </a:lnTo>
                    <a:lnTo>
                      <a:pt x="22" y="52"/>
                    </a:lnTo>
                    <a:lnTo>
                      <a:pt x="20" y="39"/>
                    </a:lnTo>
                    <a:lnTo>
                      <a:pt x="18" y="27"/>
                    </a:lnTo>
                    <a:lnTo>
                      <a:pt x="13" y="16"/>
                    </a:lnTo>
                    <a:lnTo>
                      <a:pt x="11" y="11"/>
                    </a:lnTo>
                    <a:lnTo>
                      <a:pt x="8" y="6"/>
                    </a:lnTo>
                    <a:lnTo>
                      <a:pt x="4" y="3"/>
                    </a:lnTo>
                    <a:lnTo>
                      <a:pt x="0" y="0"/>
                    </a:lnTo>
                    <a:lnTo>
                      <a:pt x="0" y="9"/>
                    </a:lnTo>
                    <a:lnTo>
                      <a:pt x="0" y="16"/>
                    </a:lnTo>
                    <a:lnTo>
                      <a:pt x="0" y="23"/>
                    </a:lnTo>
                    <a:lnTo>
                      <a:pt x="0" y="3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7" name="Freeform 151">
                <a:extLst>
                  <a:ext uri="{FF2B5EF4-FFF2-40B4-BE49-F238E27FC236}">
                    <a16:creationId xmlns:a16="http://schemas.microsoft.com/office/drawing/2014/main" id="{741A3572-5A79-4D7F-A88D-BA0A05ECCA13}"/>
                  </a:ext>
                </a:extLst>
              </p:cNvPr>
              <p:cNvSpPr>
                <a:spLocks/>
              </p:cNvSpPr>
              <p:nvPr/>
            </p:nvSpPr>
            <p:spPr bwMode="auto">
              <a:xfrm>
                <a:off x="5603" y="2842"/>
                <a:ext cx="20" cy="12"/>
              </a:xfrm>
              <a:custGeom>
                <a:avLst/>
                <a:gdLst>
                  <a:gd name="T0" fmla="*/ 0 w 61"/>
                  <a:gd name="T1" fmla="*/ 10 h 37"/>
                  <a:gd name="T2" fmla="*/ 6 w 61"/>
                  <a:gd name="T3" fmla="*/ 10 h 37"/>
                  <a:gd name="T4" fmla="*/ 11 w 61"/>
                  <a:gd name="T5" fmla="*/ 11 h 37"/>
                  <a:gd name="T6" fmla="*/ 16 w 61"/>
                  <a:gd name="T7" fmla="*/ 12 h 37"/>
                  <a:gd name="T8" fmla="*/ 20 w 61"/>
                  <a:gd name="T9" fmla="*/ 12 h 37"/>
                  <a:gd name="T10" fmla="*/ 18 w 61"/>
                  <a:gd name="T11" fmla="*/ 9 h 37"/>
                  <a:gd name="T12" fmla="*/ 16 w 61"/>
                  <a:gd name="T13" fmla="*/ 7 h 37"/>
                  <a:gd name="T14" fmla="*/ 14 w 61"/>
                  <a:gd name="T15" fmla="*/ 6 h 37"/>
                  <a:gd name="T16" fmla="*/ 11 w 61"/>
                  <a:gd name="T17" fmla="*/ 4 h 37"/>
                  <a:gd name="T18" fmla="*/ 9 w 61"/>
                  <a:gd name="T19" fmla="*/ 3 h 37"/>
                  <a:gd name="T20" fmla="*/ 6 w 61"/>
                  <a:gd name="T21" fmla="*/ 2 h 37"/>
                  <a:gd name="T22" fmla="*/ 3 w 61"/>
                  <a:gd name="T23" fmla="*/ 1 h 37"/>
                  <a:gd name="T24" fmla="*/ 0 w 61"/>
                  <a:gd name="T25" fmla="*/ 0 h 37"/>
                  <a:gd name="T26" fmla="*/ 0 w 61"/>
                  <a:gd name="T27" fmla="*/ 10 h 3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61" h="37">
                    <a:moveTo>
                      <a:pt x="0" y="31"/>
                    </a:moveTo>
                    <a:lnTo>
                      <a:pt x="19" y="32"/>
                    </a:lnTo>
                    <a:lnTo>
                      <a:pt x="35" y="34"/>
                    </a:lnTo>
                    <a:lnTo>
                      <a:pt x="49" y="36"/>
                    </a:lnTo>
                    <a:lnTo>
                      <a:pt x="61" y="37"/>
                    </a:lnTo>
                    <a:lnTo>
                      <a:pt x="55" y="29"/>
                    </a:lnTo>
                    <a:lnTo>
                      <a:pt x="49" y="22"/>
                    </a:lnTo>
                    <a:lnTo>
                      <a:pt x="42" y="17"/>
                    </a:lnTo>
                    <a:lnTo>
                      <a:pt x="35" y="12"/>
                    </a:lnTo>
                    <a:lnTo>
                      <a:pt x="28" y="9"/>
                    </a:lnTo>
                    <a:lnTo>
                      <a:pt x="19" y="5"/>
                    </a:lnTo>
                    <a:lnTo>
                      <a:pt x="10" y="2"/>
                    </a:lnTo>
                    <a:lnTo>
                      <a:pt x="0" y="0"/>
                    </a:lnTo>
                    <a:lnTo>
                      <a:pt x="0" y="3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8" name="Freeform 152">
                <a:extLst>
                  <a:ext uri="{FF2B5EF4-FFF2-40B4-BE49-F238E27FC236}">
                    <a16:creationId xmlns:a16="http://schemas.microsoft.com/office/drawing/2014/main" id="{79B5DE68-4B87-4712-8CB8-98343B7AF8DF}"/>
                  </a:ext>
                </a:extLst>
              </p:cNvPr>
              <p:cNvSpPr>
                <a:spLocks/>
              </p:cNvSpPr>
              <p:nvPr/>
            </p:nvSpPr>
            <p:spPr bwMode="auto">
              <a:xfrm>
                <a:off x="5568" y="2865"/>
                <a:ext cx="13" cy="10"/>
              </a:xfrm>
              <a:custGeom>
                <a:avLst/>
                <a:gdLst>
                  <a:gd name="T0" fmla="*/ 13 w 40"/>
                  <a:gd name="T1" fmla="*/ 10 h 30"/>
                  <a:gd name="T2" fmla="*/ 11 w 40"/>
                  <a:gd name="T3" fmla="*/ 9 h 30"/>
                  <a:gd name="T4" fmla="*/ 8 w 40"/>
                  <a:gd name="T5" fmla="*/ 8 h 30"/>
                  <a:gd name="T6" fmla="*/ 7 w 40"/>
                  <a:gd name="T7" fmla="*/ 7 h 30"/>
                  <a:gd name="T8" fmla="*/ 5 w 40"/>
                  <a:gd name="T9" fmla="*/ 6 h 30"/>
                  <a:gd name="T10" fmla="*/ 4 w 40"/>
                  <a:gd name="T11" fmla="*/ 5 h 30"/>
                  <a:gd name="T12" fmla="*/ 2 w 40"/>
                  <a:gd name="T13" fmla="*/ 4 h 30"/>
                  <a:gd name="T14" fmla="*/ 1 w 40"/>
                  <a:gd name="T15" fmla="*/ 2 h 30"/>
                  <a:gd name="T16" fmla="*/ 0 w 40"/>
                  <a:gd name="T17" fmla="*/ 0 h 30"/>
                  <a:gd name="T18" fmla="*/ 3 w 40"/>
                  <a:gd name="T19" fmla="*/ 1 h 30"/>
                  <a:gd name="T20" fmla="*/ 5 w 40"/>
                  <a:gd name="T21" fmla="*/ 2 h 30"/>
                  <a:gd name="T22" fmla="*/ 7 w 40"/>
                  <a:gd name="T23" fmla="*/ 3 h 30"/>
                  <a:gd name="T24" fmla="*/ 9 w 40"/>
                  <a:gd name="T25" fmla="*/ 5 h 30"/>
                  <a:gd name="T26" fmla="*/ 11 w 40"/>
                  <a:gd name="T27" fmla="*/ 6 h 30"/>
                  <a:gd name="T28" fmla="*/ 12 w 40"/>
                  <a:gd name="T29" fmla="*/ 8 h 30"/>
                  <a:gd name="T30" fmla="*/ 13 w 40"/>
                  <a:gd name="T31" fmla="*/ 9 h 30"/>
                  <a:gd name="T32" fmla="*/ 13 w 40"/>
                  <a:gd name="T33" fmla="*/ 10 h 3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0" h="30">
                    <a:moveTo>
                      <a:pt x="40" y="30"/>
                    </a:moveTo>
                    <a:lnTo>
                      <a:pt x="33" y="28"/>
                    </a:lnTo>
                    <a:lnTo>
                      <a:pt x="26" y="25"/>
                    </a:lnTo>
                    <a:lnTo>
                      <a:pt x="21" y="22"/>
                    </a:lnTo>
                    <a:lnTo>
                      <a:pt x="15" y="19"/>
                    </a:lnTo>
                    <a:lnTo>
                      <a:pt x="11" y="16"/>
                    </a:lnTo>
                    <a:lnTo>
                      <a:pt x="6" y="11"/>
                    </a:lnTo>
                    <a:lnTo>
                      <a:pt x="3" y="6"/>
                    </a:lnTo>
                    <a:lnTo>
                      <a:pt x="0" y="0"/>
                    </a:lnTo>
                    <a:lnTo>
                      <a:pt x="8" y="2"/>
                    </a:lnTo>
                    <a:lnTo>
                      <a:pt x="15" y="6"/>
                    </a:lnTo>
                    <a:lnTo>
                      <a:pt x="22" y="10"/>
                    </a:lnTo>
                    <a:lnTo>
                      <a:pt x="27" y="15"/>
                    </a:lnTo>
                    <a:lnTo>
                      <a:pt x="33" y="19"/>
                    </a:lnTo>
                    <a:lnTo>
                      <a:pt x="36" y="23"/>
                    </a:lnTo>
                    <a:lnTo>
                      <a:pt x="39" y="27"/>
                    </a:lnTo>
                    <a:lnTo>
                      <a:pt x="40" y="3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9" name="Freeform 153">
                <a:extLst>
                  <a:ext uri="{FF2B5EF4-FFF2-40B4-BE49-F238E27FC236}">
                    <a16:creationId xmlns:a16="http://schemas.microsoft.com/office/drawing/2014/main" id="{004613A1-6D2A-49FF-8333-6837B8B8223A}"/>
                  </a:ext>
                </a:extLst>
              </p:cNvPr>
              <p:cNvSpPr>
                <a:spLocks/>
              </p:cNvSpPr>
              <p:nvPr/>
            </p:nvSpPr>
            <p:spPr bwMode="auto">
              <a:xfrm>
                <a:off x="5515" y="2789"/>
                <a:ext cx="24" cy="26"/>
              </a:xfrm>
              <a:custGeom>
                <a:avLst/>
                <a:gdLst>
                  <a:gd name="T0" fmla="*/ 24 w 74"/>
                  <a:gd name="T1" fmla="*/ 26 h 80"/>
                  <a:gd name="T2" fmla="*/ 23 w 74"/>
                  <a:gd name="T3" fmla="*/ 24 h 80"/>
                  <a:gd name="T4" fmla="*/ 23 w 74"/>
                  <a:gd name="T5" fmla="*/ 21 h 80"/>
                  <a:gd name="T6" fmla="*/ 22 w 74"/>
                  <a:gd name="T7" fmla="*/ 20 h 80"/>
                  <a:gd name="T8" fmla="*/ 21 w 74"/>
                  <a:gd name="T9" fmla="*/ 17 h 80"/>
                  <a:gd name="T10" fmla="*/ 19 w 74"/>
                  <a:gd name="T11" fmla="*/ 14 h 80"/>
                  <a:gd name="T12" fmla="*/ 16 w 74"/>
                  <a:gd name="T13" fmla="*/ 11 h 80"/>
                  <a:gd name="T14" fmla="*/ 12 w 74"/>
                  <a:gd name="T15" fmla="*/ 8 h 80"/>
                  <a:gd name="T16" fmla="*/ 9 w 74"/>
                  <a:gd name="T17" fmla="*/ 6 h 80"/>
                  <a:gd name="T18" fmla="*/ 6 w 74"/>
                  <a:gd name="T19" fmla="*/ 3 h 80"/>
                  <a:gd name="T20" fmla="*/ 4 w 74"/>
                  <a:gd name="T21" fmla="*/ 0 h 80"/>
                  <a:gd name="T22" fmla="*/ 3 w 74"/>
                  <a:gd name="T23" fmla="*/ 2 h 80"/>
                  <a:gd name="T24" fmla="*/ 1 w 74"/>
                  <a:gd name="T25" fmla="*/ 3 h 80"/>
                  <a:gd name="T26" fmla="*/ 0 w 74"/>
                  <a:gd name="T27" fmla="*/ 5 h 80"/>
                  <a:gd name="T28" fmla="*/ 0 w 74"/>
                  <a:gd name="T29" fmla="*/ 6 h 80"/>
                  <a:gd name="T30" fmla="*/ 0 w 74"/>
                  <a:gd name="T31" fmla="*/ 8 h 80"/>
                  <a:gd name="T32" fmla="*/ 1 w 74"/>
                  <a:gd name="T33" fmla="*/ 10 h 80"/>
                  <a:gd name="T34" fmla="*/ 1 w 74"/>
                  <a:gd name="T35" fmla="*/ 12 h 80"/>
                  <a:gd name="T36" fmla="*/ 2 w 74"/>
                  <a:gd name="T37" fmla="*/ 13 h 80"/>
                  <a:gd name="T38" fmla="*/ 3 w 74"/>
                  <a:gd name="T39" fmla="*/ 15 h 80"/>
                  <a:gd name="T40" fmla="*/ 5 w 74"/>
                  <a:gd name="T41" fmla="*/ 17 h 80"/>
                  <a:gd name="T42" fmla="*/ 6 w 74"/>
                  <a:gd name="T43" fmla="*/ 18 h 80"/>
                  <a:gd name="T44" fmla="*/ 8 w 74"/>
                  <a:gd name="T45" fmla="*/ 20 h 80"/>
                  <a:gd name="T46" fmla="*/ 10 w 74"/>
                  <a:gd name="T47" fmla="*/ 21 h 80"/>
                  <a:gd name="T48" fmla="*/ 11 w 74"/>
                  <a:gd name="T49" fmla="*/ 22 h 80"/>
                  <a:gd name="T50" fmla="*/ 14 w 74"/>
                  <a:gd name="T51" fmla="*/ 23 h 80"/>
                  <a:gd name="T52" fmla="*/ 15 w 74"/>
                  <a:gd name="T53" fmla="*/ 24 h 80"/>
                  <a:gd name="T54" fmla="*/ 18 w 74"/>
                  <a:gd name="T55" fmla="*/ 25 h 80"/>
                  <a:gd name="T56" fmla="*/ 19 w 74"/>
                  <a:gd name="T57" fmla="*/ 26 h 80"/>
                  <a:gd name="T58" fmla="*/ 22 w 74"/>
                  <a:gd name="T59" fmla="*/ 26 h 80"/>
                  <a:gd name="T60" fmla="*/ 24 w 74"/>
                  <a:gd name="T61" fmla="*/ 26 h 8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4" h="80">
                    <a:moveTo>
                      <a:pt x="74" y="80"/>
                    </a:moveTo>
                    <a:lnTo>
                      <a:pt x="72" y="73"/>
                    </a:lnTo>
                    <a:lnTo>
                      <a:pt x="71" y="66"/>
                    </a:lnTo>
                    <a:lnTo>
                      <a:pt x="69" y="60"/>
                    </a:lnTo>
                    <a:lnTo>
                      <a:pt x="66" y="53"/>
                    </a:lnTo>
                    <a:lnTo>
                      <a:pt x="58" y="42"/>
                    </a:lnTo>
                    <a:lnTo>
                      <a:pt x="48" y="33"/>
                    </a:lnTo>
                    <a:lnTo>
                      <a:pt x="38" y="25"/>
                    </a:lnTo>
                    <a:lnTo>
                      <a:pt x="29" y="17"/>
                    </a:lnTo>
                    <a:lnTo>
                      <a:pt x="20" y="9"/>
                    </a:lnTo>
                    <a:lnTo>
                      <a:pt x="13" y="0"/>
                    </a:lnTo>
                    <a:lnTo>
                      <a:pt x="9" y="5"/>
                    </a:lnTo>
                    <a:lnTo>
                      <a:pt x="4" y="10"/>
                    </a:lnTo>
                    <a:lnTo>
                      <a:pt x="1" y="14"/>
                    </a:lnTo>
                    <a:lnTo>
                      <a:pt x="0" y="19"/>
                    </a:lnTo>
                    <a:lnTo>
                      <a:pt x="0" y="25"/>
                    </a:lnTo>
                    <a:lnTo>
                      <a:pt x="2" y="30"/>
                    </a:lnTo>
                    <a:lnTo>
                      <a:pt x="4" y="36"/>
                    </a:lnTo>
                    <a:lnTo>
                      <a:pt x="7" y="41"/>
                    </a:lnTo>
                    <a:lnTo>
                      <a:pt x="10" y="46"/>
                    </a:lnTo>
                    <a:lnTo>
                      <a:pt x="14" y="51"/>
                    </a:lnTo>
                    <a:lnTo>
                      <a:pt x="19" y="56"/>
                    </a:lnTo>
                    <a:lnTo>
                      <a:pt x="24" y="61"/>
                    </a:lnTo>
                    <a:lnTo>
                      <a:pt x="30" y="66"/>
                    </a:lnTo>
                    <a:lnTo>
                      <a:pt x="35" y="69"/>
                    </a:lnTo>
                    <a:lnTo>
                      <a:pt x="42" y="72"/>
                    </a:lnTo>
                    <a:lnTo>
                      <a:pt x="47" y="75"/>
                    </a:lnTo>
                    <a:lnTo>
                      <a:pt x="54" y="77"/>
                    </a:lnTo>
                    <a:lnTo>
                      <a:pt x="60" y="79"/>
                    </a:lnTo>
                    <a:lnTo>
                      <a:pt x="67" y="80"/>
                    </a:lnTo>
                    <a:lnTo>
                      <a:pt x="74" y="8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0" name="Freeform 154">
                <a:extLst>
                  <a:ext uri="{FF2B5EF4-FFF2-40B4-BE49-F238E27FC236}">
                    <a16:creationId xmlns:a16="http://schemas.microsoft.com/office/drawing/2014/main" id="{C42EA65C-4BE1-442A-8491-F34100788B23}"/>
                  </a:ext>
                </a:extLst>
              </p:cNvPr>
              <p:cNvSpPr>
                <a:spLocks/>
              </p:cNvSpPr>
              <p:nvPr/>
            </p:nvSpPr>
            <p:spPr bwMode="auto">
              <a:xfrm>
                <a:off x="5555" y="2785"/>
                <a:ext cx="26" cy="27"/>
              </a:xfrm>
              <a:custGeom>
                <a:avLst/>
                <a:gdLst>
                  <a:gd name="T0" fmla="*/ 16 w 86"/>
                  <a:gd name="T1" fmla="*/ 27 h 80"/>
                  <a:gd name="T2" fmla="*/ 26 w 86"/>
                  <a:gd name="T3" fmla="*/ 27 h 80"/>
                  <a:gd name="T4" fmla="*/ 26 w 86"/>
                  <a:gd name="T5" fmla="*/ 21 h 80"/>
                  <a:gd name="T6" fmla="*/ 24 w 86"/>
                  <a:gd name="T7" fmla="*/ 20 h 80"/>
                  <a:gd name="T8" fmla="*/ 22 w 86"/>
                  <a:gd name="T9" fmla="*/ 19 h 80"/>
                  <a:gd name="T10" fmla="*/ 20 w 86"/>
                  <a:gd name="T11" fmla="*/ 18 h 80"/>
                  <a:gd name="T12" fmla="*/ 18 w 86"/>
                  <a:gd name="T13" fmla="*/ 17 h 80"/>
                  <a:gd name="T14" fmla="*/ 15 w 86"/>
                  <a:gd name="T15" fmla="*/ 14 h 80"/>
                  <a:gd name="T16" fmla="*/ 13 w 86"/>
                  <a:gd name="T17" fmla="*/ 11 h 80"/>
                  <a:gd name="T18" fmla="*/ 10 w 86"/>
                  <a:gd name="T19" fmla="*/ 8 h 80"/>
                  <a:gd name="T20" fmla="*/ 7 w 86"/>
                  <a:gd name="T21" fmla="*/ 5 h 80"/>
                  <a:gd name="T22" fmla="*/ 4 w 86"/>
                  <a:gd name="T23" fmla="*/ 2 h 80"/>
                  <a:gd name="T24" fmla="*/ 0 w 86"/>
                  <a:gd name="T25" fmla="*/ 0 h 80"/>
                  <a:gd name="T26" fmla="*/ 0 w 86"/>
                  <a:gd name="T27" fmla="*/ 3 h 80"/>
                  <a:gd name="T28" fmla="*/ 2 w 86"/>
                  <a:gd name="T29" fmla="*/ 7 h 80"/>
                  <a:gd name="T30" fmla="*/ 3 w 86"/>
                  <a:gd name="T31" fmla="*/ 11 h 80"/>
                  <a:gd name="T32" fmla="*/ 5 w 86"/>
                  <a:gd name="T33" fmla="*/ 15 h 80"/>
                  <a:gd name="T34" fmla="*/ 8 w 86"/>
                  <a:gd name="T35" fmla="*/ 19 h 80"/>
                  <a:gd name="T36" fmla="*/ 11 w 86"/>
                  <a:gd name="T37" fmla="*/ 23 h 80"/>
                  <a:gd name="T38" fmla="*/ 12 w 86"/>
                  <a:gd name="T39" fmla="*/ 24 h 80"/>
                  <a:gd name="T40" fmla="*/ 14 w 86"/>
                  <a:gd name="T41" fmla="*/ 26 h 80"/>
                  <a:gd name="T42" fmla="*/ 15 w 86"/>
                  <a:gd name="T43" fmla="*/ 27 h 80"/>
                  <a:gd name="T44" fmla="*/ 16 w 86"/>
                  <a:gd name="T45" fmla="*/ 27 h 80"/>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6" h="80">
                    <a:moveTo>
                      <a:pt x="52" y="80"/>
                    </a:moveTo>
                    <a:lnTo>
                      <a:pt x="86" y="80"/>
                    </a:lnTo>
                    <a:lnTo>
                      <a:pt x="86" y="61"/>
                    </a:lnTo>
                    <a:lnTo>
                      <a:pt x="79" y="59"/>
                    </a:lnTo>
                    <a:lnTo>
                      <a:pt x="72" y="56"/>
                    </a:lnTo>
                    <a:lnTo>
                      <a:pt x="67" y="53"/>
                    </a:lnTo>
                    <a:lnTo>
                      <a:pt x="61" y="49"/>
                    </a:lnTo>
                    <a:lnTo>
                      <a:pt x="51" y="41"/>
                    </a:lnTo>
                    <a:lnTo>
                      <a:pt x="43" y="33"/>
                    </a:lnTo>
                    <a:lnTo>
                      <a:pt x="34" y="25"/>
                    </a:lnTo>
                    <a:lnTo>
                      <a:pt x="24" y="16"/>
                    </a:lnTo>
                    <a:lnTo>
                      <a:pt x="13" y="7"/>
                    </a:lnTo>
                    <a:lnTo>
                      <a:pt x="0" y="0"/>
                    </a:lnTo>
                    <a:lnTo>
                      <a:pt x="1" y="8"/>
                    </a:lnTo>
                    <a:lnTo>
                      <a:pt x="5" y="20"/>
                    </a:lnTo>
                    <a:lnTo>
                      <a:pt x="11" y="32"/>
                    </a:lnTo>
                    <a:lnTo>
                      <a:pt x="18" y="44"/>
                    </a:lnTo>
                    <a:lnTo>
                      <a:pt x="27" y="57"/>
                    </a:lnTo>
                    <a:lnTo>
                      <a:pt x="36" y="67"/>
                    </a:lnTo>
                    <a:lnTo>
                      <a:pt x="40" y="72"/>
                    </a:lnTo>
                    <a:lnTo>
                      <a:pt x="45" y="76"/>
                    </a:lnTo>
                    <a:lnTo>
                      <a:pt x="49" y="79"/>
                    </a:lnTo>
                    <a:lnTo>
                      <a:pt x="52" y="8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1" name="Freeform 155">
                <a:extLst>
                  <a:ext uri="{FF2B5EF4-FFF2-40B4-BE49-F238E27FC236}">
                    <a16:creationId xmlns:a16="http://schemas.microsoft.com/office/drawing/2014/main" id="{7508335E-D2B8-4583-9ADC-9D5F54EACC19}"/>
                  </a:ext>
                </a:extLst>
              </p:cNvPr>
              <p:cNvSpPr>
                <a:spLocks/>
              </p:cNvSpPr>
              <p:nvPr/>
            </p:nvSpPr>
            <p:spPr bwMode="auto">
              <a:xfrm>
                <a:off x="5570" y="2825"/>
                <a:ext cx="25" cy="11"/>
              </a:xfrm>
              <a:custGeom>
                <a:avLst/>
                <a:gdLst>
                  <a:gd name="T0" fmla="*/ 0 w 74"/>
                  <a:gd name="T1" fmla="*/ 2 h 31"/>
                  <a:gd name="T2" fmla="*/ 1 w 74"/>
                  <a:gd name="T3" fmla="*/ 4 h 31"/>
                  <a:gd name="T4" fmla="*/ 2 w 74"/>
                  <a:gd name="T5" fmla="*/ 5 h 31"/>
                  <a:gd name="T6" fmla="*/ 3 w 74"/>
                  <a:gd name="T7" fmla="*/ 6 h 31"/>
                  <a:gd name="T8" fmla="*/ 5 w 74"/>
                  <a:gd name="T9" fmla="*/ 7 h 31"/>
                  <a:gd name="T10" fmla="*/ 6 w 74"/>
                  <a:gd name="T11" fmla="*/ 9 h 31"/>
                  <a:gd name="T12" fmla="*/ 8 w 74"/>
                  <a:gd name="T13" fmla="*/ 9 h 31"/>
                  <a:gd name="T14" fmla="*/ 10 w 74"/>
                  <a:gd name="T15" fmla="*/ 10 h 31"/>
                  <a:gd name="T16" fmla="*/ 11 w 74"/>
                  <a:gd name="T17" fmla="*/ 10 h 31"/>
                  <a:gd name="T18" fmla="*/ 16 w 74"/>
                  <a:gd name="T19" fmla="*/ 11 h 31"/>
                  <a:gd name="T20" fmla="*/ 20 w 74"/>
                  <a:gd name="T21" fmla="*/ 11 h 31"/>
                  <a:gd name="T22" fmla="*/ 21 w 74"/>
                  <a:gd name="T23" fmla="*/ 11 h 31"/>
                  <a:gd name="T24" fmla="*/ 23 w 74"/>
                  <a:gd name="T25" fmla="*/ 10 h 31"/>
                  <a:gd name="T26" fmla="*/ 24 w 74"/>
                  <a:gd name="T27" fmla="*/ 10 h 31"/>
                  <a:gd name="T28" fmla="*/ 25 w 74"/>
                  <a:gd name="T29" fmla="*/ 9 h 31"/>
                  <a:gd name="T30" fmla="*/ 22 w 74"/>
                  <a:gd name="T31" fmla="*/ 6 h 31"/>
                  <a:gd name="T32" fmla="*/ 19 w 74"/>
                  <a:gd name="T33" fmla="*/ 5 h 31"/>
                  <a:gd name="T34" fmla="*/ 17 w 74"/>
                  <a:gd name="T35" fmla="*/ 4 h 31"/>
                  <a:gd name="T36" fmla="*/ 16 w 74"/>
                  <a:gd name="T37" fmla="*/ 3 h 31"/>
                  <a:gd name="T38" fmla="*/ 15 w 74"/>
                  <a:gd name="T39" fmla="*/ 2 h 31"/>
                  <a:gd name="T40" fmla="*/ 14 w 74"/>
                  <a:gd name="T41" fmla="*/ 0 h 31"/>
                  <a:gd name="T42" fmla="*/ 11 w 74"/>
                  <a:gd name="T43" fmla="*/ 0 h 31"/>
                  <a:gd name="T44" fmla="*/ 9 w 74"/>
                  <a:gd name="T45" fmla="*/ 0 h 31"/>
                  <a:gd name="T46" fmla="*/ 7 w 74"/>
                  <a:gd name="T47" fmla="*/ 0 h 31"/>
                  <a:gd name="T48" fmla="*/ 6 w 74"/>
                  <a:gd name="T49" fmla="*/ 0 h 31"/>
                  <a:gd name="T50" fmla="*/ 5 w 74"/>
                  <a:gd name="T51" fmla="*/ 0 h 31"/>
                  <a:gd name="T52" fmla="*/ 3 w 74"/>
                  <a:gd name="T53" fmla="*/ 0 h 31"/>
                  <a:gd name="T54" fmla="*/ 2 w 74"/>
                  <a:gd name="T55" fmla="*/ 1 h 31"/>
                  <a:gd name="T56" fmla="*/ 0 w 74"/>
                  <a:gd name="T57" fmla="*/ 2 h 31"/>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4" h="31">
                    <a:moveTo>
                      <a:pt x="0" y="7"/>
                    </a:moveTo>
                    <a:lnTo>
                      <a:pt x="3" y="11"/>
                    </a:lnTo>
                    <a:lnTo>
                      <a:pt x="5" y="15"/>
                    </a:lnTo>
                    <a:lnTo>
                      <a:pt x="9" y="18"/>
                    </a:lnTo>
                    <a:lnTo>
                      <a:pt x="14" y="21"/>
                    </a:lnTo>
                    <a:lnTo>
                      <a:pt x="18" y="24"/>
                    </a:lnTo>
                    <a:lnTo>
                      <a:pt x="23" y="26"/>
                    </a:lnTo>
                    <a:lnTo>
                      <a:pt x="29" y="28"/>
                    </a:lnTo>
                    <a:lnTo>
                      <a:pt x="34" y="29"/>
                    </a:lnTo>
                    <a:lnTo>
                      <a:pt x="47" y="31"/>
                    </a:lnTo>
                    <a:lnTo>
                      <a:pt x="58" y="31"/>
                    </a:lnTo>
                    <a:lnTo>
                      <a:pt x="63" y="30"/>
                    </a:lnTo>
                    <a:lnTo>
                      <a:pt x="67" y="29"/>
                    </a:lnTo>
                    <a:lnTo>
                      <a:pt x="71" y="27"/>
                    </a:lnTo>
                    <a:lnTo>
                      <a:pt x="74" y="25"/>
                    </a:lnTo>
                    <a:lnTo>
                      <a:pt x="64" y="18"/>
                    </a:lnTo>
                    <a:lnTo>
                      <a:pt x="55" y="13"/>
                    </a:lnTo>
                    <a:lnTo>
                      <a:pt x="51" y="10"/>
                    </a:lnTo>
                    <a:lnTo>
                      <a:pt x="47" y="8"/>
                    </a:lnTo>
                    <a:lnTo>
                      <a:pt x="43" y="5"/>
                    </a:lnTo>
                    <a:lnTo>
                      <a:pt x="41" y="0"/>
                    </a:lnTo>
                    <a:lnTo>
                      <a:pt x="33" y="1"/>
                    </a:lnTo>
                    <a:lnTo>
                      <a:pt x="28" y="1"/>
                    </a:lnTo>
                    <a:lnTo>
                      <a:pt x="22" y="1"/>
                    </a:lnTo>
                    <a:lnTo>
                      <a:pt x="18" y="0"/>
                    </a:lnTo>
                    <a:lnTo>
                      <a:pt x="14" y="0"/>
                    </a:lnTo>
                    <a:lnTo>
                      <a:pt x="10" y="0"/>
                    </a:lnTo>
                    <a:lnTo>
                      <a:pt x="6" y="3"/>
                    </a:lnTo>
                    <a:lnTo>
                      <a:pt x="0"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2" name="Freeform 156">
                <a:extLst>
                  <a:ext uri="{FF2B5EF4-FFF2-40B4-BE49-F238E27FC236}">
                    <a16:creationId xmlns:a16="http://schemas.microsoft.com/office/drawing/2014/main" id="{0DDCA047-A990-4190-B660-1F44C008A791}"/>
                  </a:ext>
                </a:extLst>
              </p:cNvPr>
              <p:cNvSpPr>
                <a:spLocks/>
              </p:cNvSpPr>
              <p:nvPr/>
            </p:nvSpPr>
            <p:spPr bwMode="auto">
              <a:xfrm>
                <a:off x="5562" y="2819"/>
                <a:ext cx="6" cy="1"/>
              </a:xfrm>
              <a:custGeom>
                <a:avLst/>
                <a:gdLst>
                  <a:gd name="T0" fmla="*/ 6 w 20"/>
                  <a:gd name="T1" fmla="*/ 0 h 1"/>
                  <a:gd name="T2" fmla="*/ 0 w 20"/>
                  <a:gd name="T3" fmla="*/ 0 h 1"/>
                  <a:gd name="T4" fmla="*/ 3 w 20"/>
                  <a:gd name="T5" fmla="*/ 0 h 1"/>
                  <a:gd name="T6" fmla="*/ 6 w 20"/>
                  <a:gd name="T7" fmla="*/ 0 h 1"/>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
                    <a:moveTo>
                      <a:pt x="20" y="0"/>
                    </a:moveTo>
                    <a:lnTo>
                      <a:pt x="0" y="0"/>
                    </a:lnTo>
                    <a:lnTo>
                      <a:pt x="10" y="0"/>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3" name="Freeform 157">
                <a:extLst>
                  <a:ext uri="{FF2B5EF4-FFF2-40B4-BE49-F238E27FC236}">
                    <a16:creationId xmlns:a16="http://schemas.microsoft.com/office/drawing/2014/main" id="{F45AEA45-611F-41C5-BD0E-192AA9397239}"/>
                  </a:ext>
                </a:extLst>
              </p:cNvPr>
              <p:cNvSpPr>
                <a:spLocks/>
              </p:cNvSpPr>
              <p:nvPr/>
            </p:nvSpPr>
            <p:spPr bwMode="auto">
              <a:xfrm>
                <a:off x="5509" y="2769"/>
                <a:ext cx="32" cy="21"/>
              </a:xfrm>
              <a:custGeom>
                <a:avLst/>
                <a:gdLst>
                  <a:gd name="T0" fmla="*/ 2 w 100"/>
                  <a:gd name="T1" fmla="*/ 8 h 65"/>
                  <a:gd name="T2" fmla="*/ 11 w 100"/>
                  <a:gd name="T3" fmla="*/ 13 h 65"/>
                  <a:gd name="T4" fmla="*/ 20 w 100"/>
                  <a:gd name="T5" fmla="*/ 18 h 65"/>
                  <a:gd name="T6" fmla="*/ 23 w 100"/>
                  <a:gd name="T7" fmla="*/ 19 h 65"/>
                  <a:gd name="T8" fmla="*/ 27 w 100"/>
                  <a:gd name="T9" fmla="*/ 21 h 65"/>
                  <a:gd name="T10" fmla="*/ 28 w 100"/>
                  <a:gd name="T11" fmla="*/ 21 h 65"/>
                  <a:gd name="T12" fmla="*/ 29 w 100"/>
                  <a:gd name="T13" fmla="*/ 21 h 65"/>
                  <a:gd name="T14" fmla="*/ 31 w 100"/>
                  <a:gd name="T15" fmla="*/ 21 h 65"/>
                  <a:gd name="T16" fmla="*/ 32 w 100"/>
                  <a:gd name="T17" fmla="*/ 20 h 65"/>
                  <a:gd name="T18" fmla="*/ 30 w 100"/>
                  <a:gd name="T19" fmla="*/ 19 h 65"/>
                  <a:gd name="T20" fmla="*/ 28 w 100"/>
                  <a:gd name="T21" fmla="*/ 18 h 65"/>
                  <a:gd name="T22" fmla="*/ 27 w 100"/>
                  <a:gd name="T23" fmla="*/ 17 h 65"/>
                  <a:gd name="T24" fmla="*/ 25 w 100"/>
                  <a:gd name="T25" fmla="*/ 15 h 65"/>
                  <a:gd name="T26" fmla="*/ 21 w 100"/>
                  <a:gd name="T27" fmla="*/ 11 h 65"/>
                  <a:gd name="T28" fmla="*/ 18 w 100"/>
                  <a:gd name="T29" fmla="*/ 7 h 65"/>
                  <a:gd name="T30" fmla="*/ 17 w 100"/>
                  <a:gd name="T31" fmla="*/ 5 h 65"/>
                  <a:gd name="T32" fmla="*/ 15 w 100"/>
                  <a:gd name="T33" fmla="*/ 3 h 65"/>
                  <a:gd name="T34" fmla="*/ 13 w 100"/>
                  <a:gd name="T35" fmla="*/ 1 h 65"/>
                  <a:gd name="T36" fmla="*/ 11 w 100"/>
                  <a:gd name="T37" fmla="*/ 0 h 65"/>
                  <a:gd name="T38" fmla="*/ 9 w 100"/>
                  <a:gd name="T39" fmla="*/ 0 h 65"/>
                  <a:gd name="T40" fmla="*/ 6 w 100"/>
                  <a:gd name="T41" fmla="*/ 0 h 65"/>
                  <a:gd name="T42" fmla="*/ 3 w 100"/>
                  <a:gd name="T43" fmla="*/ 1 h 65"/>
                  <a:gd name="T44" fmla="*/ 0 w 100"/>
                  <a:gd name="T45" fmla="*/ 2 h 65"/>
                  <a:gd name="T46" fmla="*/ 2 w 100"/>
                  <a:gd name="T47" fmla="*/ 8 h 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0" h="65">
                    <a:moveTo>
                      <a:pt x="7" y="25"/>
                    </a:moveTo>
                    <a:lnTo>
                      <a:pt x="35" y="40"/>
                    </a:lnTo>
                    <a:lnTo>
                      <a:pt x="61" y="55"/>
                    </a:lnTo>
                    <a:lnTo>
                      <a:pt x="72" y="60"/>
                    </a:lnTo>
                    <a:lnTo>
                      <a:pt x="83" y="65"/>
                    </a:lnTo>
                    <a:lnTo>
                      <a:pt x="87" y="65"/>
                    </a:lnTo>
                    <a:lnTo>
                      <a:pt x="91" y="65"/>
                    </a:lnTo>
                    <a:lnTo>
                      <a:pt x="96" y="65"/>
                    </a:lnTo>
                    <a:lnTo>
                      <a:pt x="100" y="62"/>
                    </a:lnTo>
                    <a:lnTo>
                      <a:pt x="94" y="60"/>
                    </a:lnTo>
                    <a:lnTo>
                      <a:pt x="88" y="56"/>
                    </a:lnTo>
                    <a:lnTo>
                      <a:pt x="83" y="52"/>
                    </a:lnTo>
                    <a:lnTo>
                      <a:pt x="78" y="46"/>
                    </a:lnTo>
                    <a:lnTo>
                      <a:pt x="67" y="34"/>
                    </a:lnTo>
                    <a:lnTo>
                      <a:pt x="57" y="21"/>
                    </a:lnTo>
                    <a:lnTo>
                      <a:pt x="52" y="15"/>
                    </a:lnTo>
                    <a:lnTo>
                      <a:pt x="46" y="10"/>
                    </a:lnTo>
                    <a:lnTo>
                      <a:pt x="40" y="4"/>
                    </a:lnTo>
                    <a:lnTo>
                      <a:pt x="33" y="1"/>
                    </a:lnTo>
                    <a:lnTo>
                      <a:pt x="27" y="0"/>
                    </a:lnTo>
                    <a:lnTo>
                      <a:pt x="18" y="0"/>
                    </a:lnTo>
                    <a:lnTo>
                      <a:pt x="10" y="2"/>
                    </a:lnTo>
                    <a:lnTo>
                      <a:pt x="0" y="6"/>
                    </a:lnTo>
                    <a:lnTo>
                      <a:pt x="7"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94" name="Freeform 158">
                <a:extLst>
                  <a:ext uri="{FF2B5EF4-FFF2-40B4-BE49-F238E27FC236}">
                    <a16:creationId xmlns:a16="http://schemas.microsoft.com/office/drawing/2014/main" id="{D227DF35-D9C7-4007-B37D-3FF82C105B4E}"/>
                  </a:ext>
                </a:extLst>
              </p:cNvPr>
              <p:cNvSpPr>
                <a:spLocks/>
              </p:cNvSpPr>
              <p:nvPr/>
            </p:nvSpPr>
            <p:spPr bwMode="auto">
              <a:xfrm>
                <a:off x="5486" y="2743"/>
                <a:ext cx="24" cy="34"/>
              </a:xfrm>
              <a:custGeom>
                <a:avLst/>
                <a:gdLst>
                  <a:gd name="T0" fmla="*/ 22 w 79"/>
                  <a:gd name="T1" fmla="*/ 28 h 104"/>
                  <a:gd name="T2" fmla="*/ 17 w 79"/>
                  <a:gd name="T3" fmla="*/ 20 h 104"/>
                  <a:gd name="T4" fmla="*/ 13 w 79"/>
                  <a:gd name="T5" fmla="*/ 13 h 104"/>
                  <a:gd name="T6" fmla="*/ 9 w 79"/>
                  <a:gd name="T7" fmla="*/ 7 h 104"/>
                  <a:gd name="T8" fmla="*/ 4 w 79"/>
                  <a:gd name="T9" fmla="*/ 0 h 104"/>
                  <a:gd name="T10" fmla="*/ 2 w 79"/>
                  <a:gd name="T11" fmla="*/ 5 h 104"/>
                  <a:gd name="T12" fmla="*/ 1 w 79"/>
                  <a:gd name="T13" fmla="*/ 11 h 104"/>
                  <a:gd name="T14" fmla="*/ 0 w 79"/>
                  <a:gd name="T15" fmla="*/ 13 h 104"/>
                  <a:gd name="T16" fmla="*/ 0 w 79"/>
                  <a:gd name="T17" fmla="*/ 16 h 104"/>
                  <a:gd name="T18" fmla="*/ 0 w 79"/>
                  <a:gd name="T19" fmla="*/ 18 h 104"/>
                  <a:gd name="T20" fmla="*/ 0 w 79"/>
                  <a:gd name="T21" fmla="*/ 20 h 104"/>
                  <a:gd name="T22" fmla="*/ 0 w 79"/>
                  <a:gd name="T23" fmla="*/ 22 h 104"/>
                  <a:gd name="T24" fmla="*/ 1 w 79"/>
                  <a:gd name="T25" fmla="*/ 24 h 104"/>
                  <a:gd name="T26" fmla="*/ 2 w 79"/>
                  <a:gd name="T27" fmla="*/ 26 h 104"/>
                  <a:gd name="T28" fmla="*/ 3 w 79"/>
                  <a:gd name="T29" fmla="*/ 27 h 104"/>
                  <a:gd name="T30" fmla="*/ 4 w 79"/>
                  <a:gd name="T31" fmla="*/ 29 h 104"/>
                  <a:gd name="T32" fmla="*/ 6 w 79"/>
                  <a:gd name="T33" fmla="*/ 29 h 104"/>
                  <a:gd name="T34" fmla="*/ 8 w 79"/>
                  <a:gd name="T35" fmla="*/ 30 h 104"/>
                  <a:gd name="T36" fmla="*/ 10 w 79"/>
                  <a:gd name="T37" fmla="*/ 30 h 104"/>
                  <a:gd name="T38" fmla="*/ 13 w 79"/>
                  <a:gd name="T39" fmla="*/ 30 h 104"/>
                  <a:gd name="T40" fmla="*/ 16 w 79"/>
                  <a:gd name="T41" fmla="*/ 31 h 104"/>
                  <a:gd name="T42" fmla="*/ 20 w 79"/>
                  <a:gd name="T43" fmla="*/ 33 h 104"/>
                  <a:gd name="T44" fmla="*/ 24 w 79"/>
                  <a:gd name="T45" fmla="*/ 34 h 104"/>
                  <a:gd name="T46" fmla="*/ 22 w 79"/>
                  <a:gd name="T47" fmla="*/ 28 h 10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9" h="104">
                    <a:moveTo>
                      <a:pt x="72" y="85"/>
                    </a:moveTo>
                    <a:lnTo>
                      <a:pt x="56" y="61"/>
                    </a:lnTo>
                    <a:lnTo>
                      <a:pt x="43" y="41"/>
                    </a:lnTo>
                    <a:lnTo>
                      <a:pt x="29" y="20"/>
                    </a:lnTo>
                    <a:lnTo>
                      <a:pt x="12" y="0"/>
                    </a:lnTo>
                    <a:lnTo>
                      <a:pt x="6" y="16"/>
                    </a:lnTo>
                    <a:lnTo>
                      <a:pt x="2" y="33"/>
                    </a:lnTo>
                    <a:lnTo>
                      <a:pt x="0" y="40"/>
                    </a:lnTo>
                    <a:lnTo>
                      <a:pt x="0" y="48"/>
                    </a:lnTo>
                    <a:lnTo>
                      <a:pt x="0" y="55"/>
                    </a:lnTo>
                    <a:lnTo>
                      <a:pt x="0" y="62"/>
                    </a:lnTo>
                    <a:lnTo>
                      <a:pt x="1" y="68"/>
                    </a:lnTo>
                    <a:lnTo>
                      <a:pt x="3" y="74"/>
                    </a:lnTo>
                    <a:lnTo>
                      <a:pt x="6" y="79"/>
                    </a:lnTo>
                    <a:lnTo>
                      <a:pt x="10" y="83"/>
                    </a:lnTo>
                    <a:lnTo>
                      <a:pt x="14" y="88"/>
                    </a:lnTo>
                    <a:lnTo>
                      <a:pt x="20" y="90"/>
                    </a:lnTo>
                    <a:lnTo>
                      <a:pt x="25" y="92"/>
                    </a:lnTo>
                    <a:lnTo>
                      <a:pt x="33" y="92"/>
                    </a:lnTo>
                    <a:lnTo>
                      <a:pt x="43" y="93"/>
                    </a:lnTo>
                    <a:lnTo>
                      <a:pt x="54" y="96"/>
                    </a:lnTo>
                    <a:lnTo>
                      <a:pt x="65" y="100"/>
                    </a:lnTo>
                    <a:lnTo>
                      <a:pt x="79" y="104"/>
                    </a:lnTo>
                    <a:lnTo>
                      <a:pt x="72" y="8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94" name="Freeform 159">
              <a:extLst>
                <a:ext uri="{FF2B5EF4-FFF2-40B4-BE49-F238E27FC236}">
                  <a16:creationId xmlns:a16="http://schemas.microsoft.com/office/drawing/2014/main" id="{BC1C43E9-4317-485D-8BFE-53FAE7FEF402}"/>
                </a:ext>
              </a:extLst>
            </p:cNvPr>
            <p:cNvSpPr>
              <a:spLocks/>
            </p:cNvSpPr>
            <p:nvPr>
              <p:custDataLst>
                <p:tags r:id="rId90"/>
              </p:custDataLst>
            </p:nvPr>
          </p:nvSpPr>
          <p:spPr bwMode="auto">
            <a:xfrm>
              <a:off x="4216395" y="3548035"/>
              <a:ext cx="11113" cy="55562"/>
            </a:xfrm>
            <a:custGeom>
              <a:avLst/>
              <a:gdLst>
                <a:gd name="T0" fmla="*/ 11113 w 27"/>
                <a:gd name="T1" fmla="*/ 0 h 19"/>
                <a:gd name="T2" fmla="*/ 11113 w 27"/>
                <a:gd name="T3" fmla="*/ 35092 h 19"/>
                <a:gd name="T4" fmla="*/ 11113 w 27"/>
                <a:gd name="T5" fmla="*/ 55562 h 19"/>
                <a:gd name="T6" fmla="*/ 3704 w 27"/>
                <a:gd name="T7" fmla="*/ 55562 h 19"/>
                <a:gd name="T8" fmla="*/ 0 w 27"/>
                <a:gd name="T9" fmla="*/ 55562 h 19"/>
                <a:gd name="T10" fmla="*/ 3704 w 27"/>
                <a:gd name="T11" fmla="*/ 35092 h 19"/>
                <a:gd name="T12" fmla="*/ 11113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5" name="Freeform 160">
              <a:extLst>
                <a:ext uri="{FF2B5EF4-FFF2-40B4-BE49-F238E27FC236}">
                  <a16:creationId xmlns:a16="http://schemas.microsoft.com/office/drawing/2014/main" id="{5934D3D1-10E1-42E5-8CA2-251291CEBE01}"/>
                </a:ext>
              </a:extLst>
            </p:cNvPr>
            <p:cNvSpPr>
              <a:spLocks/>
            </p:cNvSpPr>
            <p:nvPr>
              <p:custDataLst>
                <p:tags r:id="rId91"/>
              </p:custDataLst>
            </p:nvPr>
          </p:nvSpPr>
          <p:spPr bwMode="auto">
            <a:xfrm>
              <a:off x="4140195" y="3687734"/>
              <a:ext cx="14288" cy="57150"/>
            </a:xfrm>
            <a:custGeom>
              <a:avLst/>
              <a:gdLst>
                <a:gd name="T0" fmla="*/ 0 w 39"/>
                <a:gd name="T1" fmla="*/ 0 h 35"/>
                <a:gd name="T2" fmla="*/ 14288 w 39"/>
                <a:gd name="T3" fmla="*/ 0 h 35"/>
                <a:gd name="T4" fmla="*/ 13189 w 39"/>
                <a:gd name="T5" fmla="*/ 14696 h 35"/>
                <a:gd name="T6" fmla="*/ 12090 w 39"/>
                <a:gd name="T7" fmla="*/ 31024 h 35"/>
                <a:gd name="T8" fmla="*/ 9892 w 39"/>
                <a:gd name="T9" fmla="*/ 45720 h 35"/>
                <a:gd name="T10" fmla="*/ 8060 w 39"/>
                <a:gd name="T11" fmla="*/ 55517 h 35"/>
                <a:gd name="T12" fmla="*/ 6961 w 39"/>
                <a:gd name="T13" fmla="*/ 57150 h 35"/>
                <a:gd name="T14" fmla="*/ 5862 w 39"/>
                <a:gd name="T15" fmla="*/ 57150 h 35"/>
                <a:gd name="T16" fmla="*/ 4763 w 39"/>
                <a:gd name="T17" fmla="*/ 55517 h 35"/>
                <a:gd name="T18" fmla="*/ 4030 w 39"/>
                <a:gd name="T19" fmla="*/ 50619 h 35"/>
                <a:gd name="T20" fmla="*/ 2565 w 39"/>
                <a:gd name="T21" fmla="*/ 42454 h 35"/>
                <a:gd name="T22" fmla="*/ 1832 w 39"/>
                <a:gd name="T23" fmla="*/ 32657 h 35"/>
                <a:gd name="T24" fmla="*/ 733 w 39"/>
                <a:gd name="T25" fmla="*/ 17961 h 35"/>
                <a:gd name="T26" fmla="*/ 0 w 39"/>
                <a:gd name="T27" fmla="*/ 0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9" h="35">
                  <a:moveTo>
                    <a:pt x="0" y="0"/>
                  </a:moveTo>
                  <a:lnTo>
                    <a:pt x="39" y="0"/>
                  </a:lnTo>
                  <a:lnTo>
                    <a:pt x="36" y="9"/>
                  </a:lnTo>
                  <a:lnTo>
                    <a:pt x="33" y="19"/>
                  </a:lnTo>
                  <a:lnTo>
                    <a:pt x="27" y="28"/>
                  </a:lnTo>
                  <a:lnTo>
                    <a:pt x="22" y="34"/>
                  </a:lnTo>
                  <a:lnTo>
                    <a:pt x="19" y="35"/>
                  </a:lnTo>
                  <a:lnTo>
                    <a:pt x="16" y="35"/>
                  </a:lnTo>
                  <a:lnTo>
                    <a:pt x="13" y="34"/>
                  </a:lnTo>
                  <a:lnTo>
                    <a:pt x="11" y="31"/>
                  </a:lnTo>
                  <a:lnTo>
                    <a:pt x="7" y="26"/>
                  </a:lnTo>
                  <a:lnTo>
                    <a:pt x="5" y="20"/>
                  </a:lnTo>
                  <a:lnTo>
                    <a:pt x="2" y="1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6" name="Freeform 161">
              <a:extLst>
                <a:ext uri="{FF2B5EF4-FFF2-40B4-BE49-F238E27FC236}">
                  <a16:creationId xmlns:a16="http://schemas.microsoft.com/office/drawing/2014/main" id="{17638FEA-CB56-4266-BF05-CCE260EE8B1E}"/>
                </a:ext>
              </a:extLst>
            </p:cNvPr>
            <p:cNvSpPr>
              <a:spLocks/>
            </p:cNvSpPr>
            <p:nvPr>
              <p:custDataLst>
                <p:tags r:id="rId92"/>
              </p:custDataLst>
            </p:nvPr>
          </p:nvSpPr>
          <p:spPr bwMode="auto">
            <a:xfrm>
              <a:off x="5938830" y="2014522"/>
              <a:ext cx="728661" cy="331784"/>
            </a:xfrm>
            <a:custGeom>
              <a:avLst/>
              <a:gdLst>
                <a:gd name="T0" fmla="*/ 13813 w 1688"/>
                <a:gd name="T1" fmla="*/ 113756 h 630"/>
                <a:gd name="T2" fmla="*/ 37124 w 1688"/>
                <a:gd name="T3" fmla="*/ 131135 h 630"/>
                <a:gd name="T4" fmla="*/ 66909 w 1688"/>
                <a:gd name="T5" fmla="*/ 139035 h 630"/>
                <a:gd name="T6" fmla="*/ 82449 w 1688"/>
                <a:gd name="T7" fmla="*/ 147988 h 630"/>
                <a:gd name="T8" fmla="*/ 102738 w 1688"/>
                <a:gd name="T9" fmla="*/ 174320 h 630"/>
                <a:gd name="T10" fmla="*/ 109213 w 1688"/>
                <a:gd name="T11" fmla="*/ 183799 h 630"/>
                <a:gd name="T12" fmla="*/ 109645 w 1688"/>
                <a:gd name="T13" fmla="*/ 203285 h 630"/>
                <a:gd name="T14" fmla="*/ 117846 w 1688"/>
                <a:gd name="T15" fmla="*/ 214872 h 630"/>
                <a:gd name="T16" fmla="*/ 147200 w 1688"/>
                <a:gd name="T17" fmla="*/ 219085 h 630"/>
                <a:gd name="T18" fmla="*/ 199864 w 1688"/>
                <a:gd name="T19" fmla="*/ 238044 h 630"/>
                <a:gd name="T20" fmla="*/ 235693 w 1688"/>
                <a:gd name="T21" fmla="*/ 246997 h 630"/>
                <a:gd name="T22" fmla="*/ 248211 w 1688"/>
                <a:gd name="T23" fmla="*/ 268589 h 630"/>
                <a:gd name="T24" fmla="*/ 268500 w 1688"/>
                <a:gd name="T25" fmla="*/ 285442 h 630"/>
                <a:gd name="T26" fmla="*/ 289220 w 1688"/>
                <a:gd name="T27" fmla="*/ 292289 h 630"/>
                <a:gd name="T28" fmla="*/ 395843 w 1688"/>
                <a:gd name="T29" fmla="*/ 303348 h 630"/>
                <a:gd name="T30" fmla="*/ 447644 w 1688"/>
                <a:gd name="T31" fmla="*/ 323361 h 630"/>
                <a:gd name="T32" fmla="*/ 482177 w 1688"/>
                <a:gd name="T33" fmla="*/ 331787 h 630"/>
                <a:gd name="T34" fmla="*/ 499444 w 1688"/>
                <a:gd name="T35" fmla="*/ 322834 h 630"/>
                <a:gd name="T36" fmla="*/ 580167 w 1688"/>
                <a:gd name="T37" fmla="*/ 297028 h 630"/>
                <a:gd name="T38" fmla="*/ 602182 w 1688"/>
                <a:gd name="T39" fmla="*/ 268589 h 630"/>
                <a:gd name="T40" fmla="*/ 605636 w 1688"/>
                <a:gd name="T41" fmla="*/ 254370 h 630"/>
                <a:gd name="T42" fmla="*/ 598297 w 1688"/>
                <a:gd name="T43" fmla="*/ 239624 h 630"/>
                <a:gd name="T44" fmla="*/ 591390 w 1688"/>
                <a:gd name="T45" fmla="*/ 218558 h 630"/>
                <a:gd name="T46" fmla="*/ 647076 w 1688"/>
                <a:gd name="T47" fmla="*/ 207499 h 630"/>
                <a:gd name="T48" fmla="*/ 688085 w 1688"/>
                <a:gd name="T49" fmla="*/ 180640 h 630"/>
                <a:gd name="T50" fmla="*/ 712690 w 1688"/>
                <a:gd name="T51" fmla="*/ 171160 h 630"/>
                <a:gd name="T52" fmla="*/ 728662 w 1688"/>
                <a:gd name="T53" fmla="*/ 156414 h 630"/>
                <a:gd name="T54" fmla="*/ 714849 w 1688"/>
                <a:gd name="T55" fmla="*/ 146934 h 630"/>
                <a:gd name="T56" fmla="*/ 698877 w 1688"/>
                <a:gd name="T57" fmla="*/ 132715 h 630"/>
                <a:gd name="T58" fmla="*/ 683336 w 1688"/>
                <a:gd name="T59" fmla="*/ 130608 h 630"/>
                <a:gd name="T60" fmla="*/ 670386 w 1688"/>
                <a:gd name="T61" fmla="*/ 135875 h 630"/>
                <a:gd name="T62" fmla="*/ 646213 w 1688"/>
                <a:gd name="T63" fmla="*/ 134821 h 630"/>
                <a:gd name="T64" fmla="*/ 628946 w 1688"/>
                <a:gd name="T65" fmla="*/ 123762 h 630"/>
                <a:gd name="T66" fmla="*/ 619017 w 1688"/>
                <a:gd name="T67" fmla="*/ 98483 h 630"/>
                <a:gd name="T68" fmla="*/ 590095 w 1688"/>
                <a:gd name="T69" fmla="*/ 65304 h 630"/>
                <a:gd name="T70" fmla="*/ 555130 w 1688"/>
                <a:gd name="T71" fmla="*/ 63198 h 630"/>
                <a:gd name="T72" fmla="*/ 543906 w 1688"/>
                <a:gd name="T73" fmla="*/ 77417 h 630"/>
                <a:gd name="T74" fmla="*/ 533546 w 1688"/>
                <a:gd name="T75" fmla="*/ 86897 h 630"/>
                <a:gd name="T76" fmla="*/ 504193 w 1688"/>
                <a:gd name="T77" fmla="*/ 87950 h 630"/>
                <a:gd name="T78" fmla="*/ 450665 w 1688"/>
                <a:gd name="T79" fmla="*/ 87950 h 630"/>
                <a:gd name="T80" fmla="*/ 425628 w 1688"/>
                <a:gd name="T81" fmla="*/ 73730 h 630"/>
                <a:gd name="T82" fmla="*/ 398001 w 1688"/>
                <a:gd name="T83" fmla="*/ 56878 h 630"/>
                <a:gd name="T84" fmla="*/ 367784 w 1688"/>
                <a:gd name="T85" fmla="*/ 52665 h 630"/>
                <a:gd name="T86" fmla="*/ 345769 w 1688"/>
                <a:gd name="T87" fmla="*/ 60038 h 630"/>
                <a:gd name="T88" fmla="*/ 319437 w 1688"/>
                <a:gd name="T89" fmla="*/ 61091 h 630"/>
                <a:gd name="T90" fmla="*/ 298717 w 1688"/>
                <a:gd name="T91" fmla="*/ 53191 h 630"/>
                <a:gd name="T92" fmla="*/ 285767 w 1688"/>
                <a:gd name="T93" fmla="*/ 35812 h 630"/>
                <a:gd name="T94" fmla="*/ 192526 w 1688"/>
                <a:gd name="T95" fmla="*/ 3687 h 630"/>
                <a:gd name="T96" fmla="*/ 192526 w 1688"/>
                <a:gd name="T97" fmla="*/ 23172 h 630"/>
                <a:gd name="T98" fmla="*/ 203317 w 1688"/>
                <a:gd name="T99" fmla="*/ 41605 h 630"/>
                <a:gd name="T100" fmla="*/ 211519 w 1688"/>
                <a:gd name="T101" fmla="*/ 55824 h 630"/>
                <a:gd name="T102" fmla="*/ 132523 w 1688"/>
                <a:gd name="T103" fmla="*/ 64251 h 630"/>
                <a:gd name="T104" fmla="*/ 126912 w 1688"/>
                <a:gd name="T105" fmla="*/ 45818 h 630"/>
                <a:gd name="T106" fmla="*/ 97126 w 1688"/>
                <a:gd name="T107" fmla="*/ 51085 h 630"/>
                <a:gd name="T108" fmla="*/ 79859 w 1688"/>
                <a:gd name="T109" fmla="*/ 46345 h 630"/>
                <a:gd name="T110" fmla="*/ 59571 w 1688"/>
                <a:gd name="T111" fmla="*/ 51085 h 630"/>
                <a:gd name="T112" fmla="*/ 29354 w 1688"/>
                <a:gd name="T113" fmla="*/ 75310 h 630"/>
                <a:gd name="T114" fmla="*/ 13382 w 1688"/>
                <a:gd name="T115" fmla="*/ 79524 h 630"/>
                <a:gd name="T116" fmla="*/ 1727 w 1688"/>
                <a:gd name="T117" fmla="*/ 89003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7" name="Freeform 162">
              <a:extLst>
                <a:ext uri="{FF2B5EF4-FFF2-40B4-BE49-F238E27FC236}">
                  <a16:creationId xmlns:a16="http://schemas.microsoft.com/office/drawing/2014/main" id="{5B952A99-BA72-4246-B0C1-9E618A5C3B0E}"/>
                </a:ext>
              </a:extLst>
            </p:cNvPr>
            <p:cNvSpPr>
              <a:spLocks/>
            </p:cNvSpPr>
            <p:nvPr>
              <p:custDataLst>
                <p:tags r:id="rId93"/>
              </p:custDataLst>
            </p:nvPr>
          </p:nvSpPr>
          <p:spPr bwMode="auto">
            <a:xfrm>
              <a:off x="2265361" y="3981419"/>
              <a:ext cx="328612" cy="415922"/>
            </a:xfrm>
            <a:custGeom>
              <a:avLst/>
              <a:gdLst>
                <a:gd name="T0" fmla="*/ 11272 w 758"/>
                <a:gd name="T1" fmla="*/ 41854 h 795"/>
                <a:gd name="T2" fmla="*/ 21243 w 758"/>
                <a:gd name="T3" fmla="*/ 46039 h 795"/>
                <a:gd name="T4" fmla="*/ 31214 w 758"/>
                <a:gd name="T5" fmla="*/ 56503 h 795"/>
                <a:gd name="T6" fmla="*/ 38150 w 758"/>
                <a:gd name="T7" fmla="*/ 70106 h 795"/>
                <a:gd name="T8" fmla="*/ 40318 w 758"/>
                <a:gd name="T9" fmla="*/ 88417 h 795"/>
                <a:gd name="T10" fmla="*/ 36416 w 758"/>
                <a:gd name="T11" fmla="*/ 97311 h 795"/>
                <a:gd name="T12" fmla="*/ 35116 w 758"/>
                <a:gd name="T13" fmla="*/ 107251 h 795"/>
                <a:gd name="T14" fmla="*/ 38150 w 758"/>
                <a:gd name="T15" fmla="*/ 125562 h 795"/>
                <a:gd name="T16" fmla="*/ 41185 w 758"/>
                <a:gd name="T17" fmla="*/ 145443 h 795"/>
                <a:gd name="T18" fmla="*/ 35983 w 758"/>
                <a:gd name="T19" fmla="*/ 161138 h 795"/>
                <a:gd name="T20" fmla="*/ 35116 w 758"/>
                <a:gd name="T21" fmla="*/ 184158 h 795"/>
                <a:gd name="T22" fmla="*/ 40318 w 758"/>
                <a:gd name="T23" fmla="*/ 204039 h 795"/>
                <a:gd name="T24" fmla="*/ 42919 w 758"/>
                <a:gd name="T25" fmla="*/ 217118 h 795"/>
                <a:gd name="T26" fmla="*/ 33815 w 758"/>
                <a:gd name="T27" fmla="*/ 239091 h 795"/>
                <a:gd name="T28" fmla="*/ 48988 w 758"/>
                <a:gd name="T29" fmla="*/ 276760 h 795"/>
                <a:gd name="T30" fmla="*/ 59826 w 758"/>
                <a:gd name="T31" fmla="*/ 301873 h 795"/>
                <a:gd name="T32" fmla="*/ 63295 w 758"/>
                <a:gd name="T33" fmla="*/ 325416 h 795"/>
                <a:gd name="T34" fmla="*/ 65896 w 758"/>
                <a:gd name="T35" fmla="*/ 344773 h 795"/>
                <a:gd name="T36" fmla="*/ 81069 w 758"/>
                <a:gd name="T37" fmla="*/ 386104 h 795"/>
                <a:gd name="T38" fmla="*/ 92774 w 758"/>
                <a:gd name="T39" fmla="*/ 409124 h 795"/>
                <a:gd name="T40" fmla="*/ 99711 w 758"/>
                <a:gd name="T41" fmla="*/ 415402 h 795"/>
                <a:gd name="T42" fmla="*/ 108815 w 758"/>
                <a:gd name="T43" fmla="*/ 413309 h 795"/>
                <a:gd name="T44" fmla="*/ 125289 w 758"/>
                <a:gd name="T45" fmla="*/ 398137 h 795"/>
                <a:gd name="T46" fmla="*/ 140462 w 758"/>
                <a:gd name="T47" fmla="*/ 390289 h 795"/>
                <a:gd name="T48" fmla="*/ 153901 w 758"/>
                <a:gd name="T49" fmla="*/ 391336 h 795"/>
                <a:gd name="T50" fmla="*/ 168208 w 758"/>
                <a:gd name="T51" fmla="*/ 402846 h 795"/>
                <a:gd name="T52" fmla="*/ 181213 w 758"/>
                <a:gd name="T53" fmla="*/ 408077 h 795"/>
                <a:gd name="T54" fmla="*/ 189450 w 758"/>
                <a:gd name="T55" fmla="*/ 396567 h 795"/>
                <a:gd name="T56" fmla="*/ 207225 w 758"/>
                <a:gd name="T57" fmla="*/ 389766 h 795"/>
                <a:gd name="T58" fmla="*/ 227601 w 758"/>
                <a:gd name="T59" fmla="*/ 325416 h 795"/>
                <a:gd name="T60" fmla="*/ 233670 w 758"/>
                <a:gd name="T61" fmla="*/ 313906 h 795"/>
                <a:gd name="T62" fmla="*/ 249277 w 758"/>
                <a:gd name="T63" fmla="*/ 305535 h 795"/>
                <a:gd name="T64" fmla="*/ 288294 w 758"/>
                <a:gd name="T65" fmla="*/ 299780 h 795"/>
                <a:gd name="T66" fmla="*/ 297832 w 758"/>
                <a:gd name="T67" fmla="*/ 302919 h 795"/>
                <a:gd name="T68" fmla="*/ 305202 w 758"/>
                <a:gd name="T69" fmla="*/ 306058 h 795"/>
                <a:gd name="T70" fmla="*/ 322543 w 758"/>
                <a:gd name="T71" fmla="*/ 299780 h 795"/>
                <a:gd name="T72" fmla="*/ 328178 w 758"/>
                <a:gd name="T73" fmla="*/ 283038 h 795"/>
                <a:gd name="T74" fmla="*/ 326011 w 758"/>
                <a:gd name="T75" fmla="*/ 261065 h 795"/>
                <a:gd name="T76" fmla="*/ 314739 w 758"/>
                <a:gd name="T77" fmla="*/ 241707 h 795"/>
                <a:gd name="T78" fmla="*/ 307803 w 758"/>
                <a:gd name="T79" fmla="*/ 227582 h 795"/>
                <a:gd name="T80" fmla="*/ 290895 w 758"/>
                <a:gd name="T81" fmla="*/ 209794 h 795"/>
                <a:gd name="T82" fmla="*/ 274421 w 758"/>
                <a:gd name="T83" fmla="*/ 208747 h 795"/>
                <a:gd name="T84" fmla="*/ 262283 w 758"/>
                <a:gd name="T85" fmla="*/ 197761 h 795"/>
                <a:gd name="T86" fmla="*/ 255780 w 758"/>
                <a:gd name="T87" fmla="*/ 182588 h 795"/>
                <a:gd name="T88" fmla="*/ 253612 w 758"/>
                <a:gd name="T89" fmla="*/ 162708 h 795"/>
                <a:gd name="T90" fmla="*/ 252745 w 758"/>
                <a:gd name="T91" fmla="*/ 140734 h 795"/>
                <a:gd name="T92" fmla="*/ 242774 w 758"/>
                <a:gd name="T93" fmla="*/ 126609 h 795"/>
                <a:gd name="T94" fmla="*/ 218063 w 758"/>
                <a:gd name="T95" fmla="*/ 107251 h 795"/>
                <a:gd name="T96" fmla="*/ 190751 w 758"/>
                <a:gd name="T97" fmla="*/ 93125 h 795"/>
                <a:gd name="T98" fmla="*/ 169942 w 758"/>
                <a:gd name="T99" fmla="*/ 87370 h 795"/>
                <a:gd name="T100" fmla="*/ 155635 w 758"/>
                <a:gd name="T101" fmla="*/ 84231 h 795"/>
                <a:gd name="T102" fmla="*/ 143063 w 758"/>
                <a:gd name="T103" fmla="*/ 75861 h 795"/>
                <a:gd name="T104" fmla="*/ 133092 w 758"/>
                <a:gd name="T105" fmla="*/ 63827 h 795"/>
                <a:gd name="T106" fmla="*/ 126589 w 758"/>
                <a:gd name="T107" fmla="*/ 48132 h 795"/>
                <a:gd name="T108" fmla="*/ 120953 w 758"/>
                <a:gd name="T109" fmla="*/ 9940 h 795"/>
                <a:gd name="T110" fmla="*/ 113150 w 758"/>
                <a:gd name="T111" fmla="*/ 1570 h 795"/>
                <a:gd name="T112" fmla="*/ 98410 w 758"/>
                <a:gd name="T113" fmla="*/ 1570 h 795"/>
                <a:gd name="T114" fmla="*/ 75000 w 758"/>
                <a:gd name="T115" fmla="*/ 15695 h 795"/>
                <a:gd name="T116" fmla="*/ 51589 w 758"/>
                <a:gd name="T117" fmla="*/ 34530 h 795"/>
                <a:gd name="T118" fmla="*/ 0 w 758"/>
                <a:gd name="T119" fmla="*/ 41854 h 795"/>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58" h="795">
                  <a:moveTo>
                    <a:pt x="0" y="80"/>
                  </a:moveTo>
                  <a:lnTo>
                    <a:pt x="10" y="80"/>
                  </a:lnTo>
                  <a:lnTo>
                    <a:pt x="20" y="80"/>
                  </a:lnTo>
                  <a:lnTo>
                    <a:pt x="26" y="80"/>
                  </a:lnTo>
                  <a:lnTo>
                    <a:pt x="31" y="81"/>
                  </a:lnTo>
                  <a:lnTo>
                    <a:pt x="37" y="83"/>
                  </a:lnTo>
                  <a:lnTo>
                    <a:pt x="43" y="85"/>
                  </a:lnTo>
                  <a:lnTo>
                    <a:pt x="49" y="88"/>
                  </a:lnTo>
                  <a:lnTo>
                    <a:pt x="55" y="92"/>
                  </a:lnTo>
                  <a:lnTo>
                    <a:pt x="61" y="97"/>
                  </a:lnTo>
                  <a:lnTo>
                    <a:pt x="66" y="102"/>
                  </a:lnTo>
                  <a:lnTo>
                    <a:pt x="72" y="108"/>
                  </a:lnTo>
                  <a:lnTo>
                    <a:pt x="77" y="113"/>
                  </a:lnTo>
                  <a:lnTo>
                    <a:pt x="82" y="120"/>
                  </a:lnTo>
                  <a:lnTo>
                    <a:pt x="86" y="127"/>
                  </a:lnTo>
                  <a:lnTo>
                    <a:pt x="88" y="134"/>
                  </a:lnTo>
                  <a:lnTo>
                    <a:pt x="92" y="142"/>
                  </a:lnTo>
                  <a:lnTo>
                    <a:pt x="93" y="152"/>
                  </a:lnTo>
                  <a:lnTo>
                    <a:pt x="94" y="161"/>
                  </a:lnTo>
                  <a:lnTo>
                    <a:pt x="93" y="169"/>
                  </a:lnTo>
                  <a:lnTo>
                    <a:pt x="92" y="175"/>
                  </a:lnTo>
                  <a:lnTo>
                    <a:pt x="89" y="180"/>
                  </a:lnTo>
                  <a:lnTo>
                    <a:pt x="87" y="183"/>
                  </a:lnTo>
                  <a:lnTo>
                    <a:pt x="84" y="186"/>
                  </a:lnTo>
                  <a:lnTo>
                    <a:pt x="82" y="190"/>
                  </a:lnTo>
                  <a:lnTo>
                    <a:pt x="81" y="193"/>
                  </a:lnTo>
                  <a:lnTo>
                    <a:pt x="81" y="197"/>
                  </a:lnTo>
                  <a:lnTo>
                    <a:pt x="81" y="205"/>
                  </a:lnTo>
                  <a:lnTo>
                    <a:pt x="82" y="214"/>
                  </a:lnTo>
                  <a:lnTo>
                    <a:pt x="83" y="221"/>
                  </a:lnTo>
                  <a:lnTo>
                    <a:pt x="84" y="227"/>
                  </a:lnTo>
                  <a:lnTo>
                    <a:pt x="88" y="240"/>
                  </a:lnTo>
                  <a:lnTo>
                    <a:pt x="94" y="252"/>
                  </a:lnTo>
                  <a:lnTo>
                    <a:pt x="97" y="262"/>
                  </a:lnTo>
                  <a:lnTo>
                    <a:pt x="100" y="271"/>
                  </a:lnTo>
                  <a:lnTo>
                    <a:pt x="95" y="278"/>
                  </a:lnTo>
                  <a:lnTo>
                    <a:pt x="92" y="285"/>
                  </a:lnTo>
                  <a:lnTo>
                    <a:pt x="88" y="293"/>
                  </a:lnTo>
                  <a:lnTo>
                    <a:pt x="85" y="300"/>
                  </a:lnTo>
                  <a:lnTo>
                    <a:pt x="83" y="308"/>
                  </a:lnTo>
                  <a:lnTo>
                    <a:pt x="82" y="318"/>
                  </a:lnTo>
                  <a:lnTo>
                    <a:pt x="81" y="328"/>
                  </a:lnTo>
                  <a:lnTo>
                    <a:pt x="81" y="339"/>
                  </a:lnTo>
                  <a:lnTo>
                    <a:pt x="81" y="352"/>
                  </a:lnTo>
                  <a:lnTo>
                    <a:pt x="83" y="363"/>
                  </a:lnTo>
                  <a:lnTo>
                    <a:pt x="85" y="374"/>
                  </a:lnTo>
                  <a:lnTo>
                    <a:pt x="88" y="382"/>
                  </a:lnTo>
                  <a:lnTo>
                    <a:pt x="93" y="390"/>
                  </a:lnTo>
                  <a:lnTo>
                    <a:pt x="97" y="396"/>
                  </a:lnTo>
                  <a:lnTo>
                    <a:pt x="101" y="402"/>
                  </a:lnTo>
                  <a:lnTo>
                    <a:pt x="107" y="407"/>
                  </a:lnTo>
                  <a:lnTo>
                    <a:pt x="99" y="415"/>
                  </a:lnTo>
                  <a:lnTo>
                    <a:pt x="94" y="424"/>
                  </a:lnTo>
                  <a:lnTo>
                    <a:pt x="89" y="433"/>
                  </a:lnTo>
                  <a:lnTo>
                    <a:pt x="85" y="441"/>
                  </a:lnTo>
                  <a:lnTo>
                    <a:pt x="78" y="457"/>
                  </a:lnTo>
                  <a:lnTo>
                    <a:pt x="73" y="474"/>
                  </a:lnTo>
                  <a:lnTo>
                    <a:pt x="88" y="493"/>
                  </a:lnTo>
                  <a:lnTo>
                    <a:pt x="101" y="511"/>
                  </a:lnTo>
                  <a:lnTo>
                    <a:pt x="113" y="529"/>
                  </a:lnTo>
                  <a:lnTo>
                    <a:pt x="124" y="548"/>
                  </a:lnTo>
                  <a:lnTo>
                    <a:pt x="130" y="558"/>
                  </a:lnTo>
                  <a:lnTo>
                    <a:pt x="134" y="567"/>
                  </a:lnTo>
                  <a:lnTo>
                    <a:pt x="138" y="577"/>
                  </a:lnTo>
                  <a:lnTo>
                    <a:pt x="141" y="588"/>
                  </a:lnTo>
                  <a:lnTo>
                    <a:pt x="143" y="599"/>
                  </a:lnTo>
                  <a:lnTo>
                    <a:pt x="145" y="611"/>
                  </a:lnTo>
                  <a:lnTo>
                    <a:pt x="146" y="622"/>
                  </a:lnTo>
                  <a:lnTo>
                    <a:pt x="146" y="634"/>
                  </a:lnTo>
                  <a:lnTo>
                    <a:pt x="148" y="640"/>
                  </a:lnTo>
                  <a:lnTo>
                    <a:pt x="149" y="648"/>
                  </a:lnTo>
                  <a:lnTo>
                    <a:pt x="152" y="659"/>
                  </a:lnTo>
                  <a:lnTo>
                    <a:pt x="156" y="670"/>
                  </a:lnTo>
                  <a:lnTo>
                    <a:pt x="166" y="696"/>
                  </a:lnTo>
                  <a:lnTo>
                    <a:pt x="179" y="724"/>
                  </a:lnTo>
                  <a:lnTo>
                    <a:pt x="187" y="738"/>
                  </a:lnTo>
                  <a:lnTo>
                    <a:pt x="194" y="750"/>
                  </a:lnTo>
                  <a:lnTo>
                    <a:pt x="201" y="763"/>
                  </a:lnTo>
                  <a:lnTo>
                    <a:pt x="208" y="774"/>
                  </a:lnTo>
                  <a:lnTo>
                    <a:pt x="214" y="782"/>
                  </a:lnTo>
                  <a:lnTo>
                    <a:pt x="221" y="789"/>
                  </a:lnTo>
                  <a:lnTo>
                    <a:pt x="224" y="792"/>
                  </a:lnTo>
                  <a:lnTo>
                    <a:pt x="228" y="793"/>
                  </a:lnTo>
                  <a:lnTo>
                    <a:pt x="230" y="794"/>
                  </a:lnTo>
                  <a:lnTo>
                    <a:pt x="233" y="795"/>
                  </a:lnTo>
                  <a:lnTo>
                    <a:pt x="239" y="794"/>
                  </a:lnTo>
                  <a:lnTo>
                    <a:pt x="244" y="793"/>
                  </a:lnTo>
                  <a:lnTo>
                    <a:pt x="251" y="790"/>
                  </a:lnTo>
                  <a:lnTo>
                    <a:pt x="256" y="787"/>
                  </a:lnTo>
                  <a:lnTo>
                    <a:pt x="266" y="780"/>
                  </a:lnTo>
                  <a:lnTo>
                    <a:pt x="278" y="771"/>
                  </a:lnTo>
                  <a:lnTo>
                    <a:pt x="289" y="761"/>
                  </a:lnTo>
                  <a:lnTo>
                    <a:pt x="302" y="753"/>
                  </a:lnTo>
                  <a:lnTo>
                    <a:pt x="309" y="750"/>
                  </a:lnTo>
                  <a:lnTo>
                    <a:pt x="317" y="747"/>
                  </a:lnTo>
                  <a:lnTo>
                    <a:pt x="324" y="746"/>
                  </a:lnTo>
                  <a:lnTo>
                    <a:pt x="332" y="745"/>
                  </a:lnTo>
                  <a:lnTo>
                    <a:pt x="341" y="746"/>
                  </a:lnTo>
                  <a:lnTo>
                    <a:pt x="348" y="747"/>
                  </a:lnTo>
                  <a:lnTo>
                    <a:pt x="355" y="748"/>
                  </a:lnTo>
                  <a:lnTo>
                    <a:pt x="361" y="750"/>
                  </a:lnTo>
                  <a:lnTo>
                    <a:pt x="371" y="756"/>
                  </a:lnTo>
                  <a:lnTo>
                    <a:pt x="380" y="763"/>
                  </a:lnTo>
                  <a:lnTo>
                    <a:pt x="388" y="770"/>
                  </a:lnTo>
                  <a:lnTo>
                    <a:pt x="395" y="777"/>
                  </a:lnTo>
                  <a:lnTo>
                    <a:pt x="403" y="783"/>
                  </a:lnTo>
                  <a:lnTo>
                    <a:pt x="412" y="789"/>
                  </a:lnTo>
                  <a:lnTo>
                    <a:pt x="418" y="780"/>
                  </a:lnTo>
                  <a:lnTo>
                    <a:pt x="422" y="773"/>
                  </a:lnTo>
                  <a:lnTo>
                    <a:pt x="427" y="767"/>
                  </a:lnTo>
                  <a:lnTo>
                    <a:pt x="432" y="761"/>
                  </a:lnTo>
                  <a:lnTo>
                    <a:pt x="437" y="758"/>
                  </a:lnTo>
                  <a:lnTo>
                    <a:pt x="443" y="754"/>
                  </a:lnTo>
                  <a:lnTo>
                    <a:pt x="448" y="752"/>
                  </a:lnTo>
                  <a:lnTo>
                    <a:pt x="454" y="750"/>
                  </a:lnTo>
                  <a:lnTo>
                    <a:pt x="478" y="745"/>
                  </a:lnTo>
                  <a:lnTo>
                    <a:pt x="505" y="739"/>
                  </a:lnTo>
                  <a:lnTo>
                    <a:pt x="525" y="647"/>
                  </a:lnTo>
                  <a:lnTo>
                    <a:pt x="525" y="637"/>
                  </a:lnTo>
                  <a:lnTo>
                    <a:pt x="525" y="622"/>
                  </a:lnTo>
                  <a:lnTo>
                    <a:pt x="526" y="616"/>
                  </a:lnTo>
                  <a:lnTo>
                    <a:pt x="529" y="610"/>
                  </a:lnTo>
                  <a:lnTo>
                    <a:pt x="533" y="604"/>
                  </a:lnTo>
                  <a:lnTo>
                    <a:pt x="539" y="600"/>
                  </a:lnTo>
                  <a:lnTo>
                    <a:pt x="547" y="594"/>
                  </a:lnTo>
                  <a:lnTo>
                    <a:pt x="555" y="590"/>
                  </a:lnTo>
                  <a:lnTo>
                    <a:pt x="565" y="587"/>
                  </a:lnTo>
                  <a:lnTo>
                    <a:pt x="575" y="584"/>
                  </a:lnTo>
                  <a:lnTo>
                    <a:pt x="597" y="579"/>
                  </a:lnTo>
                  <a:lnTo>
                    <a:pt x="621" y="575"/>
                  </a:lnTo>
                  <a:lnTo>
                    <a:pt x="644" y="574"/>
                  </a:lnTo>
                  <a:lnTo>
                    <a:pt x="665" y="573"/>
                  </a:lnTo>
                  <a:lnTo>
                    <a:pt x="671" y="573"/>
                  </a:lnTo>
                  <a:lnTo>
                    <a:pt x="678" y="575"/>
                  </a:lnTo>
                  <a:lnTo>
                    <a:pt x="682" y="577"/>
                  </a:lnTo>
                  <a:lnTo>
                    <a:pt x="687" y="579"/>
                  </a:lnTo>
                  <a:lnTo>
                    <a:pt x="691" y="581"/>
                  </a:lnTo>
                  <a:lnTo>
                    <a:pt x="695" y="583"/>
                  </a:lnTo>
                  <a:lnTo>
                    <a:pt x="700" y="585"/>
                  </a:lnTo>
                  <a:lnTo>
                    <a:pt x="704" y="585"/>
                  </a:lnTo>
                  <a:lnTo>
                    <a:pt x="738" y="598"/>
                  </a:lnTo>
                  <a:lnTo>
                    <a:pt x="738" y="589"/>
                  </a:lnTo>
                  <a:lnTo>
                    <a:pt x="740" y="581"/>
                  </a:lnTo>
                  <a:lnTo>
                    <a:pt x="744" y="573"/>
                  </a:lnTo>
                  <a:lnTo>
                    <a:pt x="748" y="566"/>
                  </a:lnTo>
                  <a:lnTo>
                    <a:pt x="751" y="559"/>
                  </a:lnTo>
                  <a:lnTo>
                    <a:pt x="755" y="550"/>
                  </a:lnTo>
                  <a:lnTo>
                    <a:pt x="757" y="541"/>
                  </a:lnTo>
                  <a:lnTo>
                    <a:pt x="758" y="530"/>
                  </a:lnTo>
                  <a:lnTo>
                    <a:pt x="757" y="518"/>
                  </a:lnTo>
                  <a:lnTo>
                    <a:pt x="756" y="508"/>
                  </a:lnTo>
                  <a:lnTo>
                    <a:pt x="752" y="499"/>
                  </a:lnTo>
                  <a:lnTo>
                    <a:pt x="749" y="492"/>
                  </a:lnTo>
                  <a:lnTo>
                    <a:pt x="740" y="478"/>
                  </a:lnTo>
                  <a:lnTo>
                    <a:pt x="731" y="467"/>
                  </a:lnTo>
                  <a:lnTo>
                    <a:pt x="726" y="462"/>
                  </a:lnTo>
                  <a:lnTo>
                    <a:pt x="722" y="456"/>
                  </a:lnTo>
                  <a:lnTo>
                    <a:pt x="716" y="450"/>
                  </a:lnTo>
                  <a:lnTo>
                    <a:pt x="713" y="443"/>
                  </a:lnTo>
                  <a:lnTo>
                    <a:pt x="710" y="435"/>
                  </a:lnTo>
                  <a:lnTo>
                    <a:pt x="706" y="424"/>
                  </a:lnTo>
                  <a:lnTo>
                    <a:pt x="705" y="413"/>
                  </a:lnTo>
                  <a:lnTo>
                    <a:pt x="704" y="401"/>
                  </a:lnTo>
                  <a:lnTo>
                    <a:pt x="671" y="401"/>
                  </a:lnTo>
                  <a:lnTo>
                    <a:pt x="660" y="403"/>
                  </a:lnTo>
                  <a:lnTo>
                    <a:pt x="650" y="403"/>
                  </a:lnTo>
                  <a:lnTo>
                    <a:pt x="641" y="402"/>
                  </a:lnTo>
                  <a:lnTo>
                    <a:pt x="633" y="399"/>
                  </a:lnTo>
                  <a:lnTo>
                    <a:pt x="625" y="395"/>
                  </a:lnTo>
                  <a:lnTo>
                    <a:pt x="617" y="390"/>
                  </a:lnTo>
                  <a:lnTo>
                    <a:pt x="611" y="384"/>
                  </a:lnTo>
                  <a:lnTo>
                    <a:pt x="605" y="378"/>
                  </a:lnTo>
                  <a:lnTo>
                    <a:pt x="601" y="370"/>
                  </a:lnTo>
                  <a:lnTo>
                    <a:pt x="597" y="363"/>
                  </a:lnTo>
                  <a:lnTo>
                    <a:pt x="593" y="356"/>
                  </a:lnTo>
                  <a:lnTo>
                    <a:pt x="590" y="349"/>
                  </a:lnTo>
                  <a:lnTo>
                    <a:pt x="586" y="336"/>
                  </a:lnTo>
                  <a:lnTo>
                    <a:pt x="585" y="327"/>
                  </a:lnTo>
                  <a:lnTo>
                    <a:pt x="585" y="321"/>
                  </a:lnTo>
                  <a:lnTo>
                    <a:pt x="585" y="311"/>
                  </a:lnTo>
                  <a:lnTo>
                    <a:pt x="585" y="297"/>
                  </a:lnTo>
                  <a:lnTo>
                    <a:pt x="585" y="278"/>
                  </a:lnTo>
                  <a:lnTo>
                    <a:pt x="585" y="274"/>
                  </a:lnTo>
                  <a:lnTo>
                    <a:pt x="583" y="269"/>
                  </a:lnTo>
                  <a:lnTo>
                    <a:pt x="581" y="265"/>
                  </a:lnTo>
                  <a:lnTo>
                    <a:pt x="578" y="260"/>
                  </a:lnTo>
                  <a:lnTo>
                    <a:pt x="570" y="251"/>
                  </a:lnTo>
                  <a:lnTo>
                    <a:pt x="560" y="242"/>
                  </a:lnTo>
                  <a:lnTo>
                    <a:pt x="548" y="233"/>
                  </a:lnTo>
                  <a:lnTo>
                    <a:pt x="534" y="223"/>
                  </a:lnTo>
                  <a:lnTo>
                    <a:pt x="520" y="215"/>
                  </a:lnTo>
                  <a:lnTo>
                    <a:pt x="503" y="205"/>
                  </a:lnTo>
                  <a:lnTo>
                    <a:pt x="487" y="197"/>
                  </a:lnTo>
                  <a:lnTo>
                    <a:pt x="470" y="190"/>
                  </a:lnTo>
                  <a:lnTo>
                    <a:pt x="455" y="183"/>
                  </a:lnTo>
                  <a:lnTo>
                    <a:pt x="440" y="178"/>
                  </a:lnTo>
                  <a:lnTo>
                    <a:pt x="425" y="173"/>
                  </a:lnTo>
                  <a:lnTo>
                    <a:pt x="412" y="170"/>
                  </a:lnTo>
                  <a:lnTo>
                    <a:pt x="401" y="167"/>
                  </a:lnTo>
                  <a:lnTo>
                    <a:pt x="392" y="167"/>
                  </a:lnTo>
                  <a:lnTo>
                    <a:pt x="384" y="166"/>
                  </a:lnTo>
                  <a:lnTo>
                    <a:pt x="375" y="165"/>
                  </a:lnTo>
                  <a:lnTo>
                    <a:pt x="367" y="164"/>
                  </a:lnTo>
                  <a:lnTo>
                    <a:pt x="359" y="161"/>
                  </a:lnTo>
                  <a:lnTo>
                    <a:pt x="351" y="158"/>
                  </a:lnTo>
                  <a:lnTo>
                    <a:pt x="344" y="155"/>
                  </a:lnTo>
                  <a:lnTo>
                    <a:pt x="336" y="151"/>
                  </a:lnTo>
                  <a:lnTo>
                    <a:pt x="330" y="145"/>
                  </a:lnTo>
                  <a:lnTo>
                    <a:pt x="323" y="140"/>
                  </a:lnTo>
                  <a:lnTo>
                    <a:pt x="318" y="135"/>
                  </a:lnTo>
                  <a:lnTo>
                    <a:pt x="312" y="129"/>
                  </a:lnTo>
                  <a:lnTo>
                    <a:pt x="307" y="122"/>
                  </a:lnTo>
                  <a:lnTo>
                    <a:pt x="302" y="115"/>
                  </a:lnTo>
                  <a:lnTo>
                    <a:pt x="299" y="108"/>
                  </a:lnTo>
                  <a:lnTo>
                    <a:pt x="296" y="101"/>
                  </a:lnTo>
                  <a:lnTo>
                    <a:pt x="292" y="92"/>
                  </a:lnTo>
                  <a:lnTo>
                    <a:pt x="289" y="63"/>
                  </a:lnTo>
                  <a:lnTo>
                    <a:pt x="285" y="32"/>
                  </a:lnTo>
                  <a:lnTo>
                    <a:pt x="283" y="25"/>
                  </a:lnTo>
                  <a:lnTo>
                    <a:pt x="279" y="19"/>
                  </a:lnTo>
                  <a:lnTo>
                    <a:pt x="276" y="14"/>
                  </a:lnTo>
                  <a:lnTo>
                    <a:pt x="272" y="9"/>
                  </a:lnTo>
                  <a:lnTo>
                    <a:pt x="267" y="6"/>
                  </a:lnTo>
                  <a:lnTo>
                    <a:pt x="261" y="3"/>
                  </a:lnTo>
                  <a:lnTo>
                    <a:pt x="254" y="1"/>
                  </a:lnTo>
                  <a:lnTo>
                    <a:pt x="246" y="0"/>
                  </a:lnTo>
                  <a:lnTo>
                    <a:pt x="236" y="1"/>
                  </a:lnTo>
                  <a:lnTo>
                    <a:pt x="227" y="3"/>
                  </a:lnTo>
                  <a:lnTo>
                    <a:pt x="218" y="5"/>
                  </a:lnTo>
                  <a:lnTo>
                    <a:pt x="208" y="9"/>
                  </a:lnTo>
                  <a:lnTo>
                    <a:pt x="190" y="18"/>
                  </a:lnTo>
                  <a:lnTo>
                    <a:pt x="173" y="30"/>
                  </a:lnTo>
                  <a:lnTo>
                    <a:pt x="155" y="43"/>
                  </a:lnTo>
                  <a:lnTo>
                    <a:pt x="138" y="55"/>
                  </a:lnTo>
                  <a:lnTo>
                    <a:pt x="129" y="60"/>
                  </a:lnTo>
                  <a:lnTo>
                    <a:pt x="119" y="66"/>
                  </a:lnTo>
                  <a:lnTo>
                    <a:pt x="110" y="70"/>
                  </a:lnTo>
                  <a:lnTo>
                    <a:pt x="100" y="74"/>
                  </a:lnTo>
                  <a:lnTo>
                    <a:pt x="20" y="80"/>
                  </a:lnTo>
                  <a:lnTo>
                    <a:pt x="0" y="8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98" name="Freeform 163">
              <a:extLst>
                <a:ext uri="{FF2B5EF4-FFF2-40B4-BE49-F238E27FC236}">
                  <a16:creationId xmlns:a16="http://schemas.microsoft.com/office/drawing/2014/main" id="{E3EB5059-0725-496D-A145-2B6668A2D915}"/>
                </a:ext>
              </a:extLst>
            </p:cNvPr>
            <p:cNvSpPr>
              <a:spLocks/>
            </p:cNvSpPr>
            <p:nvPr>
              <p:custDataLst>
                <p:tags r:id="rId94"/>
              </p:custDataLst>
            </p:nvPr>
          </p:nvSpPr>
          <p:spPr bwMode="auto">
            <a:xfrm>
              <a:off x="2479672" y="3411511"/>
              <a:ext cx="119063" cy="215899"/>
            </a:xfrm>
            <a:custGeom>
              <a:avLst/>
              <a:gdLst>
                <a:gd name="T0" fmla="*/ 98129 w 273"/>
                <a:gd name="T1" fmla="*/ 73010 h 414"/>
                <a:gd name="T2" fmla="*/ 92895 w 273"/>
                <a:gd name="T3" fmla="*/ 69359 h 414"/>
                <a:gd name="T4" fmla="*/ 87662 w 273"/>
                <a:gd name="T5" fmla="*/ 63101 h 414"/>
                <a:gd name="T6" fmla="*/ 82864 w 273"/>
                <a:gd name="T7" fmla="*/ 54757 h 414"/>
                <a:gd name="T8" fmla="*/ 79811 w 273"/>
                <a:gd name="T9" fmla="*/ 50064 h 414"/>
                <a:gd name="T10" fmla="*/ 76759 w 273"/>
                <a:gd name="T11" fmla="*/ 48499 h 414"/>
                <a:gd name="T12" fmla="*/ 72833 w 273"/>
                <a:gd name="T13" fmla="*/ 49021 h 414"/>
                <a:gd name="T14" fmla="*/ 70217 w 273"/>
                <a:gd name="T15" fmla="*/ 52671 h 414"/>
                <a:gd name="T16" fmla="*/ 66728 w 273"/>
                <a:gd name="T17" fmla="*/ 44849 h 414"/>
                <a:gd name="T18" fmla="*/ 61930 w 273"/>
                <a:gd name="T19" fmla="*/ 28161 h 414"/>
                <a:gd name="T20" fmla="*/ 57569 w 273"/>
                <a:gd name="T21" fmla="*/ 18774 h 414"/>
                <a:gd name="T22" fmla="*/ 53644 w 273"/>
                <a:gd name="T23" fmla="*/ 13037 h 414"/>
                <a:gd name="T24" fmla="*/ 48410 w 273"/>
                <a:gd name="T25" fmla="*/ 7301 h 414"/>
                <a:gd name="T26" fmla="*/ 41868 w 273"/>
                <a:gd name="T27" fmla="*/ 2607 h 414"/>
                <a:gd name="T28" fmla="*/ 34890 w 273"/>
                <a:gd name="T29" fmla="*/ 3650 h 414"/>
                <a:gd name="T30" fmla="*/ 30093 w 273"/>
                <a:gd name="T31" fmla="*/ 9908 h 414"/>
                <a:gd name="T32" fmla="*/ 27476 w 273"/>
                <a:gd name="T33" fmla="*/ 13037 h 414"/>
                <a:gd name="T34" fmla="*/ 24859 w 273"/>
                <a:gd name="T35" fmla="*/ 16688 h 414"/>
                <a:gd name="T36" fmla="*/ 24423 w 273"/>
                <a:gd name="T37" fmla="*/ 21903 h 414"/>
                <a:gd name="T38" fmla="*/ 25295 w 273"/>
                <a:gd name="T39" fmla="*/ 30768 h 414"/>
                <a:gd name="T40" fmla="*/ 22679 w 273"/>
                <a:gd name="T41" fmla="*/ 40677 h 414"/>
                <a:gd name="T42" fmla="*/ 14392 w 273"/>
                <a:gd name="T43" fmla="*/ 46935 h 414"/>
                <a:gd name="T44" fmla="*/ 7414 w 273"/>
                <a:gd name="T45" fmla="*/ 54236 h 414"/>
                <a:gd name="T46" fmla="*/ 1745 w 273"/>
                <a:gd name="T47" fmla="*/ 61537 h 414"/>
                <a:gd name="T48" fmla="*/ 17445 w 273"/>
                <a:gd name="T49" fmla="*/ 103257 h 414"/>
                <a:gd name="T50" fmla="*/ 31837 w 273"/>
                <a:gd name="T51" fmla="*/ 106907 h 414"/>
                <a:gd name="T52" fmla="*/ 36635 w 273"/>
                <a:gd name="T53" fmla="*/ 109514 h 414"/>
                <a:gd name="T54" fmla="*/ 40560 w 273"/>
                <a:gd name="T55" fmla="*/ 113686 h 414"/>
                <a:gd name="T56" fmla="*/ 43177 w 273"/>
                <a:gd name="T57" fmla="*/ 117858 h 414"/>
                <a:gd name="T58" fmla="*/ 44921 w 273"/>
                <a:gd name="T59" fmla="*/ 123595 h 414"/>
                <a:gd name="T60" fmla="*/ 46230 w 273"/>
                <a:gd name="T61" fmla="*/ 138197 h 414"/>
                <a:gd name="T62" fmla="*/ 44921 w 273"/>
                <a:gd name="T63" fmla="*/ 145498 h 414"/>
                <a:gd name="T64" fmla="*/ 41868 w 273"/>
                <a:gd name="T65" fmla="*/ 152799 h 414"/>
                <a:gd name="T66" fmla="*/ 38815 w 273"/>
                <a:gd name="T67" fmla="*/ 160100 h 414"/>
                <a:gd name="T68" fmla="*/ 37507 w 273"/>
                <a:gd name="T69" fmla="*/ 167401 h 414"/>
                <a:gd name="T70" fmla="*/ 39688 w 273"/>
                <a:gd name="T71" fmla="*/ 178874 h 414"/>
                <a:gd name="T72" fmla="*/ 46666 w 273"/>
                <a:gd name="T73" fmla="*/ 195040 h 414"/>
                <a:gd name="T74" fmla="*/ 51027 w 273"/>
                <a:gd name="T75" fmla="*/ 202863 h 414"/>
                <a:gd name="T76" fmla="*/ 56261 w 273"/>
                <a:gd name="T77" fmla="*/ 209121 h 414"/>
                <a:gd name="T78" fmla="*/ 61494 w 273"/>
                <a:gd name="T79" fmla="*/ 214336 h 414"/>
                <a:gd name="T80" fmla="*/ 66728 w 273"/>
                <a:gd name="T81" fmla="*/ 215900 h 414"/>
                <a:gd name="T82" fmla="*/ 93768 w 273"/>
                <a:gd name="T83" fmla="*/ 207556 h 414"/>
                <a:gd name="T84" fmla="*/ 111213 w 273"/>
                <a:gd name="T85" fmla="*/ 200777 h 414"/>
                <a:gd name="T86" fmla="*/ 116446 w 273"/>
                <a:gd name="T87" fmla="*/ 196605 h 414"/>
                <a:gd name="T88" fmla="*/ 119063 w 273"/>
                <a:gd name="T89" fmla="*/ 192954 h 414"/>
                <a:gd name="T90" fmla="*/ 117318 w 273"/>
                <a:gd name="T91" fmla="*/ 183567 h 414"/>
                <a:gd name="T92" fmla="*/ 114702 w 273"/>
                <a:gd name="T93" fmla="*/ 174702 h 414"/>
                <a:gd name="T94" fmla="*/ 105543 w 273"/>
                <a:gd name="T95" fmla="*/ 161143 h 414"/>
                <a:gd name="T96" fmla="*/ 96820 w 273"/>
                <a:gd name="T97" fmla="*/ 147062 h 414"/>
                <a:gd name="T98" fmla="*/ 93768 w 273"/>
                <a:gd name="T99" fmla="*/ 138718 h 414"/>
                <a:gd name="T100" fmla="*/ 92459 w 273"/>
                <a:gd name="T101" fmla="*/ 128810 h 414"/>
                <a:gd name="T102" fmla="*/ 93768 w 273"/>
                <a:gd name="T103" fmla="*/ 112122 h 414"/>
                <a:gd name="T104" fmla="*/ 96820 w 273"/>
                <a:gd name="T105" fmla="*/ 99085 h 414"/>
                <a:gd name="T106" fmla="*/ 100309 w 273"/>
                <a:gd name="T107" fmla="*/ 87090 h 414"/>
                <a:gd name="T108" fmla="*/ 101182 w 273"/>
                <a:gd name="T109" fmla="*/ 74053 h 41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73" h="414">
                  <a:moveTo>
                    <a:pt x="232" y="142"/>
                  </a:moveTo>
                  <a:lnTo>
                    <a:pt x="225" y="140"/>
                  </a:lnTo>
                  <a:lnTo>
                    <a:pt x="219" y="137"/>
                  </a:lnTo>
                  <a:lnTo>
                    <a:pt x="213" y="133"/>
                  </a:lnTo>
                  <a:lnTo>
                    <a:pt x="209" y="130"/>
                  </a:lnTo>
                  <a:lnTo>
                    <a:pt x="201" y="121"/>
                  </a:lnTo>
                  <a:lnTo>
                    <a:pt x="195" y="113"/>
                  </a:lnTo>
                  <a:lnTo>
                    <a:pt x="190" y="105"/>
                  </a:lnTo>
                  <a:lnTo>
                    <a:pt x="185" y="99"/>
                  </a:lnTo>
                  <a:lnTo>
                    <a:pt x="183" y="96"/>
                  </a:lnTo>
                  <a:lnTo>
                    <a:pt x="179" y="95"/>
                  </a:lnTo>
                  <a:lnTo>
                    <a:pt x="176" y="93"/>
                  </a:lnTo>
                  <a:lnTo>
                    <a:pt x="173" y="93"/>
                  </a:lnTo>
                  <a:lnTo>
                    <a:pt x="167" y="94"/>
                  </a:lnTo>
                  <a:lnTo>
                    <a:pt x="164" y="97"/>
                  </a:lnTo>
                  <a:lnTo>
                    <a:pt x="161" y="101"/>
                  </a:lnTo>
                  <a:lnTo>
                    <a:pt x="159" y="105"/>
                  </a:lnTo>
                  <a:lnTo>
                    <a:pt x="153" y="86"/>
                  </a:lnTo>
                  <a:lnTo>
                    <a:pt x="147" y="68"/>
                  </a:lnTo>
                  <a:lnTo>
                    <a:pt x="142" y="54"/>
                  </a:lnTo>
                  <a:lnTo>
                    <a:pt x="135" y="41"/>
                  </a:lnTo>
                  <a:lnTo>
                    <a:pt x="132" y="36"/>
                  </a:lnTo>
                  <a:lnTo>
                    <a:pt x="128" y="30"/>
                  </a:lnTo>
                  <a:lnTo>
                    <a:pt x="123" y="25"/>
                  </a:lnTo>
                  <a:lnTo>
                    <a:pt x="118" y="20"/>
                  </a:lnTo>
                  <a:lnTo>
                    <a:pt x="111" y="14"/>
                  </a:lnTo>
                  <a:lnTo>
                    <a:pt x="103" y="9"/>
                  </a:lnTo>
                  <a:lnTo>
                    <a:pt x="96" y="5"/>
                  </a:lnTo>
                  <a:lnTo>
                    <a:pt x="86" y="0"/>
                  </a:lnTo>
                  <a:lnTo>
                    <a:pt x="80" y="7"/>
                  </a:lnTo>
                  <a:lnTo>
                    <a:pt x="73" y="15"/>
                  </a:lnTo>
                  <a:lnTo>
                    <a:pt x="69" y="19"/>
                  </a:lnTo>
                  <a:lnTo>
                    <a:pt x="66" y="23"/>
                  </a:lnTo>
                  <a:lnTo>
                    <a:pt x="63" y="25"/>
                  </a:lnTo>
                  <a:lnTo>
                    <a:pt x="60" y="25"/>
                  </a:lnTo>
                  <a:lnTo>
                    <a:pt x="57" y="32"/>
                  </a:lnTo>
                  <a:lnTo>
                    <a:pt x="57" y="37"/>
                  </a:lnTo>
                  <a:lnTo>
                    <a:pt x="56" y="42"/>
                  </a:lnTo>
                  <a:lnTo>
                    <a:pt x="57" y="47"/>
                  </a:lnTo>
                  <a:lnTo>
                    <a:pt x="58" y="59"/>
                  </a:lnTo>
                  <a:lnTo>
                    <a:pt x="60" y="75"/>
                  </a:lnTo>
                  <a:lnTo>
                    <a:pt x="52" y="78"/>
                  </a:lnTo>
                  <a:lnTo>
                    <a:pt x="43" y="83"/>
                  </a:lnTo>
                  <a:lnTo>
                    <a:pt x="33" y="90"/>
                  </a:lnTo>
                  <a:lnTo>
                    <a:pt x="24" y="97"/>
                  </a:lnTo>
                  <a:lnTo>
                    <a:pt x="17" y="104"/>
                  </a:lnTo>
                  <a:lnTo>
                    <a:pt x="9" y="111"/>
                  </a:lnTo>
                  <a:lnTo>
                    <a:pt x="4" y="118"/>
                  </a:lnTo>
                  <a:lnTo>
                    <a:pt x="0" y="123"/>
                  </a:lnTo>
                  <a:lnTo>
                    <a:pt x="40" y="198"/>
                  </a:lnTo>
                  <a:lnTo>
                    <a:pt x="57" y="201"/>
                  </a:lnTo>
                  <a:lnTo>
                    <a:pt x="73" y="205"/>
                  </a:lnTo>
                  <a:lnTo>
                    <a:pt x="78" y="207"/>
                  </a:lnTo>
                  <a:lnTo>
                    <a:pt x="84" y="210"/>
                  </a:lnTo>
                  <a:lnTo>
                    <a:pt x="89" y="214"/>
                  </a:lnTo>
                  <a:lnTo>
                    <a:pt x="93" y="218"/>
                  </a:lnTo>
                  <a:lnTo>
                    <a:pt x="96" y="222"/>
                  </a:lnTo>
                  <a:lnTo>
                    <a:pt x="99" y="226"/>
                  </a:lnTo>
                  <a:lnTo>
                    <a:pt x="101" y="231"/>
                  </a:lnTo>
                  <a:lnTo>
                    <a:pt x="103" y="237"/>
                  </a:lnTo>
                  <a:lnTo>
                    <a:pt x="106" y="251"/>
                  </a:lnTo>
                  <a:lnTo>
                    <a:pt x="106" y="265"/>
                  </a:lnTo>
                  <a:lnTo>
                    <a:pt x="106" y="272"/>
                  </a:lnTo>
                  <a:lnTo>
                    <a:pt x="103" y="279"/>
                  </a:lnTo>
                  <a:lnTo>
                    <a:pt x="100" y="286"/>
                  </a:lnTo>
                  <a:lnTo>
                    <a:pt x="96" y="293"/>
                  </a:lnTo>
                  <a:lnTo>
                    <a:pt x="93" y="301"/>
                  </a:lnTo>
                  <a:lnTo>
                    <a:pt x="89" y="307"/>
                  </a:lnTo>
                  <a:lnTo>
                    <a:pt x="87" y="314"/>
                  </a:lnTo>
                  <a:lnTo>
                    <a:pt x="86" y="321"/>
                  </a:lnTo>
                  <a:lnTo>
                    <a:pt x="88" y="330"/>
                  </a:lnTo>
                  <a:lnTo>
                    <a:pt x="91" y="343"/>
                  </a:lnTo>
                  <a:lnTo>
                    <a:pt x="98" y="359"/>
                  </a:lnTo>
                  <a:lnTo>
                    <a:pt x="107" y="374"/>
                  </a:lnTo>
                  <a:lnTo>
                    <a:pt x="112" y="382"/>
                  </a:lnTo>
                  <a:lnTo>
                    <a:pt x="117" y="389"/>
                  </a:lnTo>
                  <a:lnTo>
                    <a:pt x="122" y="395"/>
                  </a:lnTo>
                  <a:lnTo>
                    <a:pt x="129" y="401"/>
                  </a:lnTo>
                  <a:lnTo>
                    <a:pt x="134" y="406"/>
                  </a:lnTo>
                  <a:lnTo>
                    <a:pt x="141" y="411"/>
                  </a:lnTo>
                  <a:lnTo>
                    <a:pt x="146" y="413"/>
                  </a:lnTo>
                  <a:lnTo>
                    <a:pt x="153" y="414"/>
                  </a:lnTo>
                  <a:lnTo>
                    <a:pt x="174" y="410"/>
                  </a:lnTo>
                  <a:lnTo>
                    <a:pt x="215" y="398"/>
                  </a:lnTo>
                  <a:lnTo>
                    <a:pt x="236" y="392"/>
                  </a:lnTo>
                  <a:lnTo>
                    <a:pt x="255" y="385"/>
                  </a:lnTo>
                  <a:lnTo>
                    <a:pt x="262" y="381"/>
                  </a:lnTo>
                  <a:lnTo>
                    <a:pt x="267" y="377"/>
                  </a:lnTo>
                  <a:lnTo>
                    <a:pt x="271" y="374"/>
                  </a:lnTo>
                  <a:lnTo>
                    <a:pt x="273" y="370"/>
                  </a:lnTo>
                  <a:lnTo>
                    <a:pt x="271" y="361"/>
                  </a:lnTo>
                  <a:lnTo>
                    <a:pt x="269" y="352"/>
                  </a:lnTo>
                  <a:lnTo>
                    <a:pt x="267" y="343"/>
                  </a:lnTo>
                  <a:lnTo>
                    <a:pt x="263" y="335"/>
                  </a:lnTo>
                  <a:lnTo>
                    <a:pt x="253" y="321"/>
                  </a:lnTo>
                  <a:lnTo>
                    <a:pt x="242" y="309"/>
                  </a:lnTo>
                  <a:lnTo>
                    <a:pt x="231" y="295"/>
                  </a:lnTo>
                  <a:lnTo>
                    <a:pt x="222" y="282"/>
                  </a:lnTo>
                  <a:lnTo>
                    <a:pt x="218" y="274"/>
                  </a:lnTo>
                  <a:lnTo>
                    <a:pt x="215" y="266"/>
                  </a:lnTo>
                  <a:lnTo>
                    <a:pt x="213" y="257"/>
                  </a:lnTo>
                  <a:lnTo>
                    <a:pt x="212" y="247"/>
                  </a:lnTo>
                  <a:lnTo>
                    <a:pt x="213" y="229"/>
                  </a:lnTo>
                  <a:lnTo>
                    <a:pt x="215" y="215"/>
                  </a:lnTo>
                  <a:lnTo>
                    <a:pt x="219" y="202"/>
                  </a:lnTo>
                  <a:lnTo>
                    <a:pt x="222" y="190"/>
                  </a:lnTo>
                  <a:lnTo>
                    <a:pt x="226" y="178"/>
                  </a:lnTo>
                  <a:lnTo>
                    <a:pt x="230" y="167"/>
                  </a:lnTo>
                  <a:lnTo>
                    <a:pt x="232" y="155"/>
                  </a:lnTo>
                  <a:lnTo>
                    <a:pt x="232" y="1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99" name="Group 164">
              <a:extLst>
                <a:ext uri="{FF2B5EF4-FFF2-40B4-BE49-F238E27FC236}">
                  <a16:creationId xmlns:a16="http://schemas.microsoft.com/office/drawing/2014/main" id="{D3B10BB1-AA56-4F17-822B-FBDC3BF3C514}"/>
                </a:ext>
              </a:extLst>
            </p:cNvPr>
            <p:cNvGrpSpPr>
              <a:grpSpLocks/>
            </p:cNvGrpSpPr>
            <p:nvPr>
              <p:custDataLst>
                <p:tags r:id="rId95"/>
              </p:custDataLst>
            </p:nvPr>
          </p:nvGrpSpPr>
          <p:grpSpPr bwMode="auto">
            <a:xfrm>
              <a:off x="2193922" y="3246413"/>
              <a:ext cx="323850" cy="401634"/>
              <a:chOff x="1486" y="2412"/>
              <a:chExt cx="244" cy="256"/>
            </a:xfrm>
          </p:grpSpPr>
          <p:sp>
            <p:nvSpPr>
              <p:cNvPr id="482" name="Freeform 165">
                <a:extLst>
                  <a:ext uri="{FF2B5EF4-FFF2-40B4-BE49-F238E27FC236}">
                    <a16:creationId xmlns:a16="http://schemas.microsoft.com/office/drawing/2014/main" id="{699E4970-B387-47AF-986F-26FF30FEBC13}"/>
                  </a:ext>
                </a:extLst>
              </p:cNvPr>
              <p:cNvSpPr>
                <a:spLocks/>
              </p:cNvSpPr>
              <p:nvPr/>
            </p:nvSpPr>
            <p:spPr bwMode="auto">
              <a:xfrm>
                <a:off x="1639" y="2457"/>
                <a:ext cx="18" cy="7"/>
              </a:xfrm>
              <a:custGeom>
                <a:avLst/>
                <a:gdLst>
                  <a:gd name="T0" fmla="*/ 0 w 54"/>
                  <a:gd name="T1" fmla="*/ 0 h 22"/>
                  <a:gd name="T2" fmla="*/ 0 w 54"/>
                  <a:gd name="T3" fmla="*/ 6 h 22"/>
                  <a:gd name="T4" fmla="*/ 2 w 54"/>
                  <a:gd name="T5" fmla="*/ 6 h 22"/>
                  <a:gd name="T6" fmla="*/ 3 w 54"/>
                  <a:gd name="T7" fmla="*/ 7 h 22"/>
                  <a:gd name="T8" fmla="*/ 5 w 54"/>
                  <a:gd name="T9" fmla="*/ 7 h 22"/>
                  <a:gd name="T10" fmla="*/ 7 w 54"/>
                  <a:gd name="T11" fmla="*/ 7 h 22"/>
                  <a:gd name="T12" fmla="*/ 8 w 54"/>
                  <a:gd name="T13" fmla="*/ 7 h 22"/>
                  <a:gd name="T14" fmla="*/ 9 w 54"/>
                  <a:gd name="T15" fmla="*/ 7 h 22"/>
                  <a:gd name="T16" fmla="*/ 10 w 54"/>
                  <a:gd name="T17" fmla="*/ 6 h 22"/>
                  <a:gd name="T18" fmla="*/ 11 w 54"/>
                  <a:gd name="T19" fmla="*/ 6 h 22"/>
                  <a:gd name="T20" fmla="*/ 12 w 54"/>
                  <a:gd name="T21" fmla="*/ 5 h 22"/>
                  <a:gd name="T22" fmla="*/ 14 w 54"/>
                  <a:gd name="T23" fmla="*/ 4 h 22"/>
                  <a:gd name="T24" fmla="*/ 16 w 54"/>
                  <a:gd name="T25" fmla="*/ 3 h 22"/>
                  <a:gd name="T26" fmla="*/ 18 w 54"/>
                  <a:gd name="T27" fmla="*/ 2 h 22"/>
                  <a:gd name="T28" fmla="*/ 12 w 54"/>
                  <a:gd name="T29" fmla="*/ 2 h 22"/>
                  <a:gd name="T30" fmla="*/ 7 w 54"/>
                  <a:gd name="T31" fmla="*/ 1 h 22"/>
                  <a:gd name="T32" fmla="*/ 2 w 54"/>
                  <a:gd name="T33" fmla="*/ 0 h 22"/>
                  <a:gd name="T34" fmla="*/ 0 w 54"/>
                  <a:gd name="T35" fmla="*/ 0 h 2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4" h="22">
                    <a:moveTo>
                      <a:pt x="0" y="0"/>
                    </a:moveTo>
                    <a:lnTo>
                      <a:pt x="0" y="18"/>
                    </a:lnTo>
                    <a:lnTo>
                      <a:pt x="6" y="20"/>
                    </a:lnTo>
                    <a:lnTo>
                      <a:pt x="10" y="21"/>
                    </a:lnTo>
                    <a:lnTo>
                      <a:pt x="14" y="22"/>
                    </a:lnTo>
                    <a:lnTo>
                      <a:pt x="20" y="22"/>
                    </a:lnTo>
                    <a:lnTo>
                      <a:pt x="23" y="22"/>
                    </a:lnTo>
                    <a:lnTo>
                      <a:pt x="27" y="21"/>
                    </a:lnTo>
                    <a:lnTo>
                      <a:pt x="31" y="20"/>
                    </a:lnTo>
                    <a:lnTo>
                      <a:pt x="33" y="18"/>
                    </a:lnTo>
                    <a:lnTo>
                      <a:pt x="35" y="16"/>
                    </a:lnTo>
                    <a:lnTo>
                      <a:pt x="41" y="12"/>
                    </a:lnTo>
                    <a:lnTo>
                      <a:pt x="47" y="8"/>
                    </a:lnTo>
                    <a:lnTo>
                      <a:pt x="54" y="6"/>
                    </a:lnTo>
                    <a:lnTo>
                      <a:pt x="36" y="5"/>
                    </a:lnTo>
                    <a:lnTo>
                      <a:pt x="20" y="3"/>
                    </a:lnTo>
                    <a:lnTo>
                      <a:pt x="6" y="1"/>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3" name="Freeform 166">
                <a:extLst>
                  <a:ext uri="{FF2B5EF4-FFF2-40B4-BE49-F238E27FC236}">
                    <a16:creationId xmlns:a16="http://schemas.microsoft.com/office/drawing/2014/main" id="{0E204106-13D9-48A5-8294-39A5BD817EFF}"/>
                  </a:ext>
                </a:extLst>
              </p:cNvPr>
              <p:cNvSpPr>
                <a:spLocks/>
              </p:cNvSpPr>
              <p:nvPr/>
            </p:nvSpPr>
            <p:spPr bwMode="auto">
              <a:xfrm>
                <a:off x="1526" y="2412"/>
                <a:ext cx="2" cy="8"/>
              </a:xfrm>
              <a:custGeom>
                <a:avLst/>
                <a:gdLst>
                  <a:gd name="T0" fmla="*/ 2 w 6"/>
                  <a:gd name="T1" fmla="*/ 8 h 24"/>
                  <a:gd name="T2" fmla="*/ 2 w 6"/>
                  <a:gd name="T3" fmla="*/ 0 h 24"/>
                  <a:gd name="T4" fmla="*/ 1 w 6"/>
                  <a:gd name="T5" fmla="*/ 0 h 24"/>
                  <a:gd name="T6" fmla="*/ 0 w 6"/>
                  <a:gd name="T7" fmla="*/ 1 h 24"/>
                  <a:gd name="T8" fmla="*/ 0 w 6"/>
                  <a:gd name="T9" fmla="*/ 2 h 24"/>
                  <a:gd name="T10" fmla="*/ 0 w 6"/>
                  <a:gd name="T11" fmla="*/ 4 h 24"/>
                  <a:gd name="T12" fmla="*/ 0 w 6"/>
                  <a:gd name="T13" fmla="*/ 5 h 24"/>
                  <a:gd name="T14" fmla="*/ 0 w 6"/>
                  <a:gd name="T15" fmla="*/ 7 h 24"/>
                  <a:gd name="T16" fmla="*/ 1 w 6"/>
                  <a:gd name="T17" fmla="*/ 8 h 24"/>
                  <a:gd name="T18" fmla="*/ 2 w 6"/>
                  <a:gd name="T19" fmla="*/ 8 h 2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6" h="24">
                    <a:moveTo>
                      <a:pt x="6" y="24"/>
                    </a:moveTo>
                    <a:lnTo>
                      <a:pt x="6" y="0"/>
                    </a:lnTo>
                    <a:lnTo>
                      <a:pt x="4" y="1"/>
                    </a:lnTo>
                    <a:lnTo>
                      <a:pt x="1" y="3"/>
                    </a:lnTo>
                    <a:lnTo>
                      <a:pt x="0" y="7"/>
                    </a:lnTo>
                    <a:lnTo>
                      <a:pt x="0" y="12"/>
                    </a:lnTo>
                    <a:lnTo>
                      <a:pt x="0" y="16"/>
                    </a:lnTo>
                    <a:lnTo>
                      <a:pt x="1" y="20"/>
                    </a:lnTo>
                    <a:lnTo>
                      <a:pt x="4" y="23"/>
                    </a:lnTo>
                    <a:lnTo>
                      <a:pt x="6"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4" name="Freeform 167">
                <a:extLst>
                  <a:ext uri="{FF2B5EF4-FFF2-40B4-BE49-F238E27FC236}">
                    <a16:creationId xmlns:a16="http://schemas.microsoft.com/office/drawing/2014/main" id="{F1269C30-723D-4B52-89DF-F222B714D2D5}"/>
                  </a:ext>
                </a:extLst>
              </p:cNvPr>
              <p:cNvSpPr>
                <a:spLocks/>
              </p:cNvSpPr>
              <p:nvPr/>
            </p:nvSpPr>
            <p:spPr bwMode="auto">
              <a:xfrm>
                <a:off x="1557" y="2438"/>
                <a:ext cx="8" cy="4"/>
              </a:xfrm>
              <a:custGeom>
                <a:avLst/>
                <a:gdLst>
                  <a:gd name="T0" fmla="*/ 0 w 27"/>
                  <a:gd name="T1" fmla="*/ 4 h 12"/>
                  <a:gd name="T2" fmla="*/ 8 w 27"/>
                  <a:gd name="T3" fmla="*/ 4 h 12"/>
                  <a:gd name="T4" fmla="*/ 4 w 27"/>
                  <a:gd name="T5" fmla="*/ 0 h 12"/>
                  <a:gd name="T6" fmla="*/ 0 w 27"/>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7" h="12">
                    <a:moveTo>
                      <a:pt x="0" y="12"/>
                    </a:moveTo>
                    <a:lnTo>
                      <a:pt x="27" y="12"/>
                    </a:lnTo>
                    <a:lnTo>
                      <a:pt x="14" y="0"/>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5" name="Freeform 168">
                <a:extLst>
                  <a:ext uri="{FF2B5EF4-FFF2-40B4-BE49-F238E27FC236}">
                    <a16:creationId xmlns:a16="http://schemas.microsoft.com/office/drawing/2014/main" id="{23A12320-111C-4FAA-B10E-19D1CCF3DBBA}"/>
                  </a:ext>
                </a:extLst>
              </p:cNvPr>
              <p:cNvSpPr>
                <a:spLocks/>
              </p:cNvSpPr>
              <p:nvPr/>
            </p:nvSpPr>
            <p:spPr bwMode="auto">
              <a:xfrm>
                <a:off x="1486" y="2444"/>
                <a:ext cx="244" cy="224"/>
              </a:xfrm>
              <a:custGeom>
                <a:avLst/>
                <a:gdLst>
                  <a:gd name="T0" fmla="*/ 3 w 743"/>
                  <a:gd name="T1" fmla="*/ 69 h 672"/>
                  <a:gd name="T2" fmla="*/ 16 w 743"/>
                  <a:gd name="T3" fmla="*/ 89 h 672"/>
                  <a:gd name="T4" fmla="*/ 40 w 743"/>
                  <a:gd name="T5" fmla="*/ 98 h 672"/>
                  <a:gd name="T6" fmla="*/ 55 w 743"/>
                  <a:gd name="T7" fmla="*/ 105 h 672"/>
                  <a:gd name="T8" fmla="*/ 65 w 743"/>
                  <a:gd name="T9" fmla="*/ 115 h 672"/>
                  <a:gd name="T10" fmla="*/ 97 w 743"/>
                  <a:gd name="T11" fmla="*/ 126 h 672"/>
                  <a:gd name="T12" fmla="*/ 94 w 743"/>
                  <a:gd name="T13" fmla="*/ 140 h 672"/>
                  <a:gd name="T14" fmla="*/ 102 w 743"/>
                  <a:gd name="T15" fmla="*/ 171 h 672"/>
                  <a:gd name="T16" fmla="*/ 100 w 743"/>
                  <a:gd name="T17" fmla="*/ 178 h 672"/>
                  <a:gd name="T18" fmla="*/ 99 w 743"/>
                  <a:gd name="T19" fmla="*/ 189 h 672"/>
                  <a:gd name="T20" fmla="*/ 108 w 743"/>
                  <a:gd name="T21" fmla="*/ 206 h 672"/>
                  <a:gd name="T22" fmla="*/ 122 w 743"/>
                  <a:gd name="T23" fmla="*/ 220 h 672"/>
                  <a:gd name="T24" fmla="*/ 136 w 743"/>
                  <a:gd name="T25" fmla="*/ 224 h 672"/>
                  <a:gd name="T26" fmla="*/ 153 w 743"/>
                  <a:gd name="T27" fmla="*/ 218 h 672"/>
                  <a:gd name="T28" fmla="*/ 166 w 743"/>
                  <a:gd name="T29" fmla="*/ 206 h 672"/>
                  <a:gd name="T30" fmla="*/ 172 w 743"/>
                  <a:gd name="T31" fmla="*/ 195 h 672"/>
                  <a:gd name="T32" fmla="*/ 157 w 743"/>
                  <a:gd name="T33" fmla="*/ 156 h 672"/>
                  <a:gd name="T34" fmla="*/ 189 w 743"/>
                  <a:gd name="T35" fmla="*/ 167 h 672"/>
                  <a:gd name="T36" fmla="*/ 197 w 743"/>
                  <a:gd name="T37" fmla="*/ 159 h 672"/>
                  <a:gd name="T38" fmla="*/ 214 w 743"/>
                  <a:gd name="T39" fmla="*/ 148 h 672"/>
                  <a:gd name="T40" fmla="*/ 220 w 743"/>
                  <a:gd name="T41" fmla="*/ 147 h 672"/>
                  <a:gd name="T42" fmla="*/ 225 w 743"/>
                  <a:gd name="T43" fmla="*/ 145 h 672"/>
                  <a:gd name="T44" fmla="*/ 219 w 743"/>
                  <a:gd name="T45" fmla="*/ 109 h 672"/>
                  <a:gd name="T46" fmla="*/ 233 w 743"/>
                  <a:gd name="T47" fmla="*/ 98 h 672"/>
                  <a:gd name="T48" fmla="*/ 234 w 743"/>
                  <a:gd name="T49" fmla="*/ 84 h 672"/>
                  <a:gd name="T50" fmla="*/ 238 w 743"/>
                  <a:gd name="T51" fmla="*/ 78 h 672"/>
                  <a:gd name="T52" fmla="*/ 239 w 743"/>
                  <a:gd name="T53" fmla="*/ 71 h 672"/>
                  <a:gd name="T54" fmla="*/ 230 w 743"/>
                  <a:gd name="T55" fmla="*/ 65 h 672"/>
                  <a:gd name="T56" fmla="*/ 225 w 743"/>
                  <a:gd name="T57" fmla="*/ 56 h 672"/>
                  <a:gd name="T58" fmla="*/ 220 w 743"/>
                  <a:gd name="T59" fmla="*/ 48 h 672"/>
                  <a:gd name="T60" fmla="*/ 210 w 743"/>
                  <a:gd name="T61" fmla="*/ 51 h 672"/>
                  <a:gd name="T62" fmla="*/ 207 w 743"/>
                  <a:gd name="T63" fmla="*/ 45 h 672"/>
                  <a:gd name="T64" fmla="*/ 198 w 743"/>
                  <a:gd name="T65" fmla="*/ 38 h 672"/>
                  <a:gd name="T66" fmla="*/ 192 w 743"/>
                  <a:gd name="T67" fmla="*/ 32 h 672"/>
                  <a:gd name="T68" fmla="*/ 176 w 743"/>
                  <a:gd name="T69" fmla="*/ 25 h 672"/>
                  <a:gd name="T70" fmla="*/ 161 w 743"/>
                  <a:gd name="T71" fmla="*/ 29 h 672"/>
                  <a:gd name="T72" fmla="*/ 155 w 743"/>
                  <a:gd name="T73" fmla="*/ 34 h 672"/>
                  <a:gd name="T74" fmla="*/ 143 w 743"/>
                  <a:gd name="T75" fmla="*/ 39 h 672"/>
                  <a:gd name="T76" fmla="*/ 137 w 743"/>
                  <a:gd name="T77" fmla="*/ 35 h 672"/>
                  <a:gd name="T78" fmla="*/ 129 w 743"/>
                  <a:gd name="T79" fmla="*/ 34 h 672"/>
                  <a:gd name="T80" fmla="*/ 118 w 743"/>
                  <a:gd name="T81" fmla="*/ 28 h 672"/>
                  <a:gd name="T82" fmla="*/ 104 w 743"/>
                  <a:gd name="T83" fmla="*/ 28 h 672"/>
                  <a:gd name="T84" fmla="*/ 96 w 743"/>
                  <a:gd name="T85" fmla="*/ 31 h 672"/>
                  <a:gd name="T86" fmla="*/ 83 w 743"/>
                  <a:gd name="T87" fmla="*/ 31 h 672"/>
                  <a:gd name="T88" fmla="*/ 77 w 743"/>
                  <a:gd name="T89" fmla="*/ 17 h 672"/>
                  <a:gd name="T90" fmla="*/ 59 w 743"/>
                  <a:gd name="T91" fmla="*/ 7 h 672"/>
                  <a:gd name="T92" fmla="*/ 49 w 743"/>
                  <a:gd name="T93" fmla="*/ 3 h 672"/>
                  <a:gd name="T94" fmla="*/ 45 w 743"/>
                  <a:gd name="T95" fmla="*/ 15 h 672"/>
                  <a:gd name="T96" fmla="*/ 39 w 743"/>
                  <a:gd name="T97" fmla="*/ 23 h 672"/>
                  <a:gd name="T98" fmla="*/ 39 w 743"/>
                  <a:gd name="T99" fmla="*/ 46 h 672"/>
                  <a:gd name="T100" fmla="*/ 34 w 743"/>
                  <a:gd name="T101" fmla="*/ 65 h 672"/>
                  <a:gd name="T102" fmla="*/ 29 w 743"/>
                  <a:gd name="T103" fmla="*/ 63 h 672"/>
                  <a:gd name="T104" fmla="*/ 23 w 743"/>
                  <a:gd name="T105" fmla="*/ 61 h 672"/>
                  <a:gd name="T106" fmla="*/ 19 w 743"/>
                  <a:gd name="T107" fmla="*/ 56 h 672"/>
                  <a:gd name="T108" fmla="*/ 17 w 743"/>
                  <a:gd name="T109" fmla="*/ 40 h 672"/>
                  <a:gd name="T110" fmla="*/ 24 w 743"/>
                  <a:gd name="T111" fmla="*/ 20 h 672"/>
                  <a:gd name="T112" fmla="*/ 32 w 743"/>
                  <a:gd name="T113" fmla="*/ 5 h 672"/>
                  <a:gd name="T114" fmla="*/ 17 w 743"/>
                  <a:gd name="T115" fmla="*/ 10 h 672"/>
                  <a:gd name="T116" fmla="*/ 5 w 743"/>
                  <a:gd name="T117" fmla="*/ 23 h 672"/>
                  <a:gd name="T118" fmla="*/ 0 w 743"/>
                  <a:gd name="T119" fmla="*/ 40 h 672"/>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743" h="672">
                    <a:moveTo>
                      <a:pt x="0" y="143"/>
                    </a:moveTo>
                    <a:lnTo>
                      <a:pt x="0" y="160"/>
                    </a:lnTo>
                    <a:lnTo>
                      <a:pt x="2" y="177"/>
                    </a:lnTo>
                    <a:lnTo>
                      <a:pt x="5" y="194"/>
                    </a:lnTo>
                    <a:lnTo>
                      <a:pt x="9" y="208"/>
                    </a:lnTo>
                    <a:lnTo>
                      <a:pt x="15" y="222"/>
                    </a:lnTo>
                    <a:lnTo>
                      <a:pt x="22" y="235"/>
                    </a:lnTo>
                    <a:lnTo>
                      <a:pt x="29" y="246"/>
                    </a:lnTo>
                    <a:lnTo>
                      <a:pt x="39" y="257"/>
                    </a:lnTo>
                    <a:lnTo>
                      <a:pt x="50" y="266"/>
                    </a:lnTo>
                    <a:lnTo>
                      <a:pt x="61" y="274"/>
                    </a:lnTo>
                    <a:lnTo>
                      <a:pt x="74" y="280"/>
                    </a:lnTo>
                    <a:lnTo>
                      <a:pt x="89" y="286"/>
                    </a:lnTo>
                    <a:lnTo>
                      <a:pt x="104" y="291"/>
                    </a:lnTo>
                    <a:lnTo>
                      <a:pt x="121" y="294"/>
                    </a:lnTo>
                    <a:lnTo>
                      <a:pt x="139" y="296"/>
                    </a:lnTo>
                    <a:lnTo>
                      <a:pt x="159" y="297"/>
                    </a:lnTo>
                    <a:lnTo>
                      <a:pt x="160" y="302"/>
                    </a:lnTo>
                    <a:lnTo>
                      <a:pt x="162" y="309"/>
                    </a:lnTo>
                    <a:lnTo>
                      <a:pt x="166" y="316"/>
                    </a:lnTo>
                    <a:lnTo>
                      <a:pt x="171" y="323"/>
                    </a:lnTo>
                    <a:lnTo>
                      <a:pt x="177" y="331"/>
                    </a:lnTo>
                    <a:lnTo>
                      <a:pt x="184" y="337"/>
                    </a:lnTo>
                    <a:lnTo>
                      <a:pt x="191" y="342"/>
                    </a:lnTo>
                    <a:lnTo>
                      <a:pt x="198" y="346"/>
                    </a:lnTo>
                    <a:lnTo>
                      <a:pt x="311" y="346"/>
                    </a:lnTo>
                    <a:lnTo>
                      <a:pt x="308" y="357"/>
                    </a:lnTo>
                    <a:lnTo>
                      <a:pt x="305" y="365"/>
                    </a:lnTo>
                    <a:lnTo>
                      <a:pt x="300" y="372"/>
                    </a:lnTo>
                    <a:lnTo>
                      <a:pt x="296" y="379"/>
                    </a:lnTo>
                    <a:lnTo>
                      <a:pt x="292" y="385"/>
                    </a:lnTo>
                    <a:lnTo>
                      <a:pt x="288" y="391"/>
                    </a:lnTo>
                    <a:lnTo>
                      <a:pt x="286" y="399"/>
                    </a:lnTo>
                    <a:lnTo>
                      <a:pt x="285" y="408"/>
                    </a:lnTo>
                    <a:lnTo>
                      <a:pt x="286" y="420"/>
                    </a:lnTo>
                    <a:lnTo>
                      <a:pt x="289" y="435"/>
                    </a:lnTo>
                    <a:lnTo>
                      <a:pt x="293" y="451"/>
                    </a:lnTo>
                    <a:lnTo>
                      <a:pt x="298" y="467"/>
                    </a:lnTo>
                    <a:lnTo>
                      <a:pt x="307" y="495"/>
                    </a:lnTo>
                    <a:lnTo>
                      <a:pt x="311" y="513"/>
                    </a:lnTo>
                    <a:lnTo>
                      <a:pt x="310" y="517"/>
                    </a:lnTo>
                    <a:lnTo>
                      <a:pt x="309" y="522"/>
                    </a:lnTo>
                    <a:lnTo>
                      <a:pt x="307" y="526"/>
                    </a:lnTo>
                    <a:lnTo>
                      <a:pt x="305" y="531"/>
                    </a:lnTo>
                    <a:lnTo>
                      <a:pt x="303" y="535"/>
                    </a:lnTo>
                    <a:lnTo>
                      <a:pt x="300" y="540"/>
                    </a:lnTo>
                    <a:lnTo>
                      <a:pt x="298" y="544"/>
                    </a:lnTo>
                    <a:lnTo>
                      <a:pt x="298" y="549"/>
                    </a:lnTo>
                    <a:lnTo>
                      <a:pt x="299" y="557"/>
                    </a:lnTo>
                    <a:lnTo>
                      <a:pt x="302" y="566"/>
                    </a:lnTo>
                    <a:lnTo>
                      <a:pt x="305" y="577"/>
                    </a:lnTo>
                    <a:lnTo>
                      <a:pt x="309" y="587"/>
                    </a:lnTo>
                    <a:lnTo>
                      <a:pt x="315" y="597"/>
                    </a:lnTo>
                    <a:lnTo>
                      <a:pt x="321" y="607"/>
                    </a:lnTo>
                    <a:lnTo>
                      <a:pt x="328" y="617"/>
                    </a:lnTo>
                    <a:lnTo>
                      <a:pt x="337" y="627"/>
                    </a:lnTo>
                    <a:lnTo>
                      <a:pt x="344" y="637"/>
                    </a:lnTo>
                    <a:lnTo>
                      <a:pt x="353" y="645"/>
                    </a:lnTo>
                    <a:lnTo>
                      <a:pt x="362" y="653"/>
                    </a:lnTo>
                    <a:lnTo>
                      <a:pt x="371" y="659"/>
                    </a:lnTo>
                    <a:lnTo>
                      <a:pt x="379" y="664"/>
                    </a:lnTo>
                    <a:lnTo>
                      <a:pt x="388" y="669"/>
                    </a:lnTo>
                    <a:lnTo>
                      <a:pt x="397" y="671"/>
                    </a:lnTo>
                    <a:lnTo>
                      <a:pt x="405" y="672"/>
                    </a:lnTo>
                    <a:lnTo>
                      <a:pt x="415" y="671"/>
                    </a:lnTo>
                    <a:lnTo>
                      <a:pt x="424" y="670"/>
                    </a:lnTo>
                    <a:lnTo>
                      <a:pt x="435" y="667"/>
                    </a:lnTo>
                    <a:lnTo>
                      <a:pt x="445" y="663"/>
                    </a:lnTo>
                    <a:lnTo>
                      <a:pt x="455" y="658"/>
                    </a:lnTo>
                    <a:lnTo>
                      <a:pt x="465" y="653"/>
                    </a:lnTo>
                    <a:lnTo>
                      <a:pt x="475" y="647"/>
                    </a:lnTo>
                    <a:lnTo>
                      <a:pt x="484" y="641"/>
                    </a:lnTo>
                    <a:lnTo>
                      <a:pt x="493" y="634"/>
                    </a:lnTo>
                    <a:lnTo>
                      <a:pt x="500" y="627"/>
                    </a:lnTo>
                    <a:lnTo>
                      <a:pt x="507" y="619"/>
                    </a:lnTo>
                    <a:lnTo>
                      <a:pt x="512" y="612"/>
                    </a:lnTo>
                    <a:lnTo>
                      <a:pt x="518" y="605"/>
                    </a:lnTo>
                    <a:lnTo>
                      <a:pt x="521" y="599"/>
                    </a:lnTo>
                    <a:lnTo>
                      <a:pt x="523" y="592"/>
                    </a:lnTo>
                    <a:lnTo>
                      <a:pt x="524" y="586"/>
                    </a:lnTo>
                    <a:lnTo>
                      <a:pt x="518" y="574"/>
                    </a:lnTo>
                    <a:lnTo>
                      <a:pt x="504" y="551"/>
                    </a:lnTo>
                    <a:lnTo>
                      <a:pt x="487" y="528"/>
                    </a:lnTo>
                    <a:lnTo>
                      <a:pt x="477" y="513"/>
                    </a:lnTo>
                    <a:lnTo>
                      <a:pt x="477" y="469"/>
                    </a:lnTo>
                    <a:lnTo>
                      <a:pt x="504" y="469"/>
                    </a:lnTo>
                    <a:lnTo>
                      <a:pt x="518" y="476"/>
                    </a:lnTo>
                    <a:lnTo>
                      <a:pt x="541" y="484"/>
                    </a:lnTo>
                    <a:lnTo>
                      <a:pt x="564" y="493"/>
                    </a:lnTo>
                    <a:lnTo>
                      <a:pt x="577" y="500"/>
                    </a:lnTo>
                    <a:lnTo>
                      <a:pt x="578" y="496"/>
                    </a:lnTo>
                    <a:lnTo>
                      <a:pt x="580" y="493"/>
                    </a:lnTo>
                    <a:lnTo>
                      <a:pt x="584" y="489"/>
                    </a:lnTo>
                    <a:lnTo>
                      <a:pt x="589" y="485"/>
                    </a:lnTo>
                    <a:lnTo>
                      <a:pt x="600" y="477"/>
                    </a:lnTo>
                    <a:lnTo>
                      <a:pt x="614" y="469"/>
                    </a:lnTo>
                    <a:lnTo>
                      <a:pt x="629" y="461"/>
                    </a:lnTo>
                    <a:lnTo>
                      <a:pt x="642" y="453"/>
                    </a:lnTo>
                    <a:lnTo>
                      <a:pt x="647" y="449"/>
                    </a:lnTo>
                    <a:lnTo>
                      <a:pt x="652" y="445"/>
                    </a:lnTo>
                    <a:lnTo>
                      <a:pt x="655" y="442"/>
                    </a:lnTo>
                    <a:lnTo>
                      <a:pt x="657" y="438"/>
                    </a:lnTo>
                    <a:lnTo>
                      <a:pt x="662" y="440"/>
                    </a:lnTo>
                    <a:lnTo>
                      <a:pt x="666" y="441"/>
                    </a:lnTo>
                    <a:lnTo>
                      <a:pt x="669" y="441"/>
                    </a:lnTo>
                    <a:lnTo>
                      <a:pt x="674" y="441"/>
                    </a:lnTo>
                    <a:lnTo>
                      <a:pt x="677" y="440"/>
                    </a:lnTo>
                    <a:lnTo>
                      <a:pt x="679" y="439"/>
                    </a:lnTo>
                    <a:lnTo>
                      <a:pt x="681" y="437"/>
                    </a:lnTo>
                    <a:lnTo>
                      <a:pt x="685" y="435"/>
                    </a:lnTo>
                    <a:lnTo>
                      <a:pt x="691" y="424"/>
                    </a:lnTo>
                    <a:lnTo>
                      <a:pt x="697" y="414"/>
                    </a:lnTo>
                    <a:lnTo>
                      <a:pt x="657" y="339"/>
                    </a:lnTo>
                    <a:lnTo>
                      <a:pt x="661" y="334"/>
                    </a:lnTo>
                    <a:lnTo>
                      <a:pt x="666" y="327"/>
                    </a:lnTo>
                    <a:lnTo>
                      <a:pt x="674" y="320"/>
                    </a:lnTo>
                    <a:lnTo>
                      <a:pt x="681" y="313"/>
                    </a:lnTo>
                    <a:lnTo>
                      <a:pt x="690" y="306"/>
                    </a:lnTo>
                    <a:lnTo>
                      <a:pt x="700" y="299"/>
                    </a:lnTo>
                    <a:lnTo>
                      <a:pt x="709" y="294"/>
                    </a:lnTo>
                    <a:lnTo>
                      <a:pt x="717" y="291"/>
                    </a:lnTo>
                    <a:lnTo>
                      <a:pt x="715" y="275"/>
                    </a:lnTo>
                    <a:lnTo>
                      <a:pt x="714" y="263"/>
                    </a:lnTo>
                    <a:lnTo>
                      <a:pt x="713" y="258"/>
                    </a:lnTo>
                    <a:lnTo>
                      <a:pt x="714" y="253"/>
                    </a:lnTo>
                    <a:lnTo>
                      <a:pt x="714" y="248"/>
                    </a:lnTo>
                    <a:lnTo>
                      <a:pt x="717" y="241"/>
                    </a:lnTo>
                    <a:lnTo>
                      <a:pt x="720" y="241"/>
                    </a:lnTo>
                    <a:lnTo>
                      <a:pt x="723" y="239"/>
                    </a:lnTo>
                    <a:lnTo>
                      <a:pt x="726" y="235"/>
                    </a:lnTo>
                    <a:lnTo>
                      <a:pt x="730" y="231"/>
                    </a:lnTo>
                    <a:lnTo>
                      <a:pt x="737" y="223"/>
                    </a:lnTo>
                    <a:lnTo>
                      <a:pt x="743" y="216"/>
                    </a:lnTo>
                    <a:lnTo>
                      <a:pt x="735" y="215"/>
                    </a:lnTo>
                    <a:lnTo>
                      <a:pt x="728" y="213"/>
                    </a:lnTo>
                    <a:lnTo>
                      <a:pt x="721" y="210"/>
                    </a:lnTo>
                    <a:lnTo>
                      <a:pt x="714" y="207"/>
                    </a:lnTo>
                    <a:lnTo>
                      <a:pt x="709" y="204"/>
                    </a:lnTo>
                    <a:lnTo>
                      <a:pt x="703" y="200"/>
                    </a:lnTo>
                    <a:lnTo>
                      <a:pt x="700" y="196"/>
                    </a:lnTo>
                    <a:lnTo>
                      <a:pt x="696" y="191"/>
                    </a:lnTo>
                    <a:lnTo>
                      <a:pt x="692" y="186"/>
                    </a:lnTo>
                    <a:lnTo>
                      <a:pt x="690" y="181"/>
                    </a:lnTo>
                    <a:lnTo>
                      <a:pt x="688" y="174"/>
                    </a:lnTo>
                    <a:lnTo>
                      <a:pt x="686" y="168"/>
                    </a:lnTo>
                    <a:lnTo>
                      <a:pt x="684" y="156"/>
                    </a:lnTo>
                    <a:lnTo>
                      <a:pt x="684" y="143"/>
                    </a:lnTo>
                    <a:lnTo>
                      <a:pt x="679" y="143"/>
                    </a:lnTo>
                    <a:lnTo>
                      <a:pt x="675" y="144"/>
                    </a:lnTo>
                    <a:lnTo>
                      <a:pt x="670" y="145"/>
                    </a:lnTo>
                    <a:lnTo>
                      <a:pt x="667" y="146"/>
                    </a:lnTo>
                    <a:lnTo>
                      <a:pt x="662" y="150"/>
                    </a:lnTo>
                    <a:lnTo>
                      <a:pt x="657" y="155"/>
                    </a:lnTo>
                    <a:lnTo>
                      <a:pt x="646" y="154"/>
                    </a:lnTo>
                    <a:lnTo>
                      <a:pt x="639" y="152"/>
                    </a:lnTo>
                    <a:lnTo>
                      <a:pt x="636" y="150"/>
                    </a:lnTo>
                    <a:lnTo>
                      <a:pt x="634" y="148"/>
                    </a:lnTo>
                    <a:lnTo>
                      <a:pt x="632" y="146"/>
                    </a:lnTo>
                    <a:lnTo>
                      <a:pt x="631" y="144"/>
                    </a:lnTo>
                    <a:lnTo>
                      <a:pt x="630" y="134"/>
                    </a:lnTo>
                    <a:lnTo>
                      <a:pt x="630" y="124"/>
                    </a:lnTo>
                    <a:lnTo>
                      <a:pt x="624" y="124"/>
                    </a:lnTo>
                    <a:lnTo>
                      <a:pt x="618" y="121"/>
                    </a:lnTo>
                    <a:lnTo>
                      <a:pt x="610" y="119"/>
                    </a:lnTo>
                    <a:lnTo>
                      <a:pt x="602" y="115"/>
                    </a:lnTo>
                    <a:lnTo>
                      <a:pt x="595" y="111"/>
                    </a:lnTo>
                    <a:lnTo>
                      <a:pt x="589" y="106"/>
                    </a:lnTo>
                    <a:lnTo>
                      <a:pt x="587" y="103"/>
                    </a:lnTo>
                    <a:lnTo>
                      <a:pt x="585" y="100"/>
                    </a:lnTo>
                    <a:lnTo>
                      <a:pt x="584" y="97"/>
                    </a:lnTo>
                    <a:lnTo>
                      <a:pt x="584" y="93"/>
                    </a:lnTo>
                    <a:lnTo>
                      <a:pt x="587" y="83"/>
                    </a:lnTo>
                    <a:lnTo>
                      <a:pt x="590" y="69"/>
                    </a:lnTo>
                    <a:lnTo>
                      <a:pt x="544" y="69"/>
                    </a:lnTo>
                    <a:lnTo>
                      <a:pt x="536" y="75"/>
                    </a:lnTo>
                    <a:lnTo>
                      <a:pt x="530" y="80"/>
                    </a:lnTo>
                    <a:lnTo>
                      <a:pt x="523" y="83"/>
                    </a:lnTo>
                    <a:lnTo>
                      <a:pt x="518" y="85"/>
                    </a:lnTo>
                    <a:lnTo>
                      <a:pt x="505" y="87"/>
                    </a:lnTo>
                    <a:lnTo>
                      <a:pt x="490" y="87"/>
                    </a:lnTo>
                    <a:lnTo>
                      <a:pt x="485" y="88"/>
                    </a:lnTo>
                    <a:lnTo>
                      <a:pt x="478" y="92"/>
                    </a:lnTo>
                    <a:lnTo>
                      <a:pt x="475" y="94"/>
                    </a:lnTo>
                    <a:lnTo>
                      <a:pt x="473" y="97"/>
                    </a:lnTo>
                    <a:lnTo>
                      <a:pt x="472" y="101"/>
                    </a:lnTo>
                    <a:lnTo>
                      <a:pt x="471" y="105"/>
                    </a:lnTo>
                    <a:lnTo>
                      <a:pt x="457" y="111"/>
                    </a:lnTo>
                    <a:lnTo>
                      <a:pt x="444" y="117"/>
                    </a:lnTo>
                    <a:lnTo>
                      <a:pt x="439" y="117"/>
                    </a:lnTo>
                    <a:lnTo>
                      <a:pt x="434" y="116"/>
                    </a:lnTo>
                    <a:lnTo>
                      <a:pt x="430" y="115"/>
                    </a:lnTo>
                    <a:lnTo>
                      <a:pt x="426" y="113"/>
                    </a:lnTo>
                    <a:lnTo>
                      <a:pt x="422" y="110"/>
                    </a:lnTo>
                    <a:lnTo>
                      <a:pt x="420" y="107"/>
                    </a:lnTo>
                    <a:lnTo>
                      <a:pt x="418" y="104"/>
                    </a:lnTo>
                    <a:lnTo>
                      <a:pt x="418" y="99"/>
                    </a:lnTo>
                    <a:lnTo>
                      <a:pt x="410" y="103"/>
                    </a:lnTo>
                    <a:lnTo>
                      <a:pt x="404" y="104"/>
                    </a:lnTo>
                    <a:lnTo>
                      <a:pt x="398" y="104"/>
                    </a:lnTo>
                    <a:lnTo>
                      <a:pt x="393" y="102"/>
                    </a:lnTo>
                    <a:lnTo>
                      <a:pt x="388" y="98"/>
                    </a:lnTo>
                    <a:lnTo>
                      <a:pt x="384" y="93"/>
                    </a:lnTo>
                    <a:lnTo>
                      <a:pt x="381" y="88"/>
                    </a:lnTo>
                    <a:lnTo>
                      <a:pt x="378" y="81"/>
                    </a:lnTo>
                    <a:lnTo>
                      <a:pt x="359" y="83"/>
                    </a:lnTo>
                    <a:lnTo>
                      <a:pt x="340" y="86"/>
                    </a:lnTo>
                    <a:lnTo>
                      <a:pt x="331" y="86"/>
                    </a:lnTo>
                    <a:lnTo>
                      <a:pt x="323" y="86"/>
                    </a:lnTo>
                    <a:lnTo>
                      <a:pt x="320" y="86"/>
                    </a:lnTo>
                    <a:lnTo>
                      <a:pt x="317" y="85"/>
                    </a:lnTo>
                    <a:lnTo>
                      <a:pt x="314" y="83"/>
                    </a:lnTo>
                    <a:lnTo>
                      <a:pt x="311" y="81"/>
                    </a:lnTo>
                    <a:lnTo>
                      <a:pt x="305" y="86"/>
                    </a:lnTo>
                    <a:lnTo>
                      <a:pt x="298" y="89"/>
                    </a:lnTo>
                    <a:lnTo>
                      <a:pt x="291" y="92"/>
                    </a:lnTo>
                    <a:lnTo>
                      <a:pt x="285" y="93"/>
                    </a:lnTo>
                    <a:lnTo>
                      <a:pt x="275" y="93"/>
                    </a:lnTo>
                    <a:lnTo>
                      <a:pt x="265" y="93"/>
                    </a:lnTo>
                    <a:lnTo>
                      <a:pt x="258" y="93"/>
                    </a:lnTo>
                    <a:lnTo>
                      <a:pt x="252" y="93"/>
                    </a:lnTo>
                    <a:lnTo>
                      <a:pt x="251" y="83"/>
                    </a:lnTo>
                    <a:lnTo>
                      <a:pt x="249" y="73"/>
                    </a:lnTo>
                    <a:lnTo>
                      <a:pt x="244" y="65"/>
                    </a:lnTo>
                    <a:lnTo>
                      <a:pt x="240" y="58"/>
                    </a:lnTo>
                    <a:lnTo>
                      <a:pt x="233" y="52"/>
                    </a:lnTo>
                    <a:lnTo>
                      <a:pt x="227" y="47"/>
                    </a:lnTo>
                    <a:lnTo>
                      <a:pt x="219" y="42"/>
                    </a:lnTo>
                    <a:lnTo>
                      <a:pt x="211" y="38"/>
                    </a:lnTo>
                    <a:lnTo>
                      <a:pt x="195" y="30"/>
                    </a:lnTo>
                    <a:lnTo>
                      <a:pt x="179" y="22"/>
                    </a:lnTo>
                    <a:lnTo>
                      <a:pt x="171" y="18"/>
                    </a:lnTo>
                    <a:lnTo>
                      <a:pt x="164" y="13"/>
                    </a:lnTo>
                    <a:lnTo>
                      <a:pt x="158" y="7"/>
                    </a:lnTo>
                    <a:lnTo>
                      <a:pt x="152" y="0"/>
                    </a:lnTo>
                    <a:lnTo>
                      <a:pt x="148" y="10"/>
                    </a:lnTo>
                    <a:lnTo>
                      <a:pt x="146" y="20"/>
                    </a:lnTo>
                    <a:lnTo>
                      <a:pt x="146" y="31"/>
                    </a:lnTo>
                    <a:lnTo>
                      <a:pt x="146" y="44"/>
                    </a:lnTo>
                    <a:lnTo>
                      <a:pt x="140" y="44"/>
                    </a:lnTo>
                    <a:lnTo>
                      <a:pt x="136" y="46"/>
                    </a:lnTo>
                    <a:lnTo>
                      <a:pt x="131" y="49"/>
                    </a:lnTo>
                    <a:lnTo>
                      <a:pt x="127" y="52"/>
                    </a:lnTo>
                    <a:lnTo>
                      <a:pt x="124" y="57"/>
                    </a:lnTo>
                    <a:lnTo>
                      <a:pt x="121" y="62"/>
                    </a:lnTo>
                    <a:lnTo>
                      <a:pt x="119" y="69"/>
                    </a:lnTo>
                    <a:lnTo>
                      <a:pt x="119" y="75"/>
                    </a:lnTo>
                    <a:lnTo>
                      <a:pt x="119" y="96"/>
                    </a:lnTo>
                    <a:lnTo>
                      <a:pt x="119" y="108"/>
                    </a:lnTo>
                    <a:lnTo>
                      <a:pt x="119" y="118"/>
                    </a:lnTo>
                    <a:lnTo>
                      <a:pt x="119" y="137"/>
                    </a:lnTo>
                    <a:lnTo>
                      <a:pt x="116" y="150"/>
                    </a:lnTo>
                    <a:lnTo>
                      <a:pt x="109" y="169"/>
                    </a:lnTo>
                    <a:lnTo>
                      <a:pt x="107" y="180"/>
                    </a:lnTo>
                    <a:lnTo>
                      <a:pt x="105" y="188"/>
                    </a:lnTo>
                    <a:lnTo>
                      <a:pt x="104" y="194"/>
                    </a:lnTo>
                    <a:lnTo>
                      <a:pt x="105" y="198"/>
                    </a:lnTo>
                    <a:lnTo>
                      <a:pt x="99" y="197"/>
                    </a:lnTo>
                    <a:lnTo>
                      <a:pt x="93" y="194"/>
                    </a:lnTo>
                    <a:lnTo>
                      <a:pt x="90" y="193"/>
                    </a:lnTo>
                    <a:lnTo>
                      <a:pt x="87" y="190"/>
                    </a:lnTo>
                    <a:lnTo>
                      <a:pt x="86" y="188"/>
                    </a:lnTo>
                    <a:lnTo>
                      <a:pt x="85" y="186"/>
                    </a:lnTo>
                    <a:lnTo>
                      <a:pt x="80" y="186"/>
                    </a:lnTo>
                    <a:lnTo>
                      <a:pt x="74" y="185"/>
                    </a:lnTo>
                    <a:lnTo>
                      <a:pt x="70" y="184"/>
                    </a:lnTo>
                    <a:lnTo>
                      <a:pt x="67" y="182"/>
                    </a:lnTo>
                    <a:lnTo>
                      <a:pt x="63" y="179"/>
                    </a:lnTo>
                    <a:lnTo>
                      <a:pt x="60" y="176"/>
                    </a:lnTo>
                    <a:lnTo>
                      <a:pt x="58" y="173"/>
                    </a:lnTo>
                    <a:lnTo>
                      <a:pt x="57" y="169"/>
                    </a:lnTo>
                    <a:lnTo>
                      <a:pt x="54" y="161"/>
                    </a:lnTo>
                    <a:lnTo>
                      <a:pt x="52" y="152"/>
                    </a:lnTo>
                    <a:lnTo>
                      <a:pt x="52" y="142"/>
                    </a:lnTo>
                    <a:lnTo>
                      <a:pt x="52" y="131"/>
                    </a:lnTo>
                    <a:lnTo>
                      <a:pt x="52" y="119"/>
                    </a:lnTo>
                    <a:lnTo>
                      <a:pt x="54" y="109"/>
                    </a:lnTo>
                    <a:lnTo>
                      <a:pt x="56" y="100"/>
                    </a:lnTo>
                    <a:lnTo>
                      <a:pt x="59" y="91"/>
                    </a:lnTo>
                    <a:lnTo>
                      <a:pt x="65" y="76"/>
                    </a:lnTo>
                    <a:lnTo>
                      <a:pt x="73" y="61"/>
                    </a:lnTo>
                    <a:lnTo>
                      <a:pt x="81" y="49"/>
                    </a:lnTo>
                    <a:lnTo>
                      <a:pt x="89" y="36"/>
                    </a:lnTo>
                    <a:lnTo>
                      <a:pt x="92" y="29"/>
                    </a:lnTo>
                    <a:lnTo>
                      <a:pt x="95" y="22"/>
                    </a:lnTo>
                    <a:lnTo>
                      <a:pt x="97" y="15"/>
                    </a:lnTo>
                    <a:lnTo>
                      <a:pt x="98" y="7"/>
                    </a:lnTo>
                    <a:lnTo>
                      <a:pt x="85" y="12"/>
                    </a:lnTo>
                    <a:lnTo>
                      <a:pt x="73" y="18"/>
                    </a:lnTo>
                    <a:lnTo>
                      <a:pt x="62" y="24"/>
                    </a:lnTo>
                    <a:lnTo>
                      <a:pt x="52" y="30"/>
                    </a:lnTo>
                    <a:lnTo>
                      <a:pt x="43" y="37"/>
                    </a:lnTo>
                    <a:lnTo>
                      <a:pt x="35" y="44"/>
                    </a:lnTo>
                    <a:lnTo>
                      <a:pt x="28" y="52"/>
                    </a:lnTo>
                    <a:lnTo>
                      <a:pt x="22" y="60"/>
                    </a:lnTo>
                    <a:lnTo>
                      <a:pt x="16" y="70"/>
                    </a:lnTo>
                    <a:lnTo>
                      <a:pt x="12" y="79"/>
                    </a:lnTo>
                    <a:lnTo>
                      <a:pt x="7" y="89"/>
                    </a:lnTo>
                    <a:lnTo>
                      <a:pt x="4" y="99"/>
                    </a:lnTo>
                    <a:lnTo>
                      <a:pt x="2" y="109"/>
                    </a:lnTo>
                    <a:lnTo>
                      <a:pt x="1" y="120"/>
                    </a:lnTo>
                    <a:lnTo>
                      <a:pt x="0" y="131"/>
                    </a:lnTo>
                    <a:lnTo>
                      <a:pt x="0" y="1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100" name="Freeform 169">
              <a:extLst>
                <a:ext uri="{FF2B5EF4-FFF2-40B4-BE49-F238E27FC236}">
                  <a16:creationId xmlns:a16="http://schemas.microsoft.com/office/drawing/2014/main" id="{063B02A3-753E-4983-9FB2-38A94744492F}"/>
                </a:ext>
              </a:extLst>
            </p:cNvPr>
            <p:cNvSpPr>
              <a:spLocks/>
            </p:cNvSpPr>
            <p:nvPr>
              <p:custDataLst>
                <p:tags r:id="rId96"/>
              </p:custDataLst>
            </p:nvPr>
          </p:nvSpPr>
          <p:spPr bwMode="auto">
            <a:xfrm>
              <a:off x="7215179" y="4786275"/>
              <a:ext cx="31750" cy="11112"/>
            </a:xfrm>
            <a:custGeom>
              <a:avLst/>
              <a:gdLst>
                <a:gd name="T0" fmla="*/ 0 w 79"/>
                <a:gd name="T1" fmla="*/ 11112 h 23"/>
                <a:gd name="T2" fmla="*/ 8842 w 79"/>
                <a:gd name="T3" fmla="*/ 6281 h 23"/>
                <a:gd name="T4" fmla="*/ 18085 w 79"/>
                <a:gd name="T5" fmla="*/ 1933 h 23"/>
                <a:gd name="T6" fmla="*/ 22506 w 79"/>
                <a:gd name="T7" fmla="*/ 483 h 23"/>
                <a:gd name="T8" fmla="*/ 26123 w 79"/>
                <a:gd name="T9" fmla="*/ 0 h 23"/>
                <a:gd name="T10" fmla="*/ 27731 w 79"/>
                <a:gd name="T11" fmla="*/ 0 h 23"/>
                <a:gd name="T12" fmla="*/ 29741 w 79"/>
                <a:gd name="T13" fmla="*/ 483 h 23"/>
                <a:gd name="T14" fmla="*/ 30946 w 79"/>
                <a:gd name="T15" fmla="*/ 966 h 23"/>
                <a:gd name="T16" fmla="*/ 31750 w 79"/>
                <a:gd name="T17" fmla="*/ 1933 h 23"/>
                <a:gd name="T18" fmla="*/ 30946 w 79"/>
                <a:gd name="T19" fmla="*/ 3865 h 23"/>
                <a:gd name="T20" fmla="*/ 30142 w 79"/>
                <a:gd name="T21" fmla="*/ 6281 h 23"/>
                <a:gd name="T22" fmla="*/ 28937 w 79"/>
                <a:gd name="T23" fmla="*/ 7730 h 23"/>
                <a:gd name="T24" fmla="*/ 27329 w 79"/>
                <a:gd name="T25" fmla="*/ 9179 h 23"/>
                <a:gd name="T26" fmla="*/ 25722 w 79"/>
                <a:gd name="T27" fmla="*/ 10146 h 23"/>
                <a:gd name="T28" fmla="*/ 23712 w 79"/>
                <a:gd name="T29" fmla="*/ 10629 h 23"/>
                <a:gd name="T30" fmla="*/ 21301 w 79"/>
                <a:gd name="T31" fmla="*/ 11112 h 23"/>
                <a:gd name="T32" fmla="*/ 18487 w 79"/>
                <a:gd name="T33" fmla="*/ 11112 h 23"/>
                <a:gd name="T34" fmla="*/ 14870 w 79"/>
                <a:gd name="T35" fmla="*/ 11112 h 23"/>
                <a:gd name="T36" fmla="*/ 12861 w 79"/>
                <a:gd name="T37" fmla="*/ 10146 h 23"/>
                <a:gd name="T38" fmla="*/ 10449 w 79"/>
                <a:gd name="T39" fmla="*/ 9663 h 23"/>
                <a:gd name="T40" fmla="*/ 9244 w 79"/>
                <a:gd name="T41" fmla="*/ 9179 h 23"/>
                <a:gd name="T42" fmla="*/ 7636 w 79"/>
                <a:gd name="T43" fmla="*/ 8696 h 23"/>
                <a:gd name="T44" fmla="*/ 5627 w 79"/>
                <a:gd name="T45" fmla="*/ 8696 h 23"/>
                <a:gd name="T46" fmla="*/ 3617 w 79"/>
                <a:gd name="T47" fmla="*/ 9663 h 23"/>
                <a:gd name="T48" fmla="*/ 0 w 79"/>
                <a:gd name="T49" fmla="*/ 11112 h 2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23">
                  <a:moveTo>
                    <a:pt x="0" y="23"/>
                  </a:moveTo>
                  <a:lnTo>
                    <a:pt x="22" y="13"/>
                  </a:lnTo>
                  <a:lnTo>
                    <a:pt x="45" y="4"/>
                  </a:lnTo>
                  <a:lnTo>
                    <a:pt x="56" y="1"/>
                  </a:lnTo>
                  <a:lnTo>
                    <a:pt x="65" y="0"/>
                  </a:lnTo>
                  <a:lnTo>
                    <a:pt x="69" y="0"/>
                  </a:lnTo>
                  <a:lnTo>
                    <a:pt x="74" y="1"/>
                  </a:lnTo>
                  <a:lnTo>
                    <a:pt x="77" y="2"/>
                  </a:lnTo>
                  <a:lnTo>
                    <a:pt x="79" y="4"/>
                  </a:lnTo>
                  <a:lnTo>
                    <a:pt x="77" y="8"/>
                  </a:lnTo>
                  <a:lnTo>
                    <a:pt x="75" y="13"/>
                  </a:lnTo>
                  <a:lnTo>
                    <a:pt x="72" y="16"/>
                  </a:lnTo>
                  <a:lnTo>
                    <a:pt x="68" y="19"/>
                  </a:lnTo>
                  <a:lnTo>
                    <a:pt x="64" y="21"/>
                  </a:lnTo>
                  <a:lnTo>
                    <a:pt x="59" y="22"/>
                  </a:lnTo>
                  <a:lnTo>
                    <a:pt x="53" y="23"/>
                  </a:lnTo>
                  <a:lnTo>
                    <a:pt x="46" y="23"/>
                  </a:lnTo>
                  <a:lnTo>
                    <a:pt x="37" y="23"/>
                  </a:lnTo>
                  <a:lnTo>
                    <a:pt x="32" y="21"/>
                  </a:lnTo>
                  <a:lnTo>
                    <a:pt x="26" y="20"/>
                  </a:lnTo>
                  <a:lnTo>
                    <a:pt x="23" y="19"/>
                  </a:lnTo>
                  <a:lnTo>
                    <a:pt x="19" y="18"/>
                  </a:lnTo>
                  <a:lnTo>
                    <a:pt x="14" y="18"/>
                  </a:lnTo>
                  <a:lnTo>
                    <a:pt x="9" y="20"/>
                  </a:lnTo>
                  <a:lnTo>
                    <a:pt x="0" y="2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1" name="Freeform 170">
              <a:extLst>
                <a:ext uri="{FF2B5EF4-FFF2-40B4-BE49-F238E27FC236}">
                  <a16:creationId xmlns:a16="http://schemas.microsoft.com/office/drawing/2014/main" id="{06CB5A05-F12A-4B49-9C8D-07CF4855970F}"/>
                </a:ext>
              </a:extLst>
            </p:cNvPr>
            <p:cNvSpPr>
              <a:spLocks/>
            </p:cNvSpPr>
            <p:nvPr>
              <p:custDataLst>
                <p:tags r:id="rId97"/>
              </p:custDataLst>
            </p:nvPr>
          </p:nvSpPr>
          <p:spPr bwMode="auto">
            <a:xfrm>
              <a:off x="7331066" y="4919625"/>
              <a:ext cx="1588" cy="4762"/>
            </a:xfrm>
            <a:custGeom>
              <a:avLst/>
              <a:gdLst>
                <a:gd name="T0" fmla="*/ 0 w 1588"/>
                <a:gd name="T1" fmla="*/ 0 h 6"/>
                <a:gd name="T2" fmla="*/ 0 w 1588"/>
                <a:gd name="T3" fmla="*/ 4762 h 6"/>
                <a:gd name="T4" fmla="*/ 0 w 1588"/>
                <a:gd name="T5" fmla="*/ 0 h 6"/>
                <a:gd name="T6" fmla="*/ 0 60000 65536"/>
                <a:gd name="T7" fmla="*/ 0 60000 65536"/>
                <a:gd name="T8" fmla="*/ 0 60000 65536"/>
              </a:gdLst>
              <a:ahLst/>
              <a:cxnLst>
                <a:cxn ang="T6">
                  <a:pos x="T0" y="T1"/>
                </a:cxn>
                <a:cxn ang="T7">
                  <a:pos x="T2" y="T3"/>
                </a:cxn>
                <a:cxn ang="T8">
                  <a:pos x="T4" y="T5"/>
                </a:cxn>
              </a:cxnLst>
              <a:rect l="0" t="0" r="r" b="b"/>
              <a:pathLst>
                <a:path w="1588" h="6">
                  <a:moveTo>
                    <a:pt x="0" y="0"/>
                  </a:moveTo>
                  <a:lnTo>
                    <a:pt x="0" y="6"/>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2" name="Line 171">
              <a:extLst>
                <a:ext uri="{FF2B5EF4-FFF2-40B4-BE49-F238E27FC236}">
                  <a16:creationId xmlns:a16="http://schemas.microsoft.com/office/drawing/2014/main" id="{B3A4B941-E23A-4FC8-922C-7176E4C3353F}"/>
                </a:ext>
              </a:extLst>
            </p:cNvPr>
            <p:cNvSpPr>
              <a:spLocks noChangeShapeType="1"/>
            </p:cNvSpPr>
            <p:nvPr>
              <p:custDataLst>
                <p:tags r:id="rId98"/>
              </p:custDataLst>
            </p:nvPr>
          </p:nvSpPr>
          <p:spPr bwMode="auto">
            <a:xfrm flipV="1">
              <a:off x="7421553" y="4918037"/>
              <a:ext cx="1587"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3" name="Freeform 172">
              <a:extLst>
                <a:ext uri="{FF2B5EF4-FFF2-40B4-BE49-F238E27FC236}">
                  <a16:creationId xmlns:a16="http://schemas.microsoft.com/office/drawing/2014/main" id="{EE33057B-7050-4DDE-8D42-D8691E443FF1}"/>
                </a:ext>
              </a:extLst>
            </p:cNvPr>
            <p:cNvSpPr>
              <a:spLocks/>
            </p:cNvSpPr>
            <p:nvPr>
              <p:custDataLst>
                <p:tags r:id="rId99"/>
              </p:custDataLst>
            </p:nvPr>
          </p:nvSpPr>
          <p:spPr bwMode="auto">
            <a:xfrm>
              <a:off x="7421553" y="4918037"/>
              <a:ext cx="3175" cy="15875"/>
            </a:xfrm>
            <a:custGeom>
              <a:avLst/>
              <a:gdLst>
                <a:gd name="T0" fmla="*/ 0 w 5"/>
                <a:gd name="T1" fmla="*/ 0 h 30"/>
                <a:gd name="T2" fmla="*/ 1270 w 5"/>
                <a:gd name="T3" fmla="*/ 529 h 30"/>
                <a:gd name="T4" fmla="*/ 2540 w 5"/>
                <a:gd name="T5" fmla="*/ 2117 h 30"/>
                <a:gd name="T6" fmla="*/ 3175 w 5"/>
                <a:gd name="T7" fmla="*/ 4233 h 30"/>
                <a:gd name="T8" fmla="*/ 3175 w 5"/>
                <a:gd name="T9" fmla="*/ 6879 h 30"/>
                <a:gd name="T10" fmla="*/ 3175 w 5"/>
                <a:gd name="T11" fmla="*/ 9525 h 30"/>
                <a:gd name="T12" fmla="*/ 2540 w 5"/>
                <a:gd name="T13" fmla="*/ 12171 h 30"/>
                <a:gd name="T14" fmla="*/ 1270 w 5"/>
                <a:gd name="T15" fmla="*/ 14287 h 30"/>
                <a:gd name="T16" fmla="*/ 0 w 5"/>
                <a:gd name="T17" fmla="*/ 15875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5" h="30">
                  <a:moveTo>
                    <a:pt x="0" y="0"/>
                  </a:moveTo>
                  <a:lnTo>
                    <a:pt x="2" y="1"/>
                  </a:lnTo>
                  <a:lnTo>
                    <a:pt x="4" y="4"/>
                  </a:lnTo>
                  <a:lnTo>
                    <a:pt x="5" y="8"/>
                  </a:lnTo>
                  <a:lnTo>
                    <a:pt x="5" y="13"/>
                  </a:lnTo>
                  <a:lnTo>
                    <a:pt x="5" y="18"/>
                  </a:lnTo>
                  <a:lnTo>
                    <a:pt x="4" y="23"/>
                  </a:lnTo>
                  <a:lnTo>
                    <a:pt x="2" y="27"/>
                  </a:lnTo>
                  <a:lnTo>
                    <a:pt x="0" y="3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4" name="Freeform 173">
              <a:extLst>
                <a:ext uri="{FF2B5EF4-FFF2-40B4-BE49-F238E27FC236}">
                  <a16:creationId xmlns:a16="http://schemas.microsoft.com/office/drawing/2014/main" id="{6E22DE34-74E6-4196-AAFF-39145A1030B3}"/>
                </a:ext>
              </a:extLst>
            </p:cNvPr>
            <p:cNvSpPr>
              <a:spLocks/>
            </p:cNvSpPr>
            <p:nvPr>
              <p:custDataLst>
                <p:tags r:id="rId100"/>
              </p:custDataLst>
            </p:nvPr>
          </p:nvSpPr>
          <p:spPr bwMode="auto">
            <a:xfrm>
              <a:off x="7720003" y="4387815"/>
              <a:ext cx="22225" cy="28575"/>
            </a:xfrm>
            <a:custGeom>
              <a:avLst/>
              <a:gdLst>
                <a:gd name="T0" fmla="*/ 0 w 53"/>
                <a:gd name="T1" fmla="*/ 6235 h 55"/>
                <a:gd name="T2" fmla="*/ 419 w 53"/>
                <a:gd name="T3" fmla="*/ 8832 h 55"/>
                <a:gd name="T4" fmla="*/ 2097 w 53"/>
                <a:gd name="T5" fmla="*/ 11430 h 55"/>
                <a:gd name="T6" fmla="*/ 3774 w 53"/>
                <a:gd name="T7" fmla="*/ 14028 h 55"/>
                <a:gd name="T8" fmla="*/ 6290 w 53"/>
                <a:gd name="T9" fmla="*/ 17145 h 55"/>
                <a:gd name="T10" fmla="*/ 10903 w 53"/>
                <a:gd name="T11" fmla="*/ 22860 h 55"/>
                <a:gd name="T12" fmla="*/ 13838 w 53"/>
                <a:gd name="T13" fmla="*/ 28575 h 55"/>
                <a:gd name="T14" fmla="*/ 22225 w 53"/>
                <a:gd name="T15" fmla="*/ 28575 h 55"/>
                <a:gd name="T16" fmla="*/ 16774 w 53"/>
                <a:gd name="T17" fmla="*/ 21301 h 55"/>
                <a:gd name="T18" fmla="*/ 11742 w 53"/>
                <a:gd name="T19" fmla="*/ 15067 h 55"/>
                <a:gd name="T20" fmla="*/ 9645 w 53"/>
                <a:gd name="T21" fmla="*/ 11950 h 55"/>
                <a:gd name="T22" fmla="*/ 7967 w 53"/>
                <a:gd name="T23" fmla="*/ 8313 h 55"/>
                <a:gd name="T24" fmla="*/ 6709 w 53"/>
                <a:gd name="T25" fmla="*/ 4156 h 55"/>
                <a:gd name="T26" fmla="*/ 5871 w 53"/>
                <a:gd name="T27" fmla="*/ 0 h 55"/>
                <a:gd name="T28" fmla="*/ 2935 w 53"/>
                <a:gd name="T29" fmla="*/ 3117 h 55"/>
                <a:gd name="T30" fmla="*/ 0 w 53"/>
                <a:gd name="T31" fmla="*/ 6235 h 5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55">
                  <a:moveTo>
                    <a:pt x="0" y="12"/>
                  </a:moveTo>
                  <a:lnTo>
                    <a:pt x="1" y="17"/>
                  </a:lnTo>
                  <a:lnTo>
                    <a:pt x="5" y="22"/>
                  </a:lnTo>
                  <a:lnTo>
                    <a:pt x="9" y="27"/>
                  </a:lnTo>
                  <a:lnTo>
                    <a:pt x="15" y="33"/>
                  </a:lnTo>
                  <a:lnTo>
                    <a:pt x="26" y="44"/>
                  </a:lnTo>
                  <a:lnTo>
                    <a:pt x="33" y="55"/>
                  </a:lnTo>
                  <a:lnTo>
                    <a:pt x="53" y="55"/>
                  </a:lnTo>
                  <a:lnTo>
                    <a:pt x="40" y="41"/>
                  </a:lnTo>
                  <a:lnTo>
                    <a:pt x="28" y="29"/>
                  </a:lnTo>
                  <a:lnTo>
                    <a:pt x="23" y="23"/>
                  </a:lnTo>
                  <a:lnTo>
                    <a:pt x="19" y="16"/>
                  </a:lnTo>
                  <a:lnTo>
                    <a:pt x="16" y="8"/>
                  </a:lnTo>
                  <a:lnTo>
                    <a:pt x="14" y="0"/>
                  </a:lnTo>
                  <a:lnTo>
                    <a:pt x="7" y="6"/>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5" name="Freeform 174">
              <a:extLst>
                <a:ext uri="{FF2B5EF4-FFF2-40B4-BE49-F238E27FC236}">
                  <a16:creationId xmlns:a16="http://schemas.microsoft.com/office/drawing/2014/main" id="{9663771D-4DC2-423C-BF28-F7AC0DC80559}"/>
                </a:ext>
              </a:extLst>
            </p:cNvPr>
            <p:cNvSpPr>
              <a:spLocks/>
            </p:cNvSpPr>
            <p:nvPr>
              <p:custDataLst>
                <p:tags r:id="rId101"/>
              </p:custDataLst>
            </p:nvPr>
          </p:nvSpPr>
          <p:spPr bwMode="auto">
            <a:xfrm>
              <a:off x="7726353" y="4314791"/>
              <a:ext cx="26987" cy="39688"/>
            </a:xfrm>
            <a:custGeom>
              <a:avLst/>
              <a:gdLst>
                <a:gd name="T0" fmla="*/ 0 w 65"/>
                <a:gd name="T1" fmla="*/ 16934 h 75"/>
                <a:gd name="T2" fmla="*/ 3737 w 65"/>
                <a:gd name="T3" fmla="*/ 22754 h 75"/>
                <a:gd name="T4" fmla="*/ 8304 w 65"/>
                <a:gd name="T5" fmla="*/ 29105 h 75"/>
                <a:gd name="T6" fmla="*/ 10795 w 65"/>
                <a:gd name="T7" fmla="*/ 32280 h 75"/>
                <a:gd name="T8" fmla="*/ 13286 w 65"/>
                <a:gd name="T9" fmla="*/ 35455 h 75"/>
                <a:gd name="T10" fmla="*/ 16192 w 65"/>
                <a:gd name="T11" fmla="*/ 37571 h 75"/>
                <a:gd name="T12" fmla="*/ 19098 w 65"/>
                <a:gd name="T13" fmla="*/ 39688 h 75"/>
                <a:gd name="T14" fmla="*/ 21174 w 65"/>
                <a:gd name="T15" fmla="*/ 32280 h 75"/>
                <a:gd name="T16" fmla="*/ 24081 w 65"/>
                <a:gd name="T17" fmla="*/ 25400 h 75"/>
                <a:gd name="T18" fmla="*/ 25326 w 65"/>
                <a:gd name="T19" fmla="*/ 22225 h 75"/>
                <a:gd name="T20" fmla="*/ 26157 w 65"/>
                <a:gd name="T21" fmla="*/ 19050 h 75"/>
                <a:gd name="T22" fmla="*/ 26987 w 65"/>
                <a:gd name="T23" fmla="*/ 16404 h 75"/>
                <a:gd name="T24" fmla="*/ 26987 w 65"/>
                <a:gd name="T25" fmla="*/ 13759 h 75"/>
                <a:gd name="T26" fmla="*/ 26987 w 65"/>
                <a:gd name="T27" fmla="*/ 11113 h 75"/>
                <a:gd name="T28" fmla="*/ 26157 w 65"/>
                <a:gd name="T29" fmla="*/ 9525 h 75"/>
                <a:gd name="T30" fmla="*/ 25326 w 65"/>
                <a:gd name="T31" fmla="*/ 6879 h 75"/>
                <a:gd name="T32" fmla="*/ 24081 w 65"/>
                <a:gd name="T33" fmla="*/ 5292 h 75"/>
                <a:gd name="T34" fmla="*/ 21174 w 65"/>
                <a:gd name="T35" fmla="*/ 2646 h 75"/>
                <a:gd name="T36" fmla="*/ 19098 w 65"/>
                <a:gd name="T37" fmla="*/ 0 h 75"/>
                <a:gd name="T38" fmla="*/ 14116 w 65"/>
                <a:gd name="T39" fmla="*/ 0 h 75"/>
                <a:gd name="T40" fmla="*/ 10795 w 65"/>
                <a:gd name="T41" fmla="*/ 0 h 75"/>
                <a:gd name="T42" fmla="*/ 10380 w 65"/>
                <a:gd name="T43" fmla="*/ 1058 h 75"/>
                <a:gd name="T44" fmla="*/ 9964 w 65"/>
                <a:gd name="T45" fmla="*/ 3704 h 75"/>
                <a:gd name="T46" fmla="*/ 9549 w 65"/>
                <a:gd name="T47" fmla="*/ 4763 h 75"/>
                <a:gd name="T48" fmla="*/ 9549 w 65"/>
                <a:gd name="T49" fmla="*/ 5821 h 75"/>
                <a:gd name="T50" fmla="*/ 9964 w 65"/>
                <a:gd name="T51" fmla="*/ 6350 h 75"/>
                <a:gd name="T52" fmla="*/ 10795 w 65"/>
                <a:gd name="T53" fmla="*/ 6879 h 7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65" h="75">
                  <a:moveTo>
                    <a:pt x="0" y="32"/>
                  </a:moveTo>
                  <a:lnTo>
                    <a:pt x="9" y="43"/>
                  </a:lnTo>
                  <a:lnTo>
                    <a:pt x="20" y="55"/>
                  </a:lnTo>
                  <a:lnTo>
                    <a:pt x="26" y="61"/>
                  </a:lnTo>
                  <a:lnTo>
                    <a:pt x="32" y="67"/>
                  </a:lnTo>
                  <a:lnTo>
                    <a:pt x="39" y="71"/>
                  </a:lnTo>
                  <a:lnTo>
                    <a:pt x="46" y="75"/>
                  </a:lnTo>
                  <a:lnTo>
                    <a:pt x="51" y="61"/>
                  </a:lnTo>
                  <a:lnTo>
                    <a:pt x="58" y="48"/>
                  </a:lnTo>
                  <a:lnTo>
                    <a:pt x="61" y="42"/>
                  </a:lnTo>
                  <a:lnTo>
                    <a:pt x="63" y="36"/>
                  </a:lnTo>
                  <a:lnTo>
                    <a:pt x="65" y="31"/>
                  </a:lnTo>
                  <a:lnTo>
                    <a:pt x="65" y="26"/>
                  </a:lnTo>
                  <a:lnTo>
                    <a:pt x="65" y="21"/>
                  </a:lnTo>
                  <a:lnTo>
                    <a:pt x="63" y="18"/>
                  </a:lnTo>
                  <a:lnTo>
                    <a:pt x="61" y="13"/>
                  </a:lnTo>
                  <a:lnTo>
                    <a:pt x="58" y="10"/>
                  </a:lnTo>
                  <a:lnTo>
                    <a:pt x="51" y="5"/>
                  </a:lnTo>
                  <a:lnTo>
                    <a:pt x="46" y="0"/>
                  </a:lnTo>
                  <a:lnTo>
                    <a:pt x="34" y="0"/>
                  </a:lnTo>
                  <a:lnTo>
                    <a:pt x="26" y="0"/>
                  </a:lnTo>
                  <a:lnTo>
                    <a:pt x="25" y="2"/>
                  </a:lnTo>
                  <a:lnTo>
                    <a:pt x="24" y="7"/>
                  </a:lnTo>
                  <a:lnTo>
                    <a:pt x="23" y="9"/>
                  </a:lnTo>
                  <a:lnTo>
                    <a:pt x="23" y="11"/>
                  </a:lnTo>
                  <a:lnTo>
                    <a:pt x="24" y="12"/>
                  </a:lnTo>
                  <a:lnTo>
                    <a:pt x="26"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6" name="Freeform 175">
              <a:extLst>
                <a:ext uri="{FF2B5EF4-FFF2-40B4-BE49-F238E27FC236}">
                  <a16:creationId xmlns:a16="http://schemas.microsoft.com/office/drawing/2014/main" id="{3221B88D-706E-404A-B5DB-C53C03B5049E}"/>
                </a:ext>
              </a:extLst>
            </p:cNvPr>
            <p:cNvSpPr>
              <a:spLocks/>
            </p:cNvSpPr>
            <p:nvPr>
              <p:custDataLst>
                <p:tags r:id="rId102"/>
              </p:custDataLst>
            </p:nvPr>
          </p:nvSpPr>
          <p:spPr bwMode="auto">
            <a:xfrm>
              <a:off x="7702540" y="4290979"/>
              <a:ext cx="17463" cy="30162"/>
            </a:xfrm>
            <a:custGeom>
              <a:avLst/>
              <a:gdLst>
                <a:gd name="T0" fmla="*/ 0 w 40"/>
                <a:gd name="T1" fmla="*/ 30162 h 62"/>
                <a:gd name="T2" fmla="*/ 1310 w 40"/>
                <a:gd name="T3" fmla="*/ 25297 h 62"/>
                <a:gd name="T4" fmla="*/ 3056 w 40"/>
                <a:gd name="T5" fmla="*/ 20919 h 62"/>
                <a:gd name="T6" fmla="*/ 5239 w 40"/>
                <a:gd name="T7" fmla="*/ 16054 h 62"/>
                <a:gd name="T8" fmla="*/ 7422 w 40"/>
                <a:gd name="T9" fmla="*/ 12162 h 62"/>
                <a:gd name="T10" fmla="*/ 10041 w 40"/>
                <a:gd name="T11" fmla="*/ 8270 h 62"/>
                <a:gd name="T12" fmla="*/ 12661 w 40"/>
                <a:gd name="T13" fmla="*/ 4378 h 62"/>
                <a:gd name="T14" fmla="*/ 15280 w 40"/>
                <a:gd name="T15" fmla="*/ 1459 h 62"/>
                <a:gd name="T16" fmla="*/ 17463 w 40"/>
                <a:gd name="T17" fmla="*/ 0 h 6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0" h="62">
                  <a:moveTo>
                    <a:pt x="0" y="62"/>
                  </a:moveTo>
                  <a:lnTo>
                    <a:pt x="3" y="52"/>
                  </a:lnTo>
                  <a:lnTo>
                    <a:pt x="7" y="43"/>
                  </a:lnTo>
                  <a:lnTo>
                    <a:pt x="12" y="33"/>
                  </a:lnTo>
                  <a:lnTo>
                    <a:pt x="17" y="25"/>
                  </a:lnTo>
                  <a:lnTo>
                    <a:pt x="23" y="17"/>
                  </a:lnTo>
                  <a:lnTo>
                    <a:pt x="29" y="9"/>
                  </a:lnTo>
                  <a:lnTo>
                    <a:pt x="35" y="3"/>
                  </a:lnTo>
                  <a:lnTo>
                    <a:pt x="4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7" name="Freeform 176">
              <a:extLst>
                <a:ext uri="{FF2B5EF4-FFF2-40B4-BE49-F238E27FC236}">
                  <a16:creationId xmlns:a16="http://schemas.microsoft.com/office/drawing/2014/main" id="{4089E8A3-BAF3-4331-A797-5A4F064E2AFB}"/>
                </a:ext>
              </a:extLst>
            </p:cNvPr>
            <p:cNvSpPr>
              <a:spLocks/>
            </p:cNvSpPr>
            <p:nvPr>
              <p:custDataLst>
                <p:tags r:id="rId103"/>
              </p:custDataLst>
            </p:nvPr>
          </p:nvSpPr>
          <p:spPr bwMode="auto">
            <a:xfrm>
              <a:off x="7621578" y="4168742"/>
              <a:ext cx="68262" cy="138112"/>
            </a:xfrm>
            <a:custGeom>
              <a:avLst/>
              <a:gdLst>
                <a:gd name="T0" fmla="*/ 68262 w 159"/>
                <a:gd name="T1" fmla="*/ 138113 h 259"/>
                <a:gd name="T2" fmla="*/ 68262 w 159"/>
                <a:gd name="T3" fmla="*/ 133847 h 259"/>
                <a:gd name="T4" fmla="*/ 68262 w 159"/>
                <a:gd name="T5" fmla="*/ 130114 h 259"/>
                <a:gd name="T6" fmla="*/ 68262 w 159"/>
                <a:gd name="T7" fmla="*/ 125848 h 259"/>
                <a:gd name="T8" fmla="*/ 68262 w 159"/>
                <a:gd name="T9" fmla="*/ 121582 h 259"/>
                <a:gd name="T10" fmla="*/ 68262 w 159"/>
                <a:gd name="T11" fmla="*/ 119449 h 259"/>
                <a:gd name="T12" fmla="*/ 67833 w 159"/>
                <a:gd name="T13" fmla="*/ 116783 h 259"/>
                <a:gd name="T14" fmla="*/ 66974 w 159"/>
                <a:gd name="T15" fmla="*/ 114650 h 259"/>
                <a:gd name="T16" fmla="*/ 65686 w 159"/>
                <a:gd name="T17" fmla="*/ 111984 h 259"/>
                <a:gd name="T18" fmla="*/ 62252 w 159"/>
                <a:gd name="T19" fmla="*/ 107717 h 259"/>
                <a:gd name="T20" fmla="*/ 57958 w 159"/>
                <a:gd name="T21" fmla="*/ 103985 h 259"/>
                <a:gd name="T22" fmla="*/ 53236 w 159"/>
                <a:gd name="T23" fmla="*/ 100785 h 259"/>
                <a:gd name="T24" fmla="*/ 48084 w 159"/>
                <a:gd name="T25" fmla="*/ 98119 h 259"/>
                <a:gd name="T26" fmla="*/ 42503 w 159"/>
                <a:gd name="T27" fmla="*/ 95986 h 259"/>
                <a:gd name="T28" fmla="*/ 37351 w 159"/>
                <a:gd name="T29" fmla="*/ 95453 h 259"/>
                <a:gd name="T30" fmla="*/ 36492 w 159"/>
                <a:gd name="T31" fmla="*/ 94919 h 259"/>
                <a:gd name="T32" fmla="*/ 35204 w 159"/>
                <a:gd name="T33" fmla="*/ 94386 h 259"/>
                <a:gd name="T34" fmla="*/ 34775 w 159"/>
                <a:gd name="T35" fmla="*/ 93320 h 259"/>
                <a:gd name="T36" fmla="*/ 34346 w 159"/>
                <a:gd name="T37" fmla="*/ 92253 h 259"/>
                <a:gd name="T38" fmla="*/ 34346 w 159"/>
                <a:gd name="T39" fmla="*/ 89054 h 259"/>
                <a:gd name="T40" fmla="*/ 34775 w 159"/>
                <a:gd name="T41" fmla="*/ 85854 h 259"/>
                <a:gd name="T42" fmla="*/ 36492 w 159"/>
                <a:gd name="T43" fmla="*/ 78922 h 259"/>
                <a:gd name="T44" fmla="*/ 37351 w 159"/>
                <a:gd name="T45" fmla="*/ 75722 h 259"/>
                <a:gd name="T46" fmla="*/ 31340 w 159"/>
                <a:gd name="T47" fmla="*/ 75189 h 259"/>
                <a:gd name="T48" fmla="*/ 25330 w 159"/>
                <a:gd name="T49" fmla="*/ 74122 h 259"/>
                <a:gd name="T50" fmla="*/ 20607 w 159"/>
                <a:gd name="T51" fmla="*/ 71989 h 259"/>
                <a:gd name="T52" fmla="*/ 17173 w 159"/>
                <a:gd name="T53" fmla="*/ 68790 h 259"/>
                <a:gd name="T54" fmla="*/ 13309 w 159"/>
                <a:gd name="T55" fmla="*/ 64524 h 259"/>
                <a:gd name="T56" fmla="*/ 10304 w 159"/>
                <a:gd name="T57" fmla="*/ 60258 h 259"/>
                <a:gd name="T58" fmla="*/ 7728 w 159"/>
                <a:gd name="T59" fmla="*/ 55459 h 259"/>
                <a:gd name="T60" fmla="*/ 5581 w 159"/>
                <a:gd name="T61" fmla="*/ 50126 h 259"/>
                <a:gd name="T62" fmla="*/ 3864 w 159"/>
                <a:gd name="T63" fmla="*/ 44793 h 259"/>
                <a:gd name="T64" fmla="*/ 3005 w 159"/>
                <a:gd name="T65" fmla="*/ 38928 h 259"/>
                <a:gd name="T66" fmla="*/ 2147 w 159"/>
                <a:gd name="T67" fmla="*/ 31995 h 259"/>
                <a:gd name="T68" fmla="*/ 859 w 159"/>
                <a:gd name="T69" fmla="*/ 25596 h 259"/>
                <a:gd name="T70" fmla="*/ 0 w 159"/>
                <a:gd name="T71" fmla="*/ 13331 h 259"/>
                <a:gd name="T72" fmla="*/ 0 w 159"/>
                <a:gd name="T73" fmla="*/ 0 h 25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59" h="259">
                  <a:moveTo>
                    <a:pt x="159" y="259"/>
                  </a:moveTo>
                  <a:lnTo>
                    <a:pt x="159" y="251"/>
                  </a:lnTo>
                  <a:lnTo>
                    <a:pt x="159" y="244"/>
                  </a:lnTo>
                  <a:lnTo>
                    <a:pt x="159" y="236"/>
                  </a:lnTo>
                  <a:lnTo>
                    <a:pt x="159" y="228"/>
                  </a:lnTo>
                  <a:lnTo>
                    <a:pt x="159" y="224"/>
                  </a:lnTo>
                  <a:lnTo>
                    <a:pt x="158" y="219"/>
                  </a:lnTo>
                  <a:lnTo>
                    <a:pt x="156" y="215"/>
                  </a:lnTo>
                  <a:lnTo>
                    <a:pt x="153" y="210"/>
                  </a:lnTo>
                  <a:lnTo>
                    <a:pt x="145" y="202"/>
                  </a:lnTo>
                  <a:lnTo>
                    <a:pt x="135" y="195"/>
                  </a:lnTo>
                  <a:lnTo>
                    <a:pt x="124" y="189"/>
                  </a:lnTo>
                  <a:lnTo>
                    <a:pt x="112" y="184"/>
                  </a:lnTo>
                  <a:lnTo>
                    <a:pt x="99" y="180"/>
                  </a:lnTo>
                  <a:lnTo>
                    <a:pt x="87" y="179"/>
                  </a:lnTo>
                  <a:lnTo>
                    <a:pt x="85" y="178"/>
                  </a:lnTo>
                  <a:lnTo>
                    <a:pt x="82" y="177"/>
                  </a:lnTo>
                  <a:lnTo>
                    <a:pt x="81" y="175"/>
                  </a:lnTo>
                  <a:lnTo>
                    <a:pt x="80" y="173"/>
                  </a:lnTo>
                  <a:lnTo>
                    <a:pt x="80" y="167"/>
                  </a:lnTo>
                  <a:lnTo>
                    <a:pt x="81" y="161"/>
                  </a:lnTo>
                  <a:lnTo>
                    <a:pt x="85" y="148"/>
                  </a:lnTo>
                  <a:lnTo>
                    <a:pt x="87" y="142"/>
                  </a:lnTo>
                  <a:lnTo>
                    <a:pt x="73" y="141"/>
                  </a:lnTo>
                  <a:lnTo>
                    <a:pt x="59" y="139"/>
                  </a:lnTo>
                  <a:lnTo>
                    <a:pt x="48" y="135"/>
                  </a:lnTo>
                  <a:lnTo>
                    <a:pt x="40" y="129"/>
                  </a:lnTo>
                  <a:lnTo>
                    <a:pt x="31" y="121"/>
                  </a:lnTo>
                  <a:lnTo>
                    <a:pt x="24" y="113"/>
                  </a:lnTo>
                  <a:lnTo>
                    <a:pt x="18" y="104"/>
                  </a:lnTo>
                  <a:lnTo>
                    <a:pt x="13" y="94"/>
                  </a:lnTo>
                  <a:lnTo>
                    <a:pt x="9" y="84"/>
                  </a:lnTo>
                  <a:lnTo>
                    <a:pt x="7" y="73"/>
                  </a:lnTo>
                  <a:lnTo>
                    <a:pt x="5" y="60"/>
                  </a:lnTo>
                  <a:lnTo>
                    <a:pt x="2" y="48"/>
                  </a:lnTo>
                  <a:lnTo>
                    <a:pt x="0" y="25"/>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8" name="Line 177">
              <a:extLst>
                <a:ext uri="{FF2B5EF4-FFF2-40B4-BE49-F238E27FC236}">
                  <a16:creationId xmlns:a16="http://schemas.microsoft.com/office/drawing/2014/main" id="{D56CB3A8-26ED-4794-943E-1816CBBF4CA4}"/>
                </a:ext>
              </a:extLst>
            </p:cNvPr>
            <p:cNvSpPr>
              <a:spLocks noChangeShapeType="1"/>
            </p:cNvSpPr>
            <p:nvPr>
              <p:custDataLst>
                <p:tags r:id="rId104"/>
              </p:custDataLst>
            </p:nvPr>
          </p:nvSpPr>
          <p:spPr bwMode="auto">
            <a:xfrm flipH="1" flipV="1">
              <a:off x="7615228" y="4135406"/>
              <a:ext cx="6350" cy="33337"/>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09" name="Freeform 178">
              <a:extLst>
                <a:ext uri="{FF2B5EF4-FFF2-40B4-BE49-F238E27FC236}">
                  <a16:creationId xmlns:a16="http://schemas.microsoft.com/office/drawing/2014/main" id="{682AF493-5746-4467-BFEF-4F6636FC0A39}"/>
                </a:ext>
              </a:extLst>
            </p:cNvPr>
            <p:cNvSpPr>
              <a:spLocks/>
            </p:cNvSpPr>
            <p:nvPr>
              <p:custDataLst>
                <p:tags r:id="rId105"/>
              </p:custDataLst>
            </p:nvPr>
          </p:nvSpPr>
          <p:spPr bwMode="auto">
            <a:xfrm>
              <a:off x="7615228" y="4119531"/>
              <a:ext cx="6350" cy="15875"/>
            </a:xfrm>
            <a:custGeom>
              <a:avLst/>
              <a:gdLst>
                <a:gd name="T0" fmla="*/ 0 w 13"/>
                <a:gd name="T1" fmla="*/ 15875 h 25"/>
                <a:gd name="T2" fmla="*/ 488 w 13"/>
                <a:gd name="T3" fmla="*/ 12065 h 25"/>
                <a:gd name="T4" fmla="*/ 1954 w 13"/>
                <a:gd name="T5" fmla="*/ 8255 h 25"/>
                <a:gd name="T6" fmla="*/ 3908 w 13"/>
                <a:gd name="T7" fmla="*/ 3810 h 25"/>
                <a:gd name="T8" fmla="*/ 6350 w 13"/>
                <a:gd name="T9" fmla="*/ 0 h 25"/>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25">
                  <a:moveTo>
                    <a:pt x="0" y="25"/>
                  </a:moveTo>
                  <a:lnTo>
                    <a:pt x="1" y="19"/>
                  </a:lnTo>
                  <a:lnTo>
                    <a:pt x="4" y="13"/>
                  </a:lnTo>
                  <a:lnTo>
                    <a:pt x="8" y="6"/>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0" name="Line 179">
              <a:extLst>
                <a:ext uri="{FF2B5EF4-FFF2-40B4-BE49-F238E27FC236}">
                  <a16:creationId xmlns:a16="http://schemas.microsoft.com/office/drawing/2014/main" id="{610D08C8-80D1-48FA-8C7D-D53BEF24FC06}"/>
                </a:ext>
              </a:extLst>
            </p:cNvPr>
            <p:cNvSpPr>
              <a:spLocks noChangeShapeType="1"/>
            </p:cNvSpPr>
            <p:nvPr>
              <p:custDataLst>
                <p:tags r:id="rId106"/>
              </p:custDataLst>
            </p:nvPr>
          </p:nvSpPr>
          <p:spPr bwMode="auto">
            <a:xfrm flipV="1">
              <a:off x="7621578" y="4106831"/>
              <a:ext cx="0" cy="1270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1" name="Freeform 180">
              <a:extLst>
                <a:ext uri="{FF2B5EF4-FFF2-40B4-BE49-F238E27FC236}">
                  <a16:creationId xmlns:a16="http://schemas.microsoft.com/office/drawing/2014/main" id="{A6CFA017-79F7-4912-B67B-D1D4E90EB606}"/>
                </a:ext>
              </a:extLst>
            </p:cNvPr>
            <p:cNvSpPr>
              <a:spLocks/>
            </p:cNvSpPr>
            <p:nvPr>
              <p:custDataLst>
                <p:tags r:id="rId107"/>
              </p:custDataLst>
            </p:nvPr>
          </p:nvSpPr>
          <p:spPr bwMode="auto">
            <a:xfrm>
              <a:off x="7575541" y="4040156"/>
              <a:ext cx="46038" cy="66675"/>
            </a:xfrm>
            <a:custGeom>
              <a:avLst/>
              <a:gdLst>
                <a:gd name="T0" fmla="*/ 46038 w 100"/>
                <a:gd name="T1" fmla="*/ 66675 h 123"/>
                <a:gd name="T2" fmla="*/ 41434 w 100"/>
                <a:gd name="T3" fmla="*/ 66133 h 123"/>
                <a:gd name="T4" fmla="*/ 34989 w 100"/>
                <a:gd name="T5" fmla="*/ 64507 h 123"/>
                <a:gd name="T6" fmla="*/ 27623 w 100"/>
                <a:gd name="T7" fmla="*/ 61796 h 123"/>
                <a:gd name="T8" fmla="*/ 19796 w 100"/>
                <a:gd name="T9" fmla="*/ 58002 h 123"/>
                <a:gd name="T10" fmla="*/ 15653 w 100"/>
                <a:gd name="T11" fmla="*/ 55834 h 123"/>
                <a:gd name="T12" fmla="*/ 12430 w 100"/>
                <a:gd name="T13" fmla="*/ 53665 h 123"/>
                <a:gd name="T14" fmla="*/ 9208 w 100"/>
                <a:gd name="T15" fmla="*/ 50955 h 123"/>
                <a:gd name="T16" fmla="*/ 5985 w 100"/>
                <a:gd name="T17" fmla="*/ 48245 h 123"/>
                <a:gd name="T18" fmla="*/ 3683 w 100"/>
                <a:gd name="T19" fmla="*/ 45534 h 123"/>
                <a:gd name="T20" fmla="*/ 1842 w 100"/>
                <a:gd name="T21" fmla="*/ 42824 h 123"/>
                <a:gd name="T22" fmla="*/ 460 w 100"/>
                <a:gd name="T23" fmla="*/ 39571 h 123"/>
                <a:gd name="T24" fmla="*/ 0 w 100"/>
                <a:gd name="T25" fmla="*/ 36861 h 123"/>
                <a:gd name="T26" fmla="*/ 921 w 100"/>
                <a:gd name="T27" fmla="*/ 29814 h 123"/>
                <a:gd name="T28" fmla="*/ 3223 w 100"/>
                <a:gd name="T29" fmla="*/ 19515 h 123"/>
                <a:gd name="T30" fmla="*/ 5064 w 100"/>
                <a:gd name="T31" fmla="*/ 9215 h 123"/>
                <a:gd name="T32" fmla="*/ 5985 w 100"/>
                <a:gd name="T33" fmla="*/ 0 h 123"/>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0" h="123">
                  <a:moveTo>
                    <a:pt x="100" y="123"/>
                  </a:moveTo>
                  <a:lnTo>
                    <a:pt x="90" y="122"/>
                  </a:lnTo>
                  <a:lnTo>
                    <a:pt x="76" y="119"/>
                  </a:lnTo>
                  <a:lnTo>
                    <a:pt x="60" y="114"/>
                  </a:lnTo>
                  <a:lnTo>
                    <a:pt x="43" y="107"/>
                  </a:lnTo>
                  <a:lnTo>
                    <a:pt x="34" y="103"/>
                  </a:lnTo>
                  <a:lnTo>
                    <a:pt x="27" y="99"/>
                  </a:lnTo>
                  <a:lnTo>
                    <a:pt x="20" y="94"/>
                  </a:lnTo>
                  <a:lnTo>
                    <a:pt x="13" y="89"/>
                  </a:lnTo>
                  <a:lnTo>
                    <a:pt x="8" y="84"/>
                  </a:lnTo>
                  <a:lnTo>
                    <a:pt x="4" y="79"/>
                  </a:lnTo>
                  <a:lnTo>
                    <a:pt x="1" y="73"/>
                  </a:lnTo>
                  <a:lnTo>
                    <a:pt x="0" y="68"/>
                  </a:lnTo>
                  <a:lnTo>
                    <a:pt x="2" y="55"/>
                  </a:lnTo>
                  <a:lnTo>
                    <a:pt x="7" y="36"/>
                  </a:lnTo>
                  <a:lnTo>
                    <a:pt x="11" y="17"/>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2" name="Freeform 181">
              <a:extLst>
                <a:ext uri="{FF2B5EF4-FFF2-40B4-BE49-F238E27FC236}">
                  <a16:creationId xmlns:a16="http://schemas.microsoft.com/office/drawing/2014/main" id="{27433870-454E-48A4-9FB2-41E53D938C33}"/>
                </a:ext>
              </a:extLst>
            </p:cNvPr>
            <p:cNvSpPr>
              <a:spLocks/>
            </p:cNvSpPr>
            <p:nvPr>
              <p:custDataLst>
                <p:tags r:id="rId108"/>
              </p:custDataLst>
            </p:nvPr>
          </p:nvSpPr>
          <p:spPr bwMode="auto">
            <a:xfrm>
              <a:off x="7589829" y="3983007"/>
              <a:ext cx="1587" cy="50800"/>
            </a:xfrm>
            <a:custGeom>
              <a:avLst/>
              <a:gdLst>
                <a:gd name="T0" fmla="*/ 1587 w 5"/>
                <a:gd name="T1" fmla="*/ 0 h 99"/>
                <a:gd name="T2" fmla="*/ 1270 w 5"/>
                <a:gd name="T3" fmla="*/ 17446 h 99"/>
                <a:gd name="T4" fmla="*/ 317 w 5"/>
                <a:gd name="T5" fmla="*/ 30275 h 99"/>
                <a:gd name="T6" fmla="*/ 0 w 5"/>
                <a:gd name="T7" fmla="*/ 35406 h 99"/>
                <a:gd name="T8" fmla="*/ 0 w 5"/>
                <a:gd name="T9" fmla="*/ 40024 h 99"/>
                <a:gd name="T10" fmla="*/ 635 w 5"/>
                <a:gd name="T11" fmla="*/ 44642 h 99"/>
                <a:gd name="T12" fmla="*/ 1587 w 5"/>
                <a:gd name="T13" fmla="*/ 50800 h 9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 h="99">
                  <a:moveTo>
                    <a:pt x="5" y="0"/>
                  </a:moveTo>
                  <a:lnTo>
                    <a:pt x="4" y="34"/>
                  </a:lnTo>
                  <a:lnTo>
                    <a:pt x="1" y="59"/>
                  </a:lnTo>
                  <a:lnTo>
                    <a:pt x="0" y="69"/>
                  </a:lnTo>
                  <a:lnTo>
                    <a:pt x="0" y="78"/>
                  </a:lnTo>
                  <a:lnTo>
                    <a:pt x="2" y="87"/>
                  </a:lnTo>
                  <a:lnTo>
                    <a:pt x="5" y="9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3" name="Freeform 182">
              <a:extLst>
                <a:ext uri="{FF2B5EF4-FFF2-40B4-BE49-F238E27FC236}">
                  <a16:creationId xmlns:a16="http://schemas.microsoft.com/office/drawing/2014/main" id="{365E268C-860E-4CE9-9165-0274B238B505}"/>
                </a:ext>
              </a:extLst>
            </p:cNvPr>
            <p:cNvSpPr>
              <a:spLocks/>
            </p:cNvSpPr>
            <p:nvPr>
              <p:custDataLst>
                <p:tags r:id="rId109"/>
              </p:custDataLst>
            </p:nvPr>
          </p:nvSpPr>
          <p:spPr bwMode="auto">
            <a:xfrm>
              <a:off x="7596178" y="3976657"/>
              <a:ext cx="7937" cy="36512"/>
            </a:xfrm>
            <a:custGeom>
              <a:avLst/>
              <a:gdLst>
                <a:gd name="T0" fmla="*/ 7937 w 14"/>
                <a:gd name="T1" fmla="*/ 0 h 68"/>
                <a:gd name="T2" fmla="*/ 4535 w 14"/>
                <a:gd name="T3" fmla="*/ 8591 h 68"/>
                <a:gd name="T4" fmla="*/ 2268 w 14"/>
                <a:gd name="T5" fmla="*/ 17719 h 68"/>
                <a:gd name="T6" fmla="*/ 1134 w 14"/>
                <a:gd name="T7" fmla="*/ 27921 h 68"/>
                <a:gd name="T8" fmla="*/ 0 w 14"/>
                <a:gd name="T9" fmla="*/ 36512 h 6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68">
                  <a:moveTo>
                    <a:pt x="14" y="0"/>
                  </a:moveTo>
                  <a:lnTo>
                    <a:pt x="8" y="16"/>
                  </a:lnTo>
                  <a:lnTo>
                    <a:pt x="4" y="33"/>
                  </a:lnTo>
                  <a:lnTo>
                    <a:pt x="2" y="52"/>
                  </a:lnTo>
                  <a:lnTo>
                    <a:pt x="0" y="6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4" name="Freeform 183">
              <a:extLst>
                <a:ext uri="{FF2B5EF4-FFF2-40B4-BE49-F238E27FC236}">
                  <a16:creationId xmlns:a16="http://schemas.microsoft.com/office/drawing/2014/main" id="{774B5080-26B9-4CC5-9E94-36B3175A4549}"/>
                </a:ext>
              </a:extLst>
            </p:cNvPr>
            <p:cNvSpPr>
              <a:spLocks/>
            </p:cNvSpPr>
            <p:nvPr>
              <p:custDataLst>
                <p:tags r:id="rId110"/>
              </p:custDataLst>
            </p:nvPr>
          </p:nvSpPr>
          <p:spPr bwMode="auto">
            <a:xfrm>
              <a:off x="7612054" y="3957607"/>
              <a:ext cx="1587" cy="22225"/>
            </a:xfrm>
            <a:custGeom>
              <a:avLst/>
              <a:gdLst>
                <a:gd name="T0" fmla="*/ 0 w 1587"/>
                <a:gd name="T1" fmla="*/ 0 h 43"/>
                <a:gd name="T2" fmla="*/ 0 w 1587"/>
                <a:gd name="T3" fmla="*/ 6719 h 43"/>
                <a:gd name="T4" fmla="*/ 0 w 1587"/>
                <a:gd name="T5" fmla="*/ 13438 h 43"/>
                <a:gd name="T6" fmla="*/ 0 w 1587"/>
                <a:gd name="T7" fmla="*/ 19124 h 43"/>
                <a:gd name="T8" fmla="*/ 0 w 1587"/>
                <a:gd name="T9" fmla="*/ 22225 h 43"/>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43">
                  <a:moveTo>
                    <a:pt x="0" y="0"/>
                  </a:moveTo>
                  <a:lnTo>
                    <a:pt x="0" y="13"/>
                  </a:lnTo>
                  <a:lnTo>
                    <a:pt x="0" y="26"/>
                  </a:lnTo>
                  <a:lnTo>
                    <a:pt x="0" y="37"/>
                  </a:lnTo>
                  <a:lnTo>
                    <a:pt x="0"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5" name="Line 184">
              <a:extLst>
                <a:ext uri="{FF2B5EF4-FFF2-40B4-BE49-F238E27FC236}">
                  <a16:creationId xmlns:a16="http://schemas.microsoft.com/office/drawing/2014/main" id="{559B4D34-87E7-46A3-A627-80AB230C13E3}"/>
                </a:ext>
              </a:extLst>
            </p:cNvPr>
            <p:cNvSpPr>
              <a:spLocks noChangeShapeType="1"/>
            </p:cNvSpPr>
            <p:nvPr>
              <p:custDataLst>
                <p:tags r:id="rId111"/>
              </p:custDataLst>
            </p:nvPr>
          </p:nvSpPr>
          <p:spPr bwMode="auto">
            <a:xfrm flipV="1">
              <a:off x="7612054" y="3976657"/>
              <a:ext cx="1587" cy="3175"/>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6" name="Freeform 185">
              <a:extLst>
                <a:ext uri="{FF2B5EF4-FFF2-40B4-BE49-F238E27FC236}">
                  <a16:creationId xmlns:a16="http://schemas.microsoft.com/office/drawing/2014/main" id="{E0E67518-AB44-453B-BF64-909FFBC66B61}"/>
                </a:ext>
              </a:extLst>
            </p:cNvPr>
            <p:cNvSpPr>
              <a:spLocks/>
            </p:cNvSpPr>
            <p:nvPr>
              <p:custDataLst>
                <p:tags r:id="rId112"/>
              </p:custDataLst>
            </p:nvPr>
          </p:nvSpPr>
          <p:spPr bwMode="auto">
            <a:xfrm>
              <a:off x="7596178" y="3960782"/>
              <a:ext cx="1587" cy="15875"/>
            </a:xfrm>
            <a:custGeom>
              <a:avLst/>
              <a:gdLst>
                <a:gd name="T0" fmla="*/ 0 w 1587"/>
                <a:gd name="T1" fmla="*/ 15875 h 31"/>
                <a:gd name="T2" fmla="*/ 0 w 1587"/>
                <a:gd name="T3" fmla="*/ 11266 h 31"/>
                <a:gd name="T4" fmla="*/ 0 w 1587"/>
                <a:gd name="T5" fmla="*/ 7681 h 31"/>
                <a:gd name="T6" fmla="*/ 0 w 1587"/>
                <a:gd name="T7" fmla="*/ 4097 h 31"/>
                <a:gd name="T8" fmla="*/ 0 w 158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31">
                  <a:moveTo>
                    <a:pt x="0" y="31"/>
                  </a:moveTo>
                  <a:lnTo>
                    <a:pt x="0" y="22"/>
                  </a:lnTo>
                  <a:lnTo>
                    <a:pt x="0" y="15"/>
                  </a:lnTo>
                  <a:lnTo>
                    <a:pt x="0" y="8"/>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7" name="Freeform 186">
              <a:extLst>
                <a:ext uri="{FF2B5EF4-FFF2-40B4-BE49-F238E27FC236}">
                  <a16:creationId xmlns:a16="http://schemas.microsoft.com/office/drawing/2014/main" id="{FFF21F85-C9EF-498E-B545-10CE0A6685D6}"/>
                </a:ext>
              </a:extLst>
            </p:cNvPr>
            <p:cNvSpPr>
              <a:spLocks/>
            </p:cNvSpPr>
            <p:nvPr>
              <p:custDataLst>
                <p:tags r:id="rId113"/>
              </p:custDataLst>
            </p:nvPr>
          </p:nvSpPr>
          <p:spPr bwMode="auto">
            <a:xfrm>
              <a:off x="7316779" y="4949786"/>
              <a:ext cx="96837" cy="87312"/>
            </a:xfrm>
            <a:custGeom>
              <a:avLst/>
              <a:gdLst>
                <a:gd name="T0" fmla="*/ 8177 w 225"/>
                <a:gd name="T1" fmla="*/ 82608 h 167"/>
                <a:gd name="T2" fmla="*/ 3013 w 225"/>
                <a:gd name="T3" fmla="*/ 74242 h 167"/>
                <a:gd name="T4" fmla="*/ 0 w 225"/>
                <a:gd name="T5" fmla="*/ 67968 h 167"/>
                <a:gd name="T6" fmla="*/ 430 w 225"/>
                <a:gd name="T7" fmla="*/ 56466 h 167"/>
                <a:gd name="T8" fmla="*/ 4734 w 225"/>
                <a:gd name="T9" fmla="*/ 35553 h 167"/>
                <a:gd name="T10" fmla="*/ 10329 w 225"/>
                <a:gd name="T11" fmla="*/ 20390 h 167"/>
                <a:gd name="T12" fmla="*/ 14633 w 225"/>
                <a:gd name="T13" fmla="*/ 10979 h 167"/>
                <a:gd name="T14" fmla="*/ 18937 w 225"/>
                <a:gd name="T15" fmla="*/ 4705 h 167"/>
                <a:gd name="T16" fmla="*/ 23241 w 225"/>
                <a:gd name="T17" fmla="*/ 523 h 167"/>
                <a:gd name="T18" fmla="*/ 27975 w 225"/>
                <a:gd name="T19" fmla="*/ 523 h 167"/>
                <a:gd name="T20" fmla="*/ 32709 w 225"/>
                <a:gd name="T21" fmla="*/ 1568 h 167"/>
                <a:gd name="T22" fmla="*/ 37874 w 225"/>
                <a:gd name="T23" fmla="*/ 4183 h 167"/>
                <a:gd name="T24" fmla="*/ 43039 w 225"/>
                <a:gd name="T25" fmla="*/ 8888 h 167"/>
                <a:gd name="T26" fmla="*/ 48203 w 225"/>
                <a:gd name="T27" fmla="*/ 12548 h 167"/>
                <a:gd name="T28" fmla="*/ 55089 w 225"/>
                <a:gd name="T29" fmla="*/ 12548 h 167"/>
                <a:gd name="T30" fmla="*/ 62406 w 225"/>
                <a:gd name="T31" fmla="*/ 9934 h 167"/>
                <a:gd name="T32" fmla="*/ 71014 w 225"/>
                <a:gd name="T33" fmla="*/ 3660 h 167"/>
                <a:gd name="T34" fmla="*/ 96837 w 225"/>
                <a:gd name="T35" fmla="*/ 0 h 167"/>
                <a:gd name="T36" fmla="*/ 92533 w 225"/>
                <a:gd name="T37" fmla="*/ 11502 h 167"/>
                <a:gd name="T38" fmla="*/ 86508 w 225"/>
                <a:gd name="T39" fmla="*/ 21436 h 167"/>
                <a:gd name="T40" fmla="*/ 72305 w 225"/>
                <a:gd name="T41" fmla="*/ 37644 h 167"/>
                <a:gd name="T42" fmla="*/ 59393 w 225"/>
                <a:gd name="T43" fmla="*/ 52283 h 167"/>
                <a:gd name="T44" fmla="*/ 55520 w 225"/>
                <a:gd name="T45" fmla="*/ 59603 h 167"/>
                <a:gd name="T46" fmla="*/ 54229 w 225"/>
                <a:gd name="T47" fmla="*/ 67968 h 167"/>
                <a:gd name="T48" fmla="*/ 52938 w 225"/>
                <a:gd name="T49" fmla="*/ 65877 h 167"/>
                <a:gd name="T50" fmla="*/ 51646 w 225"/>
                <a:gd name="T51" fmla="*/ 61171 h 167"/>
                <a:gd name="T52" fmla="*/ 45621 w 225"/>
                <a:gd name="T53" fmla="*/ 63263 h 167"/>
                <a:gd name="T54" fmla="*/ 41748 w 225"/>
                <a:gd name="T55" fmla="*/ 66923 h 167"/>
                <a:gd name="T56" fmla="*/ 34431 w 225"/>
                <a:gd name="T57" fmla="*/ 75811 h 167"/>
                <a:gd name="T58" fmla="*/ 30557 w 225"/>
                <a:gd name="T59" fmla="*/ 79993 h 167"/>
                <a:gd name="T60" fmla="*/ 25823 w 225"/>
                <a:gd name="T61" fmla="*/ 83653 h 167"/>
                <a:gd name="T62" fmla="*/ 19798 w 225"/>
                <a:gd name="T63" fmla="*/ 86267 h 167"/>
                <a:gd name="T64" fmla="*/ 11190 w 225"/>
                <a:gd name="T65" fmla="*/ 87313 h 16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25" h="167">
                  <a:moveTo>
                    <a:pt x="26" y="167"/>
                  </a:moveTo>
                  <a:lnTo>
                    <a:pt x="19" y="158"/>
                  </a:lnTo>
                  <a:lnTo>
                    <a:pt x="10" y="148"/>
                  </a:lnTo>
                  <a:lnTo>
                    <a:pt x="7" y="142"/>
                  </a:lnTo>
                  <a:lnTo>
                    <a:pt x="3" y="136"/>
                  </a:lnTo>
                  <a:lnTo>
                    <a:pt x="0" y="130"/>
                  </a:lnTo>
                  <a:lnTo>
                    <a:pt x="0" y="123"/>
                  </a:lnTo>
                  <a:lnTo>
                    <a:pt x="1" y="108"/>
                  </a:lnTo>
                  <a:lnTo>
                    <a:pt x="5" y="89"/>
                  </a:lnTo>
                  <a:lnTo>
                    <a:pt x="11" y="68"/>
                  </a:lnTo>
                  <a:lnTo>
                    <a:pt x="20" y="48"/>
                  </a:lnTo>
                  <a:lnTo>
                    <a:pt x="24" y="39"/>
                  </a:lnTo>
                  <a:lnTo>
                    <a:pt x="28" y="29"/>
                  </a:lnTo>
                  <a:lnTo>
                    <a:pt x="34" y="21"/>
                  </a:lnTo>
                  <a:lnTo>
                    <a:pt x="38" y="14"/>
                  </a:lnTo>
                  <a:lnTo>
                    <a:pt x="44" y="9"/>
                  </a:lnTo>
                  <a:lnTo>
                    <a:pt x="49" y="4"/>
                  </a:lnTo>
                  <a:lnTo>
                    <a:pt x="54" y="1"/>
                  </a:lnTo>
                  <a:lnTo>
                    <a:pt x="59" y="0"/>
                  </a:lnTo>
                  <a:lnTo>
                    <a:pt x="65" y="1"/>
                  </a:lnTo>
                  <a:lnTo>
                    <a:pt x="70" y="1"/>
                  </a:lnTo>
                  <a:lnTo>
                    <a:pt x="76" y="3"/>
                  </a:lnTo>
                  <a:lnTo>
                    <a:pt x="80" y="4"/>
                  </a:lnTo>
                  <a:lnTo>
                    <a:pt x="88" y="8"/>
                  </a:lnTo>
                  <a:lnTo>
                    <a:pt x="94" y="13"/>
                  </a:lnTo>
                  <a:lnTo>
                    <a:pt x="100" y="17"/>
                  </a:lnTo>
                  <a:lnTo>
                    <a:pt x="106" y="21"/>
                  </a:lnTo>
                  <a:lnTo>
                    <a:pt x="112" y="24"/>
                  </a:lnTo>
                  <a:lnTo>
                    <a:pt x="120" y="25"/>
                  </a:lnTo>
                  <a:lnTo>
                    <a:pt x="128" y="24"/>
                  </a:lnTo>
                  <a:lnTo>
                    <a:pt x="137" y="22"/>
                  </a:lnTo>
                  <a:lnTo>
                    <a:pt x="145" y="19"/>
                  </a:lnTo>
                  <a:lnTo>
                    <a:pt x="151" y="15"/>
                  </a:lnTo>
                  <a:lnTo>
                    <a:pt x="165" y="7"/>
                  </a:lnTo>
                  <a:lnTo>
                    <a:pt x="179" y="0"/>
                  </a:lnTo>
                  <a:lnTo>
                    <a:pt x="225" y="0"/>
                  </a:lnTo>
                  <a:lnTo>
                    <a:pt x="221" y="11"/>
                  </a:lnTo>
                  <a:lnTo>
                    <a:pt x="215" y="22"/>
                  </a:lnTo>
                  <a:lnTo>
                    <a:pt x="209" y="31"/>
                  </a:lnTo>
                  <a:lnTo>
                    <a:pt x="201" y="41"/>
                  </a:lnTo>
                  <a:lnTo>
                    <a:pt x="185" y="57"/>
                  </a:lnTo>
                  <a:lnTo>
                    <a:pt x="168" y="72"/>
                  </a:lnTo>
                  <a:lnTo>
                    <a:pt x="151" y="86"/>
                  </a:lnTo>
                  <a:lnTo>
                    <a:pt x="138" y="100"/>
                  </a:lnTo>
                  <a:lnTo>
                    <a:pt x="133" y="107"/>
                  </a:lnTo>
                  <a:lnTo>
                    <a:pt x="129" y="114"/>
                  </a:lnTo>
                  <a:lnTo>
                    <a:pt x="126" y="122"/>
                  </a:lnTo>
                  <a:lnTo>
                    <a:pt x="126" y="130"/>
                  </a:lnTo>
                  <a:lnTo>
                    <a:pt x="125" y="129"/>
                  </a:lnTo>
                  <a:lnTo>
                    <a:pt x="123" y="126"/>
                  </a:lnTo>
                  <a:lnTo>
                    <a:pt x="120" y="122"/>
                  </a:lnTo>
                  <a:lnTo>
                    <a:pt x="120" y="117"/>
                  </a:lnTo>
                  <a:lnTo>
                    <a:pt x="112" y="119"/>
                  </a:lnTo>
                  <a:lnTo>
                    <a:pt x="106" y="121"/>
                  </a:lnTo>
                  <a:lnTo>
                    <a:pt x="101" y="124"/>
                  </a:lnTo>
                  <a:lnTo>
                    <a:pt x="97" y="128"/>
                  </a:lnTo>
                  <a:lnTo>
                    <a:pt x="88" y="135"/>
                  </a:lnTo>
                  <a:lnTo>
                    <a:pt x="80" y="145"/>
                  </a:lnTo>
                  <a:lnTo>
                    <a:pt x="76" y="149"/>
                  </a:lnTo>
                  <a:lnTo>
                    <a:pt x="71" y="153"/>
                  </a:lnTo>
                  <a:lnTo>
                    <a:pt x="66" y="157"/>
                  </a:lnTo>
                  <a:lnTo>
                    <a:pt x="60" y="160"/>
                  </a:lnTo>
                  <a:lnTo>
                    <a:pt x="54" y="163"/>
                  </a:lnTo>
                  <a:lnTo>
                    <a:pt x="46" y="165"/>
                  </a:lnTo>
                  <a:lnTo>
                    <a:pt x="36" y="166"/>
                  </a:lnTo>
                  <a:lnTo>
                    <a:pt x="26" y="16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8" name="Freeform 187">
              <a:extLst>
                <a:ext uri="{FF2B5EF4-FFF2-40B4-BE49-F238E27FC236}">
                  <a16:creationId xmlns:a16="http://schemas.microsoft.com/office/drawing/2014/main" id="{FE440D05-B178-4960-8F39-3619FA6170C1}"/>
                </a:ext>
              </a:extLst>
            </p:cNvPr>
            <p:cNvSpPr>
              <a:spLocks/>
            </p:cNvSpPr>
            <p:nvPr>
              <p:custDataLst>
                <p:tags r:id="rId114"/>
              </p:custDataLst>
            </p:nvPr>
          </p:nvSpPr>
          <p:spPr bwMode="auto">
            <a:xfrm>
              <a:off x="7454891" y="4168742"/>
              <a:ext cx="3175" cy="17463"/>
            </a:xfrm>
            <a:custGeom>
              <a:avLst/>
              <a:gdLst>
                <a:gd name="T0" fmla="*/ 0 w 7"/>
                <a:gd name="T1" fmla="*/ 17463 h 31"/>
                <a:gd name="T2" fmla="*/ 2268 w 7"/>
                <a:gd name="T3" fmla="*/ 12393 h 31"/>
                <a:gd name="T4" fmla="*/ 2721 w 7"/>
                <a:gd name="T5" fmla="*/ 7323 h 31"/>
                <a:gd name="T6" fmla="*/ 3175 w 7"/>
                <a:gd name="T7" fmla="*/ 3380 h 31"/>
                <a:gd name="T8" fmla="*/ 3175 w 7"/>
                <a:gd name="T9" fmla="*/ 0 h 31"/>
                <a:gd name="T10" fmla="*/ 2721 w 7"/>
                <a:gd name="T11" fmla="*/ 3380 h 31"/>
                <a:gd name="T12" fmla="*/ 1814 w 7"/>
                <a:gd name="T13" fmla="*/ 7323 h 31"/>
                <a:gd name="T14" fmla="*/ 454 w 7"/>
                <a:gd name="T15" fmla="*/ 12393 h 31"/>
                <a:gd name="T16" fmla="*/ 0 w 7"/>
                <a:gd name="T17" fmla="*/ 17463 h 3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7" h="31">
                  <a:moveTo>
                    <a:pt x="0" y="31"/>
                  </a:moveTo>
                  <a:lnTo>
                    <a:pt x="5" y="22"/>
                  </a:lnTo>
                  <a:lnTo>
                    <a:pt x="6" y="13"/>
                  </a:lnTo>
                  <a:lnTo>
                    <a:pt x="7" y="6"/>
                  </a:lnTo>
                  <a:lnTo>
                    <a:pt x="7" y="0"/>
                  </a:lnTo>
                  <a:lnTo>
                    <a:pt x="6" y="6"/>
                  </a:lnTo>
                  <a:lnTo>
                    <a:pt x="4" y="13"/>
                  </a:lnTo>
                  <a:lnTo>
                    <a:pt x="1" y="22"/>
                  </a:lnTo>
                  <a:lnTo>
                    <a:pt x="0" y="3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19" name="Freeform 188">
              <a:extLst>
                <a:ext uri="{FF2B5EF4-FFF2-40B4-BE49-F238E27FC236}">
                  <a16:creationId xmlns:a16="http://schemas.microsoft.com/office/drawing/2014/main" id="{D74F2E04-14B5-4773-81F1-C09F409C50C4}"/>
                </a:ext>
              </a:extLst>
            </p:cNvPr>
            <p:cNvSpPr>
              <a:spLocks/>
            </p:cNvSpPr>
            <p:nvPr>
              <p:custDataLst>
                <p:tags r:id="rId115"/>
              </p:custDataLst>
            </p:nvPr>
          </p:nvSpPr>
          <p:spPr bwMode="auto">
            <a:xfrm>
              <a:off x="7388216" y="4090956"/>
              <a:ext cx="15875" cy="15875"/>
            </a:xfrm>
            <a:custGeom>
              <a:avLst/>
              <a:gdLst>
                <a:gd name="T0" fmla="*/ 15875 w 33"/>
                <a:gd name="T1" fmla="*/ 15875 h 31"/>
                <a:gd name="T2" fmla="*/ 15875 w 33"/>
                <a:gd name="T3" fmla="*/ 0 h 31"/>
                <a:gd name="T4" fmla="*/ 12989 w 33"/>
                <a:gd name="T5" fmla="*/ 0 h 31"/>
                <a:gd name="T6" fmla="*/ 10583 w 33"/>
                <a:gd name="T7" fmla="*/ 1024 h 31"/>
                <a:gd name="T8" fmla="*/ 7697 w 33"/>
                <a:gd name="T9" fmla="*/ 2560 h 31"/>
                <a:gd name="T10" fmla="*/ 5292 w 33"/>
                <a:gd name="T11" fmla="*/ 4097 h 31"/>
                <a:gd name="T12" fmla="*/ 2886 w 33"/>
                <a:gd name="T13" fmla="*/ 6145 h 31"/>
                <a:gd name="T14" fmla="*/ 1443 w 33"/>
                <a:gd name="T15" fmla="*/ 8194 h 31"/>
                <a:gd name="T16" fmla="*/ 481 w 33"/>
                <a:gd name="T17" fmla="*/ 10754 h 31"/>
                <a:gd name="T18" fmla="*/ 0 w 33"/>
                <a:gd name="T19" fmla="*/ 12802 h 31"/>
                <a:gd name="T20" fmla="*/ 481 w 33"/>
                <a:gd name="T21" fmla="*/ 13827 h 31"/>
                <a:gd name="T22" fmla="*/ 1443 w 33"/>
                <a:gd name="T23" fmla="*/ 14851 h 31"/>
                <a:gd name="T24" fmla="*/ 2886 w 33"/>
                <a:gd name="T25" fmla="*/ 15363 h 31"/>
                <a:gd name="T26" fmla="*/ 5292 w 33"/>
                <a:gd name="T27" fmla="*/ 15363 h 31"/>
                <a:gd name="T28" fmla="*/ 10583 w 33"/>
                <a:gd name="T29" fmla="*/ 15875 h 31"/>
                <a:gd name="T30" fmla="*/ 15875 w 33"/>
                <a:gd name="T31" fmla="*/ 15875 h 3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3" h="31">
                  <a:moveTo>
                    <a:pt x="33" y="31"/>
                  </a:moveTo>
                  <a:lnTo>
                    <a:pt x="33" y="0"/>
                  </a:lnTo>
                  <a:lnTo>
                    <a:pt x="27" y="0"/>
                  </a:lnTo>
                  <a:lnTo>
                    <a:pt x="22" y="2"/>
                  </a:lnTo>
                  <a:lnTo>
                    <a:pt x="16" y="5"/>
                  </a:lnTo>
                  <a:lnTo>
                    <a:pt x="11" y="8"/>
                  </a:lnTo>
                  <a:lnTo>
                    <a:pt x="6" y="12"/>
                  </a:lnTo>
                  <a:lnTo>
                    <a:pt x="3" y="16"/>
                  </a:lnTo>
                  <a:lnTo>
                    <a:pt x="1" y="21"/>
                  </a:lnTo>
                  <a:lnTo>
                    <a:pt x="0" y="25"/>
                  </a:lnTo>
                  <a:lnTo>
                    <a:pt x="1" y="27"/>
                  </a:lnTo>
                  <a:lnTo>
                    <a:pt x="3" y="29"/>
                  </a:lnTo>
                  <a:lnTo>
                    <a:pt x="6" y="30"/>
                  </a:lnTo>
                  <a:lnTo>
                    <a:pt x="11" y="30"/>
                  </a:lnTo>
                  <a:lnTo>
                    <a:pt x="22" y="31"/>
                  </a:lnTo>
                  <a:lnTo>
                    <a:pt x="33" y="3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0" name="Freeform 189">
              <a:extLst>
                <a:ext uri="{FF2B5EF4-FFF2-40B4-BE49-F238E27FC236}">
                  <a16:creationId xmlns:a16="http://schemas.microsoft.com/office/drawing/2014/main" id="{4974CA07-E2B0-4C4E-BD5A-95B50DCF70B5}"/>
                </a:ext>
              </a:extLst>
            </p:cNvPr>
            <p:cNvSpPr>
              <a:spLocks/>
            </p:cNvSpPr>
            <p:nvPr>
              <p:custDataLst>
                <p:tags r:id="rId116"/>
              </p:custDataLst>
            </p:nvPr>
          </p:nvSpPr>
          <p:spPr bwMode="auto">
            <a:xfrm>
              <a:off x="7404091" y="4003644"/>
              <a:ext cx="3175" cy="9525"/>
            </a:xfrm>
            <a:custGeom>
              <a:avLst/>
              <a:gdLst>
                <a:gd name="T0" fmla="*/ 0 w 13"/>
                <a:gd name="T1" fmla="*/ 9525 h 19"/>
                <a:gd name="T2" fmla="*/ 488 w 13"/>
                <a:gd name="T3" fmla="*/ 9024 h 19"/>
                <a:gd name="T4" fmla="*/ 1221 w 13"/>
                <a:gd name="T5" fmla="*/ 8522 h 19"/>
                <a:gd name="T6" fmla="*/ 1710 w 13"/>
                <a:gd name="T7" fmla="*/ 7520 h 19"/>
                <a:gd name="T8" fmla="*/ 1954 w 13"/>
                <a:gd name="T9" fmla="*/ 6016 h 19"/>
                <a:gd name="T10" fmla="*/ 2931 w 13"/>
                <a:gd name="T11" fmla="*/ 3008 h 19"/>
                <a:gd name="T12" fmla="*/ 3175 w 13"/>
                <a:gd name="T13" fmla="*/ 0 h 19"/>
                <a:gd name="T14" fmla="*/ 0 w 13"/>
                <a:gd name="T15" fmla="*/ 9525 h 19"/>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 h="19">
                  <a:moveTo>
                    <a:pt x="0" y="19"/>
                  </a:moveTo>
                  <a:lnTo>
                    <a:pt x="2" y="18"/>
                  </a:lnTo>
                  <a:lnTo>
                    <a:pt x="5" y="17"/>
                  </a:lnTo>
                  <a:lnTo>
                    <a:pt x="7" y="15"/>
                  </a:lnTo>
                  <a:lnTo>
                    <a:pt x="8" y="12"/>
                  </a:lnTo>
                  <a:lnTo>
                    <a:pt x="12" y="6"/>
                  </a:lnTo>
                  <a:lnTo>
                    <a:pt x="13" y="0"/>
                  </a:lnTo>
                  <a:lnTo>
                    <a:pt x="0"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1" name="Freeform 190">
              <a:extLst>
                <a:ext uri="{FF2B5EF4-FFF2-40B4-BE49-F238E27FC236}">
                  <a16:creationId xmlns:a16="http://schemas.microsoft.com/office/drawing/2014/main" id="{0534BC6C-1CF9-4DEF-B2A8-2907BE385EE9}"/>
                </a:ext>
              </a:extLst>
            </p:cNvPr>
            <p:cNvSpPr>
              <a:spLocks/>
            </p:cNvSpPr>
            <p:nvPr>
              <p:custDataLst>
                <p:tags r:id="rId117"/>
              </p:custDataLst>
            </p:nvPr>
          </p:nvSpPr>
          <p:spPr bwMode="auto">
            <a:xfrm>
              <a:off x="7243754" y="4006819"/>
              <a:ext cx="36512" cy="22225"/>
            </a:xfrm>
            <a:custGeom>
              <a:avLst/>
              <a:gdLst>
                <a:gd name="T0" fmla="*/ 22663 w 87"/>
                <a:gd name="T1" fmla="*/ 22225 h 42"/>
                <a:gd name="T2" fmla="*/ 24761 w 87"/>
                <a:gd name="T3" fmla="*/ 22225 h 42"/>
                <a:gd name="T4" fmla="*/ 26859 w 87"/>
                <a:gd name="T5" fmla="*/ 21696 h 42"/>
                <a:gd name="T6" fmla="*/ 28538 w 87"/>
                <a:gd name="T7" fmla="*/ 21167 h 42"/>
                <a:gd name="T8" fmla="*/ 29797 w 87"/>
                <a:gd name="T9" fmla="*/ 20108 h 42"/>
                <a:gd name="T10" fmla="*/ 31476 w 87"/>
                <a:gd name="T11" fmla="*/ 17992 h 42"/>
                <a:gd name="T12" fmla="*/ 32735 w 87"/>
                <a:gd name="T13" fmla="*/ 14817 h 42"/>
                <a:gd name="T14" fmla="*/ 33155 w 87"/>
                <a:gd name="T15" fmla="*/ 11642 h 42"/>
                <a:gd name="T16" fmla="*/ 33574 w 87"/>
                <a:gd name="T17" fmla="*/ 8467 h 42"/>
                <a:gd name="T18" fmla="*/ 34414 w 87"/>
                <a:gd name="T19" fmla="*/ 5821 h 42"/>
                <a:gd name="T20" fmla="*/ 36512 w 87"/>
                <a:gd name="T21" fmla="*/ 3175 h 42"/>
                <a:gd name="T22" fmla="*/ 32315 w 87"/>
                <a:gd name="T23" fmla="*/ 1058 h 42"/>
                <a:gd name="T24" fmla="*/ 28118 w 87"/>
                <a:gd name="T25" fmla="*/ 0 h 42"/>
                <a:gd name="T26" fmla="*/ 23922 w 87"/>
                <a:gd name="T27" fmla="*/ 0 h 42"/>
                <a:gd name="T28" fmla="*/ 19725 w 87"/>
                <a:gd name="T29" fmla="*/ 0 h 42"/>
                <a:gd name="T30" fmla="*/ 16787 w 87"/>
                <a:gd name="T31" fmla="*/ 0 h 42"/>
                <a:gd name="T32" fmla="*/ 13430 w 87"/>
                <a:gd name="T33" fmla="*/ 1058 h 42"/>
                <a:gd name="T34" fmla="*/ 10492 w 87"/>
                <a:gd name="T35" fmla="*/ 2117 h 42"/>
                <a:gd name="T36" fmla="*/ 7974 w 87"/>
                <a:gd name="T37" fmla="*/ 3175 h 42"/>
                <a:gd name="T38" fmla="*/ 3357 w 87"/>
                <a:gd name="T39" fmla="*/ 6350 h 42"/>
                <a:gd name="T40" fmla="*/ 0 w 87"/>
                <a:gd name="T41" fmla="*/ 9525 h 42"/>
                <a:gd name="T42" fmla="*/ 4616 w 87"/>
                <a:gd name="T43" fmla="*/ 12700 h 42"/>
                <a:gd name="T44" fmla="*/ 11331 w 87"/>
                <a:gd name="T45" fmla="*/ 16933 h 42"/>
                <a:gd name="T46" fmla="*/ 18046 w 87"/>
                <a:gd name="T47" fmla="*/ 20638 h 42"/>
                <a:gd name="T48" fmla="*/ 22663 w 87"/>
                <a:gd name="T49" fmla="*/ 22225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 h="42">
                  <a:moveTo>
                    <a:pt x="54" y="42"/>
                  </a:moveTo>
                  <a:lnTo>
                    <a:pt x="59" y="42"/>
                  </a:lnTo>
                  <a:lnTo>
                    <a:pt x="64" y="41"/>
                  </a:lnTo>
                  <a:lnTo>
                    <a:pt x="68" y="40"/>
                  </a:lnTo>
                  <a:lnTo>
                    <a:pt x="71" y="38"/>
                  </a:lnTo>
                  <a:lnTo>
                    <a:pt x="75" y="34"/>
                  </a:lnTo>
                  <a:lnTo>
                    <a:pt x="78" y="28"/>
                  </a:lnTo>
                  <a:lnTo>
                    <a:pt x="79" y="22"/>
                  </a:lnTo>
                  <a:lnTo>
                    <a:pt x="80" y="16"/>
                  </a:lnTo>
                  <a:lnTo>
                    <a:pt x="82" y="11"/>
                  </a:lnTo>
                  <a:lnTo>
                    <a:pt x="87" y="6"/>
                  </a:lnTo>
                  <a:lnTo>
                    <a:pt x="77" y="2"/>
                  </a:lnTo>
                  <a:lnTo>
                    <a:pt x="67" y="0"/>
                  </a:lnTo>
                  <a:lnTo>
                    <a:pt x="57" y="0"/>
                  </a:lnTo>
                  <a:lnTo>
                    <a:pt x="47" y="0"/>
                  </a:lnTo>
                  <a:lnTo>
                    <a:pt x="40" y="0"/>
                  </a:lnTo>
                  <a:lnTo>
                    <a:pt x="32" y="2"/>
                  </a:lnTo>
                  <a:lnTo>
                    <a:pt x="25" y="4"/>
                  </a:lnTo>
                  <a:lnTo>
                    <a:pt x="19" y="6"/>
                  </a:lnTo>
                  <a:lnTo>
                    <a:pt x="8" y="12"/>
                  </a:lnTo>
                  <a:lnTo>
                    <a:pt x="0" y="18"/>
                  </a:lnTo>
                  <a:lnTo>
                    <a:pt x="11" y="24"/>
                  </a:lnTo>
                  <a:lnTo>
                    <a:pt x="27" y="32"/>
                  </a:lnTo>
                  <a:lnTo>
                    <a:pt x="43" y="39"/>
                  </a:lnTo>
                  <a:lnTo>
                    <a:pt x="54" y="4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2" name="Freeform 191">
              <a:extLst>
                <a:ext uri="{FF2B5EF4-FFF2-40B4-BE49-F238E27FC236}">
                  <a16:creationId xmlns:a16="http://schemas.microsoft.com/office/drawing/2014/main" id="{29989978-DFFA-4131-B0DB-297FACDC47BD}"/>
                </a:ext>
              </a:extLst>
            </p:cNvPr>
            <p:cNvSpPr>
              <a:spLocks/>
            </p:cNvSpPr>
            <p:nvPr>
              <p:custDataLst>
                <p:tags r:id="rId118"/>
              </p:custDataLst>
            </p:nvPr>
          </p:nvSpPr>
          <p:spPr bwMode="auto">
            <a:xfrm>
              <a:off x="7488228" y="4470365"/>
              <a:ext cx="1587" cy="14288"/>
            </a:xfrm>
            <a:custGeom>
              <a:avLst/>
              <a:gdLst>
                <a:gd name="T0" fmla="*/ 0 w 7"/>
                <a:gd name="T1" fmla="*/ 0 h 31"/>
                <a:gd name="T2" fmla="*/ 1587 w 7"/>
                <a:gd name="T3" fmla="*/ 0 h 31"/>
                <a:gd name="T4" fmla="*/ 1587 w 7"/>
                <a:gd name="T5" fmla="*/ 8296 h 31"/>
                <a:gd name="T6" fmla="*/ 0 w 7"/>
                <a:gd name="T7" fmla="*/ 14288 h 31"/>
                <a:gd name="T8" fmla="*/ 0 w 7"/>
                <a:gd name="T9" fmla="*/ 0 h 3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31">
                  <a:moveTo>
                    <a:pt x="0" y="0"/>
                  </a:moveTo>
                  <a:lnTo>
                    <a:pt x="7" y="0"/>
                  </a:lnTo>
                  <a:lnTo>
                    <a:pt x="7" y="18"/>
                  </a:lnTo>
                  <a:lnTo>
                    <a:pt x="0" y="31"/>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3" name="Freeform 192">
              <a:extLst>
                <a:ext uri="{FF2B5EF4-FFF2-40B4-BE49-F238E27FC236}">
                  <a16:creationId xmlns:a16="http://schemas.microsoft.com/office/drawing/2014/main" id="{BBF14E9A-FB39-4200-8929-5EF017EFE856}"/>
                </a:ext>
              </a:extLst>
            </p:cNvPr>
            <p:cNvSpPr>
              <a:spLocks/>
            </p:cNvSpPr>
            <p:nvPr>
              <p:custDataLst>
                <p:tags r:id="rId119"/>
              </p:custDataLst>
            </p:nvPr>
          </p:nvSpPr>
          <p:spPr bwMode="auto">
            <a:xfrm>
              <a:off x="6724642" y="3976657"/>
              <a:ext cx="1019173" cy="908043"/>
            </a:xfrm>
            <a:custGeom>
              <a:avLst/>
              <a:gdLst>
                <a:gd name="T0" fmla="*/ 93526 w 2332"/>
                <a:gd name="T1" fmla="*/ 370879 h 1731"/>
                <a:gd name="T2" fmla="*/ 142038 w 2332"/>
                <a:gd name="T3" fmla="*/ 340453 h 1731"/>
                <a:gd name="T4" fmla="*/ 190112 w 2332"/>
                <a:gd name="T5" fmla="*/ 317896 h 1731"/>
                <a:gd name="T6" fmla="*/ 264409 w 2332"/>
                <a:gd name="T7" fmla="*/ 299011 h 1731"/>
                <a:gd name="T8" fmla="*/ 295875 w 2332"/>
                <a:gd name="T9" fmla="*/ 229242 h 1731"/>
                <a:gd name="T10" fmla="*/ 331276 w 2332"/>
                <a:gd name="T11" fmla="*/ 230291 h 1731"/>
                <a:gd name="T12" fmla="*/ 342639 w 2332"/>
                <a:gd name="T13" fmla="*/ 190423 h 1731"/>
                <a:gd name="T14" fmla="*/ 378476 w 2332"/>
                <a:gd name="T15" fmla="*/ 165768 h 1731"/>
                <a:gd name="T16" fmla="*/ 410380 w 2332"/>
                <a:gd name="T17" fmla="*/ 129047 h 1731"/>
                <a:gd name="T18" fmla="*/ 448839 w 2332"/>
                <a:gd name="T19" fmla="*/ 116982 h 1731"/>
                <a:gd name="T20" fmla="*/ 471128 w 2332"/>
                <a:gd name="T21" fmla="*/ 148981 h 1731"/>
                <a:gd name="T22" fmla="*/ 496039 w 2332"/>
                <a:gd name="T23" fmla="*/ 141637 h 1731"/>
                <a:gd name="T24" fmla="*/ 513958 w 2332"/>
                <a:gd name="T25" fmla="*/ 90228 h 1731"/>
                <a:gd name="T26" fmla="*/ 576892 w 2332"/>
                <a:gd name="T27" fmla="*/ 61376 h 1731"/>
                <a:gd name="T28" fmla="*/ 583884 w 2332"/>
                <a:gd name="T29" fmla="*/ 21508 h 1731"/>
                <a:gd name="T30" fmla="*/ 625840 w 2332"/>
                <a:gd name="T31" fmla="*/ 56130 h 1731"/>
                <a:gd name="T32" fmla="*/ 674788 w 2332"/>
                <a:gd name="T33" fmla="*/ 61376 h 1731"/>
                <a:gd name="T34" fmla="*/ 640262 w 2332"/>
                <a:gd name="T35" fmla="*/ 137440 h 1731"/>
                <a:gd name="T36" fmla="*/ 659492 w 2332"/>
                <a:gd name="T37" fmla="*/ 174686 h 1731"/>
                <a:gd name="T38" fmla="*/ 691396 w 2332"/>
                <a:gd name="T39" fmla="*/ 185702 h 1731"/>
                <a:gd name="T40" fmla="*/ 728981 w 2332"/>
                <a:gd name="T41" fmla="*/ 221898 h 1731"/>
                <a:gd name="T42" fmla="*/ 770937 w 2332"/>
                <a:gd name="T43" fmla="*/ 216652 h 1731"/>
                <a:gd name="T44" fmla="*/ 799781 w 2332"/>
                <a:gd name="T45" fmla="*/ 107539 h 1731"/>
                <a:gd name="T46" fmla="*/ 832122 w 2332"/>
                <a:gd name="T47" fmla="*/ 5246 h 1731"/>
                <a:gd name="T48" fmla="*/ 844796 w 2332"/>
                <a:gd name="T49" fmla="*/ 41966 h 1731"/>
                <a:gd name="T50" fmla="*/ 849604 w 2332"/>
                <a:gd name="T51" fmla="*/ 92326 h 1731"/>
                <a:gd name="T52" fmla="*/ 867959 w 2332"/>
                <a:gd name="T53" fmla="*/ 125899 h 1731"/>
                <a:gd name="T54" fmla="*/ 891560 w 2332"/>
                <a:gd name="T55" fmla="*/ 225045 h 1731"/>
                <a:gd name="T56" fmla="*/ 912975 w 2332"/>
                <a:gd name="T57" fmla="*/ 283274 h 1731"/>
                <a:gd name="T58" fmla="*/ 945315 w 2332"/>
                <a:gd name="T59" fmla="*/ 359863 h 1731"/>
                <a:gd name="T60" fmla="*/ 969790 w 2332"/>
                <a:gd name="T61" fmla="*/ 403403 h 1731"/>
                <a:gd name="T62" fmla="*/ 1019175 w 2332"/>
                <a:gd name="T63" fmla="*/ 467926 h 1731"/>
                <a:gd name="T64" fmla="*/ 994701 w 2332"/>
                <a:gd name="T65" fmla="*/ 579662 h 1731"/>
                <a:gd name="T66" fmla="*/ 912100 w 2332"/>
                <a:gd name="T67" fmla="*/ 714480 h 1731"/>
                <a:gd name="T68" fmla="*/ 876263 w 2332"/>
                <a:gd name="T69" fmla="*/ 751200 h 1731"/>
                <a:gd name="T70" fmla="*/ 803278 w 2332"/>
                <a:gd name="T71" fmla="*/ 834609 h 1731"/>
                <a:gd name="T72" fmla="*/ 764381 w 2332"/>
                <a:gd name="T73" fmla="*/ 879198 h 1731"/>
                <a:gd name="T74" fmla="*/ 694455 w 2332"/>
                <a:gd name="T75" fmla="*/ 905427 h 1731"/>
                <a:gd name="T76" fmla="*/ 662988 w 2332"/>
                <a:gd name="T77" fmla="*/ 888116 h 1731"/>
                <a:gd name="T78" fmla="*/ 616225 w 2332"/>
                <a:gd name="T79" fmla="*/ 907001 h 1731"/>
                <a:gd name="T80" fmla="*/ 566840 w 2332"/>
                <a:gd name="T81" fmla="*/ 888116 h 1731"/>
                <a:gd name="T82" fmla="*/ 558973 w 2332"/>
                <a:gd name="T83" fmla="*/ 846674 h 1731"/>
                <a:gd name="T84" fmla="*/ 551980 w 2332"/>
                <a:gd name="T85" fmla="*/ 795265 h 1731"/>
                <a:gd name="T86" fmla="*/ 535373 w 2332"/>
                <a:gd name="T87" fmla="*/ 786872 h 1731"/>
                <a:gd name="T88" fmla="*/ 559410 w 2332"/>
                <a:gd name="T89" fmla="*/ 724971 h 1731"/>
                <a:gd name="T90" fmla="*/ 475498 w 2332"/>
                <a:gd name="T91" fmla="*/ 714480 h 1731"/>
                <a:gd name="T92" fmla="*/ 419995 w 2332"/>
                <a:gd name="T93" fmla="*/ 672513 h 1731"/>
                <a:gd name="T94" fmla="*/ 329527 w 2332"/>
                <a:gd name="T95" fmla="*/ 694021 h 1731"/>
                <a:gd name="T96" fmla="*/ 221579 w 2332"/>
                <a:gd name="T97" fmla="*/ 744381 h 1731"/>
                <a:gd name="T98" fmla="*/ 93526 w 2332"/>
                <a:gd name="T99" fmla="*/ 772708 h 1731"/>
                <a:gd name="T100" fmla="*/ 24037 w 2332"/>
                <a:gd name="T101" fmla="*/ 781626 h 1731"/>
                <a:gd name="T102" fmla="*/ 874 w 2332"/>
                <a:gd name="T103" fmla="*/ 746479 h 1731"/>
                <a:gd name="T104" fmla="*/ 42393 w 2332"/>
                <a:gd name="T105" fmla="*/ 705037 h 1731"/>
                <a:gd name="T106" fmla="*/ 32778 w 2332"/>
                <a:gd name="T107" fmla="*/ 651005 h 1731"/>
                <a:gd name="T108" fmla="*/ 49385 w 2332"/>
                <a:gd name="T109" fmla="*/ 613760 h 1731"/>
                <a:gd name="T110" fmla="*/ 25348 w 2332"/>
                <a:gd name="T111" fmla="*/ 494680 h 1731"/>
                <a:gd name="T112" fmla="*/ 49385 w 2332"/>
                <a:gd name="T113" fmla="*/ 505696 h 1731"/>
                <a:gd name="T114" fmla="*/ 46326 w 2332"/>
                <a:gd name="T115" fmla="*/ 452189 h 1731"/>
                <a:gd name="T116" fmla="*/ 64245 w 2332"/>
                <a:gd name="T117" fmla="*/ 401305 h 173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332" h="1731">
                  <a:moveTo>
                    <a:pt x="153" y="721"/>
                  </a:moveTo>
                  <a:lnTo>
                    <a:pt x="156" y="727"/>
                  </a:lnTo>
                  <a:lnTo>
                    <a:pt x="159" y="732"/>
                  </a:lnTo>
                  <a:lnTo>
                    <a:pt x="162" y="735"/>
                  </a:lnTo>
                  <a:lnTo>
                    <a:pt x="167" y="738"/>
                  </a:lnTo>
                  <a:lnTo>
                    <a:pt x="173" y="744"/>
                  </a:lnTo>
                  <a:lnTo>
                    <a:pt x="180" y="751"/>
                  </a:lnTo>
                  <a:lnTo>
                    <a:pt x="189" y="744"/>
                  </a:lnTo>
                  <a:lnTo>
                    <a:pt x="195" y="737"/>
                  </a:lnTo>
                  <a:lnTo>
                    <a:pt x="201" y="729"/>
                  </a:lnTo>
                  <a:lnTo>
                    <a:pt x="205" y="722"/>
                  </a:lnTo>
                  <a:lnTo>
                    <a:pt x="210" y="714"/>
                  </a:lnTo>
                  <a:lnTo>
                    <a:pt x="214" y="707"/>
                  </a:lnTo>
                  <a:lnTo>
                    <a:pt x="219" y="701"/>
                  </a:lnTo>
                  <a:lnTo>
                    <a:pt x="226" y="696"/>
                  </a:lnTo>
                  <a:lnTo>
                    <a:pt x="234" y="690"/>
                  </a:lnTo>
                  <a:lnTo>
                    <a:pt x="241" y="685"/>
                  </a:lnTo>
                  <a:lnTo>
                    <a:pt x="249" y="680"/>
                  </a:lnTo>
                  <a:lnTo>
                    <a:pt x="258" y="677"/>
                  </a:lnTo>
                  <a:lnTo>
                    <a:pt x="274" y="672"/>
                  </a:lnTo>
                  <a:lnTo>
                    <a:pt x="290" y="667"/>
                  </a:lnTo>
                  <a:lnTo>
                    <a:pt x="297" y="665"/>
                  </a:lnTo>
                  <a:lnTo>
                    <a:pt x="305" y="661"/>
                  </a:lnTo>
                  <a:lnTo>
                    <a:pt x="312" y="658"/>
                  </a:lnTo>
                  <a:lnTo>
                    <a:pt x="318" y="654"/>
                  </a:lnTo>
                  <a:lnTo>
                    <a:pt x="325" y="649"/>
                  </a:lnTo>
                  <a:lnTo>
                    <a:pt x="330" y="644"/>
                  </a:lnTo>
                  <a:lnTo>
                    <a:pt x="335" y="637"/>
                  </a:lnTo>
                  <a:lnTo>
                    <a:pt x="339" y="628"/>
                  </a:lnTo>
                  <a:lnTo>
                    <a:pt x="360" y="631"/>
                  </a:lnTo>
                  <a:lnTo>
                    <a:pt x="370" y="631"/>
                  </a:lnTo>
                  <a:lnTo>
                    <a:pt x="375" y="629"/>
                  </a:lnTo>
                  <a:lnTo>
                    <a:pt x="385" y="628"/>
                  </a:lnTo>
                  <a:lnTo>
                    <a:pt x="393" y="628"/>
                  </a:lnTo>
                  <a:lnTo>
                    <a:pt x="400" y="627"/>
                  </a:lnTo>
                  <a:lnTo>
                    <a:pt x="405" y="624"/>
                  </a:lnTo>
                  <a:lnTo>
                    <a:pt x="412" y="622"/>
                  </a:lnTo>
                  <a:lnTo>
                    <a:pt x="423" y="615"/>
                  </a:lnTo>
                  <a:lnTo>
                    <a:pt x="435" y="606"/>
                  </a:lnTo>
                  <a:lnTo>
                    <a:pt x="447" y="598"/>
                  </a:lnTo>
                  <a:lnTo>
                    <a:pt x="461" y="592"/>
                  </a:lnTo>
                  <a:lnTo>
                    <a:pt x="469" y="589"/>
                  </a:lnTo>
                  <a:lnTo>
                    <a:pt x="478" y="587"/>
                  </a:lnTo>
                  <a:lnTo>
                    <a:pt x="487" y="585"/>
                  </a:lnTo>
                  <a:lnTo>
                    <a:pt x="498" y="585"/>
                  </a:lnTo>
                  <a:lnTo>
                    <a:pt x="520" y="585"/>
                  </a:lnTo>
                  <a:lnTo>
                    <a:pt x="544" y="584"/>
                  </a:lnTo>
                  <a:lnTo>
                    <a:pt x="558" y="584"/>
                  </a:lnTo>
                  <a:lnTo>
                    <a:pt x="570" y="582"/>
                  </a:lnTo>
                  <a:lnTo>
                    <a:pt x="581" y="581"/>
                  </a:lnTo>
                  <a:lnTo>
                    <a:pt x="592" y="579"/>
                  </a:lnTo>
                  <a:lnTo>
                    <a:pt x="605" y="570"/>
                  </a:lnTo>
                  <a:lnTo>
                    <a:pt x="619" y="558"/>
                  </a:lnTo>
                  <a:lnTo>
                    <a:pt x="635" y="542"/>
                  </a:lnTo>
                  <a:lnTo>
                    <a:pt x="650" y="525"/>
                  </a:lnTo>
                  <a:lnTo>
                    <a:pt x="664" y="508"/>
                  </a:lnTo>
                  <a:lnTo>
                    <a:pt x="677" y="490"/>
                  </a:lnTo>
                  <a:lnTo>
                    <a:pt x="688" y="475"/>
                  </a:lnTo>
                  <a:lnTo>
                    <a:pt x="698" y="462"/>
                  </a:lnTo>
                  <a:lnTo>
                    <a:pt x="695" y="461"/>
                  </a:lnTo>
                  <a:lnTo>
                    <a:pt x="693" y="459"/>
                  </a:lnTo>
                  <a:lnTo>
                    <a:pt x="691" y="456"/>
                  </a:lnTo>
                  <a:lnTo>
                    <a:pt x="688" y="452"/>
                  </a:lnTo>
                  <a:lnTo>
                    <a:pt x="683" y="444"/>
                  </a:lnTo>
                  <a:lnTo>
                    <a:pt x="677" y="437"/>
                  </a:lnTo>
                  <a:lnTo>
                    <a:pt x="688" y="432"/>
                  </a:lnTo>
                  <a:lnTo>
                    <a:pt x="697" y="426"/>
                  </a:lnTo>
                  <a:lnTo>
                    <a:pt x="705" y="419"/>
                  </a:lnTo>
                  <a:lnTo>
                    <a:pt x="710" y="413"/>
                  </a:lnTo>
                  <a:lnTo>
                    <a:pt x="716" y="406"/>
                  </a:lnTo>
                  <a:lnTo>
                    <a:pt x="721" y="399"/>
                  </a:lnTo>
                  <a:lnTo>
                    <a:pt x="729" y="393"/>
                  </a:lnTo>
                  <a:lnTo>
                    <a:pt x="738" y="388"/>
                  </a:lnTo>
                  <a:lnTo>
                    <a:pt x="739" y="399"/>
                  </a:lnTo>
                  <a:lnTo>
                    <a:pt x="741" y="409"/>
                  </a:lnTo>
                  <a:lnTo>
                    <a:pt x="744" y="418"/>
                  </a:lnTo>
                  <a:lnTo>
                    <a:pt x="749" y="425"/>
                  </a:lnTo>
                  <a:lnTo>
                    <a:pt x="758" y="439"/>
                  </a:lnTo>
                  <a:lnTo>
                    <a:pt x="764" y="450"/>
                  </a:lnTo>
                  <a:lnTo>
                    <a:pt x="768" y="437"/>
                  </a:lnTo>
                  <a:lnTo>
                    <a:pt x="770" y="428"/>
                  </a:lnTo>
                  <a:lnTo>
                    <a:pt x="771" y="418"/>
                  </a:lnTo>
                  <a:lnTo>
                    <a:pt x="771" y="406"/>
                  </a:lnTo>
                  <a:lnTo>
                    <a:pt x="775" y="402"/>
                  </a:lnTo>
                  <a:lnTo>
                    <a:pt x="776" y="397"/>
                  </a:lnTo>
                  <a:lnTo>
                    <a:pt x="777" y="391"/>
                  </a:lnTo>
                  <a:lnTo>
                    <a:pt x="777" y="385"/>
                  </a:lnTo>
                  <a:lnTo>
                    <a:pt x="777" y="379"/>
                  </a:lnTo>
                  <a:lnTo>
                    <a:pt x="778" y="373"/>
                  </a:lnTo>
                  <a:lnTo>
                    <a:pt x="781" y="368"/>
                  </a:lnTo>
                  <a:lnTo>
                    <a:pt x="784" y="363"/>
                  </a:lnTo>
                  <a:lnTo>
                    <a:pt x="787" y="370"/>
                  </a:lnTo>
                  <a:lnTo>
                    <a:pt x="790" y="381"/>
                  </a:lnTo>
                  <a:lnTo>
                    <a:pt x="838" y="381"/>
                  </a:lnTo>
                  <a:lnTo>
                    <a:pt x="833" y="369"/>
                  </a:lnTo>
                  <a:lnTo>
                    <a:pt x="832" y="358"/>
                  </a:lnTo>
                  <a:lnTo>
                    <a:pt x="831" y="349"/>
                  </a:lnTo>
                  <a:lnTo>
                    <a:pt x="832" y="341"/>
                  </a:lnTo>
                  <a:lnTo>
                    <a:pt x="835" y="327"/>
                  </a:lnTo>
                  <a:lnTo>
                    <a:pt x="838" y="314"/>
                  </a:lnTo>
                  <a:lnTo>
                    <a:pt x="852" y="315"/>
                  </a:lnTo>
                  <a:lnTo>
                    <a:pt x="860" y="316"/>
                  </a:lnTo>
                  <a:lnTo>
                    <a:pt x="863" y="316"/>
                  </a:lnTo>
                  <a:lnTo>
                    <a:pt x="866" y="316"/>
                  </a:lnTo>
                  <a:lnTo>
                    <a:pt x="871" y="315"/>
                  </a:lnTo>
                  <a:lnTo>
                    <a:pt x="877" y="314"/>
                  </a:lnTo>
                  <a:lnTo>
                    <a:pt x="885" y="295"/>
                  </a:lnTo>
                  <a:lnTo>
                    <a:pt x="891" y="281"/>
                  </a:lnTo>
                  <a:lnTo>
                    <a:pt x="898" y="268"/>
                  </a:lnTo>
                  <a:lnTo>
                    <a:pt x="910" y="252"/>
                  </a:lnTo>
                  <a:lnTo>
                    <a:pt x="916" y="255"/>
                  </a:lnTo>
                  <a:lnTo>
                    <a:pt x="921" y="256"/>
                  </a:lnTo>
                  <a:lnTo>
                    <a:pt x="925" y="256"/>
                  </a:lnTo>
                  <a:lnTo>
                    <a:pt x="930" y="255"/>
                  </a:lnTo>
                  <a:lnTo>
                    <a:pt x="933" y="253"/>
                  </a:lnTo>
                  <a:lnTo>
                    <a:pt x="935" y="250"/>
                  </a:lnTo>
                  <a:lnTo>
                    <a:pt x="939" y="246"/>
                  </a:lnTo>
                  <a:lnTo>
                    <a:pt x="940" y="242"/>
                  </a:lnTo>
                  <a:lnTo>
                    <a:pt x="946" y="224"/>
                  </a:lnTo>
                  <a:lnTo>
                    <a:pt x="951" y="209"/>
                  </a:lnTo>
                  <a:lnTo>
                    <a:pt x="957" y="212"/>
                  </a:lnTo>
                  <a:lnTo>
                    <a:pt x="965" y="214"/>
                  </a:lnTo>
                  <a:lnTo>
                    <a:pt x="973" y="215"/>
                  </a:lnTo>
                  <a:lnTo>
                    <a:pt x="980" y="214"/>
                  </a:lnTo>
                  <a:lnTo>
                    <a:pt x="989" y="214"/>
                  </a:lnTo>
                  <a:lnTo>
                    <a:pt x="998" y="213"/>
                  </a:lnTo>
                  <a:lnTo>
                    <a:pt x="1007" y="213"/>
                  </a:lnTo>
                  <a:lnTo>
                    <a:pt x="1017" y="215"/>
                  </a:lnTo>
                  <a:lnTo>
                    <a:pt x="1022" y="219"/>
                  </a:lnTo>
                  <a:lnTo>
                    <a:pt x="1027" y="223"/>
                  </a:lnTo>
                  <a:lnTo>
                    <a:pt x="1031" y="227"/>
                  </a:lnTo>
                  <a:lnTo>
                    <a:pt x="1033" y="232"/>
                  </a:lnTo>
                  <a:lnTo>
                    <a:pt x="1037" y="244"/>
                  </a:lnTo>
                  <a:lnTo>
                    <a:pt x="1040" y="257"/>
                  </a:lnTo>
                  <a:lnTo>
                    <a:pt x="1043" y="269"/>
                  </a:lnTo>
                  <a:lnTo>
                    <a:pt x="1046" y="280"/>
                  </a:lnTo>
                  <a:lnTo>
                    <a:pt x="1050" y="284"/>
                  </a:lnTo>
                  <a:lnTo>
                    <a:pt x="1053" y="287"/>
                  </a:lnTo>
                  <a:lnTo>
                    <a:pt x="1057" y="289"/>
                  </a:lnTo>
                  <a:lnTo>
                    <a:pt x="1063" y="290"/>
                  </a:lnTo>
                  <a:lnTo>
                    <a:pt x="1069" y="289"/>
                  </a:lnTo>
                  <a:lnTo>
                    <a:pt x="1076" y="286"/>
                  </a:lnTo>
                  <a:lnTo>
                    <a:pt x="1078" y="284"/>
                  </a:lnTo>
                  <a:lnTo>
                    <a:pt x="1081" y="282"/>
                  </a:lnTo>
                  <a:lnTo>
                    <a:pt x="1083" y="280"/>
                  </a:lnTo>
                  <a:lnTo>
                    <a:pt x="1084" y="277"/>
                  </a:lnTo>
                  <a:lnTo>
                    <a:pt x="1088" y="279"/>
                  </a:lnTo>
                  <a:lnTo>
                    <a:pt x="1092" y="280"/>
                  </a:lnTo>
                  <a:lnTo>
                    <a:pt x="1096" y="280"/>
                  </a:lnTo>
                  <a:lnTo>
                    <a:pt x="1099" y="280"/>
                  </a:lnTo>
                  <a:lnTo>
                    <a:pt x="1104" y="278"/>
                  </a:lnTo>
                  <a:lnTo>
                    <a:pt x="1110" y="277"/>
                  </a:lnTo>
                  <a:lnTo>
                    <a:pt x="1120" y="277"/>
                  </a:lnTo>
                  <a:lnTo>
                    <a:pt x="1128" y="276"/>
                  </a:lnTo>
                  <a:lnTo>
                    <a:pt x="1133" y="274"/>
                  </a:lnTo>
                  <a:lnTo>
                    <a:pt x="1135" y="270"/>
                  </a:lnTo>
                  <a:lnTo>
                    <a:pt x="1136" y="261"/>
                  </a:lnTo>
                  <a:lnTo>
                    <a:pt x="1136" y="246"/>
                  </a:lnTo>
                  <a:lnTo>
                    <a:pt x="1136" y="240"/>
                  </a:lnTo>
                  <a:lnTo>
                    <a:pt x="1137" y="234"/>
                  </a:lnTo>
                  <a:lnTo>
                    <a:pt x="1140" y="228"/>
                  </a:lnTo>
                  <a:lnTo>
                    <a:pt x="1143" y="223"/>
                  </a:lnTo>
                  <a:lnTo>
                    <a:pt x="1148" y="212"/>
                  </a:lnTo>
                  <a:lnTo>
                    <a:pt x="1156" y="204"/>
                  </a:lnTo>
                  <a:lnTo>
                    <a:pt x="1164" y="195"/>
                  </a:lnTo>
                  <a:lnTo>
                    <a:pt x="1170" y="186"/>
                  </a:lnTo>
                  <a:lnTo>
                    <a:pt x="1173" y="182"/>
                  </a:lnTo>
                  <a:lnTo>
                    <a:pt x="1175" y="177"/>
                  </a:lnTo>
                  <a:lnTo>
                    <a:pt x="1176" y="172"/>
                  </a:lnTo>
                  <a:lnTo>
                    <a:pt x="1176" y="167"/>
                  </a:lnTo>
                  <a:lnTo>
                    <a:pt x="1189" y="154"/>
                  </a:lnTo>
                  <a:lnTo>
                    <a:pt x="1201" y="146"/>
                  </a:lnTo>
                  <a:lnTo>
                    <a:pt x="1213" y="139"/>
                  </a:lnTo>
                  <a:lnTo>
                    <a:pt x="1225" y="134"/>
                  </a:lnTo>
                  <a:lnTo>
                    <a:pt x="1237" y="131"/>
                  </a:lnTo>
                  <a:lnTo>
                    <a:pt x="1248" y="128"/>
                  </a:lnTo>
                  <a:lnTo>
                    <a:pt x="1259" y="127"/>
                  </a:lnTo>
                  <a:lnTo>
                    <a:pt x="1270" y="126"/>
                  </a:lnTo>
                  <a:lnTo>
                    <a:pt x="1289" y="125"/>
                  </a:lnTo>
                  <a:lnTo>
                    <a:pt x="1305" y="123"/>
                  </a:lnTo>
                  <a:lnTo>
                    <a:pt x="1313" y="121"/>
                  </a:lnTo>
                  <a:lnTo>
                    <a:pt x="1320" y="117"/>
                  </a:lnTo>
                  <a:lnTo>
                    <a:pt x="1324" y="112"/>
                  </a:lnTo>
                  <a:lnTo>
                    <a:pt x="1328" y="104"/>
                  </a:lnTo>
                  <a:lnTo>
                    <a:pt x="1322" y="94"/>
                  </a:lnTo>
                  <a:lnTo>
                    <a:pt x="1314" y="86"/>
                  </a:lnTo>
                  <a:lnTo>
                    <a:pt x="1308" y="80"/>
                  </a:lnTo>
                  <a:lnTo>
                    <a:pt x="1301" y="75"/>
                  </a:lnTo>
                  <a:lnTo>
                    <a:pt x="1297" y="69"/>
                  </a:lnTo>
                  <a:lnTo>
                    <a:pt x="1292" y="64"/>
                  </a:lnTo>
                  <a:lnTo>
                    <a:pt x="1290" y="58"/>
                  </a:lnTo>
                  <a:lnTo>
                    <a:pt x="1289" y="49"/>
                  </a:lnTo>
                  <a:lnTo>
                    <a:pt x="1305" y="48"/>
                  </a:lnTo>
                  <a:lnTo>
                    <a:pt x="1322" y="45"/>
                  </a:lnTo>
                  <a:lnTo>
                    <a:pt x="1336" y="41"/>
                  </a:lnTo>
                  <a:lnTo>
                    <a:pt x="1349" y="36"/>
                  </a:lnTo>
                  <a:lnTo>
                    <a:pt x="1352" y="46"/>
                  </a:lnTo>
                  <a:lnTo>
                    <a:pt x="1356" y="56"/>
                  </a:lnTo>
                  <a:lnTo>
                    <a:pt x="1360" y="64"/>
                  </a:lnTo>
                  <a:lnTo>
                    <a:pt x="1366" y="72"/>
                  </a:lnTo>
                  <a:lnTo>
                    <a:pt x="1372" y="78"/>
                  </a:lnTo>
                  <a:lnTo>
                    <a:pt x="1379" y="84"/>
                  </a:lnTo>
                  <a:lnTo>
                    <a:pt x="1387" y="90"/>
                  </a:lnTo>
                  <a:lnTo>
                    <a:pt x="1394" y="94"/>
                  </a:lnTo>
                  <a:lnTo>
                    <a:pt x="1403" y="98"/>
                  </a:lnTo>
                  <a:lnTo>
                    <a:pt x="1412" y="101"/>
                  </a:lnTo>
                  <a:lnTo>
                    <a:pt x="1422" y="104"/>
                  </a:lnTo>
                  <a:lnTo>
                    <a:pt x="1432" y="107"/>
                  </a:lnTo>
                  <a:lnTo>
                    <a:pt x="1443" y="109"/>
                  </a:lnTo>
                  <a:lnTo>
                    <a:pt x="1453" y="110"/>
                  </a:lnTo>
                  <a:lnTo>
                    <a:pt x="1464" y="111"/>
                  </a:lnTo>
                  <a:lnTo>
                    <a:pt x="1476" y="111"/>
                  </a:lnTo>
                  <a:lnTo>
                    <a:pt x="1481" y="110"/>
                  </a:lnTo>
                  <a:lnTo>
                    <a:pt x="1489" y="108"/>
                  </a:lnTo>
                  <a:lnTo>
                    <a:pt x="1499" y="105"/>
                  </a:lnTo>
                  <a:lnTo>
                    <a:pt x="1509" y="104"/>
                  </a:lnTo>
                  <a:lnTo>
                    <a:pt x="1514" y="109"/>
                  </a:lnTo>
                  <a:lnTo>
                    <a:pt x="1523" y="113"/>
                  </a:lnTo>
                  <a:lnTo>
                    <a:pt x="1532" y="116"/>
                  </a:lnTo>
                  <a:lnTo>
                    <a:pt x="1541" y="117"/>
                  </a:lnTo>
                  <a:lnTo>
                    <a:pt x="1544" y="117"/>
                  </a:lnTo>
                  <a:lnTo>
                    <a:pt x="1547" y="115"/>
                  </a:lnTo>
                  <a:lnTo>
                    <a:pt x="1549" y="113"/>
                  </a:lnTo>
                  <a:lnTo>
                    <a:pt x="1551" y="110"/>
                  </a:lnTo>
                  <a:lnTo>
                    <a:pt x="1557" y="103"/>
                  </a:lnTo>
                  <a:lnTo>
                    <a:pt x="1561" y="98"/>
                  </a:lnTo>
                  <a:lnTo>
                    <a:pt x="1561" y="135"/>
                  </a:lnTo>
                  <a:lnTo>
                    <a:pt x="1556" y="146"/>
                  </a:lnTo>
                  <a:lnTo>
                    <a:pt x="1545" y="163"/>
                  </a:lnTo>
                  <a:lnTo>
                    <a:pt x="1530" y="183"/>
                  </a:lnTo>
                  <a:lnTo>
                    <a:pt x="1513" y="205"/>
                  </a:lnTo>
                  <a:lnTo>
                    <a:pt x="1495" y="228"/>
                  </a:lnTo>
                  <a:lnTo>
                    <a:pt x="1479" y="247"/>
                  </a:lnTo>
                  <a:lnTo>
                    <a:pt x="1465" y="262"/>
                  </a:lnTo>
                  <a:lnTo>
                    <a:pt x="1455" y="270"/>
                  </a:lnTo>
                  <a:lnTo>
                    <a:pt x="1464" y="275"/>
                  </a:lnTo>
                  <a:lnTo>
                    <a:pt x="1470" y="278"/>
                  </a:lnTo>
                  <a:lnTo>
                    <a:pt x="1474" y="282"/>
                  </a:lnTo>
                  <a:lnTo>
                    <a:pt x="1479" y="286"/>
                  </a:lnTo>
                  <a:lnTo>
                    <a:pt x="1485" y="294"/>
                  </a:lnTo>
                  <a:lnTo>
                    <a:pt x="1489" y="302"/>
                  </a:lnTo>
                  <a:lnTo>
                    <a:pt x="1492" y="310"/>
                  </a:lnTo>
                  <a:lnTo>
                    <a:pt x="1495" y="317"/>
                  </a:lnTo>
                  <a:lnTo>
                    <a:pt x="1498" y="321"/>
                  </a:lnTo>
                  <a:lnTo>
                    <a:pt x="1500" y="325"/>
                  </a:lnTo>
                  <a:lnTo>
                    <a:pt x="1504" y="328"/>
                  </a:lnTo>
                  <a:lnTo>
                    <a:pt x="1509" y="333"/>
                  </a:lnTo>
                  <a:lnTo>
                    <a:pt x="1514" y="336"/>
                  </a:lnTo>
                  <a:lnTo>
                    <a:pt x="1520" y="338"/>
                  </a:lnTo>
                  <a:lnTo>
                    <a:pt x="1525" y="339"/>
                  </a:lnTo>
                  <a:lnTo>
                    <a:pt x="1532" y="338"/>
                  </a:lnTo>
                  <a:lnTo>
                    <a:pt x="1538" y="338"/>
                  </a:lnTo>
                  <a:lnTo>
                    <a:pt x="1544" y="337"/>
                  </a:lnTo>
                  <a:lnTo>
                    <a:pt x="1549" y="337"/>
                  </a:lnTo>
                  <a:lnTo>
                    <a:pt x="1555" y="339"/>
                  </a:lnTo>
                  <a:lnTo>
                    <a:pt x="1560" y="340"/>
                  </a:lnTo>
                  <a:lnTo>
                    <a:pt x="1566" y="342"/>
                  </a:lnTo>
                  <a:lnTo>
                    <a:pt x="1570" y="345"/>
                  </a:lnTo>
                  <a:lnTo>
                    <a:pt x="1574" y="347"/>
                  </a:lnTo>
                  <a:lnTo>
                    <a:pt x="1582" y="354"/>
                  </a:lnTo>
                  <a:lnTo>
                    <a:pt x="1588" y="361"/>
                  </a:lnTo>
                  <a:lnTo>
                    <a:pt x="1594" y="368"/>
                  </a:lnTo>
                  <a:lnTo>
                    <a:pt x="1602" y="376"/>
                  </a:lnTo>
                  <a:lnTo>
                    <a:pt x="1605" y="379"/>
                  </a:lnTo>
                  <a:lnTo>
                    <a:pt x="1611" y="382"/>
                  </a:lnTo>
                  <a:lnTo>
                    <a:pt x="1615" y="386"/>
                  </a:lnTo>
                  <a:lnTo>
                    <a:pt x="1622" y="388"/>
                  </a:lnTo>
                  <a:lnTo>
                    <a:pt x="1629" y="391"/>
                  </a:lnTo>
                  <a:lnTo>
                    <a:pt x="1637" y="394"/>
                  </a:lnTo>
                  <a:lnTo>
                    <a:pt x="1644" y="398"/>
                  </a:lnTo>
                  <a:lnTo>
                    <a:pt x="1649" y="403"/>
                  </a:lnTo>
                  <a:lnTo>
                    <a:pt x="1659" y="413"/>
                  </a:lnTo>
                  <a:lnTo>
                    <a:pt x="1668" y="423"/>
                  </a:lnTo>
                  <a:lnTo>
                    <a:pt x="1677" y="433"/>
                  </a:lnTo>
                  <a:lnTo>
                    <a:pt x="1686" y="442"/>
                  </a:lnTo>
                  <a:lnTo>
                    <a:pt x="1692" y="445"/>
                  </a:lnTo>
                  <a:lnTo>
                    <a:pt x="1698" y="448"/>
                  </a:lnTo>
                  <a:lnTo>
                    <a:pt x="1706" y="449"/>
                  </a:lnTo>
                  <a:lnTo>
                    <a:pt x="1714" y="450"/>
                  </a:lnTo>
                  <a:lnTo>
                    <a:pt x="1719" y="449"/>
                  </a:lnTo>
                  <a:lnTo>
                    <a:pt x="1724" y="448"/>
                  </a:lnTo>
                  <a:lnTo>
                    <a:pt x="1729" y="446"/>
                  </a:lnTo>
                  <a:lnTo>
                    <a:pt x="1735" y="444"/>
                  </a:lnTo>
                  <a:lnTo>
                    <a:pt x="1745" y="435"/>
                  </a:lnTo>
                  <a:lnTo>
                    <a:pt x="1754" y="425"/>
                  </a:lnTo>
                  <a:lnTo>
                    <a:pt x="1764" y="413"/>
                  </a:lnTo>
                  <a:lnTo>
                    <a:pt x="1773" y="400"/>
                  </a:lnTo>
                  <a:lnTo>
                    <a:pt x="1782" y="385"/>
                  </a:lnTo>
                  <a:lnTo>
                    <a:pt x="1791" y="368"/>
                  </a:lnTo>
                  <a:lnTo>
                    <a:pt x="1798" y="351"/>
                  </a:lnTo>
                  <a:lnTo>
                    <a:pt x="1805" y="334"/>
                  </a:lnTo>
                  <a:lnTo>
                    <a:pt x="1812" y="316"/>
                  </a:lnTo>
                  <a:lnTo>
                    <a:pt x="1817" y="299"/>
                  </a:lnTo>
                  <a:lnTo>
                    <a:pt x="1821" y="283"/>
                  </a:lnTo>
                  <a:lnTo>
                    <a:pt x="1825" y="266"/>
                  </a:lnTo>
                  <a:lnTo>
                    <a:pt x="1827" y="252"/>
                  </a:lnTo>
                  <a:lnTo>
                    <a:pt x="1827" y="240"/>
                  </a:lnTo>
                  <a:lnTo>
                    <a:pt x="1828" y="223"/>
                  </a:lnTo>
                  <a:lnTo>
                    <a:pt x="1830" y="205"/>
                  </a:lnTo>
                  <a:lnTo>
                    <a:pt x="1834" y="189"/>
                  </a:lnTo>
                  <a:lnTo>
                    <a:pt x="1839" y="174"/>
                  </a:lnTo>
                  <a:lnTo>
                    <a:pt x="1845" y="159"/>
                  </a:lnTo>
                  <a:lnTo>
                    <a:pt x="1850" y="145"/>
                  </a:lnTo>
                  <a:lnTo>
                    <a:pt x="1857" y="131"/>
                  </a:lnTo>
                  <a:lnTo>
                    <a:pt x="1863" y="118"/>
                  </a:lnTo>
                  <a:lnTo>
                    <a:pt x="1877" y="90"/>
                  </a:lnTo>
                  <a:lnTo>
                    <a:pt x="1888" y="63"/>
                  </a:lnTo>
                  <a:lnTo>
                    <a:pt x="1894" y="47"/>
                  </a:lnTo>
                  <a:lnTo>
                    <a:pt x="1897" y="32"/>
                  </a:lnTo>
                  <a:lnTo>
                    <a:pt x="1899" y="17"/>
                  </a:lnTo>
                  <a:lnTo>
                    <a:pt x="1901" y="0"/>
                  </a:lnTo>
                  <a:lnTo>
                    <a:pt x="1904" y="10"/>
                  </a:lnTo>
                  <a:lnTo>
                    <a:pt x="1909" y="21"/>
                  </a:lnTo>
                  <a:lnTo>
                    <a:pt x="1917" y="32"/>
                  </a:lnTo>
                  <a:lnTo>
                    <a:pt x="1925" y="43"/>
                  </a:lnTo>
                  <a:lnTo>
                    <a:pt x="1932" y="55"/>
                  </a:lnTo>
                  <a:lnTo>
                    <a:pt x="1940" y="63"/>
                  </a:lnTo>
                  <a:lnTo>
                    <a:pt x="1948" y="70"/>
                  </a:lnTo>
                  <a:lnTo>
                    <a:pt x="1953" y="74"/>
                  </a:lnTo>
                  <a:lnTo>
                    <a:pt x="1952" y="76"/>
                  </a:lnTo>
                  <a:lnTo>
                    <a:pt x="1950" y="77"/>
                  </a:lnTo>
                  <a:lnTo>
                    <a:pt x="1947" y="78"/>
                  </a:lnTo>
                  <a:lnTo>
                    <a:pt x="1943" y="79"/>
                  </a:lnTo>
                  <a:lnTo>
                    <a:pt x="1937" y="80"/>
                  </a:lnTo>
                  <a:lnTo>
                    <a:pt x="1933" y="80"/>
                  </a:lnTo>
                  <a:lnTo>
                    <a:pt x="1935" y="90"/>
                  </a:lnTo>
                  <a:lnTo>
                    <a:pt x="1937" y="98"/>
                  </a:lnTo>
                  <a:lnTo>
                    <a:pt x="1940" y="104"/>
                  </a:lnTo>
                  <a:lnTo>
                    <a:pt x="1943" y="110"/>
                  </a:lnTo>
                  <a:lnTo>
                    <a:pt x="1947" y="115"/>
                  </a:lnTo>
                  <a:lnTo>
                    <a:pt x="1950" y="121"/>
                  </a:lnTo>
                  <a:lnTo>
                    <a:pt x="1952" y="127"/>
                  </a:lnTo>
                  <a:lnTo>
                    <a:pt x="1953" y="135"/>
                  </a:lnTo>
                  <a:lnTo>
                    <a:pt x="1953" y="144"/>
                  </a:lnTo>
                  <a:lnTo>
                    <a:pt x="1951" y="152"/>
                  </a:lnTo>
                  <a:lnTo>
                    <a:pt x="1949" y="160"/>
                  </a:lnTo>
                  <a:lnTo>
                    <a:pt x="1947" y="169"/>
                  </a:lnTo>
                  <a:lnTo>
                    <a:pt x="1944" y="176"/>
                  </a:lnTo>
                  <a:lnTo>
                    <a:pt x="1942" y="183"/>
                  </a:lnTo>
                  <a:lnTo>
                    <a:pt x="1941" y="190"/>
                  </a:lnTo>
                  <a:lnTo>
                    <a:pt x="1940" y="197"/>
                  </a:lnTo>
                  <a:lnTo>
                    <a:pt x="1940" y="201"/>
                  </a:lnTo>
                  <a:lnTo>
                    <a:pt x="1941" y="206"/>
                  </a:lnTo>
                  <a:lnTo>
                    <a:pt x="1942" y="210"/>
                  </a:lnTo>
                  <a:lnTo>
                    <a:pt x="1944" y="214"/>
                  </a:lnTo>
                  <a:lnTo>
                    <a:pt x="1950" y="222"/>
                  </a:lnTo>
                  <a:lnTo>
                    <a:pt x="1955" y="228"/>
                  </a:lnTo>
                  <a:lnTo>
                    <a:pt x="1963" y="233"/>
                  </a:lnTo>
                  <a:lnTo>
                    <a:pt x="1971" y="237"/>
                  </a:lnTo>
                  <a:lnTo>
                    <a:pt x="1978" y="239"/>
                  </a:lnTo>
                  <a:lnTo>
                    <a:pt x="1986" y="240"/>
                  </a:lnTo>
                  <a:lnTo>
                    <a:pt x="1987" y="244"/>
                  </a:lnTo>
                  <a:lnTo>
                    <a:pt x="1989" y="248"/>
                  </a:lnTo>
                  <a:lnTo>
                    <a:pt x="1993" y="251"/>
                  </a:lnTo>
                  <a:lnTo>
                    <a:pt x="1997" y="254"/>
                  </a:lnTo>
                  <a:lnTo>
                    <a:pt x="2006" y="257"/>
                  </a:lnTo>
                  <a:lnTo>
                    <a:pt x="2014" y="258"/>
                  </a:lnTo>
                  <a:lnTo>
                    <a:pt x="2014" y="278"/>
                  </a:lnTo>
                  <a:lnTo>
                    <a:pt x="2015" y="297"/>
                  </a:lnTo>
                  <a:lnTo>
                    <a:pt x="2017" y="314"/>
                  </a:lnTo>
                  <a:lnTo>
                    <a:pt x="2019" y="332"/>
                  </a:lnTo>
                  <a:lnTo>
                    <a:pt x="2026" y="365"/>
                  </a:lnTo>
                  <a:lnTo>
                    <a:pt x="2033" y="398"/>
                  </a:lnTo>
                  <a:lnTo>
                    <a:pt x="2040" y="429"/>
                  </a:lnTo>
                  <a:lnTo>
                    <a:pt x="2047" y="461"/>
                  </a:lnTo>
                  <a:lnTo>
                    <a:pt x="2050" y="476"/>
                  </a:lnTo>
                  <a:lnTo>
                    <a:pt x="2051" y="491"/>
                  </a:lnTo>
                  <a:lnTo>
                    <a:pt x="2053" y="508"/>
                  </a:lnTo>
                  <a:lnTo>
                    <a:pt x="2053" y="523"/>
                  </a:lnTo>
                  <a:lnTo>
                    <a:pt x="2053" y="526"/>
                  </a:lnTo>
                  <a:lnTo>
                    <a:pt x="2054" y="528"/>
                  </a:lnTo>
                  <a:lnTo>
                    <a:pt x="2056" y="529"/>
                  </a:lnTo>
                  <a:lnTo>
                    <a:pt x="2060" y="531"/>
                  </a:lnTo>
                  <a:lnTo>
                    <a:pt x="2066" y="533"/>
                  </a:lnTo>
                  <a:lnTo>
                    <a:pt x="2074" y="536"/>
                  </a:lnTo>
                  <a:lnTo>
                    <a:pt x="2082" y="538"/>
                  </a:lnTo>
                  <a:lnTo>
                    <a:pt x="2089" y="540"/>
                  </a:lnTo>
                  <a:lnTo>
                    <a:pt x="2096" y="544"/>
                  </a:lnTo>
                  <a:lnTo>
                    <a:pt x="2099" y="548"/>
                  </a:lnTo>
                  <a:lnTo>
                    <a:pt x="2108" y="562"/>
                  </a:lnTo>
                  <a:lnTo>
                    <a:pt x="2116" y="574"/>
                  </a:lnTo>
                  <a:lnTo>
                    <a:pt x="2120" y="578"/>
                  </a:lnTo>
                  <a:lnTo>
                    <a:pt x="2123" y="582"/>
                  </a:lnTo>
                  <a:lnTo>
                    <a:pt x="2128" y="584"/>
                  </a:lnTo>
                  <a:lnTo>
                    <a:pt x="2133" y="585"/>
                  </a:lnTo>
                  <a:lnTo>
                    <a:pt x="2134" y="596"/>
                  </a:lnTo>
                  <a:lnTo>
                    <a:pt x="2139" y="615"/>
                  </a:lnTo>
                  <a:lnTo>
                    <a:pt x="2146" y="637"/>
                  </a:lnTo>
                  <a:lnTo>
                    <a:pt x="2154" y="661"/>
                  </a:lnTo>
                  <a:lnTo>
                    <a:pt x="2163" y="686"/>
                  </a:lnTo>
                  <a:lnTo>
                    <a:pt x="2172" y="707"/>
                  </a:lnTo>
                  <a:lnTo>
                    <a:pt x="2179" y="724"/>
                  </a:lnTo>
                  <a:lnTo>
                    <a:pt x="2186" y="733"/>
                  </a:lnTo>
                  <a:lnTo>
                    <a:pt x="2188" y="735"/>
                  </a:lnTo>
                  <a:lnTo>
                    <a:pt x="2194" y="737"/>
                  </a:lnTo>
                  <a:lnTo>
                    <a:pt x="2201" y="738"/>
                  </a:lnTo>
                  <a:lnTo>
                    <a:pt x="2211" y="739"/>
                  </a:lnTo>
                  <a:lnTo>
                    <a:pt x="2231" y="742"/>
                  </a:lnTo>
                  <a:lnTo>
                    <a:pt x="2245" y="745"/>
                  </a:lnTo>
                  <a:lnTo>
                    <a:pt x="2242" y="756"/>
                  </a:lnTo>
                  <a:lnTo>
                    <a:pt x="2238" y="762"/>
                  </a:lnTo>
                  <a:lnTo>
                    <a:pt x="2231" y="766"/>
                  </a:lnTo>
                  <a:lnTo>
                    <a:pt x="2219" y="769"/>
                  </a:lnTo>
                  <a:lnTo>
                    <a:pt x="2223" y="781"/>
                  </a:lnTo>
                  <a:lnTo>
                    <a:pt x="2228" y="790"/>
                  </a:lnTo>
                  <a:lnTo>
                    <a:pt x="2233" y="800"/>
                  </a:lnTo>
                  <a:lnTo>
                    <a:pt x="2239" y="809"/>
                  </a:lnTo>
                  <a:lnTo>
                    <a:pt x="2251" y="827"/>
                  </a:lnTo>
                  <a:lnTo>
                    <a:pt x="2263" y="846"/>
                  </a:lnTo>
                  <a:lnTo>
                    <a:pt x="2289" y="879"/>
                  </a:lnTo>
                  <a:lnTo>
                    <a:pt x="2312" y="912"/>
                  </a:lnTo>
                  <a:lnTo>
                    <a:pt x="2318" y="907"/>
                  </a:lnTo>
                  <a:lnTo>
                    <a:pt x="2324" y="902"/>
                  </a:lnTo>
                  <a:lnTo>
                    <a:pt x="2328" y="899"/>
                  </a:lnTo>
                  <a:lnTo>
                    <a:pt x="2330" y="896"/>
                  </a:lnTo>
                  <a:lnTo>
                    <a:pt x="2332" y="892"/>
                  </a:lnTo>
                  <a:lnTo>
                    <a:pt x="2332" y="887"/>
                  </a:lnTo>
                  <a:lnTo>
                    <a:pt x="2332" y="896"/>
                  </a:lnTo>
                  <a:lnTo>
                    <a:pt x="2332" y="903"/>
                  </a:lnTo>
                  <a:lnTo>
                    <a:pt x="2332" y="910"/>
                  </a:lnTo>
                  <a:lnTo>
                    <a:pt x="2332" y="918"/>
                  </a:lnTo>
                  <a:lnTo>
                    <a:pt x="2293" y="1010"/>
                  </a:lnTo>
                  <a:lnTo>
                    <a:pt x="2295" y="1024"/>
                  </a:lnTo>
                  <a:lnTo>
                    <a:pt x="2296" y="1038"/>
                  </a:lnTo>
                  <a:lnTo>
                    <a:pt x="2295" y="1051"/>
                  </a:lnTo>
                  <a:lnTo>
                    <a:pt x="2291" y="1066"/>
                  </a:lnTo>
                  <a:lnTo>
                    <a:pt x="2288" y="1079"/>
                  </a:lnTo>
                  <a:lnTo>
                    <a:pt x="2283" y="1092"/>
                  </a:lnTo>
                  <a:lnTo>
                    <a:pt x="2276" y="1105"/>
                  </a:lnTo>
                  <a:lnTo>
                    <a:pt x="2269" y="1118"/>
                  </a:lnTo>
                  <a:lnTo>
                    <a:pt x="2253" y="1143"/>
                  </a:lnTo>
                  <a:lnTo>
                    <a:pt x="2237" y="1167"/>
                  </a:lnTo>
                  <a:lnTo>
                    <a:pt x="2220" y="1188"/>
                  </a:lnTo>
                  <a:lnTo>
                    <a:pt x="2206" y="1207"/>
                  </a:lnTo>
                  <a:lnTo>
                    <a:pt x="2188" y="1233"/>
                  </a:lnTo>
                  <a:lnTo>
                    <a:pt x="2172" y="1260"/>
                  </a:lnTo>
                  <a:lnTo>
                    <a:pt x="2153" y="1289"/>
                  </a:lnTo>
                  <a:lnTo>
                    <a:pt x="2133" y="1317"/>
                  </a:lnTo>
                  <a:lnTo>
                    <a:pt x="2123" y="1329"/>
                  </a:lnTo>
                  <a:lnTo>
                    <a:pt x="2111" y="1342"/>
                  </a:lnTo>
                  <a:lnTo>
                    <a:pt x="2100" y="1352"/>
                  </a:lnTo>
                  <a:lnTo>
                    <a:pt x="2087" y="1362"/>
                  </a:lnTo>
                  <a:lnTo>
                    <a:pt x="2081" y="1366"/>
                  </a:lnTo>
                  <a:lnTo>
                    <a:pt x="2074" y="1369"/>
                  </a:lnTo>
                  <a:lnTo>
                    <a:pt x="2066" y="1372"/>
                  </a:lnTo>
                  <a:lnTo>
                    <a:pt x="2059" y="1375"/>
                  </a:lnTo>
                  <a:lnTo>
                    <a:pt x="2051" y="1377"/>
                  </a:lnTo>
                  <a:lnTo>
                    <a:pt x="2043" y="1378"/>
                  </a:lnTo>
                  <a:lnTo>
                    <a:pt x="2036" y="1379"/>
                  </a:lnTo>
                  <a:lnTo>
                    <a:pt x="2027" y="1380"/>
                  </a:lnTo>
                  <a:lnTo>
                    <a:pt x="2026" y="1393"/>
                  </a:lnTo>
                  <a:lnTo>
                    <a:pt x="2022" y="1404"/>
                  </a:lnTo>
                  <a:lnTo>
                    <a:pt x="2018" y="1414"/>
                  </a:lnTo>
                  <a:lnTo>
                    <a:pt x="2013" y="1423"/>
                  </a:lnTo>
                  <a:lnTo>
                    <a:pt x="2005" y="1432"/>
                  </a:lnTo>
                  <a:lnTo>
                    <a:pt x="1997" y="1440"/>
                  </a:lnTo>
                  <a:lnTo>
                    <a:pt x="1988" y="1449"/>
                  </a:lnTo>
                  <a:lnTo>
                    <a:pt x="1978" y="1456"/>
                  </a:lnTo>
                  <a:lnTo>
                    <a:pt x="1958" y="1470"/>
                  </a:lnTo>
                  <a:lnTo>
                    <a:pt x="1937" y="1483"/>
                  </a:lnTo>
                  <a:lnTo>
                    <a:pt x="1917" y="1495"/>
                  </a:lnTo>
                  <a:lnTo>
                    <a:pt x="1901" y="1510"/>
                  </a:lnTo>
                  <a:lnTo>
                    <a:pt x="1885" y="1525"/>
                  </a:lnTo>
                  <a:lnTo>
                    <a:pt x="1873" y="1539"/>
                  </a:lnTo>
                  <a:lnTo>
                    <a:pt x="1864" y="1553"/>
                  </a:lnTo>
                  <a:lnTo>
                    <a:pt x="1857" y="1565"/>
                  </a:lnTo>
                  <a:lnTo>
                    <a:pt x="1848" y="1578"/>
                  </a:lnTo>
                  <a:lnTo>
                    <a:pt x="1838" y="1591"/>
                  </a:lnTo>
                  <a:lnTo>
                    <a:pt x="1825" y="1604"/>
                  </a:lnTo>
                  <a:lnTo>
                    <a:pt x="1807" y="1621"/>
                  </a:lnTo>
                  <a:lnTo>
                    <a:pt x="1801" y="1630"/>
                  </a:lnTo>
                  <a:lnTo>
                    <a:pt x="1796" y="1639"/>
                  </a:lnTo>
                  <a:lnTo>
                    <a:pt x="1793" y="1648"/>
                  </a:lnTo>
                  <a:lnTo>
                    <a:pt x="1790" y="1657"/>
                  </a:lnTo>
                  <a:lnTo>
                    <a:pt x="1786" y="1665"/>
                  </a:lnTo>
                  <a:lnTo>
                    <a:pt x="1782" y="1671"/>
                  </a:lnTo>
                  <a:lnTo>
                    <a:pt x="1780" y="1673"/>
                  </a:lnTo>
                  <a:lnTo>
                    <a:pt x="1776" y="1675"/>
                  </a:lnTo>
                  <a:lnTo>
                    <a:pt x="1772" y="1676"/>
                  </a:lnTo>
                  <a:lnTo>
                    <a:pt x="1768" y="1676"/>
                  </a:lnTo>
                  <a:lnTo>
                    <a:pt x="1749" y="1676"/>
                  </a:lnTo>
                  <a:lnTo>
                    <a:pt x="1733" y="1676"/>
                  </a:lnTo>
                  <a:lnTo>
                    <a:pt x="1718" y="1676"/>
                  </a:lnTo>
                  <a:lnTo>
                    <a:pt x="1707" y="1676"/>
                  </a:lnTo>
                  <a:lnTo>
                    <a:pt x="1702" y="1676"/>
                  </a:lnTo>
                  <a:lnTo>
                    <a:pt x="1695" y="1678"/>
                  </a:lnTo>
                  <a:lnTo>
                    <a:pt x="1689" y="1680"/>
                  </a:lnTo>
                  <a:lnTo>
                    <a:pt x="1682" y="1683"/>
                  </a:lnTo>
                  <a:lnTo>
                    <a:pt x="1668" y="1690"/>
                  </a:lnTo>
                  <a:lnTo>
                    <a:pt x="1652" y="1699"/>
                  </a:lnTo>
                  <a:lnTo>
                    <a:pt x="1634" y="1708"/>
                  </a:lnTo>
                  <a:lnTo>
                    <a:pt x="1613" y="1717"/>
                  </a:lnTo>
                  <a:lnTo>
                    <a:pt x="1602" y="1722"/>
                  </a:lnTo>
                  <a:lnTo>
                    <a:pt x="1589" y="1726"/>
                  </a:lnTo>
                  <a:lnTo>
                    <a:pt x="1576" y="1729"/>
                  </a:lnTo>
                  <a:lnTo>
                    <a:pt x="1561" y="1731"/>
                  </a:lnTo>
                  <a:lnTo>
                    <a:pt x="1558" y="1725"/>
                  </a:lnTo>
                  <a:lnTo>
                    <a:pt x="1555" y="1718"/>
                  </a:lnTo>
                  <a:lnTo>
                    <a:pt x="1548" y="1718"/>
                  </a:lnTo>
                  <a:lnTo>
                    <a:pt x="1541" y="1717"/>
                  </a:lnTo>
                  <a:lnTo>
                    <a:pt x="1536" y="1715"/>
                  </a:lnTo>
                  <a:lnTo>
                    <a:pt x="1532" y="1713"/>
                  </a:lnTo>
                  <a:lnTo>
                    <a:pt x="1528" y="1711"/>
                  </a:lnTo>
                  <a:lnTo>
                    <a:pt x="1525" y="1708"/>
                  </a:lnTo>
                  <a:lnTo>
                    <a:pt x="1522" y="1705"/>
                  </a:lnTo>
                  <a:lnTo>
                    <a:pt x="1520" y="1701"/>
                  </a:lnTo>
                  <a:lnTo>
                    <a:pt x="1517" y="1693"/>
                  </a:lnTo>
                  <a:lnTo>
                    <a:pt x="1515" y="1685"/>
                  </a:lnTo>
                  <a:lnTo>
                    <a:pt x="1515" y="1677"/>
                  </a:lnTo>
                  <a:lnTo>
                    <a:pt x="1515" y="1670"/>
                  </a:lnTo>
                  <a:lnTo>
                    <a:pt x="1489" y="1690"/>
                  </a:lnTo>
                  <a:lnTo>
                    <a:pt x="1462" y="1709"/>
                  </a:lnTo>
                  <a:lnTo>
                    <a:pt x="1449" y="1718"/>
                  </a:lnTo>
                  <a:lnTo>
                    <a:pt x="1437" y="1725"/>
                  </a:lnTo>
                  <a:lnTo>
                    <a:pt x="1432" y="1728"/>
                  </a:lnTo>
                  <a:lnTo>
                    <a:pt x="1426" y="1730"/>
                  </a:lnTo>
                  <a:lnTo>
                    <a:pt x="1421" y="1731"/>
                  </a:lnTo>
                  <a:lnTo>
                    <a:pt x="1415" y="1731"/>
                  </a:lnTo>
                  <a:lnTo>
                    <a:pt x="1413" y="1731"/>
                  </a:lnTo>
                  <a:lnTo>
                    <a:pt x="1410" y="1729"/>
                  </a:lnTo>
                  <a:lnTo>
                    <a:pt x="1406" y="1727"/>
                  </a:lnTo>
                  <a:lnTo>
                    <a:pt x="1403" y="1725"/>
                  </a:lnTo>
                  <a:lnTo>
                    <a:pt x="1400" y="1722"/>
                  </a:lnTo>
                  <a:lnTo>
                    <a:pt x="1398" y="1718"/>
                  </a:lnTo>
                  <a:lnTo>
                    <a:pt x="1395" y="1715"/>
                  </a:lnTo>
                  <a:lnTo>
                    <a:pt x="1395" y="1712"/>
                  </a:lnTo>
                  <a:lnTo>
                    <a:pt x="1372" y="1711"/>
                  </a:lnTo>
                  <a:lnTo>
                    <a:pt x="1349" y="1709"/>
                  </a:lnTo>
                  <a:lnTo>
                    <a:pt x="1338" y="1707"/>
                  </a:lnTo>
                  <a:lnTo>
                    <a:pt x="1327" y="1704"/>
                  </a:lnTo>
                  <a:lnTo>
                    <a:pt x="1316" y="1701"/>
                  </a:lnTo>
                  <a:lnTo>
                    <a:pt x="1307" y="1697"/>
                  </a:lnTo>
                  <a:lnTo>
                    <a:pt x="1297" y="1693"/>
                  </a:lnTo>
                  <a:lnTo>
                    <a:pt x="1289" y="1688"/>
                  </a:lnTo>
                  <a:lnTo>
                    <a:pt x="1281" y="1683"/>
                  </a:lnTo>
                  <a:lnTo>
                    <a:pt x="1275" y="1677"/>
                  </a:lnTo>
                  <a:lnTo>
                    <a:pt x="1269" y="1670"/>
                  </a:lnTo>
                  <a:lnTo>
                    <a:pt x="1266" y="1662"/>
                  </a:lnTo>
                  <a:lnTo>
                    <a:pt x="1264" y="1653"/>
                  </a:lnTo>
                  <a:lnTo>
                    <a:pt x="1263" y="1645"/>
                  </a:lnTo>
                  <a:lnTo>
                    <a:pt x="1263" y="1639"/>
                  </a:lnTo>
                  <a:lnTo>
                    <a:pt x="1264" y="1635"/>
                  </a:lnTo>
                  <a:lnTo>
                    <a:pt x="1266" y="1631"/>
                  </a:lnTo>
                  <a:lnTo>
                    <a:pt x="1268" y="1627"/>
                  </a:lnTo>
                  <a:lnTo>
                    <a:pt x="1272" y="1620"/>
                  </a:lnTo>
                  <a:lnTo>
                    <a:pt x="1279" y="1614"/>
                  </a:lnTo>
                  <a:lnTo>
                    <a:pt x="1286" y="1609"/>
                  </a:lnTo>
                  <a:lnTo>
                    <a:pt x="1290" y="1601"/>
                  </a:lnTo>
                  <a:lnTo>
                    <a:pt x="1292" y="1597"/>
                  </a:lnTo>
                  <a:lnTo>
                    <a:pt x="1294" y="1593"/>
                  </a:lnTo>
                  <a:lnTo>
                    <a:pt x="1296" y="1589"/>
                  </a:lnTo>
                  <a:lnTo>
                    <a:pt x="1296" y="1583"/>
                  </a:lnTo>
                  <a:lnTo>
                    <a:pt x="1296" y="1546"/>
                  </a:lnTo>
                  <a:lnTo>
                    <a:pt x="1309" y="1528"/>
                  </a:lnTo>
                  <a:lnTo>
                    <a:pt x="1309" y="1522"/>
                  </a:lnTo>
                  <a:lnTo>
                    <a:pt x="1256" y="1522"/>
                  </a:lnTo>
                  <a:lnTo>
                    <a:pt x="1249" y="1534"/>
                  </a:lnTo>
                  <a:lnTo>
                    <a:pt x="1255" y="1525"/>
                  </a:lnTo>
                  <a:lnTo>
                    <a:pt x="1263" y="1516"/>
                  </a:lnTo>
                  <a:lnTo>
                    <a:pt x="1269" y="1509"/>
                  </a:lnTo>
                  <a:lnTo>
                    <a:pt x="1276" y="1504"/>
                  </a:lnTo>
                  <a:lnTo>
                    <a:pt x="1276" y="1460"/>
                  </a:lnTo>
                  <a:lnTo>
                    <a:pt x="1270" y="1462"/>
                  </a:lnTo>
                  <a:lnTo>
                    <a:pt x="1265" y="1464"/>
                  </a:lnTo>
                  <a:lnTo>
                    <a:pt x="1260" y="1466"/>
                  </a:lnTo>
                  <a:lnTo>
                    <a:pt x="1256" y="1469"/>
                  </a:lnTo>
                  <a:lnTo>
                    <a:pt x="1249" y="1475"/>
                  </a:lnTo>
                  <a:lnTo>
                    <a:pt x="1243" y="1481"/>
                  </a:lnTo>
                  <a:lnTo>
                    <a:pt x="1237" y="1488"/>
                  </a:lnTo>
                  <a:lnTo>
                    <a:pt x="1232" y="1494"/>
                  </a:lnTo>
                  <a:lnTo>
                    <a:pt x="1229" y="1498"/>
                  </a:lnTo>
                  <a:lnTo>
                    <a:pt x="1225" y="1500"/>
                  </a:lnTo>
                  <a:lnTo>
                    <a:pt x="1221" y="1502"/>
                  </a:lnTo>
                  <a:lnTo>
                    <a:pt x="1216" y="1504"/>
                  </a:lnTo>
                  <a:lnTo>
                    <a:pt x="1189" y="1504"/>
                  </a:lnTo>
                  <a:lnTo>
                    <a:pt x="1222" y="1472"/>
                  </a:lnTo>
                  <a:lnTo>
                    <a:pt x="1252" y="1442"/>
                  </a:lnTo>
                  <a:lnTo>
                    <a:pt x="1280" y="1411"/>
                  </a:lnTo>
                  <a:lnTo>
                    <a:pt x="1309" y="1380"/>
                  </a:lnTo>
                  <a:lnTo>
                    <a:pt x="1305" y="1378"/>
                  </a:lnTo>
                  <a:lnTo>
                    <a:pt x="1301" y="1377"/>
                  </a:lnTo>
                  <a:lnTo>
                    <a:pt x="1298" y="1376"/>
                  </a:lnTo>
                  <a:lnTo>
                    <a:pt x="1294" y="1376"/>
                  </a:lnTo>
                  <a:lnTo>
                    <a:pt x="1287" y="1378"/>
                  </a:lnTo>
                  <a:lnTo>
                    <a:pt x="1280" y="1382"/>
                  </a:lnTo>
                  <a:lnTo>
                    <a:pt x="1267" y="1392"/>
                  </a:lnTo>
                  <a:lnTo>
                    <a:pt x="1256" y="1399"/>
                  </a:lnTo>
                  <a:lnTo>
                    <a:pt x="1230" y="1418"/>
                  </a:lnTo>
                  <a:lnTo>
                    <a:pt x="1185" y="1450"/>
                  </a:lnTo>
                  <a:lnTo>
                    <a:pt x="1142" y="1478"/>
                  </a:lnTo>
                  <a:lnTo>
                    <a:pt x="1123" y="1490"/>
                  </a:lnTo>
                  <a:lnTo>
                    <a:pt x="1123" y="1380"/>
                  </a:lnTo>
                  <a:lnTo>
                    <a:pt x="1113" y="1379"/>
                  </a:lnTo>
                  <a:lnTo>
                    <a:pt x="1106" y="1377"/>
                  </a:lnTo>
                  <a:lnTo>
                    <a:pt x="1099" y="1375"/>
                  </a:lnTo>
                  <a:lnTo>
                    <a:pt x="1093" y="1371"/>
                  </a:lnTo>
                  <a:lnTo>
                    <a:pt x="1090" y="1367"/>
                  </a:lnTo>
                  <a:lnTo>
                    <a:pt x="1088" y="1362"/>
                  </a:lnTo>
                  <a:lnTo>
                    <a:pt x="1088" y="1356"/>
                  </a:lnTo>
                  <a:lnTo>
                    <a:pt x="1090" y="1349"/>
                  </a:lnTo>
                  <a:lnTo>
                    <a:pt x="1078" y="1338"/>
                  </a:lnTo>
                  <a:lnTo>
                    <a:pt x="1064" y="1325"/>
                  </a:lnTo>
                  <a:lnTo>
                    <a:pt x="1047" y="1314"/>
                  </a:lnTo>
                  <a:lnTo>
                    <a:pt x="1030" y="1304"/>
                  </a:lnTo>
                  <a:lnTo>
                    <a:pt x="1020" y="1299"/>
                  </a:lnTo>
                  <a:lnTo>
                    <a:pt x="1011" y="1295"/>
                  </a:lnTo>
                  <a:lnTo>
                    <a:pt x="1001" y="1291"/>
                  </a:lnTo>
                  <a:lnTo>
                    <a:pt x="990" y="1288"/>
                  </a:lnTo>
                  <a:lnTo>
                    <a:pt x="980" y="1285"/>
                  </a:lnTo>
                  <a:lnTo>
                    <a:pt x="971" y="1283"/>
                  </a:lnTo>
                  <a:lnTo>
                    <a:pt x="961" y="1282"/>
                  </a:lnTo>
                  <a:lnTo>
                    <a:pt x="951" y="1282"/>
                  </a:lnTo>
                  <a:lnTo>
                    <a:pt x="941" y="1283"/>
                  </a:lnTo>
                  <a:lnTo>
                    <a:pt x="931" y="1285"/>
                  </a:lnTo>
                  <a:lnTo>
                    <a:pt x="923" y="1289"/>
                  </a:lnTo>
                  <a:lnTo>
                    <a:pt x="917" y="1294"/>
                  </a:lnTo>
                  <a:lnTo>
                    <a:pt x="831" y="1294"/>
                  </a:lnTo>
                  <a:lnTo>
                    <a:pt x="819" y="1301"/>
                  </a:lnTo>
                  <a:lnTo>
                    <a:pt x="807" y="1307"/>
                  </a:lnTo>
                  <a:lnTo>
                    <a:pt x="796" y="1312"/>
                  </a:lnTo>
                  <a:lnTo>
                    <a:pt x="785" y="1316"/>
                  </a:lnTo>
                  <a:lnTo>
                    <a:pt x="775" y="1319"/>
                  </a:lnTo>
                  <a:lnTo>
                    <a:pt x="764" y="1321"/>
                  </a:lnTo>
                  <a:lnTo>
                    <a:pt x="754" y="1323"/>
                  </a:lnTo>
                  <a:lnTo>
                    <a:pt x="745" y="1324"/>
                  </a:lnTo>
                  <a:lnTo>
                    <a:pt x="726" y="1326"/>
                  </a:lnTo>
                  <a:lnTo>
                    <a:pt x="706" y="1328"/>
                  </a:lnTo>
                  <a:lnTo>
                    <a:pt x="686" y="1332"/>
                  </a:lnTo>
                  <a:lnTo>
                    <a:pt x="664" y="1337"/>
                  </a:lnTo>
                  <a:lnTo>
                    <a:pt x="636" y="1345"/>
                  </a:lnTo>
                  <a:lnTo>
                    <a:pt x="596" y="1356"/>
                  </a:lnTo>
                  <a:lnTo>
                    <a:pt x="577" y="1362"/>
                  </a:lnTo>
                  <a:lnTo>
                    <a:pt x="560" y="1369"/>
                  </a:lnTo>
                  <a:lnTo>
                    <a:pt x="547" y="1374"/>
                  </a:lnTo>
                  <a:lnTo>
                    <a:pt x="538" y="1380"/>
                  </a:lnTo>
                  <a:lnTo>
                    <a:pt x="521" y="1402"/>
                  </a:lnTo>
                  <a:lnTo>
                    <a:pt x="507" y="1419"/>
                  </a:lnTo>
                  <a:lnTo>
                    <a:pt x="501" y="1426"/>
                  </a:lnTo>
                  <a:lnTo>
                    <a:pt x="493" y="1431"/>
                  </a:lnTo>
                  <a:lnTo>
                    <a:pt x="488" y="1433"/>
                  </a:lnTo>
                  <a:lnTo>
                    <a:pt x="483" y="1434"/>
                  </a:lnTo>
                  <a:lnTo>
                    <a:pt x="478" y="1435"/>
                  </a:lnTo>
                  <a:lnTo>
                    <a:pt x="472" y="1435"/>
                  </a:lnTo>
                  <a:lnTo>
                    <a:pt x="306" y="1435"/>
                  </a:lnTo>
                  <a:lnTo>
                    <a:pt x="291" y="1439"/>
                  </a:lnTo>
                  <a:lnTo>
                    <a:pt x="277" y="1444"/>
                  </a:lnTo>
                  <a:lnTo>
                    <a:pt x="265" y="1448"/>
                  </a:lnTo>
                  <a:lnTo>
                    <a:pt x="254" y="1453"/>
                  </a:lnTo>
                  <a:lnTo>
                    <a:pt x="233" y="1463"/>
                  </a:lnTo>
                  <a:lnTo>
                    <a:pt x="214" y="1473"/>
                  </a:lnTo>
                  <a:lnTo>
                    <a:pt x="204" y="1478"/>
                  </a:lnTo>
                  <a:lnTo>
                    <a:pt x="193" y="1482"/>
                  </a:lnTo>
                  <a:lnTo>
                    <a:pt x="182" y="1486"/>
                  </a:lnTo>
                  <a:lnTo>
                    <a:pt x="170" y="1490"/>
                  </a:lnTo>
                  <a:lnTo>
                    <a:pt x="157" y="1493"/>
                  </a:lnTo>
                  <a:lnTo>
                    <a:pt x="142" y="1495"/>
                  </a:lnTo>
                  <a:lnTo>
                    <a:pt x="125" y="1496"/>
                  </a:lnTo>
                  <a:lnTo>
                    <a:pt x="106" y="1496"/>
                  </a:lnTo>
                  <a:lnTo>
                    <a:pt x="95" y="1496"/>
                  </a:lnTo>
                  <a:lnTo>
                    <a:pt x="84" y="1495"/>
                  </a:lnTo>
                  <a:lnTo>
                    <a:pt x="75" y="1494"/>
                  </a:lnTo>
                  <a:lnTo>
                    <a:pt x="65" y="1492"/>
                  </a:lnTo>
                  <a:lnTo>
                    <a:pt x="55" y="1490"/>
                  </a:lnTo>
                  <a:lnTo>
                    <a:pt x="46" y="1487"/>
                  </a:lnTo>
                  <a:lnTo>
                    <a:pt x="38" y="1483"/>
                  </a:lnTo>
                  <a:lnTo>
                    <a:pt x="31" y="1479"/>
                  </a:lnTo>
                  <a:lnTo>
                    <a:pt x="24" y="1475"/>
                  </a:lnTo>
                  <a:lnTo>
                    <a:pt x="19" y="1470"/>
                  </a:lnTo>
                  <a:lnTo>
                    <a:pt x="13" y="1464"/>
                  </a:lnTo>
                  <a:lnTo>
                    <a:pt x="9" y="1458"/>
                  </a:lnTo>
                  <a:lnTo>
                    <a:pt x="4" y="1452"/>
                  </a:lnTo>
                  <a:lnTo>
                    <a:pt x="2" y="1445"/>
                  </a:lnTo>
                  <a:lnTo>
                    <a:pt x="1" y="1437"/>
                  </a:lnTo>
                  <a:lnTo>
                    <a:pt x="0" y="1429"/>
                  </a:lnTo>
                  <a:lnTo>
                    <a:pt x="1" y="1426"/>
                  </a:lnTo>
                  <a:lnTo>
                    <a:pt x="2" y="1423"/>
                  </a:lnTo>
                  <a:lnTo>
                    <a:pt x="4" y="1421"/>
                  </a:lnTo>
                  <a:lnTo>
                    <a:pt x="6" y="1418"/>
                  </a:lnTo>
                  <a:lnTo>
                    <a:pt x="13" y="1415"/>
                  </a:lnTo>
                  <a:lnTo>
                    <a:pt x="22" y="1413"/>
                  </a:lnTo>
                  <a:lnTo>
                    <a:pt x="39" y="1411"/>
                  </a:lnTo>
                  <a:lnTo>
                    <a:pt x="54" y="1411"/>
                  </a:lnTo>
                  <a:lnTo>
                    <a:pt x="58" y="1408"/>
                  </a:lnTo>
                  <a:lnTo>
                    <a:pt x="64" y="1404"/>
                  </a:lnTo>
                  <a:lnTo>
                    <a:pt x="68" y="1399"/>
                  </a:lnTo>
                  <a:lnTo>
                    <a:pt x="72" y="1393"/>
                  </a:lnTo>
                  <a:lnTo>
                    <a:pt x="82" y="1378"/>
                  </a:lnTo>
                  <a:lnTo>
                    <a:pt x="90" y="1361"/>
                  </a:lnTo>
                  <a:lnTo>
                    <a:pt x="97" y="1344"/>
                  </a:lnTo>
                  <a:lnTo>
                    <a:pt x="102" y="1325"/>
                  </a:lnTo>
                  <a:lnTo>
                    <a:pt x="105" y="1309"/>
                  </a:lnTo>
                  <a:lnTo>
                    <a:pt x="106" y="1294"/>
                  </a:lnTo>
                  <a:lnTo>
                    <a:pt x="106" y="1288"/>
                  </a:lnTo>
                  <a:lnTo>
                    <a:pt x="105" y="1284"/>
                  </a:lnTo>
                  <a:lnTo>
                    <a:pt x="103" y="1279"/>
                  </a:lnTo>
                  <a:lnTo>
                    <a:pt x="101" y="1275"/>
                  </a:lnTo>
                  <a:lnTo>
                    <a:pt x="95" y="1267"/>
                  </a:lnTo>
                  <a:lnTo>
                    <a:pt x="90" y="1260"/>
                  </a:lnTo>
                  <a:lnTo>
                    <a:pt x="83" y="1254"/>
                  </a:lnTo>
                  <a:lnTo>
                    <a:pt x="79" y="1248"/>
                  </a:lnTo>
                  <a:lnTo>
                    <a:pt x="77" y="1244"/>
                  </a:lnTo>
                  <a:lnTo>
                    <a:pt x="75" y="1241"/>
                  </a:lnTo>
                  <a:lnTo>
                    <a:pt x="73" y="1237"/>
                  </a:lnTo>
                  <a:lnTo>
                    <a:pt x="73" y="1232"/>
                  </a:lnTo>
                  <a:lnTo>
                    <a:pt x="73" y="1225"/>
                  </a:lnTo>
                  <a:lnTo>
                    <a:pt x="75" y="1218"/>
                  </a:lnTo>
                  <a:lnTo>
                    <a:pt x="77" y="1212"/>
                  </a:lnTo>
                  <a:lnTo>
                    <a:pt x="79" y="1207"/>
                  </a:lnTo>
                  <a:lnTo>
                    <a:pt x="86" y="1200"/>
                  </a:lnTo>
                  <a:lnTo>
                    <a:pt x="93" y="1193"/>
                  </a:lnTo>
                  <a:lnTo>
                    <a:pt x="101" y="1188"/>
                  </a:lnTo>
                  <a:lnTo>
                    <a:pt x="106" y="1182"/>
                  </a:lnTo>
                  <a:lnTo>
                    <a:pt x="110" y="1179"/>
                  </a:lnTo>
                  <a:lnTo>
                    <a:pt x="112" y="1175"/>
                  </a:lnTo>
                  <a:lnTo>
                    <a:pt x="113" y="1170"/>
                  </a:lnTo>
                  <a:lnTo>
                    <a:pt x="113" y="1165"/>
                  </a:lnTo>
                  <a:lnTo>
                    <a:pt x="113" y="1150"/>
                  </a:lnTo>
                  <a:lnTo>
                    <a:pt x="111" y="1137"/>
                  </a:lnTo>
                  <a:lnTo>
                    <a:pt x="109" y="1123"/>
                  </a:lnTo>
                  <a:lnTo>
                    <a:pt x="105" y="1110"/>
                  </a:lnTo>
                  <a:lnTo>
                    <a:pt x="98" y="1082"/>
                  </a:lnTo>
                  <a:lnTo>
                    <a:pt x="88" y="1056"/>
                  </a:lnTo>
                  <a:lnTo>
                    <a:pt x="78" y="1030"/>
                  </a:lnTo>
                  <a:lnTo>
                    <a:pt x="68" y="1006"/>
                  </a:lnTo>
                  <a:lnTo>
                    <a:pt x="59" y="982"/>
                  </a:lnTo>
                  <a:lnTo>
                    <a:pt x="54" y="961"/>
                  </a:lnTo>
                  <a:lnTo>
                    <a:pt x="54" y="930"/>
                  </a:lnTo>
                  <a:lnTo>
                    <a:pt x="58" y="943"/>
                  </a:lnTo>
                  <a:lnTo>
                    <a:pt x="64" y="954"/>
                  </a:lnTo>
                  <a:lnTo>
                    <a:pt x="71" y="964"/>
                  </a:lnTo>
                  <a:lnTo>
                    <a:pt x="80" y="973"/>
                  </a:lnTo>
                  <a:lnTo>
                    <a:pt x="80" y="949"/>
                  </a:lnTo>
                  <a:lnTo>
                    <a:pt x="80" y="954"/>
                  </a:lnTo>
                  <a:lnTo>
                    <a:pt x="82" y="958"/>
                  </a:lnTo>
                  <a:lnTo>
                    <a:pt x="84" y="962"/>
                  </a:lnTo>
                  <a:lnTo>
                    <a:pt x="88" y="966"/>
                  </a:lnTo>
                  <a:lnTo>
                    <a:pt x="92" y="969"/>
                  </a:lnTo>
                  <a:lnTo>
                    <a:pt x="97" y="971"/>
                  </a:lnTo>
                  <a:lnTo>
                    <a:pt x="102" y="973"/>
                  </a:lnTo>
                  <a:lnTo>
                    <a:pt x="106" y="973"/>
                  </a:lnTo>
                  <a:lnTo>
                    <a:pt x="113" y="964"/>
                  </a:lnTo>
                  <a:lnTo>
                    <a:pt x="122" y="955"/>
                  </a:lnTo>
                  <a:lnTo>
                    <a:pt x="126" y="951"/>
                  </a:lnTo>
                  <a:lnTo>
                    <a:pt x="129" y="946"/>
                  </a:lnTo>
                  <a:lnTo>
                    <a:pt x="132" y="940"/>
                  </a:lnTo>
                  <a:lnTo>
                    <a:pt x="133" y="936"/>
                  </a:lnTo>
                  <a:lnTo>
                    <a:pt x="132" y="923"/>
                  </a:lnTo>
                  <a:lnTo>
                    <a:pt x="128" y="913"/>
                  </a:lnTo>
                  <a:lnTo>
                    <a:pt x="125" y="903"/>
                  </a:lnTo>
                  <a:lnTo>
                    <a:pt x="120" y="895"/>
                  </a:lnTo>
                  <a:lnTo>
                    <a:pt x="115" y="887"/>
                  </a:lnTo>
                  <a:lnTo>
                    <a:pt x="111" y="879"/>
                  </a:lnTo>
                  <a:lnTo>
                    <a:pt x="107" y="871"/>
                  </a:lnTo>
                  <a:lnTo>
                    <a:pt x="106" y="862"/>
                  </a:lnTo>
                  <a:lnTo>
                    <a:pt x="107" y="855"/>
                  </a:lnTo>
                  <a:lnTo>
                    <a:pt x="111" y="847"/>
                  </a:lnTo>
                  <a:lnTo>
                    <a:pt x="115" y="839"/>
                  </a:lnTo>
                  <a:lnTo>
                    <a:pt x="121" y="831"/>
                  </a:lnTo>
                  <a:lnTo>
                    <a:pt x="126" y="823"/>
                  </a:lnTo>
                  <a:lnTo>
                    <a:pt x="132" y="818"/>
                  </a:lnTo>
                  <a:lnTo>
                    <a:pt x="136" y="814"/>
                  </a:lnTo>
                  <a:lnTo>
                    <a:pt x="139" y="813"/>
                  </a:lnTo>
                  <a:lnTo>
                    <a:pt x="139" y="807"/>
                  </a:lnTo>
                  <a:lnTo>
                    <a:pt x="140" y="800"/>
                  </a:lnTo>
                  <a:lnTo>
                    <a:pt x="143" y="792"/>
                  </a:lnTo>
                  <a:lnTo>
                    <a:pt x="146" y="783"/>
                  </a:lnTo>
                  <a:lnTo>
                    <a:pt x="147" y="765"/>
                  </a:lnTo>
                  <a:lnTo>
                    <a:pt x="149" y="751"/>
                  </a:lnTo>
                  <a:lnTo>
                    <a:pt x="151" y="737"/>
                  </a:lnTo>
                  <a:lnTo>
                    <a:pt x="153" y="72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4" name="Freeform 193">
              <a:extLst>
                <a:ext uri="{FF2B5EF4-FFF2-40B4-BE49-F238E27FC236}">
                  <a16:creationId xmlns:a16="http://schemas.microsoft.com/office/drawing/2014/main" id="{3F52FF9E-4981-459B-96E9-E2BB7381BCA7}"/>
                </a:ext>
              </a:extLst>
            </p:cNvPr>
            <p:cNvSpPr>
              <a:spLocks/>
            </p:cNvSpPr>
            <p:nvPr>
              <p:custDataLst>
                <p:tags r:id="rId120"/>
              </p:custDataLst>
            </p:nvPr>
          </p:nvSpPr>
          <p:spPr bwMode="auto">
            <a:xfrm>
              <a:off x="1211262" y="2643167"/>
              <a:ext cx="668336" cy="581020"/>
            </a:xfrm>
            <a:custGeom>
              <a:avLst/>
              <a:gdLst>
                <a:gd name="T0" fmla="*/ 541201 w 1535"/>
                <a:gd name="T1" fmla="*/ 484624 h 1109"/>
                <a:gd name="T2" fmla="*/ 565583 w 1535"/>
                <a:gd name="T3" fmla="*/ 514487 h 1109"/>
                <a:gd name="T4" fmla="*/ 531186 w 1535"/>
                <a:gd name="T5" fmla="*/ 523394 h 1109"/>
                <a:gd name="T6" fmla="*/ 512464 w 1535"/>
                <a:gd name="T7" fmla="*/ 573690 h 1109"/>
                <a:gd name="T8" fmla="*/ 463700 w 1535"/>
                <a:gd name="T9" fmla="*/ 527061 h 1109"/>
                <a:gd name="T10" fmla="*/ 432786 w 1535"/>
                <a:gd name="T11" fmla="*/ 530205 h 1109"/>
                <a:gd name="T12" fmla="*/ 397519 w 1535"/>
                <a:gd name="T13" fmla="*/ 544351 h 1109"/>
                <a:gd name="T14" fmla="*/ 342223 w 1535"/>
                <a:gd name="T15" fmla="*/ 508724 h 1109"/>
                <a:gd name="T16" fmla="*/ 282138 w 1535"/>
                <a:gd name="T17" fmla="*/ 480433 h 1109"/>
                <a:gd name="T18" fmla="*/ 256014 w 1535"/>
                <a:gd name="T19" fmla="*/ 462620 h 1109"/>
                <a:gd name="T20" fmla="*/ 233809 w 1535"/>
                <a:gd name="T21" fmla="*/ 437471 h 1109"/>
                <a:gd name="T22" fmla="*/ 211168 w 1535"/>
                <a:gd name="T23" fmla="*/ 432756 h 1109"/>
                <a:gd name="T24" fmla="*/ 191140 w 1535"/>
                <a:gd name="T25" fmla="*/ 396606 h 1109"/>
                <a:gd name="T26" fmla="*/ 203331 w 1535"/>
                <a:gd name="T27" fmla="*/ 369362 h 1109"/>
                <a:gd name="T28" fmla="*/ 195929 w 1535"/>
                <a:gd name="T29" fmla="*/ 314875 h 1109"/>
                <a:gd name="T30" fmla="*/ 153260 w 1535"/>
                <a:gd name="T31" fmla="*/ 245194 h 1109"/>
                <a:gd name="T32" fmla="*/ 132361 w 1535"/>
                <a:gd name="T33" fmla="*/ 223189 h 1109"/>
                <a:gd name="T34" fmla="*/ 127572 w 1535"/>
                <a:gd name="T35" fmla="*/ 193326 h 1109"/>
                <a:gd name="T36" fmla="*/ 94482 w 1535"/>
                <a:gd name="T37" fmla="*/ 129932 h 1109"/>
                <a:gd name="T38" fmla="*/ 72712 w 1535"/>
                <a:gd name="T39" fmla="*/ 38770 h 1109"/>
                <a:gd name="T40" fmla="*/ 36573 w 1535"/>
                <a:gd name="T41" fmla="*/ 54487 h 1109"/>
                <a:gd name="T42" fmla="*/ 49200 w 1535"/>
                <a:gd name="T43" fmla="*/ 116310 h 1109"/>
                <a:gd name="T44" fmla="*/ 65310 w 1535"/>
                <a:gd name="T45" fmla="*/ 170797 h 1109"/>
                <a:gd name="T46" fmla="*/ 85338 w 1535"/>
                <a:gd name="T47" fmla="*/ 210615 h 1109"/>
                <a:gd name="T48" fmla="*/ 87080 w 1535"/>
                <a:gd name="T49" fmla="*/ 243622 h 1109"/>
                <a:gd name="T50" fmla="*/ 92740 w 1535"/>
                <a:gd name="T51" fmla="*/ 274533 h 1109"/>
                <a:gd name="T52" fmla="*/ 112768 w 1535"/>
                <a:gd name="T53" fmla="*/ 299157 h 1109"/>
                <a:gd name="T54" fmla="*/ 93175 w 1535"/>
                <a:gd name="T55" fmla="*/ 312255 h 1109"/>
                <a:gd name="T56" fmla="*/ 84032 w 1535"/>
                <a:gd name="T57" fmla="*/ 283964 h 1109"/>
                <a:gd name="T58" fmla="*/ 52248 w 1535"/>
                <a:gd name="T59" fmla="*/ 248337 h 1109"/>
                <a:gd name="T60" fmla="*/ 63568 w 1535"/>
                <a:gd name="T61" fmla="*/ 220046 h 1109"/>
                <a:gd name="T62" fmla="*/ 38750 w 1535"/>
                <a:gd name="T63" fmla="*/ 191754 h 1109"/>
                <a:gd name="T64" fmla="*/ 11756 w 1535"/>
                <a:gd name="T65" fmla="*/ 160843 h 1109"/>
                <a:gd name="T66" fmla="*/ 28301 w 1535"/>
                <a:gd name="T67" fmla="*/ 151412 h 1109"/>
                <a:gd name="T68" fmla="*/ 27866 w 1535"/>
                <a:gd name="T69" fmla="*/ 117882 h 1109"/>
                <a:gd name="T70" fmla="*/ 2612 w 1535"/>
                <a:gd name="T71" fmla="*/ 61298 h 1109"/>
                <a:gd name="T72" fmla="*/ 16545 w 1535"/>
                <a:gd name="T73" fmla="*/ 2620 h 1109"/>
                <a:gd name="T74" fmla="*/ 91869 w 1535"/>
                <a:gd name="T75" fmla="*/ 9431 h 1109"/>
                <a:gd name="T76" fmla="*/ 157179 w 1535"/>
                <a:gd name="T77" fmla="*/ 39818 h 1109"/>
                <a:gd name="T78" fmla="*/ 216829 w 1535"/>
                <a:gd name="T79" fmla="*/ 28815 h 1109"/>
                <a:gd name="T80" fmla="*/ 258191 w 1535"/>
                <a:gd name="T81" fmla="*/ 28292 h 1109"/>
                <a:gd name="T82" fmla="*/ 275607 w 1535"/>
                <a:gd name="T83" fmla="*/ 57631 h 1109"/>
                <a:gd name="T84" fmla="*/ 304779 w 1535"/>
                <a:gd name="T85" fmla="*/ 112642 h 1109"/>
                <a:gd name="T86" fmla="*/ 326549 w 1535"/>
                <a:gd name="T87" fmla="*/ 100592 h 1109"/>
                <a:gd name="T88" fmla="*/ 357898 w 1535"/>
                <a:gd name="T89" fmla="*/ 92210 h 1109"/>
                <a:gd name="T90" fmla="*/ 382715 w 1535"/>
                <a:gd name="T91" fmla="*/ 127836 h 1109"/>
                <a:gd name="T92" fmla="*/ 394036 w 1535"/>
                <a:gd name="T93" fmla="*/ 189658 h 1109"/>
                <a:gd name="T94" fmla="*/ 419724 w 1535"/>
                <a:gd name="T95" fmla="*/ 212187 h 1109"/>
                <a:gd name="T96" fmla="*/ 425385 w 1535"/>
                <a:gd name="T97" fmla="*/ 238907 h 1109"/>
                <a:gd name="T98" fmla="*/ 405356 w 1535"/>
                <a:gd name="T99" fmla="*/ 257768 h 1109"/>
                <a:gd name="T100" fmla="*/ 399261 w 1535"/>
                <a:gd name="T101" fmla="*/ 332164 h 1109"/>
                <a:gd name="T102" fmla="*/ 416241 w 1535"/>
                <a:gd name="T103" fmla="*/ 414419 h 1109"/>
                <a:gd name="T104" fmla="*/ 458910 w 1535"/>
                <a:gd name="T105" fmla="*/ 459476 h 1109"/>
                <a:gd name="T106" fmla="*/ 507675 w 1535"/>
                <a:gd name="T107" fmla="*/ 444806 h 1109"/>
                <a:gd name="T108" fmla="*/ 543813 w 1535"/>
                <a:gd name="T109" fmla="*/ 445330 h 1109"/>
                <a:gd name="T110" fmla="*/ 564277 w 1535"/>
                <a:gd name="T111" fmla="*/ 388747 h 1109"/>
                <a:gd name="T112" fmla="*/ 581693 w 1535"/>
                <a:gd name="T113" fmla="*/ 363075 h 1109"/>
                <a:gd name="T114" fmla="*/ 655710 w 1535"/>
                <a:gd name="T115" fmla="*/ 355216 h 1109"/>
                <a:gd name="T116" fmla="*/ 654404 w 1535"/>
                <a:gd name="T117" fmla="*/ 381936 h 1109"/>
                <a:gd name="T118" fmla="*/ 639165 w 1535"/>
                <a:gd name="T119" fmla="*/ 430137 h 1109"/>
                <a:gd name="T120" fmla="*/ 596061 w 1535"/>
                <a:gd name="T121" fmla="*/ 465239 h 1109"/>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535" h="1109">
                  <a:moveTo>
                    <a:pt x="1336" y="888"/>
                  </a:moveTo>
                  <a:lnTo>
                    <a:pt x="1319" y="891"/>
                  </a:lnTo>
                  <a:lnTo>
                    <a:pt x="1287" y="901"/>
                  </a:lnTo>
                  <a:lnTo>
                    <a:pt x="1270" y="907"/>
                  </a:lnTo>
                  <a:lnTo>
                    <a:pt x="1256" y="913"/>
                  </a:lnTo>
                  <a:lnTo>
                    <a:pt x="1251" y="916"/>
                  </a:lnTo>
                  <a:lnTo>
                    <a:pt x="1246" y="919"/>
                  </a:lnTo>
                  <a:lnTo>
                    <a:pt x="1244" y="922"/>
                  </a:lnTo>
                  <a:lnTo>
                    <a:pt x="1243" y="925"/>
                  </a:lnTo>
                  <a:lnTo>
                    <a:pt x="1243" y="929"/>
                  </a:lnTo>
                  <a:lnTo>
                    <a:pt x="1244" y="933"/>
                  </a:lnTo>
                  <a:lnTo>
                    <a:pt x="1246" y="937"/>
                  </a:lnTo>
                  <a:lnTo>
                    <a:pt x="1248" y="940"/>
                  </a:lnTo>
                  <a:lnTo>
                    <a:pt x="1255" y="946"/>
                  </a:lnTo>
                  <a:lnTo>
                    <a:pt x="1263" y="951"/>
                  </a:lnTo>
                  <a:lnTo>
                    <a:pt x="1282" y="961"/>
                  </a:lnTo>
                  <a:lnTo>
                    <a:pt x="1302" y="973"/>
                  </a:lnTo>
                  <a:lnTo>
                    <a:pt x="1299" y="982"/>
                  </a:lnTo>
                  <a:lnTo>
                    <a:pt x="1294" y="988"/>
                  </a:lnTo>
                  <a:lnTo>
                    <a:pt x="1289" y="993"/>
                  </a:lnTo>
                  <a:lnTo>
                    <a:pt x="1282" y="996"/>
                  </a:lnTo>
                  <a:lnTo>
                    <a:pt x="1275" y="998"/>
                  </a:lnTo>
                  <a:lnTo>
                    <a:pt x="1267" y="999"/>
                  </a:lnTo>
                  <a:lnTo>
                    <a:pt x="1258" y="999"/>
                  </a:lnTo>
                  <a:lnTo>
                    <a:pt x="1251" y="999"/>
                  </a:lnTo>
                  <a:lnTo>
                    <a:pt x="1234" y="999"/>
                  </a:lnTo>
                  <a:lnTo>
                    <a:pt x="1220" y="999"/>
                  </a:lnTo>
                  <a:lnTo>
                    <a:pt x="1213" y="1000"/>
                  </a:lnTo>
                  <a:lnTo>
                    <a:pt x="1209" y="1002"/>
                  </a:lnTo>
                  <a:lnTo>
                    <a:pt x="1204" y="1006"/>
                  </a:lnTo>
                  <a:lnTo>
                    <a:pt x="1203" y="1011"/>
                  </a:lnTo>
                  <a:lnTo>
                    <a:pt x="1193" y="1036"/>
                  </a:lnTo>
                  <a:lnTo>
                    <a:pt x="1185" y="1058"/>
                  </a:lnTo>
                  <a:lnTo>
                    <a:pt x="1181" y="1069"/>
                  </a:lnTo>
                  <a:lnTo>
                    <a:pt x="1178" y="1080"/>
                  </a:lnTo>
                  <a:lnTo>
                    <a:pt x="1177" y="1095"/>
                  </a:lnTo>
                  <a:lnTo>
                    <a:pt x="1176" y="1109"/>
                  </a:lnTo>
                  <a:lnTo>
                    <a:pt x="1165" y="1100"/>
                  </a:lnTo>
                  <a:lnTo>
                    <a:pt x="1153" y="1091"/>
                  </a:lnTo>
                  <a:lnTo>
                    <a:pt x="1141" y="1081"/>
                  </a:lnTo>
                  <a:lnTo>
                    <a:pt x="1130" y="1072"/>
                  </a:lnTo>
                  <a:lnTo>
                    <a:pt x="1112" y="1051"/>
                  </a:lnTo>
                  <a:lnTo>
                    <a:pt x="1090" y="1026"/>
                  </a:lnTo>
                  <a:lnTo>
                    <a:pt x="1078" y="1015"/>
                  </a:lnTo>
                  <a:lnTo>
                    <a:pt x="1065" y="1006"/>
                  </a:lnTo>
                  <a:lnTo>
                    <a:pt x="1058" y="1003"/>
                  </a:lnTo>
                  <a:lnTo>
                    <a:pt x="1052" y="1001"/>
                  </a:lnTo>
                  <a:lnTo>
                    <a:pt x="1044" y="999"/>
                  </a:lnTo>
                  <a:lnTo>
                    <a:pt x="1036" y="998"/>
                  </a:lnTo>
                  <a:lnTo>
                    <a:pt x="1028" y="999"/>
                  </a:lnTo>
                  <a:lnTo>
                    <a:pt x="1019" y="1000"/>
                  </a:lnTo>
                  <a:lnTo>
                    <a:pt x="1011" y="1002"/>
                  </a:lnTo>
                  <a:lnTo>
                    <a:pt x="1006" y="1005"/>
                  </a:lnTo>
                  <a:lnTo>
                    <a:pt x="994" y="1012"/>
                  </a:lnTo>
                  <a:lnTo>
                    <a:pt x="984" y="1020"/>
                  </a:lnTo>
                  <a:lnTo>
                    <a:pt x="974" y="1027"/>
                  </a:lnTo>
                  <a:lnTo>
                    <a:pt x="962" y="1035"/>
                  </a:lnTo>
                  <a:lnTo>
                    <a:pt x="955" y="1038"/>
                  </a:lnTo>
                  <a:lnTo>
                    <a:pt x="949" y="1040"/>
                  </a:lnTo>
                  <a:lnTo>
                    <a:pt x="940" y="1041"/>
                  </a:lnTo>
                  <a:lnTo>
                    <a:pt x="930" y="1042"/>
                  </a:lnTo>
                  <a:lnTo>
                    <a:pt x="922" y="1041"/>
                  </a:lnTo>
                  <a:lnTo>
                    <a:pt x="913" y="1039"/>
                  </a:lnTo>
                  <a:lnTo>
                    <a:pt x="902" y="1037"/>
                  </a:lnTo>
                  <a:lnTo>
                    <a:pt x="891" y="1032"/>
                  </a:lnTo>
                  <a:lnTo>
                    <a:pt x="868" y="1023"/>
                  </a:lnTo>
                  <a:lnTo>
                    <a:pt x="845" y="1011"/>
                  </a:lnTo>
                  <a:lnTo>
                    <a:pt x="823" y="999"/>
                  </a:lnTo>
                  <a:lnTo>
                    <a:pt x="805" y="987"/>
                  </a:lnTo>
                  <a:lnTo>
                    <a:pt x="797" y="982"/>
                  </a:lnTo>
                  <a:lnTo>
                    <a:pt x="790" y="976"/>
                  </a:lnTo>
                  <a:lnTo>
                    <a:pt x="786" y="971"/>
                  </a:lnTo>
                  <a:lnTo>
                    <a:pt x="784" y="967"/>
                  </a:lnTo>
                  <a:lnTo>
                    <a:pt x="731" y="973"/>
                  </a:lnTo>
                  <a:lnTo>
                    <a:pt x="714" y="962"/>
                  </a:lnTo>
                  <a:lnTo>
                    <a:pt x="697" y="953"/>
                  </a:lnTo>
                  <a:lnTo>
                    <a:pt x="680" y="945"/>
                  </a:lnTo>
                  <a:lnTo>
                    <a:pt x="658" y="937"/>
                  </a:lnTo>
                  <a:lnTo>
                    <a:pt x="653" y="932"/>
                  </a:lnTo>
                  <a:lnTo>
                    <a:pt x="650" y="925"/>
                  </a:lnTo>
                  <a:lnTo>
                    <a:pt x="648" y="917"/>
                  </a:lnTo>
                  <a:lnTo>
                    <a:pt x="644" y="910"/>
                  </a:lnTo>
                  <a:lnTo>
                    <a:pt x="642" y="904"/>
                  </a:lnTo>
                  <a:lnTo>
                    <a:pt x="639" y="898"/>
                  </a:lnTo>
                  <a:lnTo>
                    <a:pt x="638" y="896"/>
                  </a:lnTo>
                  <a:lnTo>
                    <a:pt x="636" y="895"/>
                  </a:lnTo>
                  <a:lnTo>
                    <a:pt x="633" y="894"/>
                  </a:lnTo>
                  <a:lnTo>
                    <a:pt x="631" y="894"/>
                  </a:lnTo>
                  <a:lnTo>
                    <a:pt x="607" y="887"/>
                  </a:lnTo>
                  <a:lnTo>
                    <a:pt x="588" y="883"/>
                  </a:lnTo>
                  <a:lnTo>
                    <a:pt x="575" y="882"/>
                  </a:lnTo>
                  <a:lnTo>
                    <a:pt x="565" y="880"/>
                  </a:lnTo>
                  <a:lnTo>
                    <a:pt x="561" y="879"/>
                  </a:lnTo>
                  <a:lnTo>
                    <a:pt x="558" y="877"/>
                  </a:lnTo>
                  <a:lnTo>
                    <a:pt x="554" y="874"/>
                  </a:lnTo>
                  <a:lnTo>
                    <a:pt x="551" y="870"/>
                  </a:lnTo>
                  <a:lnTo>
                    <a:pt x="546" y="857"/>
                  </a:lnTo>
                  <a:lnTo>
                    <a:pt x="538" y="838"/>
                  </a:lnTo>
                  <a:lnTo>
                    <a:pt x="537" y="835"/>
                  </a:lnTo>
                  <a:lnTo>
                    <a:pt x="535" y="833"/>
                  </a:lnTo>
                  <a:lnTo>
                    <a:pt x="532" y="831"/>
                  </a:lnTo>
                  <a:lnTo>
                    <a:pt x="530" y="829"/>
                  </a:lnTo>
                  <a:lnTo>
                    <a:pt x="524" y="828"/>
                  </a:lnTo>
                  <a:lnTo>
                    <a:pt x="517" y="828"/>
                  </a:lnTo>
                  <a:lnTo>
                    <a:pt x="509" y="828"/>
                  </a:lnTo>
                  <a:lnTo>
                    <a:pt x="501" y="828"/>
                  </a:lnTo>
                  <a:lnTo>
                    <a:pt x="493" y="828"/>
                  </a:lnTo>
                  <a:lnTo>
                    <a:pt x="485" y="826"/>
                  </a:lnTo>
                  <a:lnTo>
                    <a:pt x="480" y="822"/>
                  </a:lnTo>
                  <a:lnTo>
                    <a:pt x="472" y="816"/>
                  </a:lnTo>
                  <a:lnTo>
                    <a:pt x="464" y="806"/>
                  </a:lnTo>
                  <a:lnTo>
                    <a:pt x="457" y="796"/>
                  </a:lnTo>
                  <a:lnTo>
                    <a:pt x="450" y="784"/>
                  </a:lnTo>
                  <a:lnTo>
                    <a:pt x="445" y="773"/>
                  </a:lnTo>
                  <a:lnTo>
                    <a:pt x="442" y="768"/>
                  </a:lnTo>
                  <a:lnTo>
                    <a:pt x="440" y="762"/>
                  </a:lnTo>
                  <a:lnTo>
                    <a:pt x="439" y="757"/>
                  </a:lnTo>
                  <a:lnTo>
                    <a:pt x="439" y="751"/>
                  </a:lnTo>
                  <a:lnTo>
                    <a:pt x="439" y="747"/>
                  </a:lnTo>
                  <a:lnTo>
                    <a:pt x="440" y="743"/>
                  </a:lnTo>
                  <a:lnTo>
                    <a:pt x="441" y="739"/>
                  </a:lnTo>
                  <a:lnTo>
                    <a:pt x="443" y="735"/>
                  </a:lnTo>
                  <a:lnTo>
                    <a:pt x="449" y="728"/>
                  </a:lnTo>
                  <a:lnTo>
                    <a:pt x="456" y="720"/>
                  </a:lnTo>
                  <a:lnTo>
                    <a:pt x="461" y="713"/>
                  </a:lnTo>
                  <a:lnTo>
                    <a:pt x="467" y="705"/>
                  </a:lnTo>
                  <a:lnTo>
                    <a:pt x="469" y="700"/>
                  </a:lnTo>
                  <a:lnTo>
                    <a:pt x="471" y="694"/>
                  </a:lnTo>
                  <a:lnTo>
                    <a:pt x="472" y="689"/>
                  </a:lnTo>
                  <a:lnTo>
                    <a:pt x="472" y="684"/>
                  </a:lnTo>
                  <a:lnTo>
                    <a:pt x="471" y="664"/>
                  </a:lnTo>
                  <a:lnTo>
                    <a:pt x="468" y="647"/>
                  </a:lnTo>
                  <a:lnTo>
                    <a:pt x="463" y="630"/>
                  </a:lnTo>
                  <a:lnTo>
                    <a:pt x="457" y="615"/>
                  </a:lnTo>
                  <a:lnTo>
                    <a:pt x="450" y="601"/>
                  </a:lnTo>
                  <a:lnTo>
                    <a:pt x="441" y="589"/>
                  </a:lnTo>
                  <a:lnTo>
                    <a:pt x="431" y="576"/>
                  </a:lnTo>
                  <a:lnTo>
                    <a:pt x="423" y="565"/>
                  </a:lnTo>
                  <a:lnTo>
                    <a:pt x="402" y="543"/>
                  </a:lnTo>
                  <a:lnTo>
                    <a:pt x="382" y="520"/>
                  </a:lnTo>
                  <a:lnTo>
                    <a:pt x="373" y="509"/>
                  </a:lnTo>
                  <a:lnTo>
                    <a:pt x="366" y="496"/>
                  </a:lnTo>
                  <a:lnTo>
                    <a:pt x="358" y="483"/>
                  </a:lnTo>
                  <a:lnTo>
                    <a:pt x="352" y="468"/>
                  </a:lnTo>
                  <a:lnTo>
                    <a:pt x="350" y="464"/>
                  </a:lnTo>
                  <a:lnTo>
                    <a:pt x="348" y="460"/>
                  </a:lnTo>
                  <a:lnTo>
                    <a:pt x="345" y="456"/>
                  </a:lnTo>
                  <a:lnTo>
                    <a:pt x="341" y="453"/>
                  </a:lnTo>
                  <a:lnTo>
                    <a:pt x="333" y="447"/>
                  </a:lnTo>
                  <a:lnTo>
                    <a:pt x="324" y="441"/>
                  </a:lnTo>
                  <a:lnTo>
                    <a:pt x="314" y="435"/>
                  </a:lnTo>
                  <a:lnTo>
                    <a:pt x="306" y="429"/>
                  </a:lnTo>
                  <a:lnTo>
                    <a:pt x="304" y="426"/>
                  </a:lnTo>
                  <a:lnTo>
                    <a:pt x="301" y="422"/>
                  </a:lnTo>
                  <a:lnTo>
                    <a:pt x="300" y="417"/>
                  </a:lnTo>
                  <a:lnTo>
                    <a:pt x="300" y="413"/>
                  </a:lnTo>
                  <a:lnTo>
                    <a:pt x="306" y="404"/>
                  </a:lnTo>
                  <a:lnTo>
                    <a:pt x="313" y="394"/>
                  </a:lnTo>
                  <a:lnTo>
                    <a:pt x="306" y="391"/>
                  </a:lnTo>
                  <a:lnTo>
                    <a:pt x="300" y="388"/>
                  </a:lnTo>
                  <a:lnTo>
                    <a:pt x="297" y="380"/>
                  </a:lnTo>
                  <a:lnTo>
                    <a:pt x="293" y="369"/>
                  </a:lnTo>
                  <a:lnTo>
                    <a:pt x="286" y="356"/>
                  </a:lnTo>
                  <a:lnTo>
                    <a:pt x="279" y="344"/>
                  </a:lnTo>
                  <a:lnTo>
                    <a:pt x="262" y="321"/>
                  </a:lnTo>
                  <a:lnTo>
                    <a:pt x="252" y="308"/>
                  </a:lnTo>
                  <a:lnTo>
                    <a:pt x="245" y="291"/>
                  </a:lnTo>
                  <a:lnTo>
                    <a:pt x="238" y="278"/>
                  </a:lnTo>
                  <a:lnTo>
                    <a:pt x="230" y="267"/>
                  </a:lnTo>
                  <a:lnTo>
                    <a:pt x="224" y="258"/>
                  </a:lnTo>
                  <a:lnTo>
                    <a:pt x="217" y="248"/>
                  </a:lnTo>
                  <a:lnTo>
                    <a:pt x="211" y="239"/>
                  </a:lnTo>
                  <a:lnTo>
                    <a:pt x="205" y="228"/>
                  </a:lnTo>
                  <a:lnTo>
                    <a:pt x="200" y="216"/>
                  </a:lnTo>
                  <a:lnTo>
                    <a:pt x="193" y="195"/>
                  </a:lnTo>
                  <a:lnTo>
                    <a:pt x="187" y="176"/>
                  </a:lnTo>
                  <a:lnTo>
                    <a:pt x="182" y="158"/>
                  </a:lnTo>
                  <a:lnTo>
                    <a:pt x="178" y="140"/>
                  </a:lnTo>
                  <a:lnTo>
                    <a:pt x="171" y="107"/>
                  </a:lnTo>
                  <a:lnTo>
                    <a:pt x="167" y="74"/>
                  </a:lnTo>
                  <a:lnTo>
                    <a:pt x="155" y="74"/>
                  </a:lnTo>
                  <a:lnTo>
                    <a:pt x="146" y="73"/>
                  </a:lnTo>
                  <a:lnTo>
                    <a:pt x="138" y="71"/>
                  </a:lnTo>
                  <a:lnTo>
                    <a:pt x="132" y="69"/>
                  </a:lnTo>
                  <a:lnTo>
                    <a:pt x="120" y="64"/>
                  </a:lnTo>
                  <a:lnTo>
                    <a:pt x="106" y="56"/>
                  </a:lnTo>
                  <a:lnTo>
                    <a:pt x="97" y="74"/>
                  </a:lnTo>
                  <a:lnTo>
                    <a:pt x="89" y="94"/>
                  </a:lnTo>
                  <a:lnTo>
                    <a:pt x="84" y="104"/>
                  </a:lnTo>
                  <a:lnTo>
                    <a:pt x="82" y="114"/>
                  </a:lnTo>
                  <a:lnTo>
                    <a:pt x="80" y="124"/>
                  </a:lnTo>
                  <a:lnTo>
                    <a:pt x="80" y="135"/>
                  </a:lnTo>
                  <a:lnTo>
                    <a:pt x="81" y="148"/>
                  </a:lnTo>
                  <a:lnTo>
                    <a:pt x="83" y="160"/>
                  </a:lnTo>
                  <a:lnTo>
                    <a:pt x="87" y="171"/>
                  </a:lnTo>
                  <a:lnTo>
                    <a:pt x="90" y="182"/>
                  </a:lnTo>
                  <a:lnTo>
                    <a:pt x="101" y="203"/>
                  </a:lnTo>
                  <a:lnTo>
                    <a:pt x="113" y="222"/>
                  </a:lnTo>
                  <a:lnTo>
                    <a:pt x="125" y="241"/>
                  </a:lnTo>
                  <a:lnTo>
                    <a:pt x="136" y="263"/>
                  </a:lnTo>
                  <a:lnTo>
                    <a:pt x="140" y="273"/>
                  </a:lnTo>
                  <a:lnTo>
                    <a:pt x="144" y="284"/>
                  </a:lnTo>
                  <a:lnTo>
                    <a:pt x="146" y="296"/>
                  </a:lnTo>
                  <a:lnTo>
                    <a:pt x="146" y="308"/>
                  </a:lnTo>
                  <a:lnTo>
                    <a:pt x="147" y="314"/>
                  </a:lnTo>
                  <a:lnTo>
                    <a:pt x="148" y="320"/>
                  </a:lnTo>
                  <a:lnTo>
                    <a:pt x="150" y="326"/>
                  </a:lnTo>
                  <a:lnTo>
                    <a:pt x="154" y="332"/>
                  </a:lnTo>
                  <a:lnTo>
                    <a:pt x="161" y="344"/>
                  </a:lnTo>
                  <a:lnTo>
                    <a:pt x="170" y="355"/>
                  </a:lnTo>
                  <a:lnTo>
                    <a:pt x="178" y="366"/>
                  </a:lnTo>
                  <a:lnTo>
                    <a:pt x="185" y="375"/>
                  </a:lnTo>
                  <a:lnTo>
                    <a:pt x="191" y="383"/>
                  </a:lnTo>
                  <a:lnTo>
                    <a:pt x="193" y="388"/>
                  </a:lnTo>
                  <a:lnTo>
                    <a:pt x="195" y="395"/>
                  </a:lnTo>
                  <a:lnTo>
                    <a:pt x="196" y="402"/>
                  </a:lnTo>
                  <a:lnTo>
                    <a:pt x="196" y="409"/>
                  </a:lnTo>
                  <a:lnTo>
                    <a:pt x="198" y="415"/>
                  </a:lnTo>
                  <a:lnTo>
                    <a:pt x="196" y="429"/>
                  </a:lnTo>
                  <a:lnTo>
                    <a:pt x="195" y="441"/>
                  </a:lnTo>
                  <a:lnTo>
                    <a:pt x="195" y="446"/>
                  </a:lnTo>
                  <a:lnTo>
                    <a:pt x="195" y="452"/>
                  </a:lnTo>
                  <a:lnTo>
                    <a:pt x="196" y="456"/>
                  </a:lnTo>
                  <a:lnTo>
                    <a:pt x="198" y="461"/>
                  </a:lnTo>
                  <a:lnTo>
                    <a:pt x="200" y="465"/>
                  </a:lnTo>
                  <a:lnTo>
                    <a:pt x="203" y="469"/>
                  </a:lnTo>
                  <a:lnTo>
                    <a:pt x="207" y="472"/>
                  </a:lnTo>
                  <a:lnTo>
                    <a:pt x="213" y="474"/>
                  </a:lnTo>
                  <a:lnTo>
                    <a:pt x="211" y="483"/>
                  </a:lnTo>
                  <a:lnTo>
                    <a:pt x="210" y="489"/>
                  </a:lnTo>
                  <a:lnTo>
                    <a:pt x="210" y="495"/>
                  </a:lnTo>
                  <a:lnTo>
                    <a:pt x="211" y="499"/>
                  </a:lnTo>
                  <a:lnTo>
                    <a:pt x="212" y="509"/>
                  </a:lnTo>
                  <a:lnTo>
                    <a:pt x="213" y="524"/>
                  </a:lnTo>
                  <a:lnTo>
                    <a:pt x="221" y="525"/>
                  </a:lnTo>
                  <a:lnTo>
                    <a:pt x="228" y="528"/>
                  </a:lnTo>
                  <a:lnTo>
                    <a:pt x="236" y="533"/>
                  </a:lnTo>
                  <a:lnTo>
                    <a:pt x="244" y="539"/>
                  </a:lnTo>
                  <a:lnTo>
                    <a:pt x="250" y="546"/>
                  </a:lnTo>
                  <a:lnTo>
                    <a:pt x="255" y="553"/>
                  </a:lnTo>
                  <a:lnTo>
                    <a:pt x="258" y="560"/>
                  </a:lnTo>
                  <a:lnTo>
                    <a:pt x="259" y="567"/>
                  </a:lnTo>
                  <a:lnTo>
                    <a:pt x="259" y="571"/>
                  </a:lnTo>
                  <a:lnTo>
                    <a:pt x="258" y="575"/>
                  </a:lnTo>
                  <a:lnTo>
                    <a:pt x="257" y="579"/>
                  </a:lnTo>
                  <a:lnTo>
                    <a:pt x="255" y="583"/>
                  </a:lnTo>
                  <a:lnTo>
                    <a:pt x="250" y="590"/>
                  </a:lnTo>
                  <a:lnTo>
                    <a:pt x="245" y="596"/>
                  </a:lnTo>
                  <a:lnTo>
                    <a:pt x="232" y="604"/>
                  </a:lnTo>
                  <a:lnTo>
                    <a:pt x="219" y="610"/>
                  </a:lnTo>
                  <a:lnTo>
                    <a:pt x="216" y="603"/>
                  </a:lnTo>
                  <a:lnTo>
                    <a:pt x="214" y="596"/>
                  </a:lnTo>
                  <a:lnTo>
                    <a:pt x="213" y="587"/>
                  </a:lnTo>
                  <a:lnTo>
                    <a:pt x="213" y="580"/>
                  </a:lnTo>
                  <a:lnTo>
                    <a:pt x="213" y="573"/>
                  </a:lnTo>
                  <a:lnTo>
                    <a:pt x="212" y="566"/>
                  </a:lnTo>
                  <a:lnTo>
                    <a:pt x="210" y="560"/>
                  </a:lnTo>
                  <a:lnTo>
                    <a:pt x="206" y="555"/>
                  </a:lnTo>
                  <a:lnTo>
                    <a:pt x="203" y="550"/>
                  </a:lnTo>
                  <a:lnTo>
                    <a:pt x="199" y="546"/>
                  </a:lnTo>
                  <a:lnTo>
                    <a:pt x="193" y="542"/>
                  </a:lnTo>
                  <a:lnTo>
                    <a:pt x="188" y="537"/>
                  </a:lnTo>
                  <a:lnTo>
                    <a:pt x="173" y="528"/>
                  </a:lnTo>
                  <a:lnTo>
                    <a:pt x="158" y="519"/>
                  </a:lnTo>
                  <a:lnTo>
                    <a:pt x="144" y="510"/>
                  </a:lnTo>
                  <a:lnTo>
                    <a:pt x="132" y="499"/>
                  </a:lnTo>
                  <a:lnTo>
                    <a:pt x="126" y="494"/>
                  </a:lnTo>
                  <a:lnTo>
                    <a:pt x="123" y="488"/>
                  </a:lnTo>
                  <a:lnTo>
                    <a:pt x="121" y="482"/>
                  </a:lnTo>
                  <a:lnTo>
                    <a:pt x="120" y="474"/>
                  </a:lnTo>
                  <a:lnTo>
                    <a:pt x="121" y="468"/>
                  </a:lnTo>
                  <a:lnTo>
                    <a:pt x="124" y="461"/>
                  </a:lnTo>
                  <a:lnTo>
                    <a:pt x="128" y="456"/>
                  </a:lnTo>
                  <a:lnTo>
                    <a:pt x="133" y="450"/>
                  </a:lnTo>
                  <a:lnTo>
                    <a:pt x="138" y="444"/>
                  </a:lnTo>
                  <a:lnTo>
                    <a:pt x="143" y="438"/>
                  </a:lnTo>
                  <a:lnTo>
                    <a:pt x="145" y="432"/>
                  </a:lnTo>
                  <a:lnTo>
                    <a:pt x="146" y="426"/>
                  </a:lnTo>
                  <a:lnTo>
                    <a:pt x="146" y="420"/>
                  </a:lnTo>
                  <a:lnTo>
                    <a:pt x="145" y="415"/>
                  </a:lnTo>
                  <a:lnTo>
                    <a:pt x="144" y="411"/>
                  </a:lnTo>
                  <a:lnTo>
                    <a:pt x="142" y="406"/>
                  </a:lnTo>
                  <a:lnTo>
                    <a:pt x="136" y="399"/>
                  </a:lnTo>
                  <a:lnTo>
                    <a:pt x="128" y="391"/>
                  </a:lnTo>
                  <a:lnTo>
                    <a:pt x="120" y="385"/>
                  </a:lnTo>
                  <a:lnTo>
                    <a:pt x="111" y="378"/>
                  </a:lnTo>
                  <a:lnTo>
                    <a:pt x="100" y="372"/>
                  </a:lnTo>
                  <a:lnTo>
                    <a:pt x="89" y="366"/>
                  </a:lnTo>
                  <a:lnTo>
                    <a:pt x="78" y="359"/>
                  </a:lnTo>
                  <a:lnTo>
                    <a:pt x="68" y="353"/>
                  </a:lnTo>
                  <a:lnTo>
                    <a:pt x="57" y="347"/>
                  </a:lnTo>
                  <a:lnTo>
                    <a:pt x="48" y="339"/>
                  </a:lnTo>
                  <a:lnTo>
                    <a:pt x="41" y="332"/>
                  </a:lnTo>
                  <a:lnTo>
                    <a:pt x="34" y="323"/>
                  </a:lnTo>
                  <a:lnTo>
                    <a:pt x="32" y="318"/>
                  </a:lnTo>
                  <a:lnTo>
                    <a:pt x="30" y="313"/>
                  </a:lnTo>
                  <a:lnTo>
                    <a:pt x="27" y="307"/>
                  </a:lnTo>
                  <a:lnTo>
                    <a:pt x="27" y="302"/>
                  </a:lnTo>
                  <a:lnTo>
                    <a:pt x="34" y="302"/>
                  </a:lnTo>
                  <a:lnTo>
                    <a:pt x="41" y="301"/>
                  </a:lnTo>
                  <a:lnTo>
                    <a:pt x="46" y="300"/>
                  </a:lnTo>
                  <a:lnTo>
                    <a:pt x="50" y="298"/>
                  </a:lnTo>
                  <a:lnTo>
                    <a:pt x="55" y="297"/>
                  </a:lnTo>
                  <a:lnTo>
                    <a:pt x="59" y="294"/>
                  </a:lnTo>
                  <a:lnTo>
                    <a:pt x="62" y="292"/>
                  </a:lnTo>
                  <a:lnTo>
                    <a:pt x="65" y="289"/>
                  </a:lnTo>
                  <a:lnTo>
                    <a:pt x="69" y="282"/>
                  </a:lnTo>
                  <a:lnTo>
                    <a:pt x="71" y="274"/>
                  </a:lnTo>
                  <a:lnTo>
                    <a:pt x="73" y="264"/>
                  </a:lnTo>
                  <a:lnTo>
                    <a:pt x="73" y="252"/>
                  </a:lnTo>
                  <a:lnTo>
                    <a:pt x="73" y="247"/>
                  </a:lnTo>
                  <a:lnTo>
                    <a:pt x="72" y="242"/>
                  </a:lnTo>
                  <a:lnTo>
                    <a:pt x="71" y="237"/>
                  </a:lnTo>
                  <a:lnTo>
                    <a:pt x="69" y="233"/>
                  </a:lnTo>
                  <a:lnTo>
                    <a:pt x="64" y="225"/>
                  </a:lnTo>
                  <a:lnTo>
                    <a:pt x="58" y="217"/>
                  </a:lnTo>
                  <a:lnTo>
                    <a:pt x="43" y="205"/>
                  </a:lnTo>
                  <a:lnTo>
                    <a:pt x="27" y="191"/>
                  </a:lnTo>
                  <a:lnTo>
                    <a:pt x="19" y="176"/>
                  </a:lnTo>
                  <a:lnTo>
                    <a:pt x="13" y="163"/>
                  </a:lnTo>
                  <a:lnTo>
                    <a:pt x="10" y="151"/>
                  </a:lnTo>
                  <a:lnTo>
                    <a:pt x="9" y="139"/>
                  </a:lnTo>
                  <a:lnTo>
                    <a:pt x="8" y="128"/>
                  </a:lnTo>
                  <a:lnTo>
                    <a:pt x="6" y="117"/>
                  </a:lnTo>
                  <a:lnTo>
                    <a:pt x="4" y="106"/>
                  </a:lnTo>
                  <a:lnTo>
                    <a:pt x="0" y="93"/>
                  </a:lnTo>
                  <a:lnTo>
                    <a:pt x="0" y="50"/>
                  </a:lnTo>
                  <a:lnTo>
                    <a:pt x="1" y="36"/>
                  </a:lnTo>
                  <a:lnTo>
                    <a:pt x="3" y="22"/>
                  </a:lnTo>
                  <a:lnTo>
                    <a:pt x="5" y="10"/>
                  </a:lnTo>
                  <a:lnTo>
                    <a:pt x="6" y="0"/>
                  </a:lnTo>
                  <a:lnTo>
                    <a:pt x="23" y="4"/>
                  </a:lnTo>
                  <a:lnTo>
                    <a:pt x="38" y="5"/>
                  </a:lnTo>
                  <a:lnTo>
                    <a:pt x="53" y="6"/>
                  </a:lnTo>
                  <a:lnTo>
                    <a:pt x="66" y="5"/>
                  </a:lnTo>
                  <a:lnTo>
                    <a:pt x="92" y="2"/>
                  </a:lnTo>
                  <a:lnTo>
                    <a:pt x="120" y="0"/>
                  </a:lnTo>
                  <a:lnTo>
                    <a:pt x="140" y="1"/>
                  </a:lnTo>
                  <a:lnTo>
                    <a:pt x="159" y="4"/>
                  </a:lnTo>
                  <a:lnTo>
                    <a:pt x="178" y="7"/>
                  </a:lnTo>
                  <a:lnTo>
                    <a:pt x="194" y="13"/>
                  </a:lnTo>
                  <a:lnTo>
                    <a:pt x="211" y="18"/>
                  </a:lnTo>
                  <a:lnTo>
                    <a:pt x="226" y="25"/>
                  </a:lnTo>
                  <a:lnTo>
                    <a:pt x="243" y="33"/>
                  </a:lnTo>
                  <a:lnTo>
                    <a:pt x="258" y="41"/>
                  </a:lnTo>
                  <a:lnTo>
                    <a:pt x="273" y="48"/>
                  </a:lnTo>
                  <a:lnTo>
                    <a:pt x="290" y="55"/>
                  </a:lnTo>
                  <a:lnTo>
                    <a:pt x="306" y="62"/>
                  </a:lnTo>
                  <a:lnTo>
                    <a:pt x="324" y="68"/>
                  </a:lnTo>
                  <a:lnTo>
                    <a:pt x="342" y="73"/>
                  </a:lnTo>
                  <a:lnTo>
                    <a:pt x="361" y="76"/>
                  </a:lnTo>
                  <a:lnTo>
                    <a:pt x="383" y="79"/>
                  </a:lnTo>
                  <a:lnTo>
                    <a:pt x="405" y="80"/>
                  </a:lnTo>
                  <a:lnTo>
                    <a:pt x="419" y="79"/>
                  </a:lnTo>
                  <a:lnTo>
                    <a:pt x="432" y="78"/>
                  </a:lnTo>
                  <a:lnTo>
                    <a:pt x="443" y="77"/>
                  </a:lnTo>
                  <a:lnTo>
                    <a:pt x="452" y="74"/>
                  </a:lnTo>
                  <a:lnTo>
                    <a:pt x="470" y="68"/>
                  </a:lnTo>
                  <a:lnTo>
                    <a:pt x="484" y="62"/>
                  </a:lnTo>
                  <a:lnTo>
                    <a:pt x="498" y="55"/>
                  </a:lnTo>
                  <a:lnTo>
                    <a:pt x="515" y="49"/>
                  </a:lnTo>
                  <a:lnTo>
                    <a:pt x="524" y="47"/>
                  </a:lnTo>
                  <a:lnTo>
                    <a:pt x="534" y="45"/>
                  </a:lnTo>
                  <a:lnTo>
                    <a:pt x="546" y="44"/>
                  </a:lnTo>
                  <a:lnTo>
                    <a:pt x="559" y="44"/>
                  </a:lnTo>
                  <a:lnTo>
                    <a:pt x="569" y="44"/>
                  </a:lnTo>
                  <a:lnTo>
                    <a:pt x="577" y="46"/>
                  </a:lnTo>
                  <a:lnTo>
                    <a:pt x="585" y="50"/>
                  </a:lnTo>
                  <a:lnTo>
                    <a:pt x="593" y="54"/>
                  </a:lnTo>
                  <a:lnTo>
                    <a:pt x="598" y="59"/>
                  </a:lnTo>
                  <a:lnTo>
                    <a:pt x="603" y="65"/>
                  </a:lnTo>
                  <a:lnTo>
                    <a:pt x="607" y="71"/>
                  </a:lnTo>
                  <a:lnTo>
                    <a:pt x="610" y="77"/>
                  </a:lnTo>
                  <a:lnTo>
                    <a:pt x="617" y="90"/>
                  </a:lnTo>
                  <a:lnTo>
                    <a:pt x="622" y="101"/>
                  </a:lnTo>
                  <a:lnTo>
                    <a:pt x="626" y="105"/>
                  </a:lnTo>
                  <a:lnTo>
                    <a:pt x="629" y="108"/>
                  </a:lnTo>
                  <a:lnTo>
                    <a:pt x="633" y="110"/>
                  </a:lnTo>
                  <a:lnTo>
                    <a:pt x="638" y="111"/>
                  </a:lnTo>
                  <a:lnTo>
                    <a:pt x="642" y="121"/>
                  </a:lnTo>
                  <a:lnTo>
                    <a:pt x="649" y="134"/>
                  </a:lnTo>
                  <a:lnTo>
                    <a:pt x="658" y="151"/>
                  </a:lnTo>
                  <a:lnTo>
                    <a:pt x="667" y="169"/>
                  </a:lnTo>
                  <a:lnTo>
                    <a:pt x="678" y="186"/>
                  </a:lnTo>
                  <a:lnTo>
                    <a:pt x="689" y="202"/>
                  </a:lnTo>
                  <a:lnTo>
                    <a:pt x="695" y="209"/>
                  </a:lnTo>
                  <a:lnTo>
                    <a:pt x="700" y="215"/>
                  </a:lnTo>
                  <a:lnTo>
                    <a:pt x="706" y="219"/>
                  </a:lnTo>
                  <a:lnTo>
                    <a:pt x="711" y="222"/>
                  </a:lnTo>
                  <a:lnTo>
                    <a:pt x="738" y="222"/>
                  </a:lnTo>
                  <a:lnTo>
                    <a:pt x="738" y="217"/>
                  </a:lnTo>
                  <a:lnTo>
                    <a:pt x="739" y="211"/>
                  </a:lnTo>
                  <a:lnTo>
                    <a:pt x="741" y="206"/>
                  </a:lnTo>
                  <a:lnTo>
                    <a:pt x="743" y="202"/>
                  </a:lnTo>
                  <a:lnTo>
                    <a:pt x="747" y="196"/>
                  </a:lnTo>
                  <a:lnTo>
                    <a:pt x="750" y="192"/>
                  </a:lnTo>
                  <a:lnTo>
                    <a:pt x="754" y="189"/>
                  </a:lnTo>
                  <a:lnTo>
                    <a:pt x="759" y="185"/>
                  </a:lnTo>
                  <a:lnTo>
                    <a:pt x="768" y="180"/>
                  </a:lnTo>
                  <a:lnTo>
                    <a:pt x="779" y="176"/>
                  </a:lnTo>
                  <a:lnTo>
                    <a:pt x="792" y="173"/>
                  </a:lnTo>
                  <a:lnTo>
                    <a:pt x="805" y="173"/>
                  </a:lnTo>
                  <a:lnTo>
                    <a:pt x="810" y="173"/>
                  </a:lnTo>
                  <a:lnTo>
                    <a:pt x="816" y="174"/>
                  </a:lnTo>
                  <a:lnTo>
                    <a:pt x="822" y="176"/>
                  </a:lnTo>
                  <a:lnTo>
                    <a:pt x="828" y="178"/>
                  </a:lnTo>
                  <a:lnTo>
                    <a:pt x="833" y="181"/>
                  </a:lnTo>
                  <a:lnTo>
                    <a:pt x="838" y="185"/>
                  </a:lnTo>
                  <a:lnTo>
                    <a:pt x="843" y="189"/>
                  </a:lnTo>
                  <a:lnTo>
                    <a:pt x="848" y="193"/>
                  </a:lnTo>
                  <a:lnTo>
                    <a:pt x="856" y="205"/>
                  </a:lnTo>
                  <a:lnTo>
                    <a:pt x="865" y="217"/>
                  </a:lnTo>
                  <a:lnTo>
                    <a:pt x="872" y="230"/>
                  </a:lnTo>
                  <a:lnTo>
                    <a:pt x="879" y="244"/>
                  </a:lnTo>
                  <a:lnTo>
                    <a:pt x="885" y="260"/>
                  </a:lnTo>
                  <a:lnTo>
                    <a:pt x="889" y="275"/>
                  </a:lnTo>
                  <a:lnTo>
                    <a:pt x="894" y="290"/>
                  </a:lnTo>
                  <a:lnTo>
                    <a:pt x="898" y="305"/>
                  </a:lnTo>
                  <a:lnTo>
                    <a:pt x="900" y="320"/>
                  </a:lnTo>
                  <a:lnTo>
                    <a:pt x="902" y="334"/>
                  </a:lnTo>
                  <a:lnTo>
                    <a:pt x="904" y="346"/>
                  </a:lnTo>
                  <a:lnTo>
                    <a:pt x="904" y="357"/>
                  </a:lnTo>
                  <a:lnTo>
                    <a:pt x="905" y="362"/>
                  </a:lnTo>
                  <a:lnTo>
                    <a:pt x="906" y="367"/>
                  </a:lnTo>
                  <a:lnTo>
                    <a:pt x="908" y="372"/>
                  </a:lnTo>
                  <a:lnTo>
                    <a:pt x="910" y="376"/>
                  </a:lnTo>
                  <a:lnTo>
                    <a:pt x="918" y="384"/>
                  </a:lnTo>
                  <a:lnTo>
                    <a:pt x="928" y="391"/>
                  </a:lnTo>
                  <a:lnTo>
                    <a:pt x="939" y="398"/>
                  </a:lnTo>
                  <a:lnTo>
                    <a:pt x="952" y="402"/>
                  </a:lnTo>
                  <a:lnTo>
                    <a:pt x="957" y="404"/>
                  </a:lnTo>
                  <a:lnTo>
                    <a:pt x="964" y="405"/>
                  </a:lnTo>
                  <a:lnTo>
                    <a:pt x="971" y="406"/>
                  </a:lnTo>
                  <a:lnTo>
                    <a:pt x="977" y="407"/>
                  </a:lnTo>
                  <a:lnTo>
                    <a:pt x="977" y="394"/>
                  </a:lnTo>
                  <a:lnTo>
                    <a:pt x="976" y="414"/>
                  </a:lnTo>
                  <a:lnTo>
                    <a:pt x="975" y="430"/>
                  </a:lnTo>
                  <a:lnTo>
                    <a:pt x="974" y="437"/>
                  </a:lnTo>
                  <a:lnTo>
                    <a:pt x="974" y="443"/>
                  </a:lnTo>
                  <a:lnTo>
                    <a:pt x="975" y="449"/>
                  </a:lnTo>
                  <a:lnTo>
                    <a:pt x="977" y="456"/>
                  </a:lnTo>
                  <a:lnTo>
                    <a:pt x="971" y="457"/>
                  </a:lnTo>
                  <a:lnTo>
                    <a:pt x="964" y="458"/>
                  </a:lnTo>
                  <a:lnTo>
                    <a:pt x="958" y="461"/>
                  </a:lnTo>
                  <a:lnTo>
                    <a:pt x="953" y="464"/>
                  </a:lnTo>
                  <a:lnTo>
                    <a:pt x="949" y="467"/>
                  </a:lnTo>
                  <a:lnTo>
                    <a:pt x="944" y="471"/>
                  </a:lnTo>
                  <a:lnTo>
                    <a:pt x="940" y="475"/>
                  </a:lnTo>
                  <a:lnTo>
                    <a:pt x="936" y="481"/>
                  </a:lnTo>
                  <a:lnTo>
                    <a:pt x="931" y="492"/>
                  </a:lnTo>
                  <a:lnTo>
                    <a:pt x="926" y="504"/>
                  </a:lnTo>
                  <a:lnTo>
                    <a:pt x="922" y="517"/>
                  </a:lnTo>
                  <a:lnTo>
                    <a:pt x="920" y="531"/>
                  </a:lnTo>
                  <a:lnTo>
                    <a:pt x="918" y="546"/>
                  </a:lnTo>
                  <a:lnTo>
                    <a:pt x="917" y="561"/>
                  </a:lnTo>
                  <a:lnTo>
                    <a:pt x="917" y="575"/>
                  </a:lnTo>
                  <a:lnTo>
                    <a:pt x="917" y="590"/>
                  </a:lnTo>
                  <a:lnTo>
                    <a:pt x="917" y="615"/>
                  </a:lnTo>
                  <a:lnTo>
                    <a:pt x="917" y="634"/>
                  </a:lnTo>
                  <a:lnTo>
                    <a:pt x="917" y="654"/>
                  </a:lnTo>
                  <a:lnTo>
                    <a:pt x="918" y="685"/>
                  </a:lnTo>
                  <a:lnTo>
                    <a:pt x="919" y="702"/>
                  </a:lnTo>
                  <a:lnTo>
                    <a:pt x="920" y="717"/>
                  </a:lnTo>
                  <a:lnTo>
                    <a:pt x="921" y="730"/>
                  </a:lnTo>
                  <a:lnTo>
                    <a:pt x="923" y="739"/>
                  </a:lnTo>
                  <a:lnTo>
                    <a:pt x="933" y="758"/>
                  </a:lnTo>
                  <a:lnTo>
                    <a:pt x="947" y="780"/>
                  </a:lnTo>
                  <a:lnTo>
                    <a:pt x="956" y="791"/>
                  </a:lnTo>
                  <a:lnTo>
                    <a:pt x="965" y="803"/>
                  </a:lnTo>
                  <a:lnTo>
                    <a:pt x="975" y="816"/>
                  </a:lnTo>
                  <a:lnTo>
                    <a:pt x="985" y="827"/>
                  </a:lnTo>
                  <a:lnTo>
                    <a:pt x="996" y="838"/>
                  </a:lnTo>
                  <a:lnTo>
                    <a:pt x="1007" y="848"/>
                  </a:lnTo>
                  <a:lnTo>
                    <a:pt x="1019" y="857"/>
                  </a:lnTo>
                  <a:lnTo>
                    <a:pt x="1030" y="865"/>
                  </a:lnTo>
                  <a:lnTo>
                    <a:pt x="1042" y="872"/>
                  </a:lnTo>
                  <a:lnTo>
                    <a:pt x="1054" y="877"/>
                  </a:lnTo>
                  <a:lnTo>
                    <a:pt x="1065" y="880"/>
                  </a:lnTo>
                  <a:lnTo>
                    <a:pt x="1077" y="881"/>
                  </a:lnTo>
                  <a:lnTo>
                    <a:pt x="1090" y="877"/>
                  </a:lnTo>
                  <a:lnTo>
                    <a:pt x="1114" y="865"/>
                  </a:lnTo>
                  <a:lnTo>
                    <a:pt x="1126" y="860"/>
                  </a:lnTo>
                  <a:lnTo>
                    <a:pt x="1140" y="855"/>
                  </a:lnTo>
                  <a:lnTo>
                    <a:pt x="1149" y="852"/>
                  </a:lnTo>
                  <a:lnTo>
                    <a:pt x="1156" y="850"/>
                  </a:lnTo>
                  <a:lnTo>
                    <a:pt x="1166" y="849"/>
                  </a:lnTo>
                  <a:lnTo>
                    <a:pt x="1178" y="849"/>
                  </a:lnTo>
                  <a:lnTo>
                    <a:pt x="1192" y="851"/>
                  </a:lnTo>
                  <a:lnTo>
                    <a:pt x="1208" y="852"/>
                  </a:lnTo>
                  <a:lnTo>
                    <a:pt x="1222" y="854"/>
                  </a:lnTo>
                  <a:lnTo>
                    <a:pt x="1235" y="854"/>
                  </a:lnTo>
                  <a:lnTo>
                    <a:pt x="1240" y="854"/>
                  </a:lnTo>
                  <a:lnTo>
                    <a:pt x="1244" y="853"/>
                  </a:lnTo>
                  <a:lnTo>
                    <a:pt x="1247" y="852"/>
                  </a:lnTo>
                  <a:lnTo>
                    <a:pt x="1249" y="850"/>
                  </a:lnTo>
                  <a:lnTo>
                    <a:pt x="1257" y="842"/>
                  </a:lnTo>
                  <a:lnTo>
                    <a:pt x="1264" y="834"/>
                  </a:lnTo>
                  <a:lnTo>
                    <a:pt x="1269" y="826"/>
                  </a:lnTo>
                  <a:lnTo>
                    <a:pt x="1274" y="818"/>
                  </a:lnTo>
                  <a:lnTo>
                    <a:pt x="1280" y="801"/>
                  </a:lnTo>
                  <a:lnTo>
                    <a:pt x="1285" y="785"/>
                  </a:lnTo>
                  <a:lnTo>
                    <a:pt x="1288" y="768"/>
                  </a:lnTo>
                  <a:lnTo>
                    <a:pt x="1292" y="750"/>
                  </a:lnTo>
                  <a:lnTo>
                    <a:pt x="1296" y="742"/>
                  </a:lnTo>
                  <a:lnTo>
                    <a:pt x="1299" y="733"/>
                  </a:lnTo>
                  <a:lnTo>
                    <a:pt x="1303" y="724"/>
                  </a:lnTo>
                  <a:lnTo>
                    <a:pt x="1309" y="715"/>
                  </a:lnTo>
                  <a:lnTo>
                    <a:pt x="1311" y="712"/>
                  </a:lnTo>
                  <a:lnTo>
                    <a:pt x="1313" y="709"/>
                  </a:lnTo>
                  <a:lnTo>
                    <a:pt x="1315" y="706"/>
                  </a:lnTo>
                  <a:lnTo>
                    <a:pt x="1319" y="703"/>
                  </a:lnTo>
                  <a:lnTo>
                    <a:pt x="1326" y="697"/>
                  </a:lnTo>
                  <a:lnTo>
                    <a:pt x="1336" y="693"/>
                  </a:lnTo>
                  <a:lnTo>
                    <a:pt x="1347" y="690"/>
                  </a:lnTo>
                  <a:lnTo>
                    <a:pt x="1359" y="687"/>
                  </a:lnTo>
                  <a:lnTo>
                    <a:pt x="1373" y="684"/>
                  </a:lnTo>
                  <a:lnTo>
                    <a:pt x="1387" y="682"/>
                  </a:lnTo>
                  <a:lnTo>
                    <a:pt x="1416" y="680"/>
                  </a:lnTo>
                  <a:lnTo>
                    <a:pt x="1446" y="678"/>
                  </a:lnTo>
                  <a:lnTo>
                    <a:pt x="1472" y="678"/>
                  </a:lnTo>
                  <a:lnTo>
                    <a:pt x="1495" y="678"/>
                  </a:lnTo>
                  <a:lnTo>
                    <a:pt x="1506" y="678"/>
                  </a:lnTo>
                  <a:lnTo>
                    <a:pt x="1522" y="678"/>
                  </a:lnTo>
                  <a:lnTo>
                    <a:pt x="1524" y="684"/>
                  </a:lnTo>
                  <a:lnTo>
                    <a:pt x="1528" y="693"/>
                  </a:lnTo>
                  <a:lnTo>
                    <a:pt x="1533" y="703"/>
                  </a:lnTo>
                  <a:lnTo>
                    <a:pt x="1535" y="709"/>
                  </a:lnTo>
                  <a:lnTo>
                    <a:pt x="1526" y="714"/>
                  </a:lnTo>
                  <a:lnTo>
                    <a:pt x="1515" y="720"/>
                  </a:lnTo>
                  <a:lnTo>
                    <a:pt x="1510" y="724"/>
                  </a:lnTo>
                  <a:lnTo>
                    <a:pt x="1503" y="729"/>
                  </a:lnTo>
                  <a:lnTo>
                    <a:pt x="1498" y="735"/>
                  </a:lnTo>
                  <a:lnTo>
                    <a:pt x="1492" y="741"/>
                  </a:lnTo>
                  <a:lnTo>
                    <a:pt x="1487" y="748"/>
                  </a:lnTo>
                  <a:lnTo>
                    <a:pt x="1481" y="758"/>
                  </a:lnTo>
                  <a:lnTo>
                    <a:pt x="1477" y="767"/>
                  </a:lnTo>
                  <a:lnTo>
                    <a:pt x="1473" y="778"/>
                  </a:lnTo>
                  <a:lnTo>
                    <a:pt x="1470" y="791"/>
                  </a:lnTo>
                  <a:lnTo>
                    <a:pt x="1469" y="804"/>
                  </a:lnTo>
                  <a:lnTo>
                    <a:pt x="1468" y="821"/>
                  </a:lnTo>
                  <a:lnTo>
                    <a:pt x="1469" y="838"/>
                  </a:lnTo>
                  <a:lnTo>
                    <a:pt x="1455" y="854"/>
                  </a:lnTo>
                  <a:lnTo>
                    <a:pt x="1444" y="868"/>
                  </a:lnTo>
                  <a:lnTo>
                    <a:pt x="1435" y="878"/>
                  </a:lnTo>
                  <a:lnTo>
                    <a:pt x="1428" y="888"/>
                  </a:lnTo>
                  <a:lnTo>
                    <a:pt x="1414" y="888"/>
                  </a:lnTo>
                  <a:lnTo>
                    <a:pt x="1401" y="888"/>
                  </a:lnTo>
                  <a:lnTo>
                    <a:pt x="1387" y="888"/>
                  </a:lnTo>
                  <a:lnTo>
                    <a:pt x="1369" y="888"/>
                  </a:lnTo>
                  <a:lnTo>
                    <a:pt x="1367" y="888"/>
                  </a:lnTo>
                  <a:lnTo>
                    <a:pt x="1359" y="888"/>
                  </a:lnTo>
                  <a:lnTo>
                    <a:pt x="1349" y="888"/>
                  </a:lnTo>
                  <a:lnTo>
                    <a:pt x="1336" y="888"/>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5" name="Freeform 194">
              <a:extLst>
                <a:ext uri="{FF2B5EF4-FFF2-40B4-BE49-F238E27FC236}">
                  <a16:creationId xmlns:a16="http://schemas.microsoft.com/office/drawing/2014/main" id="{9ED6D3EF-45D6-4D7F-B67A-9EF7427343C0}"/>
                </a:ext>
              </a:extLst>
            </p:cNvPr>
            <p:cNvSpPr>
              <a:spLocks/>
            </p:cNvSpPr>
            <p:nvPr>
              <p:custDataLst>
                <p:tags r:id="rId121"/>
              </p:custDataLst>
            </p:nvPr>
          </p:nvSpPr>
          <p:spPr bwMode="auto">
            <a:xfrm>
              <a:off x="2486022" y="4283042"/>
              <a:ext cx="211138" cy="265111"/>
            </a:xfrm>
            <a:custGeom>
              <a:avLst/>
              <a:gdLst>
                <a:gd name="T0" fmla="*/ 6082 w 486"/>
                <a:gd name="T1" fmla="*/ 92396 h 505"/>
                <a:gd name="T2" fmla="*/ 13468 w 486"/>
                <a:gd name="T3" fmla="*/ 103945 h 505"/>
                <a:gd name="T4" fmla="*/ 22156 w 486"/>
                <a:gd name="T5" fmla="*/ 121794 h 505"/>
                <a:gd name="T6" fmla="*/ 35624 w 486"/>
                <a:gd name="T7" fmla="*/ 139644 h 505"/>
                <a:gd name="T8" fmla="*/ 54739 w 486"/>
                <a:gd name="T9" fmla="*/ 153818 h 505"/>
                <a:gd name="T10" fmla="*/ 73855 w 486"/>
                <a:gd name="T11" fmla="*/ 162743 h 505"/>
                <a:gd name="T12" fmla="*/ 106872 w 486"/>
                <a:gd name="T13" fmla="*/ 172192 h 505"/>
                <a:gd name="T14" fmla="*/ 128160 w 486"/>
                <a:gd name="T15" fmla="*/ 180592 h 505"/>
                <a:gd name="T16" fmla="*/ 129898 w 486"/>
                <a:gd name="T17" fmla="*/ 200016 h 505"/>
                <a:gd name="T18" fmla="*/ 120340 w 486"/>
                <a:gd name="T19" fmla="*/ 219440 h 505"/>
                <a:gd name="T20" fmla="*/ 115996 w 486"/>
                <a:gd name="T21" fmla="*/ 232564 h 505"/>
                <a:gd name="T22" fmla="*/ 115561 w 486"/>
                <a:gd name="T23" fmla="*/ 243064 h 505"/>
                <a:gd name="T24" fmla="*/ 120774 w 486"/>
                <a:gd name="T25" fmla="*/ 253039 h 505"/>
                <a:gd name="T26" fmla="*/ 129898 w 486"/>
                <a:gd name="T27" fmla="*/ 259338 h 505"/>
                <a:gd name="T28" fmla="*/ 149447 w 486"/>
                <a:gd name="T29" fmla="*/ 264588 h 505"/>
                <a:gd name="T30" fmla="*/ 168128 w 486"/>
                <a:gd name="T31" fmla="*/ 264588 h 505"/>
                <a:gd name="T32" fmla="*/ 180293 w 486"/>
                <a:gd name="T33" fmla="*/ 259338 h 505"/>
                <a:gd name="T34" fmla="*/ 193760 w 486"/>
                <a:gd name="T35" fmla="*/ 248839 h 505"/>
                <a:gd name="T36" fmla="*/ 205490 w 486"/>
                <a:gd name="T37" fmla="*/ 234664 h 505"/>
                <a:gd name="T38" fmla="*/ 210704 w 486"/>
                <a:gd name="T39" fmla="*/ 219440 h 505"/>
                <a:gd name="T40" fmla="*/ 210269 w 486"/>
                <a:gd name="T41" fmla="*/ 208416 h 505"/>
                <a:gd name="T42" fmla="*/ 207662 w 486"/>
                <a:gd name="T43" fmla="*/ 187941 h 505"/>
                <a:gd name="T44" fmla="*/ 204621 w 486"/>
                <a:gd name="T45" fmla="*/ 165892 h 505"/>
                <a:gd name="T46" fmla="*/ 202015 w 486"/>
                <a:gd name="T47" fmla="*/ 141744 h 505"/>
                <a:gd name="T48" fmla="*/ 198105 w 486"/>
                <a:gd name="T49" fmla="*/ 132294 h 505"/>
                <a:gd name="T50" fmla="*/ 190719 w 486"/>
                <a:gd name="T51" fmla="*/ 125469 h 505"/>
                <a:gd name="T52" fmla="*/ 179424 w 486"/>
                <a:gd name="T53" fmla="*/ 121794 h 505"/>
                <a:gd name="T54" fmla="*/ 170301 w 486"/>
                <a:gd name="T55" fmla="*/ 116545 h 505"/>
                <a:gd name="T56" fmla="*/ 160743 w 486"/>
                <a:gd name="T57" fmla="*/ 108670 h 505"/>
                <a:gd name="T58" fmla="*/ 143365 w 486"/>
                <a:gd name="T59" fmla="*/ 98696 h 505"/>
                <a:gd name="T60" fmla="*/ 125988 w 486"/>
                <a:gd name="T61" fmla="*/ 90296 h 505"/>
                <a:gd name="T62" fmla="*/ 118602 w 486"/>
                <a:gd name="T63" fmla="*/ 83996 h 505"/>
                <a:gd name="T64" fmla="*/ 114692 w 486"/>
                <a:gd name="T65" fmla="*/ 79271 h 505"/>
                <a:gd name="T66" fmla="*/ 113389 w 486"/>
                <a:gd name="T67" fmla="*/ 65622 h 505"/>
                <a:gd name="T68" fmla="*/ 113389 w 486"/>
                <a:gd name="T69" fmla="*/ 47248 h 505"/>
                <a:gd name="T70" fmla="*/ 110782 w 486"/>
                <a:gd name="T71" fmla="*/ 37273 h 505"/>
                <a:gd name="T72" fmla="*/ 104700 w 486"/>
                <a:gd name="T73" fmla="*/ 28874 h 505"/>
                <a:gd name="T74" fmla="*/ 101659 w 486"/>
                <a:gd name="T75" fmla="*/ 19424 h 505"/>
                <a:gd name="T76" fmla="*/ 86454 w 486"/>
                <a:gd name="T77" fmla="*/ 6300 h 505"/>
                <a:gd name="T78" fmla="*/ 80806 w 486"/>
                <a:gd name="T79" fmla="*/ 4200 h 505"/>
                <a:gd name="T80" fmla="*/ 75158 w 486"/>
                <a:gd name="T81" fmla="*/ 1050 h 505"/>
                <a:gd name="T82" fmla="*/ 60387 w 486"/>
                <a:gd name="T83" fmla="*/ 525 h 505"/>
                <a:gd name="T84" fmla="*/ 30411 w 486"/>
                <a:gd name="T85" fmla="*/ 5775 h 505"/>
                <a:gd name="T86" fmla="*/ 18246 w 486"/>
                <a:gd name="T87" fmla="*/ 11025 h 505"/>
                <a:gd name="T88" fmla="*/ 10427 w 486"/>
                <a:gd name="T89" fmla="*/ 19424 h 505"/>
                <a:gd name="T90" fmla="*/ 8689 w 486"/>
                <a:gd name="T91" fmla="*/ 33598 h 505"/>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86" h="505">
                  <a:moveTo>
                    <a:pt x="0" y="166"/>
                  </a:moveTo>
                  <a:lnTo>
                    <a:pt x="7" y="171"/>
                  </a:lnTo>
                  <a:lnTo>
                    <a:pt x="14" y="176"/>
                  </a:lnTo>
                  <a:lnTo>
                    <a:pt x="19" y="181"/>
                  </a:lnTo>
                  <a:lnTo>
                    <a:pt x="24" y="186"/>
                  </a:lnTo>
                  <a:lnTo>
                    <a:pt x="31" y="198"/>
                  </a:lnTo>
                  <a:lnTo>
                    <a:pt x="39" y="210"/>
                  </a:lnTo>
                  <a:lnTo>
                    <a:pt x="44" y="221"/>
                  </a:lnTo>
                  <a:lnTo>
                    <a:pt x="51" y="232"/>
                  </a:lnTo>
                  <a:lnTo>
                    <a:pt x="58" y="242"/>
                  </a:lnTo>
                  <a:lnTo>
                    <a:pt x="66" y="253"/>
                  </a:lnTo>
                  <a:lnTo>
                    <a:pt x="82" y="266"/>
                  </a:lnTo>
                  <a:lnTo>
                    <a:pt x="96" y="276"/>
                  </a:lnTo>
                  <a:lnTo>
                    <a:pt x="111" y="285"/>
                  </a:lnTo>
                  <a:lnTo>
                    <a:pt x="126" y="293"/>
                  </a:lnTo>
                  <a:lnTo>
                    <a:pt x="140" y="299"/>
                  </a:lnTo>
                  <a:lnTo>
                    <a:pt x="155" y="305"/>
                  </a:lnTo>
                  <a:lnTo>
                    <a:pt x="170" y="310"/>
                  </a:lnTo>
                  <a:lnTo>
                    <a:pt x="185" y="314"/>
                  </a:lnTo>
                  <a:lnTo>
                    <a:pt x="215" y="321"/>
                  </a:lnTo>
                  <a:lnTo>
                    <a:pt x="246" y="328"/>
                  </a:lnTo>
                  <a:lnTo>
                    <a:pt x="262" y="332"/>
                  </a:lnTo>
                  <a:lnTo>
                    <a:pt x="278" y="338"/>
                  </a:lnTo>
                  <a:lnTo>
                    <a:pt x="295" y="344"/>
                  </a:lnTo>
                  <a:lnTo>
                    <a:pt x="312" y="351"/>
                  </a:lnTo>
                  <a:lnTo>
                    <a:pt x="307" y="367"/>
                  </a:lnTo>
                  <a:lnTo>
                    <a:pt x="299" y="381"/>
                  </a:lnTo>
                  <a:lnTo>
                    <a:pt x="291" y="394"/>
                  </a:lnTo>
                  <a:lnTo>
                    <a:pt x="284" y="406"/>
                  </a:lnTo>
                  <a:lnTo>
                    <a:pt x="277" y="418"/>
                  </a:lnTo>
                  <a:lnTo>
                    <a:pt x="272" y="430"/>
                  </a:lnTo>
                  <a:lnTo>
                    <a:pt x="269" y="436"/>
                  </a:lnTo>
                  <a:lnTo>
                    <a:pt x="267" y="443"/>
                  </a:lnTo>
                  <a:lnTo>
                    <a:pt x="266" y="449"/>
                  </a:lnTo>
                  <a:lnTo>
                    <a:pt x="266" y="456"/>
                  </a:lnTo>
                  <a:lnTo>
                    <a:pt x="266" y="463"/>
                  </a:lnTo>
                  <a:lnTo>
                    <a:pt x="269" y="471"/>
                  </a:lnTo>
                  <a:lnTo>
                    <a:pt x="273" y="477"/>
                  </a:lnTo>
                  <a:lnTo>
                    <a:pt x="278" y="482"/>
                  </a:lnTo>
                  <a:lnTo>
                    <a:pt x="284" y="487"/>
                  </a:lnTo>
                  <a:lnTo>
                    <a:pt x="291" y="491"/>
                  </a:lnTo>
                  <a:lnTo>
                    <a:pt x="299" y="494"/>
                  </a:lnTo>
                  <a:lnTo>
                    <a:pt x="308" y="497"/>
                  </a:lnTo>
                  <a:lnTo>
                    <a:pt x="325" y="501"/>
                  </a:lnTo>
                  <a:lnTo>
                    <a:pt x="344" y="504"/>
                  </a:lnTo>
                  <a:lnTo>
                    <a:pt x="363" y="505"/>
                  </a:lnTo>
                  <a:lnTo>
                    <a:pt x="379" y="505"/>
                  </a:lnTo>
                  <a:lnTo>
                    <a:pt x="387" y="504"/>
                  </a:lnTo>
                  <a:lnTo>
                    <a:pt x="396" y="502"/>
                  </a:lnTo>
                  <a:lnTo>
                    <a:pt x="406" y="499"/>
                  </a:lnTo>
                  <a:lnTo>
                    <a:pt x="415" y="494"/>
                  </a:lnTo>
                  <a:lnTo>
                    <a:pt x="426" y="488"/>
                  </a:lnTo>
                  <a:lnTo>
                    <a:pt x="436" y="482"/>
                  </a:lnTo>
                  <a:lnTo>
                    <a:pt x="446" y="474"/>
                  </a:lnTo>
                  <a:lnTo>
                    <a:pt x="456" y="465"/>
                  </a:lnTo>
                  <a:lnTo>
                    <a:pt x="465" y="456"/>
                  </a:lnTo>
                  <a:lnTo>
                    <a:pt x="473" y="447"/>
                  </a:lnTo>
                  <a:lnTo>
                    <a:pt x="478" y="437"/>
                  </a:lnTo>
                  <a:lnTo>
                    <a:pt x="482" y="428"/>
                  </a:lnTo>
                  <a:lnTo>
                    <a:pt x="485" y="418"/>
                  </a:lnTo>
                  <a:lnTo>
                    <a:pt x="486" y="407"/>
                  </a:lnTo>
                  <a:lnTo>
                    <a:pt x="485" y="402"/>
                  </a:lnTo>
                  <a:lnTo>
                    <a:pt x="484" y="397"/>
                  </a:lnTo>
                  <a:lnTo>
                    <a:pt x="481" y="393"/>
                  </a:lnTo>
                  <a:lnTo>
                    <a:pt x="478" y="388"/>
                  </a:lnTo>
                  <a:lnTo>
                    <a:pt x="478" y="358"/>
                  </a:lnTo>
                  <a:lnTo>
                    <a:pt x="475" y="345"/>
                  </a:lnTo>
                  <a:lnTo>
                    <a:pt x="473" y="331"/>
                  </a:lnTo>
                  <a:lnTo>
                    <a:pt x="471" y="316"/>
                  </a:lnTo>
                  <a:lnTo>
                    <a:pt x="470" y="299"/>
                  </a:lnTo>
                  <a:lnTo>
                    <a:pt x="468" y="284"/>
                  </a:lnTo>
                  <a:lnTo>
                    <a:pt x="465" y="270"/>
                  </a:lnTo>
                  <a:lnTo>
                    <a:pt x="463" y="263"/>
                  </a:lnTo>
                  <a:lnTo>
                    <a:pt x="461" y="257"/>
                  </a:lnTo>
                  <a:lnTo>
                    <a:pt x="456" y="252"/>
                  </a:lnTo>
                  <a:lnTo>
                    <a:pt x="452" y="247"/>
                  </a:lnTo>
                  <a:lnTo>
                    <a:pt x="446" y="242"/>
                  </a:lnTo>
                  <a:lnTo>
                    <a:pt x="439" y="239"/>
                  </a:lnTo>
                  <a:lnTo>
                    <a:pt x="431" y="236"/>
                  </a:lnTo>
                  <a:lnTo>
                    <a:pt x="422" y="234"/>
                  </a:lnTo>
                  <a:lnTo>
                    <a:pt x="413" y="232"/>
                  </a:lnTo>
                  <a:lnTo>
                    <a:pt x="406" y="229"/>
                  </a:lnTo>
                  <a:lnTo>
                    <a:pt x="398" y="226"/>
                  </a:lnTo>
                  <a:lnTo>
                    <a:pt x="392" y="222"/>
                  </a:lnTo>
                  <a:lnTo>
                    <a:pt x="386" y="216"/>
                  </a:lnTo>
                  <a:lnTo>
                    <a:pt x="378" y="212"/>
                  </a:lnTo>
                  <a:lnTo>
                    <a:pt x="370" y="207"/>
                  </a:lnTo>
                  <a:lnTo>
                    <a:pt x="363" y="203"/>
                  </a:lnTo>
                  <a:lnTo>
                    <a:pt x="346" y="196"/>
                  </a:lnTo>
                  <a:lnTo>
                    <a:pt x="330" y="188"/>
                  </a:lnTo>
                  <a:lnTo>
                    <a:pt x="313" y="182"/>
                  </a:lnTo>
                  <a:lnTo>
                    <a:pt x="298" y="176"/>
                  </a:lnTo>
                  <a:lnTo>
                    <a:pt x="290" y="172"/>
                  </a:lnTo>
                  <a:lnTo>
                    <a:pt x="284" y="169"/>
                  </a:lnTo>
                  <a:lnTo>
                    <a:pt x="278" y="165"/>
                  </a:lnTo>
                  <a:lnTo>
                    <a:pt x="273" y="160"/>
                  </a:lnTo>
                  <a:lnTo>
                    <a:pt x="269" y="158"/>
                  </a:lnTo>
                  <a:lnTo>
                    <a:pt x="266" y="154"/>
                  </a:lnTo>
                  <a:lnTo>
                    <a:pt x="264" y="151"/>
                  </a:lnTo>
                  <a:lnTo>
                    <a:pt x="263" y="146"/>
                  </a:lnTo>
                  <a:lnTo>
                    <a:pt x="262" y="136"/>
                  </a:lnTo>
                  <a:lnTo>
                    <a:pt x="261" y="125"/>
                  </a:lnTo>
                  <a:lnTo>
                    <a:pt x="261" y="113"/>
                  </a:lnTo>
                  <a:lnTo>
                    <a:pt x="262" y="101"/>
                  </a:lnTo>
                  <a:lnTo>
                    <a:pt x="261" y="90"/>
                  </a:lnTo>
                  <a:lnTo>
                    <a:pt x="260" y="81"/>
                  </a:lnTo>
                  <a:lnTo>
                    <a:pt x="258" y="75"/>
                  </a:lnTo>
                  <a:lnTo>
                    <a:pt x="255" y="71"/>
                  </a:lnTo>
                  <a:lnTo>
                    <a:pt x="251" y="67"/>
                  </a:lnTo>
                  <a:lnTo>
                    <a:pt x="246" y="61"/>
                  </a:lnTo>
                  <a:lnTo>
                    <a:pt x="241" y="55"/>
                  </a:lnTo>
                  <a:lnTo>
                    <a:pt x="237" y="47"/>
                  </a:lnTo>
                  <a:lnTo>
                    <a:pt x="235" y="43"/>
                  </a:lnTo>
                  <a:lnTo>
                    <a:pt x="234" y="37"/>
                  </a:lnTo>
                  <a:lnTo>
                    <a:pt x="233" y="32"/>
                  </a:lnTo>
                  <a:lnTo>
                    <a:pt x="233" y="25"/>
                  </a:lnTo>
                  <a:lnTo>
                    <a:pt x="199" y="12"/>
                  </a:lnTo>
                  <a:lnTo>
                    <a:pt x="195" y="12"/>
                  </a:lnTo>
                  <a:lnTo>
                    <a:pt x="190" y="10"/>
                  </a:lnTo>
                  <a:lnTo>
                    <a:pt x="186" y="8"/>
                  </a:lnTo>
                  <a:lnTo>
                    <a:pt x="182" y="6"/>
                  </a:lnTo>
                  <a:lnTo>
                    <a:pt x="177" y="4"/>
                  </a:lnTo>
                  <a:lnTo>
                    <a:pt x="173" y="2"/>
                  </a:lnTo>
                  <a:lnTo>
                    <a:pt x="166" y="0"/>
                  </a:lnTo>
                  <a:lnTo>
                    <a:pt x="160" y="0"/>
                  </a:lnTo>
                  <a:lnTo>
                    <a:pt x="139" y="1"/>
                  </a:lnTo>
                  <a:lnTo>
                    <a:pt x="116" y="2"/>
                  </a:lnTo>
                  <a:lnTo>
                    <a:pt x="92" y="6"/>
                  </a:lnTo>
                  <a:lnTo>
                    <a:pt x="70" y="11"/>
                  </a:lnTo>
                  <a:lnTo>
                    <a:pt x="60" y="14"/>
                  </a:lnTo>
                  <a:lnTo>
                    <a:pt x="50" y="17"/>
                  </a:lnTo>
                  <a:lnTo>
                    <a:pt x="42" y="21"/>
                  </a:lnTo>
                  <a:lnTo>
                    <a:pt x="34" y="27"/>
                  </a:lnTo>
                  <a:lnTo>
                    <a:pt x="28" y="31"/>
                  </a:lnTo>
                  <a:lnTo>
                    <a:pt x="24" y="37"/>
                  </a:lnTo>
                  <a:lnTo>
                    <a:pt x="21" y="43"/>
                  </a:lnTo>
                  <a:lnTo>
                    <a:pt x="20" y="49"/>
                  </a:lnTo>
                  <a:lnTo>
                    <a:pt x="20" y="64"/>
                  </a:lnTo>
                  <a:lnTo>
                    <a:pt x="20" y="74"/>
                  </a:lnTo>
                  <a:lnTo>
                    <a:pt x="0" y="16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6" name="Freeform 195">
              <a:extLst>
                <a:ext uri="{FF2B5EF4-FFF2-40B4-BE49-F238E27FC236}">
                  <a16:creationId xmlns:a16="http://schemas.microsoft.com/office/drawing/2014/main" id="{4707621D-0EA2-4C24-A103-A2A1A063C280}"/>
                </a:ext>
              </a:extLst>
            </p:cNvPr>
            <p:cNvSpPr>
              <a:spLocks/>
            </p:cNvSpPr>
            <p:nvPr>
              <p:custDataLst>
                <p:tags r:id="rId122"/>
              </p:custDataLst>
            </p:nvPr>
          </p:nvSpPr>
          <p:spPr bwMode="auto">
            <a:xfrm>
              <a:off x="2655885" y="3487711"/>
              <a:ext cx="73025" cy="109536"/>
            </a:xfrm>
            <a:custGeom>
              <a:avLst/>
              <a:gdLst>
                <a:gd name="T0" fmla="*/ 3079 w 166"/>
                <a:gd name="T1" fmla="*/ 96371 h 208"/>
                <a:gd name="T2" fmla="*/ 34753 w 166"/>
                <a:gd name="T3" fmla="*/ 109537 h 208"/>
                <a:gd name="T4" fmla="*/ 37392 w 166"/>
                <a:gd name="T5" fmla="*/ 109010 h 208"/>
                <a:gd name="T6" fmla="*/ 39592 w 166"/>
                <a:gd name="T7" fmla="*/ 107431 h 208"/>
                <a:gd name="T8" fmla="*/ 42671 w 166"/>
                <a:gd name="T9" fmla="*/ 104271 h 208"/>
                <a:gd name="T10" fmla="*/ 45751 w 166"/>
                <a:gd name="T11" fmla="*/ 101111 h 208"/>
                <a:gd name="T12" fmla="*/ 51469 w 166"/>
                <a:gd name="T13" fmla="*/ 92685 h 208"/>
                <a:gd name="T14" fmla="*/ 57188 w 166"/>
                <a:gd name="T15" fmla="*/ 83206 h 208"/>
                <a:gd name="T16" fmla="*/ 67746 w 166"/>
                <a:gd name="T17" fmla="*/ 64248 h 208"/>
                <a:gd name="T18" fmla="*/ 73025 w 166"/>
                <a:gd name="T19" fmla="*/ 54242 h 208"/>
                <a:gd name="T20" fmla="*/ 63347 w 166"/>
                <a:gd name="T21" fmla="*/ 49502 h 208"/>
                <a:gd name="T22" fmla="*/ 55429 w 166"/>
                <a:gd name="T23" fmla="*/ 44236 h 208"/>
                <a:gd name="T24" fmla="*/ 47510 w 166"/>
                <a:gd name="T25" fmla="*/ 38970 h 208"/>
                <a:gd name="T26" fmla="*/ 40912 w 166"/>
                <a:gd name="T27" fmla="*/ 33704 h 208"/>
                <a:gd name="T28" fmla="*/ 37832 w 166"/>
                <a:gd name="T29" fmla="*/ 30544 h 208"/>
                <a:gd name="T30" fmla="*/ 35633 w 166"/>
                <a:gd name="T31" fmla="*/ 27911 h 208"/>
                <a:gd name="T32" fmla="*/ 32993 w 166"/>
                <a:gd name="T33" fmla="*/ 24751 h 208"/>
                <a:gd name="T34" fmla="*/ 31234 w 166"/>
                <a:gd name="T35" fmla="*/ 21065 h 208"/>
                <a:gd name="T36" fmla="*/ 29474 w 166"/>
                <a:gd name="T37" fmla="*/ 17378 h 208"/>
                <a:gd name="T38" fmla="*/ 28154 w 166"/>
                <a:gd name="T39" fmla="*/ 13692 h 208"/>
                <a:gd name="T40" fmla="*/ 27274 w 166"/>
                <a:gd name="T41" fmla="*/ 9479 h 208"/>
                <a:gd name="T42" fmla="*/ 26395 w 166"/>
                <a:gd name="T43" fmla="*/ 5793 h 208"/>
                <a:gd name="T44" fmla="*/ 21995 w 166"/>
                <a:gd name="T45" fmla="*/ 5266 h 208"/>
                <a:gd name="T46" fmla="*/ 18916 w 166"/>
                <a:gd name="T47" fmla="*/ 4213 h 208"/>
                <a:gd name="T48" fmla="*/ 17596 w 166"/>
                <a:gd name="T49" fmla="*/ 2633 h 208"/>
                <a:gd name="T50" fmla="*/ 17156 w 166"/>
                <a:gd name="T51" fmla="*/ 1580 h 208"/>
                <a:gd name="T52" fmla="*/ 16717 w 166"/>
                <a:gd name="T53" fmla="*/ 527 h 208"/>
                <a:gd name="T54" fmla="*/ 15837 w 166"/>
                <a:gd name="T55" fmla="*/ 0 h 208"/>
                <a:gd name="T56" fmla="*/ 14077 w 166"/>
                <a:gd name="T57" fmla="*/ 527 h 208"/>
                <a:gd name="T58" fmla="*/ 11878 w 166"/>
                <a:gd name="T59" fmla="*/ 2633 h 208"/>
                <a:gd name="T60" fmla="*/ 8798 w 166"/>
                <a:gd name="T61" fmla="*/ 5793 h 208"/>
                <a:gd name="T62" fmla="*/ 4839 w 166"/>
                <a:gd name="T63" fmla="*/ 11586 h 208"/>
                <a:gd name="T64" fmla="*/ 3079 w 166"/>
                <a:gd name="T65" fmla="*/ 15272 h 208"/>
                <a:gd name="T66" fmla="*/ 1760 w 166"/>
                <a:gd name="T67" fmla="*/ 19485 h 208"/>
                <a:gd name="T68" fmla="*/ 880 w 166"/>
                <a:gd name="T69" fmla="*/ 23698 h 208"/>
                <a:gd name="T70" fmla="*/ 0 w 166"/>
                <a:gd name="T71" fmla="*/ 28437 h 208"/>
                <a:gd name="T72" fmla="*/ 0 w 166"/>
                <a:gd name="T73" fmla="*/ 31597 h 208"/>
                <a:gd name="T74" fmla="*/ 880 w 166"/>
                <a:gd name="T75" fmla="*/ 34230 h 208"/>
                <a:gd name="T76" fmla="*/ 1320 w 166"/>
                <a:gd name="T77" fmla="*/ 36863 h 208"/>
                <a:gd name="T78" fmla="*/ 2200 w 166"/>
                <a:gd name="T79" fmla="*/ 40023 h 208"/>
                <a:gd name="T80" fmla="*/ 4399 w 166"/>
                <a:gd name="T81" fmla="*/ 45289 h 208"/>
                <a:gd name="T82" fmla="*/ 7478 w 166"/>
                <a:gd name="T83" fmla="*/ 51609 h 208"/>
                <a:gd name="T84" fmla="*/ 9678 w 166"/>
                <a:gd name="T85" fmla="*/ 57402 h 208"/>
                <a:gd name="T86" fmla="*/ 12317 w 166"/>
                <a:gd name="T87" fmla="*/ 63194 h 208"/>
                <a:gd name="T88" fmla="*/ 13197 w 166"/>
                <a:gd name="T89" fmla="*/ 66354 h 208"/>
                <a:gd name="T90" fmla="*/ 14077 w 166"/>
                <a:gd name="T91" fmla="*/ 70040 h 208"/>
                <a:gd name="T92" fmla="*/ 14517 w 166"/>
                <a:gd name="T93" fmla="*/ 73200 h 208"/>
                <a:gd name="T94" fmla="*/ 14517 w 166"/>
                <a:gd name="T95" fmla="*/ 77413 h 208"/>
                <a:gd name="T96" fmla="*/ 14077 w 166"/>
                <a:gd name="T97" fmla="*/ 80573 h 208"/>
                <a:gd name="T98" fmla="*/ 13637 w 166"/>
                <a:gd name="T99" fmla="*/ 83733 h 208"/>
                <a:gd name="T100" fmla="*/ 12317 w 166"/>
                <a:gd name="T101" fmla="*/ 86892 h 208"/>
                <a:gd name="T102" fmla="*/ 10998 w 166"/>
                <a:gd name="T103" fmla="*/ 88999 h 208"/>
                <a:gd name="T104" fmla="*/ 9238 w 166"/>
                <a:gd name="T105" fmla="*/ 91632 h 208"/>
                <a:gd name="T106" fmla="*/ 7478 w 166"/>
                <a:gd name="T107" fmla="*/ 93212 h 208"/>
                <a:gd name="T108" fmla="*/ 4839 w 166"/>
                <a:gd name="T109" fmla="*/ 94792 h 208"/>
                <a:gd name="T110" fmla="*/ 3079 w 166"/>
                <a:gd name="T111" fmla="*/ 96371 h 20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66" h="208">
                  <a:moveTo>
                    <a:pt x="7" y="183"/>
                  </a:moveTo>
                  <a:lnTo>
                    <a:pt x="79" y="208"/>
                  </a:lnTo>
                  <a:lnTo>
                    <a:pt x="85" y="207"/>
                  </a:lnTo>
                  <a:lnTo>
                    <a:pt x="90" y="204"/>
                  </a:lnTo>
                  <a:lnTo>
                    <a:pt x="97" y="198"/>
                  </a:lnTo>
                  <a:lnTo>
                    <a:pt x="104" y="192"/>
                  </a:lnTo>
                  <a:lnTo>
                    <a:pt x="117" y="176"/>
                  </a:lnTo>
                  <a:lnTo>
                    <a:pt x="130" y="158"/>
                  </a:lnTo>
                  <a:lnTo>
                    <a:pt x="154" y="122"/>
                  </a:lnTo>
                  <a:lnTo>
                    <a:pt x="166" y="103"/>
                  </a:lnTo>
                  <a:lnTo>
                    <a:pt x="144" y="94"/>
                  </a:lnTo>
                  <a:lnTo>
                    <a:pt x="126" y="84"/>
                  </a:lnTo>
                  <a:lnTo>
                    <a:pt x="108" y="74"/>
                  </a:lnTo>
                  <a:lnTo>
                    <a:pt x="93" y="64"/>
                  </a:lnTo>
                  <a:lnTo>
                    <a:pt x="86" y="58"/>
                  </a:lnTo>
                  <a:lnTo>
                    <a:pt x="81" y="53"/>
                  </a:lnTo>
                  <a:lnTo>
                    <a:pt x="75" y="47"/>
                  </a:lnTo>
                  <a:lnTo>
                    <a:pt x="71" y="40"/>
                  </a:lnTo>
                  <a:lnTo>
                    <a:pt x="67" y="33"/>
                  </a:lnTo>
                  <a:lnTo>
                    <a:pt x="64" y="26"/>
                  </a:lnTo>
                  <a:lnTo>
                    <a:pt x="62" y="18"/>
                  </a:lnTo>
                  <a:lnTo>
                    <a:pt x="60" y="11"/>
                  </a:lnTo>
                  <a:lnTo>
                    <a:pt x="50" y="10"/>
                  </a:lnTo>
                  <a:lnTo>
                    <a:pt x="43" y="8"/>
                  </a:lnTo>
                  <a:lnTo>
                    <a:pt x="40" y="5"/>
                  </a:lnTo>
                  <a:lnTo>
                    <a:pt x="39" y="3"/>
                  </a:lnTo>
                  <a:lnTo>
                    <a:pt x="38" y="1"/>
                  </a:lnTo>
                  <a:lnTo>
                    <a:pt x="36" y="0"/>
                  </a:lnTo>
                  <a:lnTo>
                    <a:pt x="32" y="1"/>
                  </a:lnTo>
                  <a:lnTo>
                    <a:pt x="27" y="5"/>
                  </a:lnTo>
                  <a:lnTo>
                    <a:pt x="20" y="11"/>
                  </a:lnTo>
                  <a:lnTo>
                    <a:pt x="11" y="22"/>
                  </a:lnTo>
                  <a:lnTo>
                    <a:pt x="7" y="29"/>
                  </a:lnTo>
                  <a:lnTo>
                    <a:pt x="4" y="37"/>
                  </a:lnTo>
                  <a:lnTo>
                    <a:pt x="2" y="45"/>
                  </a:lnTo>
                  <a:lnTo>
                    <a:pt x="0" y="54"/>
                  </a:lnTo>
                  <a:lnTo>
                    <a:pt x="0" y="60"/>
                  </a:lnTo>
                  <a:lnTo>
                    <a:pt x="2" y="65"/>
                  </a:lnTo>
                  <a:lnTo>
                    <a:pt x="3" y="70"/>
                  </a:lnTo>
                  <a:lnTo>
                    <a:pt x="5" y="76"/>
                  </a:lnTo>
                  <a:lnTo>
                    <a:pt x="10" y="86"/>
                  </a:lnTo>
                  <a:lnTo>
                    <a:pt x="17" y="98"/>
                  </a:lnTo>
                  <a:lnTo>
                    <a:pt x="22" y="109"/>
                  </a:lnTo>
                  <a:lnTo>
                    <a:pt x="28" y="120"/>
                  </a:lnTo>
                  <a:lnTo>
                    <a:pt x="30" y="126"/>
                  </a:lnTo>
                  <a:lnTo>
                    <a:pt x="32" y="133"/>
                  </a:lnTo>
                  <a:lnTo>
                    <a:pt x="33" y="139"/>
                  </a:lnTo>
                  <a:lnTo>
                    <a:pt x="33" y="147"/>
                  </a:lnTo>
                  <a:lnTo>
                    <a:pt x="32" y="153"/>
                  </a:lnTo>
                  <a:lnTo>
                    <a:pt x="31" y="159"/>
                  </a:lnTo>
                  <a:lnTo>
                    <a:pt x="28" y="165"/>
                  </a:lnTo>
                  <a:lnTo>
                    <a:pt x="25" y="169"/>
                  </a:lnTo>
                  <a:lnTo>
                    <a:pt x="21" y="174"/>
                  </a:lnTo>
                  <a:lnTo>
                    <a:pt x="17" y="177"/>
                  </a:lnTo>
                  <a:lnTo>
                    <a:pt x="11" y="180"/>
                  </a:lnTo>
                  <a:lnTo>
                    <a:pt x="7" y="1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7" name="Freeform 196">
              <a:extLst>
                <a:ext uri="{FF2B5EF4-FFF2-40B4-BE49-F238E27FC236}">
                  <a16:creationId xmlns:a16="http://schemas.microsoft.com/office/drawing/2014/main" id="{41A49478-F0D1-48C1-A258-260E87CB2AE2}"/>
                </a:ext>
              </a:extLst>
            </p:cNvPr>
            <p:cNvSpPr>
              <a:spLocks/>
            </p:cNvSpPr>
            <p:nvPr>
              <p:custDataLst>
                <p:tags r:id="rId123"/>
              </p:custDataLst>
            </p:nvPr>
          </p:nvSpPr>
          <p:spPr bwMode="auto">
            <a:xfrm>
              <a:off x="2170111" y="3046389"/>
              <a:ext cx="69850" cy="58737"/>
            </a:xfrm>
            <a:custGeom>
              <a:avLst/>
              <a:gdLst>
                <a:gd name="T0" fmla="*/ 65165 w 164"/>
                <a:gd name="T1" fmla="*/ 58737 h 104"/>
                <a:gd name="T2" fmla="*/ 57073 w 164"/>
                <a:gd name="T3" fmla="*/ 57607 h 104"/>
                <a:gd name="T4" fmla="*/ 46851 w 164"/>
                <a:gd name="T5" fmla="*/ 54784 h 104"/>
                <a:gd name="T6" fmla="*/ 40888 w 164"/>
                <a:gd name="T7" fmla="*/ 53089 h 104"/>
                <a:gd name="T8" fmla="*/ 34073 w 164"/>
                <a:gd name="T9" fmla="*/ 52524 h 104"/>
                <a:gd name="T10" fmla="*/ 31092 w 164"/>
                <a:gd name="T11" fmla="*/ 52524 h 104"/>
                <a:gd name="T12" fmla="*/ 27259 w 164"/>
                <a:gd name="T13" fmla="*/ 53089 h 104"/>
                <a:gd name="T14" fmla="*/ 23425 w 164"/>
                <a:gd name="T15" fmla="*/ 54219 h 104"/>
                <a:gd name="T16" fmla="*/ 20018 w 164"/>
                <a:gd name="T17" fmla="*/ 55348 h 104"/>
                <a:gd name="T18" fmla="*/ 17463 w 164"/>
                <a:gd name="T19" fmla="*/ 56478 h 104"/>
                <a:gd name="T20" fmla="*/ 14481 w 164"/>
                <a:gd name="T21" fmla="*/ 56478 h 104"/>
                <a:gd name="T22" fmla="*/ 11500 w 164"/>
                <a:gd name="T23" fmla="*/ 55913 h 104"/>
                <a:gd name="T24" fmla="*/ 8092 w 164"/>
                <a:gd name="T25" fmla="*/ 54219 h 104"/>
                <a:gd name="T26" fmla="*/ 4685 w 164"/>
                <a:gd name="T27" fmla="*/ 51960 h 104"/>
                <a:gd name="T28" fmla="*/ 2555 w 164"/>
                <a:gd name="T29" fmla="*/ 49701 h 104"/>
                <a:gd name="T30" fmla="*/ 1278 w 164"/>
                <a:gd name="T31" fmla="*/ 48571 h 104"/>
                <a:gd name="T32" fmla="*/ 426 w 164"/>
                <a:gd name="T33" fmla="*/ 47441 h 104"/>
                <a:gd name="T34" fmla="*/ 0 w 164"/>
                <a:gd name="T35" fmla="*/ 45747 h 104"/>
                <a:gd name="T36" fmla="*/ 0 w 164"/>
                <a:gd name="T37" fmla="*/ 44618 h 104"/>
                <a:gd name="T38" fmla="*/ 0 w 164"/>
                <a:gd name="T39" fmla="*/ 42923 h 104"/>
                <a:gd name="T40" fmla="*/ 426 w 164"/>
                <a:gd name="T41" fmla="*/ 41794 h 104"/>
                <a:gd name="T42" fmla="*/ 1278 w 164"/>
                <a:gd name="T43" fmla="*/ 40099 h 104"/>
                <a:gd name="T44" fmla="*/ 2555 w 164"/>
                <a:gd name="T45" fmla="*/ 39535 h 104"/>
                <a:gd name="T46" fmla="*/ 5111 w 164"/>
                <a:gd name="T47" fmla="*/ 37840 h 104"/>
                <a:gd name="T48" fmla="*/ 8518 w 164"/>
                <a:gd name="T49" fmla="*/ 37275 h 104"/>
                <a:gd name="T50" fmla="*/ 17037 w 164"/>
                <a:gd name="T51" fmla="*/ 37275 h 104"/>
                <a:gd name="T52" fmla="*/ 25981 w 164"/>
                <a:gd name="T53" fmla="*/ 37840 h 104"/>
                <a:gd name="T54" fmla="*/ 29814 w 164"/>
                <a:gd name="T55" fmla="*/ 37840 h 104"/>
                <a:gd name="T56" fmla="*/ 33647 w 164"/>
                <a:gd name="T57" fmla="*/ 37840 h 104"/>
                <a:gd name="T58" fmla="*/ 37055 w 164"/>
                <a:gd name="T59" fmla="*/ 37840 h 104"/>
                <a:gd name="T60" fmla="*/ 40036 w 164"/>
                <a:gd name="T61" fmla="*/ 37840 h 104"/>
                <a:gd name="T62" fmla="*/ 40036 w 164"/>
                <a:gd name="T63" fmla="*/ 31628 h 104"/>
                <a:gd name="T64" fmla="*/ 40036 w 164"/>
                <a:gd name="T65" fmla="*/ 24285 h 104"/>
                <a:gd name="T66" fmla="*/ 40036 w 164"/>
                <a:gd name="T67" fmla="*/ 16379 h 104"/>
                <a:gd name="T68" fmla="*/ 40036 w 164"/>
                <a:gd name="T69" fmla="*/ 10166 h 104"/>
                <a:gd name="T70" fmla="*/ 33647 w 164"/>
                <a:gd name="T71" fmla="*/ 9601 h 104"/>
                <a:gd name="T72" fmla="*/ 28536 w 164"/>
                <a:gd name="T73" fmla="*/ 8472 h 104"/>
                <a:gd name="T74" fmla="*/ 26407 w 164"/>
                <a:gd name="T75" fmla="*/ 7342 h 104"/>
                <a:gd name="T76" fmla="*/ 24277 w 164"/>
                <a:gd name="T77" fmla="*/ 5648 h 104"/>
                <a:gd name="T78" fmla="*/ 22148 w 164"/>
                <a:gd name="T79" fmla="*/ 3389 h 104"/>
                <a:gd name="T80" fmla="*/ 20018 w 164"/>
                <a:gd name="T81" fmla="*/ 0 h 104"/>
                <a:gd name="T82" fmla="*/ 62184 w 164"/>
                <a:gd name="T83" fmla="*/ 0 h 104"/>
                <a:gd name="T84" fmla="*/ 62609 w 164"/>
                <a:gd name="T85" fmla="*/ 3389 h 104"/>
                <a:gd name="T86" fmla="*/ 63035 w 164"/>
                <a:gd name="T87" fmla="*/ 7342 h 104"/>
                <a:gd name="T88" fmla="*/ 63887 w 164"/>
                <a:gd name="T89" fmla="*/ 10731 h 104"/>
                <a:gd name="T90" fmla="*/ 64739 w 164"/>
                <a:gd name="T91" fmla="*/ 14119 h 104"/>
                <a:gd name="T92" fmla="*/ 66443 w 164"/>
                <a:gd name="T93" fmla="*/ 19767 h 104"/>
                <a:gd name="T94" fmla="*/ 67720 w 164"/>
                <a:gd name="T95" fmla="*/ 25980 h 104"/>
                <a:gd name="T96" fmla="*/ 69424 w 164"/>
                <a:gd name="T97" fmla="*/ 30498 h 104"/>
                <a:gd name="T98" fmla="*/ 69850 w 164"/>
                <a:gd name="T99" fmla="*/ 35016 h 104"/>
                <a:gd name="T100" fmla="*/ 69424 w 164"/>
                <a:gd name="T101" fmla="*/ 36711 h 104"/>
                <a:gd name="T102" fmla="*/ 68146 w 164"/>
                <a:gd name="T103" fmla="*/ 38405 h 104"/>
                <a:gd name="T104" fmla="*/ 66869 w 164"/>
                <a:gd name="T105" fmla="*/ 40099 h 104"/>
                <a:gd name="T106" fmla="*/ 65165 w 164"/>
                <a:gd name="T107" fmla="*/ 41229 h 104"/>
                <a:gd name="T108" fmla="*/ 65165 w 164"/>
                <a:gd name="T109" fmla="*/ 58737 h 1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64" h="104">
                  <a:moveTo>
                    <a:pt x="153" y="104"/>
                  </a:moveTo>
                  <a:lnTo>
                    <a:pt x="134" y="102"/>
                  </a:lnTo>
                  <a:lnTo>
                    <a:pt x="110" y="97"/>
                  </a:lnTo>
                  <a:lnTo>
                    <a:pt x="96" y="94"/>
                  </a:lnTo>
                  <a:lnTo>
                    <a:pt x="80" y="93"/>
                  </a:lnTo>
                  <a:lnTo>
                    <a:pt x="73" y="93"/>
                  </a:lnTo>
                  <a:lnTo>
                    <a:pt x="64" y="94"/>
                  </a:lnTo>
                  <a:lnTo>
                    <a:pt x="55" y="96"/>
                  </a:lnTo>
                  <a:lnTo>
                    <a:pt x="47" y="98"/>
                  </a:lnTo>
                  <a:lnTo>
                    <a:pt x="41" y="100"/>
                  </a:lnTo>
                  <a:lnTo>
                    <a:pt x="34" y="100"/>
                  </a:lnTo>
                  <a:lnTo>
                    <a:pt x="27" y="99"/>
                  </a:lnTo>
                  <a:lnTo>
                    <a:pt x="19" y="96"/>
                  </a:lnTo>
                  <a:lnTo>
                    <a:pt x="11" y="92"/>
                  </a:lnTo>
                  <a:lnTo>
                    <a:pt x="6" y="88"/>
                  </a:lnTo>
                  <a:lnTo>
                    <a:pt x="3" y="86"/>
                  </a:lnTo>
                  <a:lnTo>
                    <a:pt x="1" y="84"/>
                  </a:lnTo>
                  <a:lnTo>
                    <a:pt x="0" y="81"/>
                  </a:lnTo>
                  <a:lnTo>
                    <a:pt x="0" y="79"/>
                  </a:lnTo>
                  <a:lnTo>
                    <a:pt x="0" y="76"/>
                  </a:lnTo>
                  <a:lnTo>
                    <a:pt x="1" y="74"/>
                  </a:lnTo>
                  <a:lnTo>
                    <a:pt x="3" y="71"/>
                  </a:lnTo>
                  <a:lnTo>
                    <a:pt x="6" y="70"/>
                  </a:lnTo>
                  <a:lnTo>
                    <a:pt x="12" y="67"/>
                  </a:lnTo>
                  <a:lnTo>
                    <a:pt x="20" y="66"/>
                  </a:lnTo>
                  <a:lnTo>
                    <a:pt x="40" y="66"/>
                  </a:lnTo>
                  <a:lnTo>
                    <a:pt x="61" y="67"/>
                  </a:lnTo>
                  <a:lnTo>
                    <a:pt x="70" y="67"/>
                  </a:lnTo>
                  <a:lnTo>
                    <a:pt x="79" y="67"/>
                  </a:lnTo>
                  <a:lnTo>
                    <a:pt x="87" y="67"/>
                  </a:lnTo>
                  <a:lnTo>
                    <a:pt x="94" y="67"/>
                  </a:lnTo>
                  <a:lnTo>
                    <a:pt x="94" y="56"/>
                  </a:lnTo>
                  <a:lnTo>
                    <a:pt x="94" y="43"/>
                  </a:lnTo>
                  <a:lnTo>
                    <a:pt x="94" y="29"/>
                  </a:lnTo>
                  <a:lnTo>
                    <a:pt x="94" y="18"/>
                  </a:lnTo>
                  <a:lnTo>
                    <a:pt x="79" y="17"/>
                  </a:lnTo>
                  <a:lnTo>
                    <a:pt x="67" y="15"/>
                  </a:lnTo>
                  <a:lnTo>
                    <a:pt x="62" y="13"/>
                  </a:lnTo>
                  <a:lnTo>
                    <a:pt x="57" y="10"/>
                  </a:lnTo>
                  <a:lnTo>
                    <a:pt x="52" y="6"/>
                  </a:lnTo>
                  <a:lnTo>
                    <a:pt x="47" y="0"/>
                  </a:lnTo>
                  <a:lnTo>
                    <a:pt x="146" y="0"/>
                  </a:lnTo>
                  <a:lnTo>
                    <a:pt x="147" y="6"/>
                  </a:lnTo>
                  <a:lnTo>
                    <a:pt x="148" y="13"/>
                  </a:lnTo>
                  <a:lnTo>
                    <a:pt x="150" y="19"/>
                  </a:lnTo>
                  <a:lnTo>
                    <a:pt x="152" y="25"/>
                  </a:lnTo>
                  <a:lnTo>
                    <a:pt x="156" y="35"/>
                  </a:lnTo>
                  <a:lnTo>
                    <a:pt x="159" y="46"/>
                  </a:lnTo>
                  <a:lnTo>
                    <a:pt x="163" y="54"/>
                  </a:lnTo>
                  <a:lnTo>
                    <a:pt x="164" y="62"/>
                  </a:lnTo>
                  <a:lnTo>
                    <a:pt x="163" y="65"/>
                  </a:lnTo>
                  <a:lnTo>
                    <a:pt x="160" y="68"/>
                  </a:lnTo>
                  <a:lnTo>
                    <a:pt x="157" y="71"/>
                  </a:lnTo>
                  <a:lnTo>
                    <a:pt x="153" y="73"/>
                  </a:lnTo>
                  <a:lnTo>
                    <a:pt x="153" y="10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8" name="Freeform 197">
              <a:extLst>
                <a:ext uri="{FF2B5EF4-FFF2-40B4-BE49-F238E27FC236}">
                  <a16:creationId xmlns:a16="http://schemas.microsoft.com/office/drawing/2014/main" id="{5DF16CF5-DE3F-45BA-8B21-7EC8136E65A3}"/>
                </a:ext>
              </a:extLst>
            </p:cNvPr>
            <p:cNvSpPr>
              <a:spLocks/>
            </p:cNvSpPr>
            <p:nvPr>
              <p:custDataLst>
                <p:tags r:id="rId124"/>
              </p:custDataLst>
            </p:nvPr>
          </p:nvSpPr>
          <p:spPr bwMode="auto">
            <a:xfrm>
              <a:off x="2536822" y="5400632"/>
              <a:ext cx="23813" cy="57150"/>
            </a:xfrm>
            <a:custGeom>
              <a:avLst/>
              <a:gdLst>
                <a:gd name="T0" fmla="*/ 0 w 53"/>
                <a:gd name="T1" fmla="*/ 24063 h 19"/>
                <a:gd name="T2" fmla="*/ 3145 w 53"/>
                <a:gd name="T3" fmla="*/ 39103 h 19"/>
                <a:gd name="T4" fmla="*/ 6290 w 53"/>
                <a:gd name="T5" fmla="*/ 51134 h 19"/>
                <a:gd name="T6" fmla="*/ 9885 w 53"/>
                <a:gd name="T7" fmla="*/ 57150 h 19"/>
                <a:gd name="T8" fmla="*/ 13030 w 53"/>
                <a:gd name="T9" fmla="*/ 57150 h 19"/>
                <a:gd name="T10" fmla="*/ 15726 w 53"/>
                <a:gd name="T11" fmla="*/ 54142 h 19"/>
                <a:gd name="T12" fmla="*/ 18871 w 53"/>
                <a:gd name="T13" fmla="*/ 45118 h 19"/>
                <a:gd name="T14" fmla="*/ 21117 w 53"/>
                <a:gd name="T15" fmla="*/ 36095 h 19"/>
                <a:gd name="T16" fmla="*/ 23813 w 53"/>
                <a:gd name="T17" fmla="*/ 24063 h 19"/>
                <a:gd name="T18" fmla="*/ 21117 w 53"/>
                <a:gd name="T19" fmla="*/ 15039 h 19"/>
                <a:gd name="T20" fmla="*/ 18871 w 53"/>
                <a:gd name="T21" fmla="*/ 6016 h 19"/>
                <a:gd name="T22" fmla="*/ 15726 w 53"/>
                <a:gd name="T23" fmla="*/ 3008 h 19"/>
                <a:gd name="T24" fmla="*/ 13030 w 53"/>
                <a:gd name="T25" fmla="*/ 0 h 19"/>
                <a:gd name="T26" fmla="*/ 9885 w 53"/>
                <a:gd name="T27" fmla="*/ 0 h 19"/>
                <a:gd name="T28" fmla="*/ 6290 w 53"/>
                <a:gd name="T29" fmla="*/ 3008 h 19"/>
                <a:gd name="T30" fmla="*/ 3145 w 53"/>
                <a:gd name="T31" fmla="*/ 9024 h 19"/>
                <a:gd name="T32" fmla="*/ 0 w 53"/>
                <a:gd name="T33" fmla="*/ 24063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53" h="19">
                  <a:moveTo>
                    <a:pt x="0" y="8"/>
                  </a:moveTo>
                  <a:lnTo>
                    <a:pt x="7" y="13"/>
                  </a:lnTo>
                  <a:lnTo>
                    <a:pt x="14" y="17"/>
                  </a:lnTo>
                  <a:lnTo>
                    <a:pt x="22" y="19"/>
                  </a:lnTo>
                  <a:lnTo>
                    <a:pt x="29" y="19"/>
                  </a:lnTo>
                  <a:lnTo>
                    <a:pt x="35" y="18"/>
                  </a:lnTo>
                  <a:lnTo>
                    <a:pt x="42" y="15"/>
                  </a:lnTo>
                  <a:lnTo>
                    <a:pt x="47" y="12"/>
                  </a:lnTo>
                  <a:lnTo>
                    <a:pt x="53" y="8"/>
                  </a:lnTo>
                  <a:lnTo>
                    <a:pt x="47" y="5"/>
                  </a:lnTo>
                  <a:lnTo>
                    <a:pt x="42" y="2"/>
                  </a:lnTo>
                  <a:lnTo>
                    <a:pt x="35" y="1"/>
                  </a:lnTo>
                  <a:lnTo>
                    <a:pt x="29" y="0"/>
                  </a:lnTo>
                  <a:lnTo>
                    <a:pt x="22" y="0"/>
                  </a:lnTo>
                  <a:lnTo>
                    <a:pt x="14" y="1"/>
                  </a:lnTo>
                  <a:lnTo>
                    <a:pt x="7" y="3"/>
                  </a:lnTo>
                  <a:lnTo>
                    <a:pt x="0" y="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29" name="Freeform 198">
              <a:extLst>
                <a:ext uri="{FF2B5EF4-FFF2-40B4-BE49-F238E27FC236}">
                  <a16:creationId xmlns:a16="http://schemas.microsoft.com/office/drawing/2014/main" id="{46D73C19-C3DC-4840-B7D0-C7FF45036CD4}"/>
                </a:ext>
              </a:extLst>
            </p:cNvPr>
            <p:cNvSpPr>
              <a:spLocks/>
            </p:cNvSpPr>
            <p:nvPr>
              <p:custDataLst>
                <p:tags r:id="rId125"/>
              </p:custDataLst>
            </p:nvPr>
          </p:nvSpPr>
          <p:spPr bwMode="auto">
            <a:xfrm>
              <a:off x="2501897" y="5379996"/>
              <a:ext cx="34925" cy="58737"/>
            </a:xfrm>
            <a:custGeom>
              <a:avLst/>
              <a:gdLst>
                <a:gd name="T0" fmla="*/ 0 w 80"/>
                <a:gd name="T1" fmla="*/ 0 h 18"/>
                <a:gd name="T2" fmla="*/ 437 w 80"/>
                <a:gd name="T3" fmla="*/ 19579 h 18"/>
                <a:gd name="T4" fmla="*/ 2183 w 80"/>
                <a:gd name="T5" fmla="*/ 39158 h 18"/>
                <a:gd name="T6" fmla="*/ 3493 w 80"/>
                <a:gd name="T7" fmla="*/ 45684 h 18"/>
                <a:gd name="T8" fmla="*/ 4802 w 80"/>
                <a:gd name="T9" fmla="*/ 52211 h 18"/>
                <a:gd name="T10" fmla="*/ 6548 w 80"/>
                <a:gd name="T11" fmla="*/ 58737 h 18"/>
                <a:gd name="T12" fmla="*/ 8731 w 80"/>
                <a:gd name="T13" fmla="*/ 58737 h 18"/>
                <a:gd name="T14" fmla="*/ 9604 w 80"/>
                <a:gd name="T15" fmla="*/ 48948 h 18"/>
                <a:gd name="T16" fmla="*/ 10478 w 80"/>
                <a:gd name="T17" fmla="*/ 42421 h 18"/>
                <a:gd name="T18" fmla="*/ 11351 w 80"/>
                <a:gd name="T19" fmla="*/ 35895 h 18"/>
                <a:gd name="T20" fmla="*/ 13533 w 80"/>
                <a:gd name="T21" fmla="*/ 32632 h 18"/>
                <a:gd name="T22" fmla="*/ 16589 w 80"/>
                <a:gd name="T23" fmla="*/ 26105 h 18"/>
                <a:gd name="T24" fmla="*/ 20518 w 80"/>
                <a:gd name="T25" fmla="*/ 22842 h 18"/>
                <a:gd name="T26" fmla="*/ 24884 w 80"/>
                <a:gd name="T27" fmla="*/ 22842 h 18"/>
                <a:gd name="T28" fmla="*/ 28813 w 80"/>
                <a:gd name="T29" fmla="*/ 19579 h 18"/>
                <a:gd name="T30" fmla="*/ 30559 w 80"/>
                <a:gd name="T31" fmla="*/ 16316 h 18"/>
                <a:gd name="T32" fmla="*/ 32306 w 80"/>
                <a:gd name="T33" fmla="*/ 13053 h 18"/>
                <a:gd name="T34" fmla="*/ 33615 w 80"/>
                <a:gd name="T35" fmla="*/ 6526 h 18"/>
                <a:gd name="T36" fmla="*/ 34925 w 80"/>
                <a:gd name="T37" fmla="*/ 0 h 18"/>
                <a:gd name="T38" fmla="*/ 0 w 80"/>
                <a:gd name="T39" fmla="*/ 0 h 1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80" h="18">
                  <a:moveTo>
                    <a:pt x="0" y="0"/>
                  </a:moveTo>
                  <a:lnTo>
                    <a:pt x="1" y="6"/>
                  </a:lnTo>
                  <a:lnTo>
                    <a:pt x="5" y="12"/>
                  </a:lnTo>
                  <a:lnTo>
                    <a:pt x="8" y="14"/>
                  </a:lnTo>
                  <a:lnTo>
                    <a:pt x="11" y="16"/>
                  </a:lnTo>
                  <a:lnTo>
                    <a:pt x="15" y="18"/>
                  </a:lnTo>
                  <a:lnTo>
                    <a:pt x="20" y="18"/>
                  </a:lnTo>
                  <a:lnTo>
                    <a:pt x="22" y="15"/>
                  </a:lnTo>
                  <a:lnTo>
                    <a:pt x="24" y="13"/>
                  </a:lnTo>
                  <a:lnTo>
                    <a:pt x="26" y="11"/>
                  </a:lnTo>
                  <a:lnTo>
                    <a:pt x="31" y="10"/>
                  </a:lnTo>
                  <a:lnTo>
                    <a:pt x="38" y="8"/>
                  </a:lnTo>
                  <a:lnTo>
                    <a:pt x="47" y="7"/>
                  </a:lnTo>
                  <a:lnTo>
                    <a:pt x="57" y="7"/>
                  </a:lnTo>
                  <a:lnTo>
                    <a:pt x="66" y="6"/>
                  </a:lnTo>
                  <a:lnTo>
                    <a:pt x="70" y="5"/>
                  </a:lnTo>
                  <a:lnTo>
                    <a:pt x="74" y="4"/>
                  </a:lnTo>
                  <a:lnTo>
                    <a:pt x="77" y="2"/>
                  </a:lnTo>
                  <a:lnTo>
                    <a:pt x="8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0" name="Freeform 199">
              <a:extLst>
                <a:ext uri="{FF2B5EF4-FFF2-40B4-BE49-F238E27FC236}">
                  <a16:creationId xmlns:a16="http://schemas.microsoft.com/office/drawing/2014/main" id="{D247BBAE-9E9D-44D3-8BC1-6FAB2026FA8A}"/>
                </a:ext>
              </a:extLst>
            </p:cNvPr>
            <p:cNvSpPr>
              <a:spLocks/>
            </p:cNvSpPr>
            <p:nvPr>
              <p:custDataLst>
                <p:tags r:id="rId126"/>
              </p:custDataLst>
            </p:nvPr>
          </p:nvSpPr>
          <p:spPr bwMode="auto">
            <a:xfrm>
              <a:off x="2501897" y="5359358"/>
              <a:ext cx="22225" cy="60325"/>
            </a:xfrm>
            <a:custGeom>
              <a:avLst/>
              <a:gdLst>
                <a:gd name="T0" fmla="*/ 9663 w 46"/>
                <a:gd name="T1" fmla="*/ 0 h 27"/>
                <a:gd name="T2" fmla="*/ 0 w 46"/>
                <a:gd name="T3" fmla="*/ 40217 h 27"/>
                <a:gd name="T4" fmla="*/ 4348 w 46"/>
                <a:gd name="T5" fmla="*/ 49154 h 27"/>
                <a:gd name="T6" fmla="*/ 7730 w 46"/>
                <a:gd name="T7" fmla="*/ 55856 h 27"/>
                <a:gd name="T8" fmla="*/ 11113 w 46"/>
                <a:gd name="T9" fmla="*/ 60325 h 27"/>
                <a:gd name="T10" fmla="*/ 14011 w 46"/>
                <a:gd name="T11" fmla="*/ 60325 h 27"/>
                <a:gd name="T12" fmla="*/ 15944 w 46"/>
                <a:gd name="T13" fmla="*/ 60325 h 27"/>
                <a:gd name="T14" fmla="*/ 17877 w 46"/>
                <a:gd name="T15" fmla="*/ 55856 h 27"/>
                <a:gd name="T16" fmla="*/ 20292 w 46"/>
                <a:gd name="T17" fmla="*/ 49154 h 27"/>
                <a:gd name="T18" fmla="*/ 22225 w 46"/>
                <a:gd name="T19" fmla="*/ 40217 h 27"/>
                <a:gd name="T20" fmla="*/ 19809 w 46"/>
                <a:gd name="T21" fmla="*/ 35748 h 27"/>
                <a:gd name="T22" fmla="*/ 15944 w 46"/>
                <a:gd name="T23" fmla="*/ 24577 h 27"/>
                <a:gd name="T24" fmla="*/ 12562 w 46"/>
                <a:gd name="T25" fmla="*/ 11171 h 27"/>
                <a:gd name="T26" fmla="*/ 9663 w 46"/>
                <a:gd name="T27" fmla="*/ 0 h 2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46" h="27">
                  <a:moveTo>
                    <a:pt x="20" y="0"/>
                  </a:moveTo>
                  <a:lnTo>
                    <a:pt x="0" y="18"/>
                  </a:lnTo>
                  <a:lnTo>
                    <a:pt x="9" y="22"/>
                  </a:lnTo>
                  <a:lnTo>
                    <a:pt x="16" y="25"/>
                  </a:lnTo>
                  <a:lnTo>
                    <a:pt x="23" y="27"/>
                  </a:lnTo>
                  <a:lnTo>
                    <a:pt x="29" y="27"/>
                  </a:lnTo>
                  <a:lnTo>
                    <a:pt x="33" y="27"/>
                  </a:lnTo>
                  <a:lnTo>
                    <a:pt x="37" y="25"/>
                  </a:lnTo>
                  <a:lnTo>
                    <a:pt x="42" y="22"/>
                  </a:lnTo>
                  <a:lnTo>
                    <a:pt x="46" y="18"/>
                  </a:lnTo>
                  <a:lnTo>
                    <a:pt x="41" y="16"/>
                  </a:lnTo>
                  <a:lnTo>
                    <a:pt x="33" y="11"/>
                  </a:lnTo>
                  <a:lnTo>
                    <a:pt x="26" y="5"/>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1" name="Freeform 200">
              <a:extLst>
                <a:ext uri="{FF2B5EF4-FFF2-40B4-BE49-F238E27FC236}">
                  <a16:creationId xmlns:a16="http://schemas.microsoft.com/office/drawing/2014/main" id="{C51491B7-5ADF-4603-AF41-5714AF6464E8}"/>
                </a:ext>
              </a:extLst>
            </p:cNvPr>
            <p:cNvSpPr>
              <a:spLocks/>
            </p:cNvSpPr>
            <p:nvPr>
              <p:custDataLst>
                <p:tags r:id="rId127"/>
              </p:custDataLst>
            </p:nvPr>
          </p:nvSpPr>
          <p:spPr bwMode="auto">
            <a:xfrm>
              <a:off x="2471735" y="5353007"/>
              <a:ext cx="25400" cy="60325"/>
            </a:xfrm>
            <a:custGeom>
              <a:avLst/>
              <a:gdLst>
                <a:gd name="T0" fmla="*/ 15993 w 54"/>
                <a:gd name="T1" fmla="*/ 0 h 39"/>
                <a:gd name="T2" fmla="*/ 9407 w 54"/>
                <a:gd name="T3" fmla="*/ 6187 h 39"/>
                <a:gd name="T4" fmla="*/ 4704 w 54"/>
                <a:gd name="T5" fmla="*/ 15468 h 39"/>
                <a:gd name="T6" fmla="*/ 2822 w 54"/>
                <a:gd name="T7" fmla="*/ 20108 h 39"/>
                <a:gd name="T8" fmla="*/ 1881 w 54"/>
                <a:gd name="T9" fmla="*/ 24749 h 39"/>
                <a:gd name="T10" fmla="*/ 941 w 54"/>
                <a:gd name="T11" fmla="*/ 30936 h 39"/>
                <a:gd name="T12" fmla="*/ 0 w 54"/>
                <a:gd name="T13" fmla="*/ 37123 h 39"/>
                <a:gd name="T14" fmla="*/ 941 w 54"/>
                <a:gd name="T15" fmla="*/ 43310 h 39"/>
                <a:gd name="T16" fmla="*/ 1411 w 54"/>
                <a:gd name="T17" fmla="*/ 49497 h 39"/>
                <a:gd name="T18" fmla="*/ 2352 w 54"/>
                <a:gd name="T19" fmla="*/ 54138 h 39"/>
                <a:gd name="T20" fmla="*/ 3763 w 54"/>
                <a:gd name="T21" fmla="*/ 57231 h 39"/>
                <a:gd name="T22" fmla="*/ 5174 w 54"/>
                <a:gd name="T23" fmla="*/ 58778 h 39"/>
                <a:gd name="T24" fmla="*/ 7526 w 54"/>
                <a:gd name="T25" fmla="*/ 60325 h 39"/>
                <a:gd name="T26" fmla="*/ 9407 w 54"/>
                <a:gd name="T27" fmla="*/ 60325 h 39"/>
                <a:gd name="T28" fmla="*/ 11759 w 54"/>
                <a:gd name="T29" fmla="*/ 60325 h 39"/>
                <a:gd name="T30" fmla="*/ 14111 w 54"/>
                <a:gd name="T31" fmla="*/ 58778 h 39"/>
                <a:gd name="T32" fmla="*/ 15993 w 54"/>
                <a:gd name="T33" fmla="*/ 57231 h 39"/>
                <a:gd name="T34" fmla="*/ 18344 w 54"/>
                <a:gd name="T35" fmla="*/ 54138 h 39"/>
                <a:gd name="T36" fmla="*/ 20226 w 54"/>
                <a:gd name="T37" fmla="*/ 51044 h 39"/>
                <a:gd name="T38" fmla="*/ 22107 w 54"/>
                <a:gd name="T39" fmla="*/ 46404 h 39"/>
                <a:gd name="T40" fmla="*/ 23519 w 54"/>
                <a:gd name="T41" fmla="*/ 40217 h 39"/>
                <a:gd name="T42" fmla="*/ 24459 w 54"/>
                <a:gd name="T43" fmla="*/ 34029 h 39"/>
                <a:gd name="T44" fmla="*/ 25400 w 54"/>
                <a:gd name="T45" fmla="*/ 27842 h 39"/>
                <a:gd name="T46" fmla="*/ 23989 w 54"/>
                <a:gd name="T47" fmla="*/ 26296 h 39"/>
                <a:gd name="T48" fmla="*/ 22578 w 54"/>
                <a:gd name="T49" fmla="*/ 24749 h 39"/>
                <a:gd name="T50" fmla="*/ 20696 w 54"/>
                <a:gd name="T51" fmla="*/ 21655 h 39"/>
                <a:gd name="T52" fmla="*/ 19756 w 54"/>
                <a:gd name="T53" fmla="*/ 17015 h 39"/>
                <a:gd name="T54" fmla="*/ 18344 w 54"/>
                <a:gd name="T55" fmla="*/ 12374 h 39"/>
                <a:gd name="T56" fmla="*/ 17404 w 54"/>
                <a:gd name="T57" fmla="*/ 7734 h 39"/>
                <a:gd name="T58" fmla="*/ 15993 w 54"/>
                <a:gd name="T59" fmla="*/ 3094 h 39"/>
                <a:gd name="T60" fmla="*/ 15993 w 54"/>
                <a:gd name="T61" fmla="*/ 0 h 3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54" h="39">
                  <a:moveTo>
                    <a:pt x="34" y="0"/>
                  </a:moveTo>
                  <a:lnTo>
                    <a:pt x="20" y="4"/>
                  </a:lnTo>
                  <a:lnTo>
                    <a:pt x="10" y="10"/>
                  </a:lnTo>
                  <a:lnTo>
                    <a:pt x="6" y="13"/>
                  </a:lnTo>
                  <a:lnTo>
                    <a:pt x="4" y="16"/>
                  </a:lnTo>
                  <a:lnTo>
                    <a:pt x="2" y="20"/>
                  </a:lnTo>
                  <a:lnTo>
                    <a:pt x="0" y="24"/>
                  </a:lnTo>
                  <a:lnTo>
                    <a:pt x="2" y="28"/>
                  </a:lnTo>
                  <a:lnTo>
                    <a:pt x="3" y="32"/>
                  </a:lnTo>
                  <a:lnTo>
                    <a:pt x="5" y="35"/>
                  </a:lnTo>
                  <a:lnTo>
                    <a:pt x="8" y="37"/>
                  </a:lnTo>
                  <a:lnTo>
                    <a:pt x="11" y="38"/>
                  </a:lnTo>
                  <a:lnTo>
                    <a:pt x="16" y="39"/>
                  </a:lnTo>
                  <a:lnTo>
                    <a:pt x="20" y="39"/>
                  </a:lnTo>
                  <a:lnTo>
                    <a:pt x="25" y="39"/>
                  </a:lnTo>
                  <a:lnTo>
                    <a:pt x="30" y="38"/>
                  </a:lnTo>
                  <a:lnTo>
                    <a:pt x="34" y="37"/>
                  </a:lnTo>
                  <a:lnTo>
                    <a:pt x="39" y="35"/>
                  </a:lnTo>
                  <a:lnTo>
                    <a:pt x="43" y="33"/>
                  </a:lnTo>
                  <a:lnTo>
                    <a:pt x="47" y="30"/>
                  </a:lnTo>
                  <a:lnTo>
                    <a:pt x="50" y="26"/>
                  </a:lnTo>
                  <a:lnTo>
                    <a:pt x="52" y="22"/>
                  </a:lnTo>
                  <a:lnTo>
                    <a:pt x="54" y="18"/>
                  </a:lnTo>
                  <a:lnTo>
                    <a:pt x="51" y="17"/>
                  </a:lnTo>
                  <a:lnTo>
                    <a:pt x="48" y="16"/>
                  </a:lnTo>
                  <a:lnTo>
                    <a:pt x="44" y="14"/>
                  </a:lnTo>
                  <a:lnTo>
                    <a:pt x="42" y="11"/>
                  </a:lnTo>
                  <a:lnTo>
                    <a:pt x="39" y="8"/>
                  </a:lnTo>
                  <a:lnTo>
                    <a:pt x="37" y="5"/>
                  </a:lnTo>
                  <a:lnTo>
                    <a:pt x="34" y="2"/>
                  </a:lnTo>
                  <a:lnTo>
                    <a:pt x="3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2" name="Freeform 201">
              <a:extLst>
                <a:ext uri="{FF2B5EF4-FFF2-40B4-BE49-F238E27FC236}">
                  <a16:creationId xmlns:a16="http://schemas.microsoft.com/office/drawing/2014/main" id="{F350315C-EC75-4125-AB0E-ABE171A10C78}"/>
                </a:ext>
              </a:extLst>
            </p:cNvPr>
            <p:cNvSpPr>
              <a:spLocks/>
            </p:cNvSpPr>
            <p:nvPr>
              <p:custDataLst>
                <p:tags r:id="rId128"/>
              </p:custDataLst>
            </p:nvPr>
          </p:nvSpPr>
          <p:spPr bwMode="auto">
            <a:xfrm>
              <a:off x="2446335" y="5343483"/>
              <a:ext cx="28575" cy="58738"/>
            </a:xfrm>
            <a:custGeom>
              <a:avLst/>
              <a:gdLst>
                <a:gd name="T0" fmla="*/ 0 w 60"/>
                <a:gd name="T1" fmla="*/ 43075 h 15"/>
                <a:gd name="T2" fmla="*/ 4763 w 60"/>
                <a:gd name="T3" fmla="*/ 50906 h 15"/>
                <a:gd name="T4" fmla="*/ 8573 w 60"/>
                <a:gd name="T5" fmla="*/ 54822 h 15"/>
                <a:gd name="T6" fmla="*/ 12859 w 60"/>
                <a:gd name="T7" fmla="*/ 58738 h 15"/>
                <a:gd name="T8" fmla="*/ 16669 w 60"/>
                <a:gd name="T9" fmla="*/ 58738 h 15"/>
                <a:gd name="T10" fmla="*/ 19526 w 60"/>
                <a:gd name="T11" fmla="*/ 54822 h 15"/>
                <a:gd name="T12" fmla="*/ 22860 w 60"/>
                <a:gd name="T13" fmla="*/ 46990 h 15"/>
                <a:gd name="T14" fmla="*/ 26194 w 60"/>
                <a:gd name="T15" fmla="*/ 35243 h 15"/>
                <a:gd name="T16" fmla="*/ 28575 w 60"/>
                <a:gd name="T17" fmla="*/ 19579 h 15"/>
                <a:gd name="T18" fmla="*/ 27146 w 60"/>
                <a:gd name="T19" fmla="*/ 11748 h 15"/>
                <a:gd name="T20" fmla="*/ 25718 w 60"/>
                <a:gd name="T21" fmla="*/ 0 h 15"/>
                <a:gd name="T22" fmla="*/ 24289 w 60"/>
                <a:gd name="T23" fmla="*/ 0 h 15"/>
                <a:gd name="T24" fmla="*/ 22384 w 60"/>
                <a:gd name="T25" fmla="*/ 0 h 15"/>
                <a:gd name="T26" fmla="*/ 19050 w 60"/>
                <a:gd name="T27" fmla="*/ 0 h 15"/>
                <a:gd name="T28" fmla="*/ 15716 w 60"/>
                <a:gd name="T29" fmla="*/ 11748 h 15"/>
                <a:gd name="T30" fmla="*/ 11430 w 60"/>
                <a:gd name="T31" fmla="*/ 23495 h 15"/>
                <a:gd name="T32" fmla="*/ 7620 w 60"/>
                <a:gd name="T33" fmla="*/ 31327 h 15"/>
                <a:gd name="T34" fmla="*/ 3334 w 60"/>
                <a:gd name="T35" fmla="*/ 39159 h 15"/>
                <a:gd name="T36" fmla="*/ 0 w 60"/>
                <a:gd name="T37" fmla="*/ 43075 h 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0" h="15">
                  <a:moveTo>
                    <a:pt x="0" y="11"/>
                  </a:moveTo>
                  <a:lnTo>
                    <a:pt x="10" y="13"/>
                  </a:lnTo>
                  <a:lnTo>
                    <a:pt x="18" y="14"/>
                  </a:lnTo>
                  <a:lnTo>
                    <a:pt x="27" y="15"/>
                  </a:lnTo>
                  <a:lnTo>
                    <a:pt x="35" y="15"/>
                  </a:lnTo>
                  <a:lnTo>
                    <a:pt x="41" y="14"/>
                  </a:lnTo>
                  <a:lnTo>
                    <a:pt x="48" y="12"/>
                  </a:lnTo>
                  <a:lnTo>
                    <a:pt x="55" y="9"/>
                  </a:lnTo>
                  <a:lnTo>
                    <a:pt x="60" y="5"/>
                  </a:lnTo>
                  <a:lnTo>
                    <a:pt x="57" y="3"/>
                  </a:lnTo>
                  <a:lnTo>
                    <a:pt x="54" y="0"/>
                  </a:lnTo>
                  <a:lnTo>
                    <a:pt x="51" y="0"/>
                  </a:lnTo>
                  <a:lnTo>
                    <a:pt x="47" y="0"/>
                  </a:lnTo>
                  <a:lnTo>
                    <a:pt x="40" y="0"/>
                  </a:lnTo>
                  <a:lnTo>
                    <a:pt x="33" y="3"/>
                  </a:lnTo>
                  <a:lnTo>
                    <a:pt x="24" y="6"/>
                  </a:lnTo>
                  <a:lnTo>
                    <a:pt x="16" y="8"/>
                  </a:lnTo>
                  <a:lnTo>
                    <a:pt x="7" y="10"/>
                  </a:lnTo>
                  <a:lnTo>
                    <a:pt x="0" y="1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3" name="Freeform 202">
              <a:extLst>
                <a:ext uri="{FF2B5EF4-FFF2-40B4-BE49-F238E27FC236}">
                  <a16:creationId xmlns:a16="http://schemas.microsoft.com/office/drawing/2014/main" id="{B1D40112-71BF-48B0-81D3-A15BEEFAF10F}"/>
                </a:ext>
              </a:extLst>
            </p:cNvPr>
            <p:cNvSpPr>
              <a:spLocks/>
            </p:cNvSpPr>
            <p:nvPr>
              <p:custDataLst>
                <p:tags r:id="rId129"/>
              </p:custDataLst>
            </p:nvPr>
          </p:nvSpPr>
          <p:spPr bwMode="auto">
            <a:xfrm>
              <a:off x="2422522" y="5330783"/>
              <a:ext cx="33338" cy="57150"/>
            </a:xfrm>
            <a:custGeom>
              <a:avLst/>
              <a:gdLst>
                <a:gd name="T0" fmla="*/ 16880 w 79"/>
                <a:gd name="T1" fmla="*/ 0 h 32"/>
                <a:gd name="T2" fmla="*/ 14348 w 79"/>
                <a:gd name="T3" fmla="*/ 1786 h 32"/>
                <a:gd name="T4" fmla="*/ 12660 w 79"/>
                <a:gd name="T5" fmla="*/ 3572 h 32"/>
                <a:gd name="T6" fmla="*/ 10550 w 79"/>
                <a:gd name="T7" fmla="*/ 7144 h 32"/>
                <a:gd name="T8" fmla="*/ 8440 w 79"/>
                <a:gd name="T9" fmla="*/ 10716 h 32"/>
                <a:gd name="T10" fmla="*/ 6330 w 79"/>
                <a:gd name="T11" fmla="*/ 16073 h 32"/>
                <a:gd name="T12" fmla="*/ 4220 w 79"/>
                <a:gd name="T13" fmla="*/ 19645 h 32"/>
                <a:gd name="T14" fmla="*/ 2110 w 79"/>
                <a:gd name="T15" fmla="*/ 21431 h 32"/>
                <a:gd name="T16" fmla="*/ 0 w 79"/>
                <a:gd name="T17" fmla="*/ 23217 h 32"/>
                <a:gd name="T18" fmla="*/ 2110 w 79"/>
                <a:gd name="T19" fmla="*/ 37505 h 32"/>
                <a:gd name="T20" fmla="*/ 4220 w 79"/>
                <a:gd name="T21" fmla="*/ 46434 h 32"/>
                <a:gd name="T22" fmla="*/ 5064 w 79"/>
                <a:gd name="T23" fmla="*/ 51792 h 32"/>
                <a:gd name="T24" fmla="*/ 6330 w 79"/>
                <a:gd name="T25" fmla="*/ 55364 h 32"/>
                <a:gd name="T26" fmla="*/ 7596 w 79"/>
                <a:gd name="T27" fmla="*/ 55364 h 32"/>
                <a:gd name="T28" fmla="*/ 8440 w 79"/>
                <a:gd name="T29" fmla="*/ 57150 h 32"/>
                <a:gd name="T30" fmla="*/ 11394 w 79"/>
                <a:gd name="T31" fmla="*/ 55364 h 32"/>
                <a:gd name="T32" fmla="*/ 14348 w 79"/>
                <a:gd name="T33" fmla="*/ 53578 h 32"/>
                <a:gd name="T34" fmla="*/ 17302 w 79"/>
                <a:gd name="T35" fmla="*/ 48220 h 32"/>
                <a:gd name="T36" fmla="*/ 20256 w 79"/>
                <a:gd name="T37" fmla="*/ 42863 h 32"/>
                <a:gd name="T38" fmla="*/ 26164 w 79"/>
                <a:gd name="T39" fmla="*/ 32147 h 32"/>
                <a:gd name="T40" fmla="*/ 33338 w 79"/>
                <a:gd name="T41" fmla="*/ 23217 h 32"/>
                <a:gd name="T42" fmla="*/ 28274 w 79"/>
                <a:gd name="T43" fmla="*/ 10716 h 32"/>
                <a:gd name="T44" fmla="*/ 24476 w 79"/>
                <a:gd name="T45" fmla="*/ 3572 h 32"/>
                <a:gd name="T46" fmla="*/ 20678 w 79"/>
                <a:gd name="T47" fmla="*/ 1786 h 32"/>
                <a:gd name="T48" fmla="*/ 16880 w 79"/>
                <a:gd name="T49" fmla="*/ 0 h 3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32">
                  <a:moveTo>
                    <a:pt x="40" y="0"/>
                  </a:moveTo>
                  <a:lnTo>
                    <a:pt x="34" y="1"/>
                  </a:lnTo>
                  <a:lnTo>
                    <a:pt x="30" y="2"/>
                  </a:lnTo>
                  <a:lnTo>
                    <a:pt x="25" y="4"/>
                  </a:lnTo>
                  <a:lnTo>
                    <a:pt x="20" y="6"/>
                  </a:lnTo>
                  <a:lnTo>
                    <a:pt x="15" y="9"/>
                  </a:lnTo>
                  <a:lnTo>
                    <a:pt x="10" y="11"/>
                  </a:lnTo>
                  <a:lnTo>
                    <a:pt x="5" y="12"/>
                  </a:lnTo>
                  <a:lnTo>
                    <a:pt x="0" y="13"/>
                  </a:lnTo>
                  <a:lnTo>
                    <a:pt x="5" y="21"/>
                  </a:lnTo>
                  <a:lnTo>
                    <a:pt x="10" y="26"/>
                  </a:lnTo>
                  <a:lnTo>
                    <a:pt x="12" y="29"/>
                  </a:lnTo>
                  <a:lnTo>
                    <a:pt x="15" y="31"/>
                  </a:lnTo>
                  <a:lnTo>
                    <a:pt x="18" y="31"/>
                  </a:lnTo>
                  <a:lnTo>
                    <a:pt x="20" y="32"/>
                  </a:lnTo>
                  <a:lnTo>
                    <a:pt x="27" y="31"/>
                  </a:lnTo>
                  <a:lnTo>
                    <a:pt x="34" y="30"/>
                  </a:lnTo>
                  <a:lnTo>
                    <a:pt x="41" y="27"/>
                  </a:lnTo>
                  <a:lnTo>
                    <a:pt x="48" y="24"/>
                  </a:lnTo>
                  <a:lnTo>
                    <a:pt x="62" y="18"/>
                  </a:lnTo>
                  <a:lnTo>
                    <a:pt x="79" y="13"/>
                  </a:lnTo>
                  <a:lnTo>
                    <a:pt x="67" y="6"/>
                  </a:lnTo>
                  <a:lnTo>
                    <a:pt x="58" y="2"/>
                  </a:lnTo>
                  <a:lnTo>
                    <a:pt x="49" y="1"/>
                  </a:lnTo>
                  <a:lnTo>
                    <a:pt x="4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4" name="Freeform 203">
              <a:extLst>
                <a:ext uri="{FF2B5EF4-FFF2-40B4-BE49-F238E27FC236}">
                  <a16:creationId xmlns:a16="http://schemas.microsoft.com/office/drawing/2014/main" id="{177A258F-FDAC-48FC-8520-E1C00D60A8A9}"/>
                </a:ext>
              </a:extLst>
            </p:cNvPr>
            <p:cNvSpPr>
              <a:spLocks/>
            </p:cNvSpPr>
            <p:nvPr>
              <p:custDataLst>
                <p:tags r:id="rId130"/>
              </p:custDataLst>
            </p:nvPr>
          </p:nvSpPr>
          <p:spPr bwMode="auto">
            <a:xfrm>
              <a:off x="2416172" y="5311733"/>
              <a:ext cx="30163" cy="57150"/>
            </a:xfrm>
            <a:custGeom>
              <a:avLst/>
              <a:gdLst>
                <a:gd name="T0" fmla="*/ 15082 w 66"/>
                <a:gd name="T1" fmla="*/ 0 h 19"/>
                <a:gd name="T2" fmla="*/ 11425 w 66"/>
                <a:gd name="T3" fmla="*/ 3008 h 19"/>
                <a:gd name="T4" fmla="*/ 8683 w 66"/>
                <a:gd name="T5" fmla="*/ 6016 h 19"/>
                <a:gd name="T6" fmla="*/ 5941 w 66"/>
                <a:gd name="T7" fmla="*/ 12032 h 19"/>
                <a:gd name="T8" fmla="*/ 4113 w 66"/>
                <a:gd name="T9" fmla="*/ 21055 h 19"/>
                <a:gd name="T10" fmla="*/ 2285 w 66"/>
                <a:gd name="T11" fmla="*/ 33087 h 19"/>
                <a:gd name="T12" fmla="*/ 914 w 66"/>
                <a:gd name="T13" fmla="*/ 42111 h 19"/>
                <a:gd name="T14" fmla="*/ 0 w 66"/>
                <a:gd name="T15" fmla="*/ 51134 h 19"/>
                <a:gd name="T16" fmla="*/ 0 w 66"/>
                <a:gd name="T17" fmla="*/ 57150 h 19"/>
                <a:gd name="T18" fmla="*/ 8683 w 66"/>
                <a:gd name="T19" fmla="*/ 57150 h 19"/>
                <a:gd name="T20" fmla="*/ 17367 w 66"/>
                <a:gd name="T21" fmla="*/ 57150 h 19"/>
                <a:gd name="T22" fmla="*/ 21023 w 66"/>
                <a:gd name="T23" fmla="*/ 54142 h 19"/>
                <a:gd name="T24" fmla="*/ 24679 w 66"/>
                <a:gd name="T25" fmla="*/ 51134 h 19"/>
                <a:gd name="T26" fmla="*/ 27878 w 66"/>
                <a:gd name="T27" fmla="*/ 45118 h 19"/>
                <a:gd name="T28" fmla="*/ 30163 w 66"/>
                <a:gd name="T29" fmla="*/ 39103 h 19"/>
                <a:gd name="T30" fmla="*/ 26050 w 66"/>
                <a:gd name="T31" fmla="*/ 24063 h 19"/>
                <a:gd name="T32" fmla="*/ 22851 w 66"/>
                <a:gd name="T33" fmla="*/ 12032 h 19"/>
                <a:gd name="T34" fmla="*/ 19195 w 66"/>
                <a:gd name="T35" fmla="*/ 3008 h 19"/>
                <a:gd name="T36" fmla="*/ 15082 w 66"/>
                <a:gd name="T37" fmla="*/ 0 h 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19">
                  <a:moveTo>
                    <a:pt x="33" y="0"/>
                  </a:moveTo>
                  <a:lnTo>
                    <a:pt x="25" y="1"/>
                  </a:lnTo>
                  <a:lnTo>
                    <a:pt x="19" y="2"/>
                  </a:lnTo>
                  <a:lnTo>
                    <a:pt x="13" y="4"/>
                  </a:lnTo>
                  <a:lnTo>
                    <a:pt x="9" y="7"/>
                  </a:lnTo>
                  <a:lnTo>
                    <a:pt x="5" y="11"/>
                  </a:lnTo>
                  <a:lnTo>
                    <a:pt x="2" y="14"/>
                  </a:lnTo>
                  <a:lnTo>
                    <a:pt x="0" y="17"/>
                  </a:lnTo>
                  <a:lnTo>
                    <a:pt x="0" y="19"/>
                  </a:lnTo>
                  <a:lnTo>
                    <a:pt x="19" y="19"/>
                  </a:lnTo>
                  <a:lnTo>
                    <a:pt x="38" y="19"/>
                  </a:lnTo>
                  <a:lnTo>
                    <a:pt x="46" y="18"/>
                  </a:lnTo>
                  <a:lnTo>
                    <a:pt x="54" y="17"/>
                  </a:lnTo>
                  <a:lnTo>
                    <a:pt x="61" y="15"/>
                  </a:lnTo>
                  <a:lnTo>
                    <a:pt x="66" y="13"/>
                  </a:lnTo>
                  <a:lnTo>
                    <a:pt x="57" y="8"/>
                  </a:lnTo>
                  <a:lnTo>
                    <a:pt x="50" y="4"/>
                  </a:lnTo>
                  <a:lnTo>
                    <a:pt x="42" y="1"/>
                  </a:lnTo>
                  <a:lnTo>
                    <a:pt x="3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5" name="Freeform 204">
              <a:extLst>
                <a:ext uri="{FF2B5EF4-FFF2-40B4-BE49-F238E27FC236}">
                  <a16:creationId xmlns:a16="http://schemas.microsoft.com/office/drawing/2014/main" id="{13DD30CD-803A-4154-9678-33EACBF3687A}"/>
                </a:ext>
              </a:extLst>
            </p:cNvPr>
            <p:cNvSpPr>
              <a:spLocks/>
            </p:cNvSpPr>
            <p:nvPr>
              <p:custDataLst>
                <p:tags r:id="rId131"/>
              </p:custDataLst>
            </p:nvPr>
          </p:nvSpPr>
          <p:spPr bwMode="auto">
            <a:xfrm>
              <a:off x="2316160" y="5002174"/>
              <a:ext cx="25400" cy="60325"/>
            </a:xfrm>
            <a:custGeom>
              <a:avLst/>
              <a:gdLst>
                <a:gd name="T0" fmla="*/ 6230 w 53"/>
                <a:gd name="T1" fmla="*/ 0 h 80"/>
                <a:gd name="T2" fmla="*/ 3834 w 53"/>
                <a:gd name="T3" fmla="*/ 3770 h 80"/>
                <a:gd name="T4" fmla="*/ 1917 w 53"/>
                <a:gd name="T5" fmla="*/ 7541 h 80"/>
                <a:gd name="T6" fmla="*/ 958 w 53"/>
                <a:gd name="T7" fmla="*/ 9803 h 80"/>
                <a:gd name="T8" fmla="*/ 479 w 53"/>
                <a:gd name="T9" fmla="*/ 12065 h 80"/>
                <a:gd name="T10" fmla="*/ 0 w 53"/>
                <a:gd name="T11" fmla="*/ 15081 h 80"/>
                <a:gd name="T12" fmla="*/ 0 w 53"/>
                <a:gd name="T13" fmla="*/ 18852 h 80"/>
                <a:gd name="T14" fmla="*/ 0 w 53"/>
                <a:gd name="T15" fmla="*/ 22622 h 80"/>
                <a:gd name="T16" fmla="*/ 958 w 53"/>
                <a:gd name="T17" fmla="*/ 29408 h 80"/>
                <a:gd name="T18" fmla="*/ 2875 w 53"/>
                <a:gd name="T19" fmla="*/ 36195 h 80"/>
                <a:gd name="T20" fmla="*/ 4313 w 53"/>
                <a:gd name="T21" fmla="*/ 42982 h 80"/>
                <a:gd name="T22" fmla="*/ 6230 w 53"/>
                <a:gd name="T23" fmla="*/ 49768 h 80"/>
                <a:gd name="T24" fmla="*/ 9585 w 53"/>
                <a:gd name="T25" fmla="*/ 55047 h 80"/>
                <a:gd name="T26" fmla="*/ 10543 w 53"/>
                <a:gd name="T27" fmla="*/ 57309 h 80"/>
                <a:gd name="T28" fmla="*/ 12460 w 53"/>
                <a:gd name="T29" fmla="*/ 58817 h 80"/>
                <a:gd name="T30" fmla="*/ 14377 w 53"/>
                <a:gd name="T31" fmla="*/ 60325 h 80"/>
                <a:gd name="T32" fmla="*/ 15815 w 53"/>
                <a:gd name="T33" fmla="*/ 60325 h 80"/>
                <a:gd name="T34" fmla="*/ 17253 w 53"/>
                <a:gd name="T35" fmla="*/ 59571 h 80"/>
                <a:gd name="T36" fmla="*/ 18211 w 53"/>
                <a:gd name="T37" fmla="*/ 58817 h 80"/>
                <a:gd name="T38" fmla="*/ 20128 w 53"/>
                <a:gd name="T39" fmla="*/ 57309 h 80"/>
                <a:gd name="T40" fmla="*/ 21566 w 53"/>
                <a:gd name="T41" fmla="*/ 55047 h 80"/>
                <a:gd name="T42" fmla="*/ 23004 w 53"/>
                <a:gd name="T43" fmla="*/ 52784 h 80"/>
                <a:gd name="T44" fmla="*/ 24442 w 53"/>
                <a:gd name="T45" fmla="*/ 50522 h 80"/>
                <a:gd name="T46" fmla="*/ 25400 w 53"/>
                <a:gd name="T47" fmla="*/ 48260 h 80"/>
                <a:gd name="T48" fmla="*/ 25400 w 53"/>
                <a:gd name="T49" fmla="*/ 46752 h 80"/>
                <a:gd name="T50" fmla="*/ 24921 w 53"/>
                <a:gd name="T51" fmla="*/ 40719 h 80"/>
                <a:gd name="T52" fmla="*/ 23483 w 53"/>
                <a:gd name="T53" fmla="*/ 35441 h 80"/>
                <a:gd name="T54" fmla="*/ 22045 w 53"/>
                <a:gd name="T55" fmla="*/ 31671 h 80"/>
                <a:gd name="T56" fmla="*/ 20608 w 53"/>
                <a:gd name="T57" fmla="*/ 27900 h 80"/>
                <a:gd name="T58" fmla="*/ 19170 w 53"/>
                <a:gd name="T59" fmla="*/ 24130 h 80"/>
                <a:gd name="T60" fmla="*/ 17253 w 53"/>
                <a:gd name="T61" fmla="*/ 20360 h 80"/>
                <a:gd name="T62" fmla="*/ 16294 w 53"/>
                <a:gd name="T63" fmla="*/ 15081 h 80"/>
                <a:gd name="T64" fmla="*/ 15815 w 53"/>
                <a:gd name="T65" fmla="*/ 9049 h 80"/>
                <a:gd name="T66" fmla="*/ 15815 w 53"/>
                <a:gd name="T67" fmla="*/ 7541 h 80"/>
                <a:gd name="T68" fmla="*/ 14857 w 53"/>
                <a:gd name="T69" fmla="*/ 6033 h 80"/>
                <a:gd name="T70" fmla="*/ 13898 w 53"/>
                <a:gd name="T71" fmla="*/ 4524 h 80"/>
                <a:gd name="T72" fmla="*/ 11981 w 53"/>
                <a:gd name="T73" fmla="*/ 3016 h 80"/>
                <a:gd name="T74" fmla="*/ 9106 w 53"/>
                <a:gd name="T75" fmla="*/ 754 h 80"/>
                <a:gd name="T76" fmla="*/ 6230 w 53"/>
                <a:gd name="T77" fmla="*/ 0 h 8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53" h="80">
                  <a:moveTo>
                    <a:pt x="13" y="0"/>
                  </a:moveTo>
                  <a:lnTo>
                    <a:pt x="8" y="5"/>
                  </a:lnTo>
                  <a:lnTo>
                    <a:pt x="4" y="10"/>
                  </a:lnTo>
                  <a:lnTo>
                    <a:pt x="2" y="13"/>
                  </a:lnTo>
                  <a:lnTo>
                    <a:pt x="1" y="16"/>
                  </a:lnTo>
                  <a:lnTo>
                    <a:pt x="0" y="20"/>
                  </a:lnTo>
                  <a:lnTo>
                    <a:pt x="0" y="25"/>
                  </a:lnTo>
                  <a:lnTo>
                    <a:pt x="0" y="30"/>
                  </a:lnTo>
                  <a:lnTo>
                    <a:pt x="2" y="39"/>
                  </a:lnTo>
                  <a:lnTo>
                    <a:pt x="6" y="48"/>
                  </a:lnTo>
                  <a:lnTo>
                    <a:pt x="9" y="57"/>
                  </a:lnTo>
                  <a:lnTo>
                    <a:pt x="13" y="66"/>
                  </a:lnTo>
                  <a:lnTo>
                    <a:pt x="20" y="73"/>
                  </a:lnTo>
                  <a:lnTo>
                    <a:pt x="22" y="76"/>
                  </a:lnTo>
                  <a:lnTo>
                    <a:pt x="26" y="78"/>
                  </a:lnTo>
                  <a:lnTo>
                    <a:pt x="30" y="80"/>
                  </a:lnTo>
                  <a:lnTo>
                    <a:pt x="33" y="80"/>
                  </a:lnTo>
                  <a:lnTo>
                    <a:pt x="36" y="79"/>
                  </a:lnTo>
                  <a:lnTo>
                    <a:pt x="38" y="78"/>
                  </a:lnTo>
                  <a:lnTo>
                    <a:pt x="42" y="76"/>
                  </a:lnTo>
                  <a:lnTo>
                    <a:pt x="45" y="73"/>
                  </a:lnTo>
                  <a:lnTo>
                    <a:pt x="48" y="70"/>
                  </a:lnTo>
                  <a:lnTo>
                    <a:pt x="51" y="67"/>
                  </a:lnTo>
                  <a:lnTo>
                    <a:pt x="53" y="64"/>
                  </a:lnTo>
                  <a:lnTo>
                    <a:pt x="53" y="62"/>
                  </a:lnTo>
                  <a:lnTo>
                    <a:pt x="52" y="54"/>
                  </a:lnTo>
                  <a:lnTo>
                    <a:pt x="49" y="47"/>
                  </a:lnTo>
                  <a:lnTo>
                    <a:pt x="46" y="42"/>
                  </a:lnTo>
                  <a:lnTo>
                    <a:pt x="43" y="37"/>
                  </a:lnTo>
                  <a:lnTo>
                    <a:pt x="40" y="32"/>
                  </a:lnTo>
                  <a:lnTo>
                    <a:pt x="36" y="27"/>
                  </a:lnTo>
                  <a:lnTo>
                    <a:pt x="34" y="20"/>
                  </a:lnTo>
                  <a:lnTo>
                    <a:pt x="33" y="12"/>
                  </a:lnTo>
                  <a:lnTo>
                    <a:pt x="33" y="10"/>
                  </a:lnTo>
                  <a:lnTo>
                    <a:pt x="31" y="8"/>
                  </a:lnTo>
                  <a:lnTo>
                    <a:pt x="29" y="6"/>
                  </a:lnTo>
                  <a:lnTo>
                    <a:pt x="25" y="4"/>
                  </a:lnTo>
                  <a:lnTo>
                    <a:pt x="19" y="1"/>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6" name="Freeform 205">
              <a:extLst>
                <a:ext uri="{FF2B5EF4-FFF2-40B4-BE49-F238E27FC236}">
                  <a16:creationId xmlns:a16="http://schemas.microsoft.com/office/drawing/2014/main" id="{194B545A-8B41-40E6-92DB-3D82E09E4CA7}"/>
                </a:ext>
              </a:extLst>
            </p:cNvPr>
            <p:cNvSpPr>
              <a:spLocks/>
            </p:cNvSpPr>
            <p:nvPr>
              <p:custDataLst>
                <p:tags r:id="rId132"/>
              </p:custDataLst>
            </p:nvPr>
          </p:nvSpPr>
          <p:spPr bwMode="auto">
            <a:xfrm>
              <a:off x="2346323" y="5097423"/>
              <a:ext cx="17463" cy="53974"/>
            </a:xfrm>
            <a:custGeom>
              <a:avLst/>
              <a:gdLst>
                <a:gd name="T0" fmla="*/ 0 w 41"/>
                <a:gd name="T1" fmla="*/ 53975 h 43"/>
                <a:gd name="T2" fmla="*/ 11500 w 41"/>
                <a:gd name="T3" fmla="*/ 53975 h 43"/>
                <a:gd name="T4" fmla="*/ 17463 w 41"/>
                <a:gd name="T5" fmla="*/ 30126 h 43"/>
                <a:gd name="T6" fmla="*/ 16185 w 41"/>
                <a:gd name="T7" fmla="*/ 15063 h 43"/>
                <a:gd name="T8" fmla="*/ 14482 w 41"/>
                <a:gd name="T9" fmla="*/ 0 h 43"/>
                <a:gd name="T10" fmla="*/ 11500 w 41"/>
                <a:gd name="T11" fmla="*/ 5021 h 43"/>
                <a:gd name="T12" fmla="*/ 8519 w 41"/>
                <a:gd name="T13" fmla="*/ 11297 h 43"/>
                <a:gd name="T14" fmla="*/ 6389 w 41"/>
                <a:gd name="T15" fmla="*/ 17573 h 43"/>
                <a:gd name="T16" fmla="*/ 4259 w 41"/>
                <a:gd name="T17" fmla="*/ 23849 h 43"/>
                <a:gd name="T18" fmla="*/ 2556 w 41"/>
                <a:gd name="T19" fmla="*/ 30126 h 43"/>
                <a:gd name="T20" fmla="*/ 1278 w 41"/>
                <a:gd name="T21" fmla="*/ 37657 h 43"/>
                <a:gd name="T22" fmla="*/ 426 w 41"/>
                <a:gd name="T23" fmla="*/ 46444 h 43"/>
                <a:gd name="T24" fmla="*/ 0 w 41"/>
                <a:gd name="T25" fmla="*/ 53975 h 4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41" h="43">
                  <a:moveTo>
                    <a:pt x="0" y="43"/>
                  </a:moveTo>
                  <a:lnTo>
                    <a:pt x="27" y="43"/>
                  </a:lnTo>
                  <a:lnTo>
                    <a:pt x="41" y="24"/>
                  </a:lnTo>
                  <a:lnTo>
                    <a:pt x="38" y="12"/>
                  </a:lnTo>
                  <a:lnTo>
                    <a:pt x="34" y="0"/>
                  </a:lnTo>
                  <a:lnTo>
                    <a:pt x="27" y="4"/>
                  </a:lnTo>
                  <a:lnTo>
                    <a:pt x="20" y="9"/>
                  </a:lnTo>
                  <a:lnTo>
                    <a:pt x="15" y="14"/>
                  </a:lnTo>
                  <a:lnTo>
                    <a:pt x="10" y="19"/>
                  </a:lnTo>
                  <a:lnTo>
                    <a:pt x="6" y="24"/>
                  </a:lnTo>
                  <a:lnTo>
                    <a:pt x="3" y="30"/>
                  </a:lnTo>
                  <a:lnTo>
                    <a:pt x="1" y="37"/>
                  </a:lnTo>
                  <a:lnTo>
                    <a:pt x="0"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7" name="Freeform 206">
              <a:extLst>
                <a:ext uri="{FF2B5EF4-FFF2-40B4-BE49-F238E27FC236}">
                  <a16:creationId xmlns:a16="http://schemas.microsoft.com/office/drawing/2014/main" id="{1DD5DFC5-9BD1-4F25-83BC-931FCACC1338}"/>
                </a:ext>
              </a:extLst>
            </p:cNvPr>
            <p:cNvSpPr>
              <a:spLocks/>
            </p:cNvSpPr>
            <p:nvPr>
              <p:custDataLst>
                <p:tags r:id="rId133"/>
              </p:custDataLst>
            </p:nvPr>
          </p:nvSpPr>
          <p:spPr bwMode="auto">
            <a:xfrm>
              <a:off x="2351085" y="5119647"/>
              <a:ext cx="7937" cy="58737"/>
            </a:xfrm>
            <a:custGeom>
              <a:avLst/>
              <a:gdLst>
                <a:gd name="T0" fmla="*/ 7937 w 20"/>
                <a:gd name="T1" fmla="*/ 0 h 24"/>
                <a:gd name="T2" fmla="*/ 0 w 20"/>
                <a:gd name="T3" fmla="*/ 0 h 24"/>
                <a:gd name="T4" fmla="*/ 397 w 20"/>
                <a:gd name="T5" fmla="*/ 12237 h 24"/>
                <a:gd name="T6" fmla="*/ 794 w 20"/>
                <a:gd name="T7" fmla="*/ 22026 h 24"/>
                <a:gd name="T8" fmla="*/ 1587 w 20"/>
                <a:gd name="T9" fmla="*/ 31816 h 24"/>
                <a:gd name="T10" fmla="*/ 2778 w 20"/>
                <a:gd name="T11" fmla="*/ 41605 h 24"/>
                <a:gd name="T12" fmla="*/ 3969 w 20"/>
                <a:gd name="T13" fmla="*/ 48948 h 24"/>
                <a:gd name="T14" fmla="*/ 5556 w 20"/>
                <a:gd name="T15" fmla="*/ 53842 h 24"/>
                <a:gd name="T16" fmla="*/ 6746 w 20"/>
                <a:gd name="T17" fmla="*/ 58737 h 24"/>
                <a:gd name="T18" fmla="*/ 7937 w 20"/>
                <a:gd name="T19" fmla="*/ 58737 h 24"/>
                <a:gd name="T20" fmla="*/ 7937 w 20"/>
                <a:gd name="T21" fmla="*/ 0 h 2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 h="24">
                  <a:moveTo>
                    <a:pt x="20" y="0"/>
                  </a:moveTo>
                  <a:lnTo>
                    <a:pt x="0" y="0"/>
                  </a:lnTo>
                  <a:lnTo>
                    <a:pt x="1" y="5"/>
                  </a:lnTo>
                  <a:lnTo>
                    <a:pt x="2" y="9"/>
                  </a:lnTo>
                  <a:lnTo>
                    <a:pt x="4" y="13"/>
                  </a:lnTo>
                  <a:lnTo>
                    <a:pt x="7" y="17"/>
                  </a:lnTo>
                  <a:lnTo>
                    <a:pt x="10" y="20"/>
                  </a:lnTo>
                  <a:lnTo>
                    <a:pt x="14" y="22"/>
                  </a:lnTo>
                  <a:lnTo>
                    <a:pt x="17" y="24"/>
                  </a:lnTo>
                  <a:lnTo>
                    <a:pt x="20" y="24"/>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8" name="Freeform 207">
              <a:extLst>
                <a:ext uri="{FF2B5EF4-FFF2-40B4-BE49-F238E27FC236}">
                  <a16:creationId xmlns:a16="http://schemas.microsoft.com/office/drawing/2014/main" id="{425197D2-A99D-4BB4-B48C-81C411973ACF}"/>
                </a:ext>
              </a:extLst>
            </p:cNvPr>
            <p:cNvSpPr>
              <a:spLocks/>
            </p:cNvSpPr>
            <p:nvPr>
              <p:custDataLst>
                <p:tags r:id="rId134"/>
              </p:custDataLst>
            </p:nvPr>
          </p:nvSpPr>
          <p:spPr bwMode="auto">
            <a:xfrm>
              <a:off x="2365372" y="5181559"/>
              <a:ext cx="17463" cy="60325"/>
            </a:xfrm>
            <a:custGeom>
              <a:avLst/>
              <a:gdLst>
                <a:gd name="T0" fmla="*/ 0 w 39"/>
                <a:gd name="T1" fmla="*/ 16835 h 43"/>
                <a:gd name="T2" fmla="*/ 896 w 39"/>
                <a:gd name="T3" fmla="*/ 23849 h 43"/>
                <a:gd name="T4" fmla="*/ 2687 w 39"/>
                <a:gd name="T5" fmla="*/ 30864 h 43"/>
                <a:gd name="T6" fmla="*/ 5373 w 39"/>
                <a:gd name="T7" fmla="*/ 37878 h 43"/>
                <a:gd name="T8" fmla="*/ 7164 w 39"/>
                <a:gd name="T9" fmla="*/ 44893 h 43"/>
                <a:gd name="T10" fmla="*/ 10299 w 39"/>
                <a:gd name="T11" fmla="*/ 51908 h 43"/>
                <a:gd name="T12" fmla="*/ 12538 w 39"/>
                <a:gd name="T13" fmla="*/ 56116 h 43"/>
                <a:gd name="T14" fmla="*/ 15224 w 39"/>
                <a:gd name="T15" fmla="*/ 60325 h 43"/>
                <a:gd name="T16" fmla="*/ 17463 w 39"/>
                <a:gd name="T17" fmla="*/ 60325 h 43"/>
                <a:gd name="T18" fmla="*/ 17015 w 39"/>
                <a:gd name="T19" fmla="*/ 44893 h 43"/>
                <a:gd name="T20" fmla="*/ 16120 w 39"/>
                <a:gd name="T21" fmla="*/ 26655 h 43"/>
                <a:gd name="T22" fmla="*/ 15224 w 39"/>
                <a:gd name="T23" fmla="*/ 11223 h 43"/>
                <a:gd name="T24" fmla="*/ 14329 w 39"/>
                <a:gd name="T25" fmla="*/ 0 h 43"/>
                <a:gd name="T26" fmla="*/ 8508 w 39"/>
                <a:gd name="T27" fmla="*/ 4209 h 43"/>
                <a:gd name="T28" fmla="*/ 2687 w 39"/>
                <a:gd name="T29" fmla="*/ 8417 h 43"/>
                <a:gd name="T30" fmla="*/ 0 w 39"/>
                <a:gd name="T31" fmla="*/ 16835 h 4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9" h="43">
                  <a:moveTo>
                    <a:pt x="0" y="12"/>
                  </a:moveTo>
                  <a:lnTo>
                    <a:pt x="2" y="17"/>
                  </a:lnTo>
                  <a:lnTo>
                    <a:pt x="6" y="22"/>
                  </a:lnTo>
                  <a:lnTo>
                    <a:pt x="12" y="27"/>
                  </a:lnTo>
                  <a:lnTo>
                    <a:pt x="16" y="32"/>
                  </a:lnTo>
                  <a:lnTo>
                    <a:pt x="23" y="37"/>
                  </a:lnTo>
                  <a:lnTo>
                    <a:pt x="28" y="40"/>
                  </a:lnTo>
                  <a:lnTo>
                    <a:pt x="34" y="43"/>
                  </a:lnTo>
                  <a:lnTo>
                    <a:pt x="39" y="43"/>
                  </a:lnTo>
                  <a:lnTo>
                    <a:pt x="38" y="32"/>
                  </a:lnTo>
                  <a:lnTo>
                    <a:pt x="36" y="19"/>
                  </a:lnTo>
                  <a:lnTo>
                    <a:pt x="34" y="8"/>
                  </a:lnTo>
                  <a:lnTo>
                    <a:pt x="32" y="0"/>
                  </a:lnTo>
                  <a:lnTo>
                    <a:pt x="19" y="3"/>
                  </a:lnTo>
                  <a:lnTo>
                    <a:pt x="6" y="6"/>
                  </a:lnTo>
                  <a:lnTo>
                    <a:pt x="0"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39" name="Freeform 208">
              <a:extLst>
                <a:ext uri="{FF2B5EF4-FFF2-40B4-BE49-F238E27FC236}">
                  <a16:creationId xmlns:a16="http://schemas.microsoft.com/office/drawing/2014/main" id="{BD28A627-163C-4058-A0D2-116A59D5BB38}"/>
                </a:ext>
              </a:extLst>
            </p:cNvPr>
            <p:cNvSpPr>
              <a:spLocks/>
            </p:cNvSpPr>
            <p:nvPr>
              <p:custDataLst>
                <p:tags r:id="rId135"/>
              </p:custDataLst>
            </p:nvPr>
          </p:nvSpPr>
          <p:spPr bwMode="auto">
            <a:xfrm>
              <a:off x="2352673" y="5194259"/>
              <a:ext cx="26988" cy="58738"/>
            </a:xfrm>
            <a:custGeom>
              <a:avLst/>
              <a:gdLst>
                <a:gd name="T0" fmla="*/ 14230 w 55"/>
                <a:gd name="T1" fmla="*/ 24632 h 62"/>
                <a:gd name="T2" fmla="*/ 3926 w 55"/>
                <a:gd name="T3" fmla="*/ 0 h 62"/>
                <a:gd name="T4" fmla="*/ 1963 w 55"/>
                <a:gd name="T5" fmla="*/ 4737 h 62"/>
                <a:gd name="T6" fmla="*/ 491 w 55"/>
                <a:gd name="T7" fmla="*/ 10421 h 62"/>
                <a:gd name="T8" fmla="*/ 0 w 55"/>
                <a:gd name="T9" fmla="*/ 15158 h 62"/>
                <a:gd name="T10" fmla="*/ 0 w 55"/>
                <a:gd name="T11" fmla="*/ 19895 h 62"/>
                <a:gd name="T12" fmla="*/ 981 w 55"/>
                <a:gd name="T13" fmla="*/ 24632 h 62"/>
                <a:gd name="T14" fmla="*/ 1963 w 55"/>
                <a:gd name="T15" fmla="*/ 29369 h 62"/>
                <a:gd name="T16" fmla="*/ 3926 w 55"/>
                <a:gd name="T17" fmla="*/ 34106 h 62"/>
                <a:gd name="T18" fmla="*/ 5398 w 55"/>
                <a:gd name="T19" fmla="*/ 38843 h 62"/>
                <a:gd name="T20" fmla="*/ 7851 w 55"/>
                <a:gd name="T21" fmla="*/ 42632 h 62"/>
                <a:gd name="T22" fmla="*/ 10305 w 55"/>
                <a:gd name="T23" fmla="*/ 46422 h 62"/>
                <a:gd name="T24" fmla="*/ 12758 w 55"/>
                <a:gd name="T25" fmla="*/ 50212 h 62"/>
                <a:gd name="T26" fmla="*/ 16193 w 55"/>
                <a:gd name="T27" fmla="*/ 53054 h 62"/>
                <a:gd name="T28" fmla="*/ 18646 w 55"/>
                <a:gd name="T29" fmla="*/ 54948 h 62"/>
                <a:gd name="T30" fmla="*/ 21590 w 55"/>
                <a:gd name="T31" fmla="*/ 56843 h 62"/>
                <a:gd name="T32" fmla="*/ 24044 w 55"/>
                <a:gd name="T33" fmla="*/ 57791 h 62"/>
                <a:gd name="T34" fmla="*/ 26988 w 55"/>
                <a:gd name="T35" fmla="*/ 58738 h 62"/>
                <a:gd name="T36" fmla="*/ 26497 w 55"/>
                <a:gd name="T37" fmla="*/ 50212 h 62"/>
                <a:gd name="T38" fmla="*/ 26007 w 55"/>
                <a:gd name="T39" fmla="*/ 43580 h 62"/>
                <a:gd name="T40" fmla="*/ 24044 w 55"/>
                <a:gd name="T41" fmla="*/ 37895 h 62"/>
                <a:gd name="T42" fmla="*/ 22572 w 55"/>
                <a:gd name="T43" fmla="*/ 33159 h 62"/>
                <a:gd name="T44" fmla="*/ 21100 w 55"/>
                <a:gd name="T45" fmla="*/ 29369 h 62"/>
                <a:gd name="T46" fmla="*/ 18646 w 55"/>
                <a:gd name="T47" fmla="*/ 26527 h 62"/>
                <a:gd name="T48" fmla="*/ 16193 w 55"/>
                <a:gd name="T49" fmla="*/ 24632 h 62"/>
                <a:gd name="T50" fmla="*/ 14230 w 55"/>
                <a:gd name="T51" fmla="*/ 24632 h 6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5" h="62">
                  <a:moveTo>
                    <a:pt x="29" y="26"/>
                  </a:moveTo>
                  <a:lnTo>
                    <a:pt x="8" y="0"/>
                  </a:lnTo>
                  <a:lnTo>
                    <a:pt x="4" y="5"/>
                  </a:lnTo>
                  <a:lnTo>
                    <a:pt x="1" y="11"/>
                  </a:lnTo>
                  <a:lnTo>
                    <a:pt x="0" y="16"/>
                  </a:lnTo>
                  <a:lnTo>
                    <a:pt x="0" y="21"/>
                  </a:lnTo>
                  <a:lnTo>
                    <a:pt x="2" y="26"/>
                  </a:lnTo>
                  <a:lnTo>
                    <a:pt x="4" y="31"/>
                  </a:lnTo>
                  <a:lnTo>
                    <a:pt x="8" y="36"/>
                  </a:lnTo>
                  <a:lnTo>
                    <a:pt x="11" y="41"/>
                  </a:lnTo>
                  <a:lnTo>
                    <a:pt x="16" y="45"/>
                  </a:lnTo>
                  <a:lnTo>
                    <a:pt x="21" y="49"/>
                  </a:lnTo>
                  <a:lnTo>
                    <a:pt x="26" y="53"/>
                  </a:lnTo>
                  <a:lnTo>
                    <a:pt x="33" y="56"/>
                  </a:lnTo>
                  <a:lnTo>
                    <a:pt x="38" y="58"/>
                  </a:lnTo>
                  <a:lnTo>
                    <a:pt x="44" y="60"/>
                  </a:lnTo>
                  <a:lnTo>
                    <a:pt x="49" y="61"/>
                  </a:lnTo>
                  <a:lnTo>
                    <a:pt x="55" y="62"/>
                  </a:lnTo>
                  <a:lnTo>
                    <a:pt x="54" y="53"/>
                  </a:lnTo>
                  <a:lnTo>
                    <a:pt x="53" y="46"/>
                  </a:lnTo>
                  <a:lnTo>
                    <a:pt x="49" y="40"/>
                  </a:lnTo>
                  <a:lnTo>
                    <a:pt x="46" y="35"/>
                  </a:lnTo>
                  <a:lnTo>
                    <a:pt x="43" y="31"/>
                  </a:lnTo>
                  <a:lnTo>
                    <a:pt x="38" y="28"/>
                  </a:lnTo>
                  <a:lnTo>
                    <a:pt x="33" y="26"/>
                  </a:lnTo>
                  <a:lnTo>
                    <a:pt x="29" y="2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0" name="Freeform 209">
              <a:extLst>
                <a:ext uri="{FF2B5EF4-FFF2-40B4-BE49-F238E27FC236}">
                  <a16:creationId xmlns:a16="http://schemas.microsoft.com/office/drawing/2014/main" id="{EF1DED3E-A3BD-4449-A013-23B9488F9DCA}"/>
                </a:ext>
              </a:extLst>
            </p:cNvPr>
            <p:cNvSpPr>
              <a:spLocks/>
            </p:cNvSpPr>
            <p:nvPr>
              <p:custDataLst>
                <p:tags r:id="rId136"/>
              </p:custDataLst>
            </p:nvPr>
          </p:nvSpPr>
          <p:spPr bwMode="auto">
            <a:xfrm>
              <a:off x="2382835" y="5227596"/>
              <a:ext cx="11112" cy="58737"/>
            </a:xfrm>
            <a:custGeom>
              <a:avLst/>
              <a:gdLst>
                <a:gd name="T0" fmla="*/ 10477 w 35"/>
                <a:gd name="T1" fmla="*/ 17758 h 43"/>
                <a:gd name="T2" fmla="*/ 2222 w 35"/>
                <a:gd name="T3" fmla="*/ 0 h 43"/>
                <a:gd name="T4" fmla="*/ 1270 w 35"/>
                <a:gd name="T5" fmla="*/ 10928 h 43"/>
                <a:gd name="T6" fmla="*/ 0 w 35"/>
                <a:gd name="T7" fmla="*/ 25954 h 43"/>
                <a:gd name="T8" fmla="*/ 635 w 35"/>
                <a:gd name="T9" fmla="*/ 38247 h 43"/>
                <a:gd name="T10" fmla="*/ 1587 w 35"/>
                <a:gd name="T11" fmla="*/ 49175 h 43"/>
                <a:gd name="T12" fmla="*/ 1905 w 35"/>
                <a:gd name="T13" fmla="*/ 53273 h 43"/>
                <a:gd name="T14" fmla="*/ 2540 w 35"/>
                <a:gd name="T15" fmla="*/ 56005 h 43"/>
                <a:gd name="T16" fmla="*/ 3492 w 35"/>
                <a:gd name="T17" fmla="*/ 58737 h 43"/>
                <a:gd name="T18" fmla="*/ 4445 w 35"/>
                <a:gd name="T19" fmla="*/ 58737 h 43"/>
                <a:gd name="T20" fmla="*/ 5715 w 35"/>
                <a:gd name="T21" fmla="*/ 58737 h 43"/>
                <a:gd name="T22" fmla="*/ 6985 w 35"/>
                <a:gd name="T23" fmla="*/ 57371 h 43"/>
                <a:gd name="T24" fmla="*/ 8255 w 35"/>
                <a:gd name="T25" fmla="*/ 56005 h 43"/>
                <a:gd name="T26" fmla="*/ 8890 w 35"/>
                <a:gd name="T27" fmla="*/ 53273 h 43"/>
                <a:gd name="T28" fmla="*/ 9842 w 35"/>
                <a:gd name="T29" fmla="*/ 47809 h 43"/>
                <a:gd name="T30" fmla="*/ 10477 w 35"/>
                <a:gd name="T31" fmla="*/ 40979 h 43"/>
                <a:gd name="T32" fmla="*/ 11112 w 35"/>
                <a:gd name="T33" fmla="*/ 27320 h 43"/>
                <a:gd name="T34" fmla="*/ 10477 w 35"/>
                <a:gd name="T35" fmla="*/ 1775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5" h="43">
                  <a:moveTo>
                    <a:pt x="33" y="13"/>
                  </a:moveTo>
                  <a:lnTo>
                    <a:pt x="7" y="0"/>
                  </a:lnTo>
                  <a:lnTo>
                    <a:pt x="4" y="8"/>
                  </a:lnTo>
                  <a:lnTo>
                    <a:pt x="0" y="19"/>
                  </a:lnTo>
                  <a:lnTo>
                    <a:pt x="2" y="28"/>
                  </a:lnTo>
                  <a:lnTo>
                    <a:pt x="5" y="36"/>
                  </a:lnTo>
                  <a:lnTo>
                    <a:pt x="6" y="39"/>
                  </a:lnTo>
                  <a:lnTo>
                    <a:pt x="8" y="41"/>
                  </a:lnTo>
                  <a:lnTo>
                    <a:pt x="11" y="43"/>
                  </a:lnTo>
                  <a:lnTo>
                    <a:pt x="14" y="43"/>
                  </a:lnTo>
                  <a:lnTo>
                    <a:pt x="18" y="43"/>
                  </a:lnTo>
                  <a:lnTo>
                    <a:pt x="22" y="42"/>
                  </a:lnTo>
                  <a:lnTo>
                    <a:pt x="26" y="41"/>
                  </a:lnTo>
                  <a:lnTo>
                    <a:pt x="28" y="39"/>
                  </a:lnTo>
                  <a:lnTo>
                    <a:pt x="31" y="35"/>
                  </a:lnTo>
                  <a:lnTo>
                    <a:pt x="33" y="30"/>
                  </a:lnTo>
                  <a:lnTo>
                    <a:pt x="35" y="20"/>
                  </a:lnTo>
                  <a:lnTo>
                    <a:pt x="33"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1" name="Freeform 210">
              <a:extLst>
                <a:ext uri="{FF2B5EF4-FFF2-40B4-BE49-F238E27FC236}">
                  <a16:creationId xmlns:a16="http://schemas.microsoft.com/office/drawing/2014/main" id="{544F446B-66A2-4E0F-B4DF-E067726370BD}"/>
                </a:ext>
              </a:extLst>
            </p:cNvPr>
            <p:cNvSpPr>
              <a:spLocks/>
            </p:cNvSpPr>
            <p:nvPr>
              <p:custDataLst>
                <p:tags r:id="rId137"/>
              </p:custDataLst>
            </p:nvPr>
          </p:nvSpPr>
          <p:spPr bwMode="auto">
            <a:xfrm>
              <a:off x="2379660" y="5260933"/>
              <a:ext cx="20637" cy="55562"/>
            </a:xfrm>
            <a:custGeom>
              <a:avLst/>
              <a:gdLst>
                <a:gd name="T0" fmla="*/ 20637 w 53"/>
                <a:gd name="T1" fmla="*/ 0 h 21"/>
                <a:gd name="T2" fmla="*/ 15964 w 53"/>
                <a:gd name="T3" fmla="*/ 2646 h 21"/>
                <a:gd name="T4" fmla="*/ 12460 w 53"/>
                <a:gd name="T5" fmla="*/ 5292 h 21"/>
                <a:gd name="T6" fmla="*/ 9734 w 53"/>
                <a:gd name="T7" fmla="*/ 13229 h 21"/>
                <a:gd name="T8" fmla="*/ 8177 w 53"/>
                <a:gd name="T9" fmla="*/ 18521 h 21"/>
                <a:gd name="T10" fmla="*/ 6619 w 53"/>
                <a:gd name="T11" fmla="*/ 26459 h 21"/>
                <a:gd name="T12" fmla="*/ 5062 w 53"/>
                <a:gd name="T13" fmla="*/ 34396 h 21"/>
                <a:gd name="T14" fmla="*/ 3115 w 53"/>
                <a:gd name="T15" fmla="*/ 42334 h 21"/>
                <a:gd name="T16" fmla="*/ 0 w 53"/>
                <a:gd name="T17" fmla="*/ 47625 h 21"/>
                <a:gd name="T18" fmla="*/ 1947 w 53"/>
                <a:gd name="T19" fmla="*/ 52917 h 21"/>
                <a:gd name="T20" fmla="*/ 4283 w 53"/>
                <a:gd name="T21" fmla="*/ 55563 h 21"/>
                <a:gd name="T22" fmla="*/ 6619 w 53"/>
                <a:gd name="T23" fmla="*/ 55563 h 21"/>
                <a:gd name="T24" fmla="*/ 9345 w 53"/>
                <a:gd name="T25" fmla="*/ 55563 h 21"/>
                <a:gd name="T26" fmla="*/ 14796 w 53"/>
                <a:gd name="T27" fmla="*/ 50271 h 21"/>
                <a:gd name="T28" fmla="*/ 20637 w 53"/>
                <a:gd name="T29" fmla="*/ 47625 h 21"/>
                <a:gd name="T30" fmla="*/ 20637 w 53"/>
                <a:gd name="T31" fmla="*/ 0 h 2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21">
                  <a:moveTo>
                    <a:pt x="53" y="0"/>
                  </a:moveTo>
                  <a:lnTo>
                    <a:pt x="41" y="1"/>
                  </a:lnTo>
                  <a:lnTo>
                    <a:pt x="32" y="2"/>
                  </a:lnTo>
                  <a:lnTo>
                    <a:pt x="25" y="5"/>
                  </a:lnTo>
                  <a:lnTo>
                    <a:pt x="21" y="7"/>
                  </a:lnTo>
                  <a:lnTo>
                    <a:pt x="17" y="10"/>
                  </a:lnTo>
                  <a:lnTo>
                    <a:pt x="13" y="13"/>
                  </a:lnTo>
                  <a:lnTo>
                    <a:pt x="8" y="16"/>
                  </a:lnTo>
                  <a:lnTo>
                    <a:pt x="0" y="18"/>
                  </a:lnTo>
                  <a:lnTo>
                    <a:pt x="5" y="20"/>
                  </a:lnTo>
                  <a:lnTo>
                    <a:pt x="11" y="21"/>
                  </a:lnTo>
                  <a:lnTo>
                    <a:pt x="17" y="21"/>
                  </a:lnTo>
                  <a:lnTo>
                    <a:pt x="24" y="21"/>
                  </a:lnTo>
                  <a:lnTo>
                    <a:pt x="38" y="19"/>
                  </a:lnTo>
                  <a:lnTo>
                    <a:pt x="53" y="18"/>
                  </a:lnTo>
                  <a:lnTo>
                    <a:pt x="5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2" name="Freeform 211">
              <a:extLst>
                <a:ext uri="{FF2B5EF4-FFF2-40B4-BE49-F238E27FC236}">
                  <a16:creationId xmlns:a16="http://schemas.microsoft.com/office/drawing/2014/main" id="{0AE7CDCA-CCEA-4CD0-B117-0DA3EB226F6B}"/>
                </a:ext>
              </a:extLst>
            </p:cNvPr>
            <p:cNvSpPr>
              <a:spLocks/>
            </p:cNvSpPr>
            <p:nvPr>
              <p:custDataLst>
                <p:tags r:id="rId138"/>
              </p:custDataLst>
            </p:nvPr>
          </p:nvSpPr>
          <p:spPr bwMode="auto">
            <a:xfrm>
              <a:off x="2403472" y="5275221"/>
              <a:ext cx="17463" cy="57150"/>
            </a:xfrm>
            <a:custGeom>
              <a:avLst/>
              <a:gdLst>
                <a:gd name="T0" fmla="*/ 8935 w 43"/>
                <a:gd name="T1" fmla="*/ 0 h 38"/>
                <a:gd name="T2" fmla="*/ 4873 w 43"/>
                <a:gd name="T3" fmla="*/ 0 h 38"/>
                <a:gd name="T4" fmla="*/ 812 w 43"/>
                <a:gd name="T5" fmla="*/ 0 h 38"/>
                <a:gd name="T6" fmla="*/ 406 w 43"/>
                <a:gd name="T7" fmla="*/ 0 h 38"/>
                <a:gd name="T8" fmla="*/ 0 w 43"/>
                <a:gd name="T9" fmla="*/ 1504 h 38"/>
                <a:gd name="T10" fmla="*/ 0 w 43"/>
                <a:gd name="T11" fmla="*/ 4512 h 38"/>
                <a:gd name="T12" fmla="*/ 0 w 43"/>
                <a:gd name="T13" fmla="*/ 9024 h 38"/>
                <a:gd name="T14" fmla="*/ 406 w 43"/>
                <a:gd name="T15" fmla="*/ 15039 h 38"/>
                <a:gd name="T16" fmla="*/ 812 w 43"/>
                <a:gd name="T17" fmla="*/ 18047 h 38"/>
                <a:gd name="T18" fmla="*/ 1218 w 43"/>
                <a:gd name="T19" fmla="*/ 27071 h 38"/>
                <a:gd name="T20" fmla="*/ 2031 w 43"/>
                <a:gd name="T21" fmla="*/ 37599 h 38"/>
                <a:gd name="T22" fmla="*/ 4061 w 43"/>
                <a:gd name="T23" fmla="*/ 45118 h 38"/>
                <a:gd name="T24" fmla="*/ 6092 w 43"/>
                <a:gd name="T25" fmla="*/ 51134 h 38"/>
                <a:gd name="T26" fmla="*/ 8528 w 43"/>
                <a:gd name="T27" fmla="*/ 55646 h 38"/>
                <a:gd name="T28" fmla="*/ 10965 w 43"/>
                <a:gd name="T29" fmla="*/ 57150 h 38"/>
                <a:gd name="T30" fmla="*/ 14214 w 43"/>
                <a:gd name="T31" fmla="*/ 57150 h 38"/>
                <a:gd name="T32" fmla="*/ 17463 w 43"/>
                <a:gd name="T33" fmla="*/ 55646 h 38"/>
                <a:gd name="T34" fmla="*/ 16245 w 43"/>
                <a:gd name="T35" fmla="*/ 43614 h 38"/>
                <a:gd name="T36" fmla="*/ 14620 w 43"/>
                <a:gd name="T37" fmla="*/ 34591 h 38"/>
                <a:gd name="T38" fmla="*/ 13402 w 43"/>
                <a:gd name="T39" fmla="*/ 25567 h 38"/>
                <a:gd name="T40" fmla="*/ 12183 w 43"/>
                <a:gd name="T41" fmla="*/ 19551 h 38"/>
                <a:gd name="T42" fmla="*/ 10965 w 43"/>
                <a:gd name="T43" fmla="*/ 15039 h 38"/>
                <a:gd name="T44" fmla="*/ 9747 w 43"/>
                <a:gd name="T45" fmla="*/ 10528 h 38"/>
                <a:gd name="T46" fmla="*/ 9341 w 43"/>
                <a:gd name="T47" fmla="*/ 6016 h 38"/>
                <a:gd name="T48" fmla="*/ 8935 w 43"/>
                <a:gd name="T49" fmla="*/ 0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43" h="38">
                  <a:moveTo>
                    <a:pt x="22" y="0"/>
                  </a:moveTo>
                  <a:lnTo>
                    <a:pt x="12" y="0"/>
                  </a:lnTo>
                  <a:lnTo>
                    <a:pt x="2" y="0"/>
                  </a:lnTo>
                  <a:lnTo>
                    <a:pt x="1" y="0"/>
                  </a:lnTo>
                  <a:lnTo>
                    <a:pt x="0" y="1"/>
                  </a:lnTo>
                  <a:lnTo>
                    <a:pt x="0" y="3"/>
                  </a:lnTo>
                  <a:lnTo>
                    <a:pt x="0" y="6"/>
                  </a:lnTo>
                  <a:lnTo>
                    <a:pt x="1" y="10"/>
                  </a:lnTo>
                  <a:lnTo>
                    <a:pt x="2" y="12"/>
                  </a:lnTo>
                  <a:lnTo>
                    <a:pt x="3" y="18"/>
                  </a:lnTo>
                  <a:lnTo>
                    <a:pt x="5" y="25"/>
                  </a:lnTo>
                  <a:lnTo>
                    <a:pt x="10" y="30"/>
                  </a:lnTo>
                  <a:lnTo>
                    <a:pt x="15" y="34"/>
                  </a:lnTo>
                  <a:lnTo>
                    <a:pt x="21" y="37"/>
                  </a:lnTo>
                  <a:lnTo>
                    <a:pt x="27" y="38"/>
                  </a:lnTo>
                  <a:lnTo>
                    <a:pt x="35" y="38"/>
                  </a:lnTo>
                  <a:lnTo>
                    <a:pt x="43" y="37"/>
                  </a:lnTo>
                  <a:lnTo>
                    <a:pt x="40" y="29"/>
                  </a:lnTo>
                  <a:lnTo>
                    <a:pt x="36" y="23"/>
                  </a:lnTo>
                  <a:lnTo>
                    <a:pt x="33" y="17"/>
                  </a:lnTo>
                  <a:lnTo>
                    <a:pt x="30" y="13"/>
                  </a:lnTo>
                  <a:lnTo>
                    <a:pt x="27" y="10"/>
                  </a:lnTo>
                  <a:lnTo>
                    <a:pt x="24" y="7"/>
                  </a:lnTo>
                  <a:lnTo>
                    <a:pt x="23" y="4"/>
                  </a:lnTo>
                  <a:lnTo>
                    <a:pt x="22"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3" name="Freeform 212">
              <a:extLst>
                <a:ext uri="{FF2B5EF4-FFF2-40B4-BE49-F238E27FC236}">
                  <a16:creationId xmlns:a16="http://schemas.microsoft.com/office/drawing/2014/main" id="{5C0B3399-3288-4055-9044-BFBB20AF56F8}"/>
                </a:ext>
              </a:extLst>
            </p:cNvPr>
            <p:cNvSpPr>
              <a:spLocks/>
            </p:cNvSpPr>
            <p:nvPr>
              <p:custDataLst>
                <p:tags r:id="rId139"/>
              </p:custDataLst>
            </p:nvPr>
          </p:nvSpPr>
          <p:spPr bwMode="auto">
            <a:xfrm>
              <a:off x="2405060" y="5303796"/>
              <a:ext cx="6350" cy="57150"/>
            </a:xfrm>
            <a:custGeom>
              <a:avLst/>
              <a:gdLst>
                <a:gd name="T0" fmla="*/ 0 w 20"/>
                <a:gd name="T1" fmla="*/ 0 h 5"/>
                <a:gd name="T2" fmla="*/ 318 w 20"/>
                <a:gd name="T3" fmla="*/ 22860 h 5"/>
                <a:gd name="T4" fmla="*/ 635 w 20"/>
                <a:gd name="T5" fmla="*/ 34290 h 5"/>
                <a:gd name="T6" fmla="*/ 1270 w 20"/>
                <a:gd name="T7" fmla="*/ 45720 h 5"/>
                <a:gd name="T8" fmla="*/ 2223 w 20"/>
                <a:gd name="T9" fmla="*/ 57150 h 5"/>
                <a:gd name="T10" fmla="*/ 3493 w 20"/>
                <a:gd name="T11" fmla="*/ 45720 h 5"/>
                <a:gd name="T12" fmla="*/ 4445 w 20"/>
                <a:gd name="T13" fmla="*/ 34290 h 5"/>
                <a:gd name="T14" fmla="*/ 5398 w 20"/>
                <a:gd name="T15" fmla="*/ 22860 h 5"/>
                <a:gd name="T16" fmla="*/ 6350 w 20"/>
                <a:gd name="T17" fmla="*/ 0 h 5"/>
                <a:gd name="T18" fmla="*/ 0 w 20"/>
                <a:gd name="T19" fmla="*/ 0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20" h="5">
                  <a:moveTo>
                    <a:pt x="0" y="0"/>
                  </a:moveTo>
                  <a:lnTo>
                    <a:pt x="1" y="2"/>
                  </a:lnTo>
                  <a:lnTo>
                    <a:pt x="2" y="3"/>
                  </a:lnTo>
                  <a:lnTo>
                    <a:pt x="4" y="4"/>
                  </a:lnTo>
                  <a:lnTo>
                    <a:pt x="7" y="5"/>
                  </a:lnTo>
                  <a:lnTo>
                    <a:pt x="11" y="4"/>
                  </a:lnTo>
                  <a:lnTo>
                    <a:pt x="14" y="3"/>
                  </a:lnTo>
                  <a:lnTo>
                    <a:pt x="17" y="2"/>
                  </a:lnTo>
                  <a:lnTo>
                    <a:pt x="2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4" name="Freeform 213">
              <a:extLst>
                <a:ext uri="{FF2B5EF4-FFF2-40B4-BE49-F238E27FC236}">
                  <a16:creationId xmlns:a16="http://schemas.microsoft.com/office/drawing/2014/main" id="{EDB3AA4F-6F68-4CB1-9374-4E858A12A2FA}"/>
                </a:ext>
              </a:extLst>
            </p:cNvPr>
            <p:cNvSpPr>
              <a:spLocks/>
            </p:cNvSpPr>
            <p:nvPr>
              <p:custDataLst>
                <p:tags r:id="rId140"/>
              </p:custDataLst>
            </p:nvPr>
          </p:nvSpPr>
          <p:spPr bwMode="auto">
            <a:xfrm>
              <a:off x="2479672" y="5373646"/>
              <a:ext cx="34925" cy="57150"/>
            </a:xfrm>
            <a:custGeom>
              <a:avLst/>
              <a:gdLst>
                <a:gd name="T0" fmla="*/ 19137 w 73"/>
                <a:gd name="T1" fmla="*/ 0 h 22"/>
                <a:gd name="T2" fmla="*/ 15310 w 73"/>
                <a:gd name="T3" fmla="*/ 2598 h 22"/>
                <a:gd name="T4" fmla="*/ 12439 w 73"/>
                <a:gd name="T5" fmla="*/ 5195 h 22"/>
                <a:gd name="T6" fmla="*/ 9568 w 73"/>
                <a:gd name="T7" fmla="*/ 12989 h 22"/>
                <a:gd name="T8" fmla="*/ 7176 w 73"/>
                <a:gd name="T9" fmla="*/ 20782 h 22"/>
                <a:gd name="T10" fmla="*/ 2871 w 73"/>
                <a:gd name="T11" fmla="*/ 36368 h 22"/>
                <a:gd name="T12" fmla="*/ 0 w 73"/>
                <a:gd name="T13" fmla="*/ 49357 h 22"/>
                <a:gd name="T14" fmla="*/ 9568 w 73"/>
                <a:gd name="T15" fmla="*/ 51955 h 22"/>
                <a:gd name="T16" fmla="*/ 18659 w 73"/>
                <a:gd name="T17" fmla="*/ 57150 h 22"/>
                <a:gd name="T18" fmla="*/ 23443 w 73"/>
                <a:gd name="T19" fmla="*/ 57150 h 22"/>
                <a:gd name="T20" fmla="*/ 27270 w 73"/>
                <a:gd name="T21" fmla="*/ 57150 h 22"/>
                <a:gd name="T22" fmla="*/ 31098 w 73"/>
                <a:gd name="T23" fmla="*/ 54552 h 22"/>
                <a:gd name="T24" fmla="*/ 34925 w 73"/>
                <a:gd name="T25" fmla="*/ 49357 h 22"/>
                <a:gd name="T26" fmla="*/ 30619 w 73"/>
                <a:gd name="T27" fmla="*/ 36368 h 22"/>
                <a:gd name="T28" fmla="*/ 26792 w 73"/>
                <a:gd name="T29" fmla="*/ 20782 h 22"/>
                <a:gd name="T30" fmla="*/ 25357 w 73"/>
                <a:gd name="T31" fmla="*/ 12989 h 22"/>
                <a:gd name="T32" fmla="*/ 23443 w 73"/>
                <a:gd name="T33" fmla="*/ 5195 h 22"/>
                <a:gd name="T34" fmla="*/ 21051 w 73"/>
                <a:gd name="T35" fmla="*/ 2598 h 22"/>
                <a:gd name="T36" fmla="*/ 19137 w 73"/>
                <a:gd name="T37" fmla="*/ 0 h 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73" h="22">
                  <a:moveTo>
                    <a:pt x="40" y="0"/>
                  </a:moveTo>
                  <a:lnTo>
                    <a:pt x="32" y="1"/>
                  </a:lnTo>
                  <a:lnTo>
                    <a:pt x="26" y="2"/>
                  </a:lnTo>
                  <a:lnTo>
                    <a:pt x="20" y="5"/>
                  </a:lnTo>
                  <a:lnTo>
                    <a:pt x="15" y="8"/>
                  </a:lnTo>
                  <a:lnTo>
                    <a:pt x="6" y="14"/>
                  </a:lnTo>
                  <a:lnTo>
                    <a:pt x="0" y="19"/>
                  </a:lnTo>
                  <a:lnTo>
                    <a:pt x="20" y="20"/>
                  </a:lnTo>
                  <a:lnTo>
                    <a:pt x="39" y="22"/>
                  </a:lnTo>
                  <a:lnTo>
                    <a:pt x="49" y="22"/>
                  </a:lnTo>
                  <a:lnTo>
                    <a:pt x="57" y="22"/>
                  </a:lnTo>
                  <a:lnTo>
                    <a:pt x="65" y="21"/>
                  </a:lnTo>
                  <a:lnTo>
                    <a:pt x="73" y="19"/>
                  </a:lnTo>
                  <a:lnTo>
                    <a:pt x="64" y="14"/>
                  </a:lnTo>
                  <a:lnTo>
                    <a:pt x="56" y="8"/>
                  </a:lnTo>
                  <a:lnTo>
                    <a:pt x="53" y="5"/>
                  </a:lnTo>
                  <a:lnTo>
                    <a:pt x="49" y="2"/>
                  </a:lnTo>
                  <a:lnTo>
                    <a:pt x="44" y="1"/>
                  </a:lnTo>
                  <a:lnTo>
                    <a:pt x="4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5" name="Freeform 214">
              <a:extLst>
                <a:ext uri="{FF2B5EF4-FFF2-40B4-BE49-F238E27FC236}">
                  <a16:creationId xmlns:a16="http://schemas.microsoft.com/office/drawing/2014/main" id="{2479F222-0749-4803-87FA-2FF0D237679E}"/>
                </a:ext>
              </a:extLst>
            </p:cNvPr>
            <p:cNvSpPr>
              <a:spLocks/>
            </p:cNvSpPr>
            <p:nvPr>
              <p:custDataLst>
                <p:tags r:id="rId141"/>
              </p:custDataLst>
            </p:nvPr>
          </p:nvSpPr>
          <p:spPr bwMode="auto">
            <a:xfrm>
              <a:off x="2517772" y="5314908"/>
              <a:ext cx="123825" cy="100012"/>
            </a:xfrm>
            <a:custGeom>
              <a:avLst/>
              <a:gdLst>
                <a:gd name="T0" fmla="*/ 103555 w 281"/>
                <a:gd name="T1" fmla="*/ 87058 h 193"/>
                <a:gd name="T2" fmla="*/ 82844 w 281"/>
                <a:gd name="T3" fmla="*/ 88613 h 193"/>
                <a:gd name="T4" fmla="*/ 74031 w 281"/>
                <a:gd name="T5" fmla="*/ 87058 h 193"/>
                <a:gd name="T6" fmla="*/ 68302 w 281"/>
                <a:gd name="T7" fmla="*/ 84985 h 193"/>
                <a:gd name="T8" fmla="*/ 57286 w 281"/>
                <a:gd name="T9" fmla="*/ 69957 h 193"/>
                <a:gd name="T10" fmla="*/ 45828 w 281"/>
                <a:gd name="T11" fmla="*/ 48711 h 193"/>
                <a:gd name="T12" fmla="*/ 41422 w 281"/>
                <a:gd name="T13" fmla="*/ 38347 h 193"/>
                <a:gd name="T14" fmla="*/ 38337 w 281"/>
                <a:gd name="T15" fmla="*/ 26428 h 193"/>
                <a:gd name="T16" fmla="*/ 36575 w 281"/>
                <a:gd name="T17" fmla="*/ 13991 h 193"/>
                <a:gd name="T18" fmla="*/ 18948 w 281"/>
                <a:gd name="T19" fmla="*/ 0 h 193"/>
                <a:gd name="T20" fmla="*/ 12338 w 281"/>
                <a:gd name="T21" fmla="*/ 26947 h 193"/>
                <a:gd name="T22" fmla="*/ 7932 w 281"/>
                <a:gd name="T23" fmla="*/ 31610 h 193"/>
                <a:gd name="T24" fmla="*/ 2644 w 281"/>
                <a:gd name="T25" fmla="*/ 35756 h 193"/>
                <a:gd name="T26" fmla="*/ 0 w 281"/>
                <a:gd name="T27" fmla="*/ 37829 h 193"/>
                <a:gd name="T28" fmla="*/ 441 w 281"/>
                <a:gd name="T29" fmla="*/ 38865 h 193"/>
                <a:gd name="T30" fmla="*/ 3966 w 281"/>
                <a:gd name="T31" fmla="*/ 41974 h 193"/>
                <a:gd name="T32" fmla="*/ 16304 w 281"/>
                <a:gd name="T33" fmla="*/ 57520 h 193"/>
                <a:gd name="T34" fmla="*/ 19830 w 281"/>
                <a:gd name="T35" fmla="*/ 63221 h 193"/>
                <a:gd name="T36" fmla="*/ 23355 w 281"/>
                <a:gd name="T37" fmla="*/ 66848 h 193"/>
                <a:gd name="T38" fmla="*/ 27321 w 281"/>
                <a:gd name="T39" fmla="*/ 69439 h 193"/>
                <a:gd name="T40" fmla="*/ 31287 w 281"/>
                <a:gd name="T41" fmla="*/ 70475 h 193"/>
                <a:gd name="T42" fmla="*/ 33490 w 281"/>
                <a:gd name="T43" fmla="*/ 73066 h 193"/>
                <a:gd name="T44" fmla="*/ 34812 w 281"/>
                <a:gd name="T45" fmla="*/ 76694 h 193"/>
                <a:gd name="T46" fmla="*/ 37897 w 281"/>
                <a:gd name="T47" fmla="*/ 79285 h 193"/>
                <a:gd name="T48" fmla="*/ 43625 w 281"/>
                <a:gd name="T49" fmla="*/ 79803 h 193"/>
                <a:gd name="T50" fmla="*/ 46710 w 281"/>
                <a:gd name="T51" fmla="*/ 81358 h 193"/>
                <a:gd name="T52" fmla="*/ 48032 w 281"/>
                <a:gd name="T53" fmla="*/ 84467 h 193"/>
                <a:gd name="T54" fmla="*/ 48032 w 281"/>
                <a:gd name="T55" fmla="*/ 92758 h 193"/>
                <a:gd name="T56" fmla="*/ 48913 w 281"/>
                <a:gd name="T57" fmla="*/ 97940 h 193"/>
                <a:gd name="T58" fmla="*/ 50676 w 281"/>
                <a:gd name="T59" fmla="*/ 100013 h 193"/>
                <a:gd name="T60" fmla="*/ 56845 w 281"/>
                <a:gd name="T61" fmla="*/ 100013 h 193"/>
                <a:gd name="T62" fmla="*/ 72268 w 281"/>
                <a:gd name="T63" fmla="*/ 98977 h 193"/>
                <a:gd name="T64" fmla="*/ 79319 w 281"/>
                <a:gd name="T65" fmla="*/ 97940 h 193"/>
                <a:gd name="T66" fmla="*/ 84606 w 281"/>
                <a:gd name="T67" fmla="*/ 96386 h 193"/>
                <a:gd name="T68" fmla="*/ 93420 w 281"/>
                <a:gd name="T69" fmla="*/ 97422 h 193"/>
                <a:gd name="T70" fmla="*/ 123825 w 281"/>
                <a:gd name="T71" fmla="*/ 86540 h 193"/>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81" h="193">
                  <a:moveTo>
                    <a:pt x="275" y="167"/>
                  </a:moveTo>
                  <a:lnTo>
                    <a:pt x="235" y="168"/>
                  </a:lnTo>
                  <a:lnTo>
                    <a:pt x="202" y="171"/>
                  </a:lnTo>
                  <a:lnTo>
                    <a:pt x="188" y="171"/>
                  </a:lnTo>
                  <a:lnTo>
                    <a:pt x="175" y="169"/>
                  </a:lnTo>
                  <a:lnTo>
                    <a:pt x="168" y="168"/>
                  </a:lnTo>
                  <a:lnTo>
                    <a:pt x="162" y="166"/>
                  </a:lnTo>
                  <a:lnTo>
                    <a:pt x="155" y="164"/>
                  </a:lnTo>
                  <a:lnTo>
                    <a:pt x="149" y="161"/>
                  </a:lnTo>
                  <a:lnTo>
                    <a:pt x="130" y="135"/>
                  </a:lnTo>
                  <a:lnTo>
                    <a:pt x="108" y="103"/>
                  </a:lnTo>
                  <a:lnTo>
                    <a:pt x="104" y="94"/>
                  </a:lnTo>
                  <a:lnTo>
                    <a:pt x="98" y="84"/>
                  </a:lnTo>
                  <a:lnTo>
                    <a:pt x="94" y="74"/>
                  </a:lnTo>
                  <a:lnTo>
                    <a:pt x="90" y="63"/>
                  </a:lnTo>
                  <a:lnTo>
                    <a:pt x="87" y="51"/>
                  </a:lnTo>
                  <a:lnTo>
                    <a:pt x="85" y="39"/>
                  </a:lnTo>
                  <a:lnTo>
                    <a:pt x="83" y="27"/>
                  </a:lnTo>
                  <a:lnTo>
                    <a:pt x="83" y="13"/>
                  </a:lnTo>
                  <a:lnTo>
                    <a:pt x="43" y="0"/>
                  </a:lnTo>
                  <a:lnTo>
                    <a:pt x="30" y="50"/>
                  </a:lnTo>
                  <a:lnTo>
                    <a:pt x="28" y="52"/>
                  </a:lnTo>
                  <a:lnTo>
                    <a:pt x="23" y="56"/>
                  </a:lnTo>
                  <a:lnTo>
                    <a:pt x="18" y="61"/>
                  </a:lnTo>
                  <a:lnTo>
                    <a:pt x="11" y="65"/>
                  </a:lnTo>
                  <a:lnTo>
                    <a:pt x="6" y="69"/>
                  </a:lnTo>
                  <a:lnTo>
                    <a:pt x="1" y="72"/>
                  </a:lnTo>
                  <a:lnTo>
                    <a:pt x="0" y="73"/>
                  </a:lnTo>
                  <a:lnTo>
                    <a:pt x="0" y="74"/>
                  </a:lnTo>
                  <a:lnTo>
                    <a:pt x="1" y="75"/>
                  </a:lnTo>
                  <a:lnTo>
                    <a:pt x="3" y="75"/>
                  </a:lnTo>
                  <a:lnTo>
                    <a:pt x="9" y="81"/>
                  </a:lnTo>
                  <a:lnTo>
                    <a:pt x="23" y="96"/>
                  </a:lnTo>
                  <a:lnTo>
                    <a:pt x="37" y="111"/>
                  </a:lnTo>
                  <a:lnTo>
                    <a:pt x="43" y="118"/>
                  </a:lnTo>
                  <a:lnTo>
                    <a:pt x="45" y="122"/>
                  </a:lnTo>
                  <a:lnTo>
                    <a:pt x="49" y="126"/>
                  </a:lnTo>
                  <a:lnTo>
                    <a:pt x="53" y="129"/>
                  </a:lnTo>
                  <a:lnTo>
                    <a:pt x="57" y="132"/>
                  </a:lnTo>
                  <a:lnTo>
                    <a:pt x="62" y="134"/>
                  </a:lnTo>
                  <a:lnTo>
                    <a:pt x="66" y="135"/>
                  </a:lnTo>
                  <a:lnTo>
                    <a:pt x="71" y="136"/>
                  </a:lnTo>
                  <a:lnTo>
                    <a:pt x="76" y="136"/>
                  </a:lnTo>
                  <a:lnTo>
                    <a:pt x="76" y="141"/>
                  </a:lnTo>
                  <a:lnTo>
                    <a:pt x="77" y="145"/>
                  </a:lnTo>
                  <a:lnTo>
                    <a:pt x="79" y="148"/>
                  </a:lnTo>
                  <a:lnTo>
                    <a:pt x="82" y="150"/>
                  </a:lnTo>
                  <a:lnTo>
                    <a:pt x="86" y="153"/>
                  </a:lnTo>
                  <a:lnTo>
                    <a:pt x="93" y="154"/>
                  </a:lnTo>
                  <a:lnTo>
                    <a:pt x="99" y="154"/>
                  </a:lnTo>
                  <a:lnTo>
                    <a:pt x="104" y="156"/>
                  </a:lnTo>
                  <a:lnTo>
                    <a:pt x="106" y="157"/>
                  </a:lnTo>
                  <a:lnTo>
                    <a:pt x="108" y="160"/>
                  </a:lnTo>
                  <a:lnTo>
                    <a:pt x="109" y="163"/>
                  </a:lnTo>
                  <a:lnTo>
                    <a:pt x="109" y="167"/>
                  </a:lnTo>
                  <a:lnTo>
                    <a:pt x="109" y="179"/>
                  </a:lnTo>
                  <a:lnTo>
                    <a:pt x="111" y="187"/>
                  </a:lnTo>
                  <a:lnTo>
                    <a:pt x="111" y="189"/>
                  </a:lnTo>
                  <a:lnTo>
                    <a:pt x="113" y="191"/>
                  </a:lnTo>
                  <a:lnTo>
                    <a:pt x="115" y="193"/>
                  </a:lnTo>
                  <a:lnTo>
                    <a:pt x="117" y="193"/>
                  </a:lnTo>
                  <a:lnTo>
                    <a:pt x="129" y="193"/>
                  </a:lnTo>
                  <a:lnTo>
                    <a:pt x="149" y="192"/>
                  </a:lnTo>
                  <a:lnTo>
                    <a:pt x="164" y="191"/>
                  </a:lnTo>
                  <a:lnTo>
                    <a:pt x="174" y="190"/>
                  </a:lnTo>
                  <a:lnTo>
                    <a:pt x="180" y="189"/>
                  </a:lnTo>
                  <a:lnTo>
                    <a:pt x="186" y="187"/>
                  </a:lnTo>
                  <a:lnTo>
                    <a:pt x="192" y="186"/>
                  </a:lnTo>
                  <a:lnTo>
                    <a:pt x="200" y="187"/>
                  </a:lnTo>
                  <a:lnTo>
                    <a:pt x="212" y="188"/>
                  </a:lnTo>
                  <a:lnTo>
                    <a:pt x="229" y="192"/>
                  </a:lnTo>
                  <a:lnTo>
                    <a:pt x="281" y="167"/>
                  </a:lnTo>
                  <a:lnTo>
                    <a:pt x="275" y="16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6" name="Freeform 215">
              <a:extLst>
                <a:ext uri="{FF2B5EF4-FFF2-40B4-BE49-F238E27FC236}">
                  <a16:creationId xmlns:a16="http://schemas.microsoft.com/office/drawing/2014/main" id="{6F4E5874-D289-4173-9451-E140B944A95F}"/>
                </a:ext>
              </a:extLst>
            </p:cNvPr>
            <p:cNvSpPr>
              <a:spLocks/>
            </p:cNvSpPr>
            <p:nvPr>
              <p:custDataLst>
                <p:tags r:id="rId142"/>
              </p:custDataLst>
            </p:nvPr>
          </p:nvSpPr>
          <p:spPr bwMode="auto">
            <a:xfrm>
              <a:off x="2070098" y="3081314"/>
              <a:ext cx="52388" cy="58737"/>
            </a:xfrm>
            <a:custGeom>
              <a:avLst/>
              <a:gdLst>
                <a:gd name="T0" fmla="*/ 0 w 120"/>
                <a:gd name="T1" fmla="*/ 18880 h 56"/>
                <a:gd name="T2" fmla="*/ 1746 w 120"/>
                <a:gd name="T3" fmla="*/ 27271 h 56"/>
                <a:gd name="T4" fmla="*/ 4366 w 120"/>
                <a:gd name="T5" fmla="*/ 34613 h 56"/>
                <a:gd name="T6" fmla="*/ 6549 w 120"/>
                <a:gd name="T7" fmla="*/ 38808 h 56"/>
                <a:gd name="T8" fmla="*/ 9168 w 120"/>
                <a:gd name="T9" fmla="*/ 43004 h 56"/>
                <a:gd name="T10" fmla="*/ 11787 w 120"/>
                <a:gd name="T11" fmla="*/ 46151 h 56"/>
                <a:gd name="T12" fmla="*/ 15280 w 120"/>
                <a:gd name="T13" fmla="*/ 48248 h 56"/>
                <a:gd name="T14" fmla="*/ 18772 w 120"/>
                <a:gd name="T15" fmla="*/ 50346 h 56"/>
                <a:gd name="T16" fmla="*/ 22265 w 120"/>
                <a:gd name="T17" fmla="*/ 51395 h 56"/>
                <a:gd name="T18" fmla="*/ 29250 w 120"/>
                <a:gd name="T19" fmla="*/ 52444 h 56"/>
                <a:gd name="T20" fmla="*/ 37108 w 120"/>
                <a:gd name="T21" fmla="*/ 53493 h 56"/>
                <a:gd name="T22" fmla="*/ 44530 w 120"/>
                <a:gd name="T23" fmla="*/ 54542 h 56"/>
                <a:gd name="T24" fmla="*/ 52388 w 120"/>
                <a:gd name="T25" fmla="*/ 58737 h 56"/>
                <a:gd name="T26" fmla="*/ 52388 w 120"/>
                <a:gd name="T27" fmla="*/ 38808 h 56"/>
                <a:gd name="T28" fmla="*/ 48459 w 120"/>
                <a:gd name="T29" fmla="*/ 35662 h 56"/>
                <a:gd name="T30" fmla="*/ 44530 w 120"/>
                <a:gd name="T31" fmla="*/ 31466 h 56"/>
                <a:gd name="T32" fmla="*/ 41037 w 120"/>
                <a:gd name="T33" fmla="*/ 25173 h 56"/>
                <a:gd name="T34" fmla="*/ 38418 w 120"/>
                <a:gd name="T35" fmla="*/ 18880 h 56"/>
                <a:gd name="T36" fmla="*/ 35362 w 120"/>
                <a:gd name="T37" fmla="*/ 13635 h 56"/>
                <a:gd name="T38" fmla="*/ 32743 w 120"/>
                <a:gd name="T39" fmla="*/ 7342 h 56"/>
                <a:gd name="T40" fmla="*/ 29250 w 120"/>
                <a:gd name="T41" fmla="*/ 3147 h 56"/>
                <a:gd name="T42" fmla="*/ 26194 w 120"/>
                <a:gd name="T43" fmla="*/ 0 h 56"/>
                <a:gd name="T44" fmla="*/ 24011 w 120"/>
                <a:gd name="T45" fmla="*/ 1049 h 56"/>
                <a:gd name="T46" fmla="*/ 20955 w 120"/>
                <a:gd name="T47" fmla="*/ 3147 h 56"/>
                <a:gd name="T48" fmla="*/ 17899 w 120"/>
                <a:gd name="T49" fmla="*/ 6293 h 56"/>
                <a:gd name="T50" fmla="*/ 14407 w 120"/>
                <a:gd name="T51" fmla="*/ 9440 h 56"/>
                <a:gd name="T52" fmla="*/ 10478 w 120"/>
                <a:gd name="T53" fmla="*/ 13635 h 56"/>
                <a:gd name="T54" fmla="*/ 6985 w 120"/>
                <a:gd name="T55" fmla="*/ 15733 h 56"/>
                <a:gd name="T56" fmla="*/ 3493 w 120"/>
                <a:gd name="T57" fmla="*/ 18880 h 56"/>
                <a:gd name="T58" fmla="*/ 0 w 120"/>
                <a:gd name="T59" fmla="*/ 18880 h 5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20" h="56">
                  <a:moveTo>
                    <a:pt x="0" y="18"/>
                  </a:moveTo>
                  <a:lnTo>
                    <a:pt x="4" y="26"/>
                  </a:lnTo>
                  <a:lnTo>
                    <a:pt x="10" y="33"/>
                  </a:lnTo>
                  <a:lnTo>
                    <a:pt x="15" y="37"/>
                  </a:lnTo>
                  <a:lnTo>
                    <a:pt x="21" y="41"/>
                  </a:lnTo>
                  <a:lnTo>
                    <a:pt x="27" y="44"/>
                  </a:lnTo>
                  <a:lnTo>
                    <a:pt x="35" y="46"/>
                  </a:lnTo>
                  <a:lnTo>
                    <a:pt x="43" y="48"/>
                  </a:lnTo>
                  <a:lnTo>
                    <a:pt x="51" y="49"/>
                  </a:lnTo>
                  <a:lnTo>
                    <a:pt x="67" y="50"/>
                  </a:lnTo>
                  <a:lnTo>
                    <a:pt x="85" y="51"/>
                  </a:lnTo>
                  <a:lnTo>
                    <a:pt x="102" y="52"/>
                  </a:lnTo>
                  <a:lnTo>
                    <a:pt x="120" y="56"/>
                  </a:lnTo>
                  <a:lnTo>
                    <a:pt x="120" y="37"/>
                  </a:lnTo>
                  <a:lnTo>
                    <a:pt x="111" y="34"/>
                  </a:lnTo>
                  <a:lnTo>
                    <a:pt x="102" y="30"/>
                  </a:lnTo>
                  <a:lnTo>
                    <a:pt x="94" y="24"/>
                  </a:lnTo>
                  <a:lnTo>
                    <a:pt x="88" y="18"/>
                  </a:lnTo>
                  <a:lnTo>
                    <a:pt x="81" y="13"/>
                  </a:lnTo>
                  <a:lnTo>
                    <a:pt x="75" y="7"/>
                  </a:lnTo>
                  <a:lnTo>
                    <a:pt x="67" y="3"/>
                  </a:lnTo>
                  <a:lnTo>
                    <a:pt x="60" y="0"/>
                  </a:lnTo>
                  <a:lnTo>
                    <a:pt x="55" y="1"/>
                  </a:lnTo>
                  <a:lnTo>
                    <a:pt x="48" y="3"/>
                  </a:lnTo>
                  <a:lnTo>
                    <a:pt x="41" y="6"/>
                  </a:lnTo>
                  <a:lnTo>
                    <a:pt x="33" y="9"/>
                  </a:lnTo>
                  <a:lnTo>
                    <a:pt x="24" y="13"/>
                  </a:lnTo>
                  <a:lnTo>
                    <a:pt x="16" y="15"/>
                  </a:lnTo>
                  <a:lnTo>
                    <a:pt x="8" y="18"/>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7" name="Freeform 216">
              <a:extLst>
                <a:ext uri="{FF2B5EF4-FFF2-40B4-BE49-F238E27FC236}">
                  <a16:creationId xmlns:a16="http://schemas.microsoft.com/office/drawing/2014/main" id="{4572277E-D626-4C3A-9E16-C10402CBE681}"/>
                </a:ext>
              </a:extLst>
            </p:cNvPr>
            <p:cNvSpPr>
              <a:spLocks/>
            </p:cNvSpPr>
            <p:nvPr>
              <p:custDataLst>
                <p:tags r:id="rId143"/>
              </p:custDataLst>
            </p:nvPr>
          </p:nvSpPr>
          <p:spPr bwMode="auto">
            <a:xfrm>
              <a:off x="1927223" y="2943202"/>
              <a:ext cx="250824" cy="109537"/>
            </a:xfrm>
            <a:custGeom>
              <a:avLst/>
              <a:gdLst>
                <a:gd name="T0" fmla="*/ 55496 w 574"/>
                <a:gd name="T1" fmla="*/ 537 h 204"/>
                <a:gd name="T2" fmla="*/ 41513 w 574"/>
                <a:gd name="T3" fmla="*/ 3222 h 204"/>
                <a:gd name="T4" fmla="*/ 28841 w 574"/>
                <a:gd name="T5" fmla="*/ 8591 h 204"/>
                <a:gd name="T6" fmla="*/ 18790 w 574"/>
                <a:gd name="T7" fmla="*/ 13961 h 204"/>
                <a:gd name="T8" fmla="*/ 13109 w 574"/>
                <a:gd name="T9" fmla="*/ 18793 h 204"/>
                <a:gd name="T10" fmla="*/ 6992 w 574"/>
                <a:gd name="T11" fmla="*/ 27385 h 204"/>
                <a:gd name="T12" fmla="*/ 1748 w 574"/>
                <a:gd name="T13" fmla="*/ 38124 h 204"/>
                <a:gd name="T14" fmla="*/ 0 w 574"/>
                <a:gd name="T15" fmla="*/ 44030 h 204"/>
                <a:gd name="T16" fmla="*/ 437 w 574"/>
                <a:gd name="T17" fmla="*/ 46178 h 204"/>
                <a:gd name="T18" fmla="*/ 5681 w 574"/>
                <a:gd name="T19" fmla="*/ 46178 h 204"/>
                <a:gd name="T20" fmla="*/ 12672 w 574"/>
                <a:gd name="T21" fmla="*/ 44567 h 204"/>
                <a:gd name="T22" fmla="*/ 22723 w 574"/>
                <a:gd name="T23" fmla="*/ 40271 h 204"/>
                <a:gd name="T24" fmla="*/ 34958 w 574"/>
                <a:gd name="T25" fmla="*/ 31143 h 204"/>
                <a:gd name="T26" fmla="*/ 44572 w 574"/>
                <a:gd name="T27" fmla="*/ 24700 h 204"/>
                <a:gd name="T28" fmla="*/ 52000 w 574"/>
                <a:gd name="T29" fmla="*/ 21478 h 204"/>
                <a:gd name="T30" fmla="*/ 76471 w 574"/>
                <a:gd name="T31" fmla="*/ 19867 h 204"/>
                <a:gd name="T32" fmla="*/ 76908 w 574"/>
                <a:gd name="T33" fmla="*/ 25774 h 204"/>
                <a:gd name="T34" fmla="*/ 78656 w 574"/>
                <a:gd name="T35" fmla="*/ 29532 h 204"/>
                <a:gd name="T36" fmla="*/ 80404 w 574"/>
                <a:gd name="T37" fmla="*/ 31680 h 204"/>
                <a:gd name="T38" fmla="*/ 83026 w 574"/>
                <a:gd name="T39" fmla="*/ 32754 h 204"/>
                <a:gd name="T40" fmla="*/ 100068 w 574"/>
                <a:gd name="T41" fmla="*/ 32754 h 204"/>
                <a:gd name="T42" fmla="*/ 117547 w 574"/>
                <a:gd name="T43" fmla="*/ 41882 h 204"/>
                <a:gd name="T44" fmla="*/ 131967 w 574"/>
                <a:gd name="T45" fmla="*/ 51010 h 204"/>
                <a:gd name="T46" fmla="*/ 146824 w 574"/>
                <a:gd name="T47" fmla="*/ 59602 h 204"/>
                <a:gd name="T48" fmla="*/ 163867 w 574"/>
                <a:gd name="T49" fmla="*/ 66045 h 204"/>
                <a:gd name="T50" fmla="*/ 164303 w 574"/>
                <a:gd name="T51" fmla="*/ 71951 h 204"/>
                <a:gd name="T52" fmla="*/ 166925 w 574"/>
                <a:gd name="T53" fmla="*/ 76247 h 204"/>
                <a:gd name="T54" fmla="*/ 173043 w 574"/>
                <a:gd name="T55" fmla="*/ 81617 h 204"/>
                <a:gd name="T56" fmla="*/ 187026 w 574"/>
                <a:gd name="T57" fmla="*/ 89134 h 204"/>
                <a:gd name="T58" fmla="*/ 175665 w 574"/>
                <a:gd name="T59" fmla="*/ 102558 h 204"/>
                <a:gd name="T60" fmla="*/ 177850 w 574"/>
                <a:gd name="T61" fmla="*/ 105779 h 204"/>
                <a:gd name="T62" fmla="*/ 180909 w 574"/>
                <a:gd name="T63" fmla="*/ 107927 h 204"/>
                <a:gd name="T64" fmla="*/ 187463 w 574"/>
                <a:gd name="T65" fmla="*/ 109538 h 204"/>
                <a:gd name="T66" fmla="*/ 201447 w 574"/>
                <a:gd name="T67" fmla="*/ 109538 h 204"/>
                <a:gd name="T68" fmla="*/ 242522 w 574"/>
                <a:gd name="T69" fmla="*/ 101484 h 204"/>
                <a:gd name="T70" fmla="*/ 244270 w 574"/>
                <a:gd name="T71" fmla="*/ 98262 h 204"/>
                <a:gd name="T72" fmla="*/ 246892 w 574"/>
                <a:gd name="T73" fmla="*/ 95040 h 204"/>
                <a:gd name="T74" fmla="*/ 249951 w 574"/>
                <a:gd name="T75" fmla="*/ 92893 h 204"/>
                <a:gd name="T76" fmla="*/ 250825 w 574"/>
                <a:gd name="T77" fmla="*/ 86449 h 204"/>
                <a:gd name="T78" fmla="*/ 245144 w 574"/>
                <a:gd name="T79" fmla="*/ 82154 h 204"/>
                <a:gd name="T80" fmla="*/ 232472 w 574"/>
                <a:gd name="T81" fmla="*/ 79469 h 204"/>
                <a:gd name="T82" fmla="*/ 220237 w 574"/>
                <a:gd name="T83" fmla="*/ 74099 h 204"/>
                <a:gd name="T84" fmla="*/ 207564 w 574"/>
                <a:gd name="T85" fmla="*/ 66582 h 204"/>
                <a:gd name="T86" fmla="*/ 189211 w 574"/>
                <a:gd name="T87" fmla="*/ 53695 h 204"/>
                <a:gd name="T88" fmla="*/ 167362 w 574"/>
                <a:gd name="T89" fmla="*/ 36513 h 204"/>
                <a:gd name="T90" fmla="*/ 156438 w 574"/>
                <a:gd name="T91" fmla="*/ 28995 h 204"/>
                <a:gd name="T92" fmla="*/ 152068 w 574"/>
                <a:gd name="T93" fmla="*/ 27921 h 204"/>
                <a:gd name="T94" fmla="*/ 144203 w 574"/>
                <a:gd name="T95" fmla="*/ 27921 h 204"/>
                <a:gd name="T96" fmla="*/ 136337 w 574"/>
                <a:gd name="T97" fmla="*/ 27385 h 204"/>
                <a:gd name="T98" fmla="*/ 131967 w 574"/>
                <a:gd name="T99" fmla="*/ 26311 h 204"/>
                <a:gd name="T100" fmla="*/ 128471 w 574"/>
                <a:gd name="T101" fmla="*/ 23089 h 204"/>
                <a:gd name="T102" fmla="*/ 126723 w 574"/>
                <a:gd name="T103" fmla="*/ 17182 h 204"/>
                <a:gd name="T104" fmla="*/ 62051 w 574"/>
                <a:gd name="T105" fmla="*/ 0 h 20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4" h="204">
                  <a:moveTo>
                    <a:pt x="142" y="0"/>
                  </a:moveTo>
                  <a:lnTo>
                    <a:pt x="127" y="1"/>
                  </a:lnTo>
                  <a:lnTo>
                    <a:pt x="111" y="3"/>
                  </a:lnTo>
                  <a:lnTo>
                    <a:pt x="95" y="6"/>
                  </a:lnTo>
                  <a:lnTo>
                    <a:pt x="80" y="11"/>
                  </a:lnTo>
                  <a:lnTo>
                    <a:pt x="66" y="16"/>
                  </a:lnTo>
                  <a:lnTo>
                    <a:pt x="52" y="21"/>
                  </a:lnTo>
                  <a:lnTo>
                    <a:pt x="43" y="26"/>
                  </a:lnTo>
                  <a:lnTo>
                    <a:pt x="36" y="31"/>
                  </a:lnTo>
                  <a:lnTo>
                    <a:pt x="30" y="35"/>
                  </a:lnTo>
                  <a:lnTo>
                    <a:pt x="24" y="42"/>
                  </a:lnTo>
                  <a:lnTo>
                    <a:pt x="16" y="51"/>
                  </a:lnTo>
                  <a:lnTo>
                    <a:pt x="10" y="61"/>
                  </a:lnTo>
                  <a:lnTo>
                    <a:pt x="4" y="71"/>
                  </a:lnTo>
                  <a:lnTo>
                    <a:pt x="1" y="79"/>
                  </a:lnTo>
                  <a:lnTo>
                    <a:pt x="0" y="82"/>
                  </a:lnTo>
                  <a:lnTo>
                    <a:pt x="0" y="85"/>
                  </a:lnTo>
                  <a:lnTo>
                    <a:pt x="1" y="86"/>
                  </a:lnTo>
                  <a:lnTo>
                    <a:pt x="3" y="87"/>
                  </a:lnTo>
                  <a:lnTo>
                    <a:pt x="13" y="86"/>
                  </a:lnTo>
                  <a:lnTo>
                    <a:pt x="22" y="85"/>
                  </a:lnTo>
                  <a:lnTo>
                    <a:pt x="29" y="83"/>
                  </a:lnTo>
                  <a:lnTo>
                    <a:pt x="38" y="81"/>
                  </a:lnTo>
                  <a:lnTo>
                    <a:pt x="52" y="75"/>
                  </a:lnTo>
                  <a:lnTo>
                    <a:pt x="66" y="66"/>
                  </a:lnTo>
                  <a:lnTo>
                    <a:pt x="80" y="58"/>
                  </a:lnTo>
                  <a:lnTo>
                    <a:pt x="94" y="50"/>
                  </a:lnTo>
                  <a:lnTo>
                    <a:pt x="102" y="46"/>
                  </a:lnTo>
                  <a:lnTo>
                    <a:pt x="111" y="43"/>
                  </a:lnTo>
                  <a:lnTo>
                    <a:pt x="119" y="40"/>
                  </a:lnTo>
                  <a:lnTo>
                    <a:pt x="129" y="37"/>
                  </a:lnTo>
                  <a:lnTo>
                    <a:pt x="175" y="37"/>
                  </a:lnTo>
                  <a:lnTo>
                    <a:pt x="175" y="43"/>
                  </a:lnTo>
                  <a:lnTo>
                    <a:pt x="176" y="48"/>
                  </a:lnTo>
                  <a:lnTo>
                    <a:pt x="178" y="52"/>
                  </a:lnTo>
                  <a:lnTo>
                    <a:pt x="180" y="55"/>
                  </a:lnTo>
                  <a:lnTo>
                    <a:pt x="181" y="58"/>
                  </a:lnTo>
                  <a:lnTo>
                    <a:pt x="184" y="59"/>
                  </a:lnTo>
                  <a:lnTo>
                    <a:pt x="186" y="60"/>
                  </a:lnTo>
                  <a:lnTo>
                    <a:pt x="190" y="61"/>
                  </a:lnTo>
                  <a:lnTo>
                    <a:pt x="206" y="60"/>
                  </a:lnTo>
                  <a:lnTo>
                    <a:pt x="229" y="61"/>
                  </a:lnTo>
                  <a:lnTo>
                    <a:pt x="250" y="69"/>
                  </a:lnTo>
                  <a:lnTo>
                    <a:pt x="269" y="78"/>
                  </a:lnTo>
                  <a:lnTo>
                    <a:pt x="285" y="86"/>
                  </a:lnTo>
                  <a:lnTo>
                    <a:pt x="302" y="95"/>
                  </a:lnTo>
                  <a:lnTo>
                    <a:pt x="318" y="103"/>
                  </a:lnTo>
                  <a:lnTo>
                    <a:pt x="336" y="111"/>
                  </a:lnTo>
                  <a:lnTo>
                    <a:pt x="354" y="118"/>
                  </a:lnTo>
                  <a:lnTo>
                    <a:pt x="375" y="123"/>
                  </a:lnTo>
                  <a:lnTo>
                    <a:pt x="375" y="129"/>
                  </a:lnTo>
                  <a:lnTo>
                    <a:pt x="376" y="134"/>
                  </a:lnTo>
                  <a:lnTo>
                    <a:pt x="379" y="138"/>
                  </a:lnTo>
                  <a:lnTo>
                    <a:pt x="382" y="142"/>
                  </a:lnTo>
                  <a:lnTo>
                    <a:pt x="388" y="147"/>
                  </a:lnTo>
                  <a:lnTo>
                    <a:pt x="396" y="152"/>
                  </a:lnTo>
                  <a:lnTo>
                    <a:pt x="415" y="159"/>
                  </a:lnTo>
                  <a:lnTo>
                    <a:pt x="428" y="166"/>
                  </a:lnTo>
                  <a:lnTo>
                    <a:pt x="417" y="176"/>
                  </a:lnTo>
                  <a:lnTo>
                    <a:pt x="402" y="191"/>
                  </a:lnTo>
                  <a:lnTo>
                    <a:pt x="404" y="195"/>
                  </a:lnTo>
                  <a:lnTo>
                    <a:pt x="407" y="197"/>
                  </a:lnTo>
                  <a:lnTo>
                    <a:pt x="410" y="199"/>
                  </a:lnTo>
                  <a:lnTo>
                    <a:pt x="414" y="201"/>
                  </a:lnTo>
                  <a:lnTo>
                    <a:pt x="421" y="203"/>
                  </a:lnTo>
                  <a:lnTo>
                    <a:pt x="429" y="204"/>
                  </a:lnTo>
                  <a:lnTo>
                    <a:pt x="445" y="204"/>
                  </a:lnTo>
                  <a:lnTo>
                    <a:pt x="461" y="204"/>
                  </a:lnTo>
                  <a:lnTo>
                    <a:pt x="554" y="191"/>
                  </a:lnTo>
                  <a:lnTo>
                    <a:pt x="555" y="189"/>
                  </a:lnTo>
                  <a:lnTo>
                    <a:pt x="556" y="186"/>
                  </a:lnTo>
                  <a:lnTo>
                    <a:pt x="559" y="183"/>
                  </a:lnTo>
                  <a:lnTo>
                    <a:pt x="562" y="179"/>
                  </a:lnTo>
                  <a:lnTo>
                    <a:pt x="565" y="177"/>
                  </a:lnTo>
                  <a:lnTo>
                    <a:pt x="568" y="174"/>
                  </a:lnTo>
                  <a:lnTo>
                    <a:pt x="572" y="173"/>
                  </a:lnTo>
                  <a:lnTo>
                    <a:pt x="574" y="172"/>
                  </a:lnTo>
                  <a:lnTo>
                    <a:pt x="574" y="161"/>
                  </a:lnTo>
                  <a:lnTo>
                    <a:pt x="574" y="154"/>
                  </a:lnTo>
                  <a:lnTo>
                    <a:pt x="561" y="153"/>
                  </a:lnTo>
                  <a:lnTo>
                    <a:pt x="546" y="151"/>
                  </a:lnTo>
                  <a:lnTo>
                    <a:pt x="532" y="148"/>
                  </a:lnTo>
                  <a:lnTo>
                    <a:pt x="518" y="143"/>
                  </a:lnTo>
                  <a:lnTo>
                    <a:pt x="504" y="138"/>
                  </a:lnTo>
                  <a:lnTo>
                    <a:pt x="489" y="132"/>
                  </a:lnTo>
                  <a:lnTo>
                    <a:pt x="475" y="124"/>
                  </a:lnTo>
                  <a:lnTo>
                    <a:pt x="461" y="116"/>
                  </a:lnTo>
                  <a:lnTo>
                    <a:pt x="433" y="100"/>
                  </a:lnTo>
                  <a:lnTo>
                    <a:pt x="407" y="84"/>
                  </a:lnTo>
                  <a:lnTo>
                    <a:pt x="383" y="68"/>
                  </a:lnTo>
                  <a:lnTo>
                    <a:pt x="362" y="55"/>
                  </a:lnTo>
                  <a:lnTo>
                    <a:pt x="358" y="54"/>
                  </a:lnTo>
                  <a:lnTo>
                    <a:pt x="353" y="52"/>
                  </a:lnTo>
                  <a:lnTo>
                    <a:pt x="348" y="52"/>
                  </a:lnTo>
                  <a:lnTo>
                    <a:pt x="342" y="52"/>
                  </a:lnTo>
                  <a:lnTo>
                    <a:pt x="330" y="52"/>
                  </a:lnTo>
                  <a:lnTo>
                    <a:pt x="318" y="52"/>
                  </a:lnTo>
                  <a:lnTo>
                    <a:pt x="312" y="51"/>
                  </a:lnTo>
                  <a:lnTo>
                    <a:pt x="306" y="50"/>
                  </a:lnTo>
                  <a:lnTo>
                    <a:pt x="302" y="49"/>
                  </a:lnTo>
                  <a:lnTo>
                    <a:pt x="297" y="46"/>
                  </a:lnTo>
                  <a:lnTo>
                    <a:pt x="294" y="43"/>
                  </a:lnTo>
                  <a:lnTo>
                    <a:pt x="291" y="38"/>
                  </a:lnTo>
                  <a:lnTo>
                    <a:pt x="290" y="32"/>
                  </a:lnTo>
                  <a:lnTo>
                    <a:pt x="288" y="25"/>
                  </a:lnTo>
                  <a:lnTo>
                    <a:pt x="142"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8" name="Freeform 217">
              <a:extLst>
                <a:ext uri="{FF2B5EF4-FFF2-40B4-BE49-F238E27FC236}">
                  <a16:creationId xmlns:a16="http://schemas.microsoft.com/office/drawing/2014/main" id="{6D347938-767B-4BD8-AC09-31D38D3CCD55}"/>
                </a:ext>
              </a:extLst>
            </p:cNvPr>
            <p:cNvSpPr>
              <a:spLocks/>
            </p:cNvSpPr>
            <p:nvPr>
              <p:custDataLst>
                <p:tags r:id="rId144"/>
              </p:custDataLst>
            </p:nvPr>
          </p:nvSpPr>
          <p:spPr bwMode="auto">
            <a:xfrm>
              <a:off x="2232023" y="3046389"/>
              <a:ext cx="88900" cy="69849"/>
            </a:xfrm>
            <a:custGeom>
              <a:avLst/>
              <a:gdLst>
                <a:gd name="T0" fmla="*/ 17608 w 207"/>
                <a:gd name="T1" fmla="*/ 69850 h 129"/>
                <a:gd name="T2" fmla="*/ 21473 w 207"/>
                <a:gd name="T3" fmla="*/ 65518 h 129"/>
                <a:gd name="T4" fmla="*/ 25768 w 207"/>
                <a:gd name="T5" fmla="*/ 62269 h 129"/>
                <a:gd name="T6" fmla="*/ 30063 w 207"/>
                <a:gd name="T7" fmla="*/ 59562 h 129"/>
                <a:gd name="T8" fmla="*/ 34787 w 207"/>
                <a:gd name="T9" fmla="*/ 56855 h 129"/>
                <a:gd name="T10" fmla="*/ 45094 w 207"/>
                <a:gd name="T11" fmla="*/ 53606 h 129"/>
                <a:gd name="T12" fmla="*/ 55401 w 207"/>
                <a:gd name="T13" fmla="*/ 49816 h 129"/>
                <a:gd name="T14" fmla="*/ 65279 w 207"/>
                <a:gd name="T15" fmla="*/ 47108 h 129"/>
                <a:gd name="T16" fmla="*/ 74298 w 207"/>
                <a:gd name="T17" fmla="*/ 43859 h 129"/>
                <a:gd name="T18" fmla="*/ 78163 w 207"/>
                <a:gd name="T19" fmla="*/ 41693 h 129"/>
                <a:gd name="T20" fmla="*/ 82029 w 207"/>
                <a:gd name="T21" fmla="*/ 39528 h 129"/>
                <a:gd name="T22" fmla="*/ 85894 w 207"/>
                <a:gd name="T23" fmla="*/ 36279 h 129"/>
                <a:gd name="T24" fmla="*/ 88900 w 207"/>
                <a:gd name="T25" fmla="*/ 33030 h 129"/>
                <a:gd name="T26" fmla="*/ 85035 w 207"/>
                <a:gd name="T27" fmla="*/ 29240 h 129"/>
                <a:gd name="T28" fmla="*/ 80740 w 207"/>
                <a:gd name="T29" fmla="*/ 25449 h 129"/>
                <a:gd name="T30" fmla="*/ 76875 w 207"/>
                <a:gd name="T31" fmla="*/ 22742 h 129"/>
                <a:gd name="T32" fmla="*/ 72580 w 207"/>
                <a:gd name="T33" fmla="*/ 19493 h 129"/>
                <a:gd name="T34" fmla="*/ 64420 w 207"/>
                <a:gd name="T35" fmla="*/ 15703 h 129"/>
                <a:gd name="T36" fmla="*/ 55401 w 207"/>
                <a:gd name="T37" fmla="*/ 12454 h 129"/>
                <a:gd name="T38" fmla="*/ 45953 w 207"/>
                <a:gd name="T39" fmla="*/ 9747 h 129"/>
                <a:gd name="T40" fmla="*/ 36505 w 207"/>
                <a:gd name="T41" fmla="*/ 7039 h 129"/>
                <a:gd name="T42" fmla="*/ 27057 w 207"/>
                <a:gd name="T43" fmla="*/ 3790 h 129"/>
                <a:gd name="T44" fmla="*/ 17608 w 207"/>
                <a:gd name="T45" fmla="*/ 0 h 129"/>
                <a:gd name="T46" fmla="*/ 0 w 207"/>
                <a:gd name="T47" fmla="*/ 0 h 129"/>
                <a:gd name="T48" fmla="*/ 429 w 207"/>
                <a:gd name="T49" fmla="*/ 3249 h 129"/>
                <a:gd name="T50" fmla="*/ 859 w 207"/>
                <a:gd name="T51" fmla="*/ 7039 h 129"/>
                <a:gd name="T52" fmla="*/ 1718 w 207"/>
                <a:gd name="T53" fmla="*/ 10288 h 129"/>
                <a:gd name="T54" fmla="*/ 2577 w 207"/>
                <a:gd name="T55" fmla="*/ 13537 h 129"/>
                <a:gd name="T56" fmla="*/ 4295 w 207"/>
                <a:gd name="T57" fmla="*/ 18952 h 129"/>
                <a:gd name="T58" fmla="*/ 5583 w 207"/>
                <a:gd name="T59" fmla="*/ 24908 h 129"/>
                <a:gd name="T60" fmla="*/ 7301 w 207"/>
                <a:gd name="T61" fmla="*/ 29240 h 129"/>
                <a:gd name="T62" fmla="*/ 7730 w 207"/>
                <a:gd name="T63" fmla="*/ 33571 h 129"/>
                <a:gd name="T64" fmla="*/ 7301 w 207"/>
                <a:gd name="T65" fmla="*/ 35196 h 129"/>
                <a:gd name="T66" fmla="*/ 6013 w 207"/>
                <a:gd name="T67" fmla="*/ 36820 h 129"/>
                <a:gd name="T68" fmla="*/ 4724 w 207"/>
                <a:gd name="T69" fmla="*/ 38445 h 129"/>
                <a:gd name="T70" fmla="*/ 3006 w 207"/>
                <a:gd name="T71" fmla="*/ 39528 h 129"/>
                <a:gd name="T72" fmla="*/ 0 w 207"/>
                <a:gd name="T73" fmla="*/ 56313 h 129"/>
                <a:gd name="T74" fmla="*/ 1718 w 207"/>
                <a:gd name="T75" fmla="*/ 57396 h 129"/>
                <a:gd name="T76" fmla="*/ 5583 w 207"/>
                <a:gd name="T77" fmla="*/ 59562 h 129"/>
                <a:gd name="T78" fmla="*/ 8160 w 207"/>
                <a:gd name="T79" fmla="*/ 61186 h 129"/>
                <a:gd name="T80" fmla="*/ 10737 w 207"/>
                <a:gd name="T81" fmla="*/ 63352 h 129"/>
                <a:gd name="T82" fmla="*/ 14172 w 207"/>
                <a:gd name="T83" fmla="*/ 66060 h 129"/>
                <a:gd name="T84" fmla="*/ 17608 w 207"/>
                <a:gd name="T85" fmla="*/ 69850 h 12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07" h="129">
                  <a:moveTo>
                    <a:pt x="41" y="129"/>
                  </a:moveTo>
                  <a:lnTo>
                    <a:pt x="50" y="121"/>
                  </a:lnTo>
                  <a:lnTo>
                    <a:pt x="60" y="115"/>
                  </a:lnTo>
                  <a:lnTo>
                    <a:pt x="70" y="110"/>
                  </a:lnTo>
                  <a:lnTo>
                    <a:pt x="81" y="105"/>
                  </a:lnTo>
                  <a:lnTo>
                    <a:pt x="105" y="99"/>
                  </a:lnTo>
                  <a:lnTo>
                    <a:pt x="129" y="92"/>
                  </a:lnTo>
                  <a:lnTo>
                    <a:pt x="152" y="87"/>
                  </a:lnTo>
                  <a:lnTo>
                    <a:pt x="173" y="81"/>
                  </a:lnTo>
                  <a:lnTo>
                    <a:pt x="182" y="77"/>
                  </a:lnTo>
                  <a:lnTo>
                    <a:pt x="191" y="73"/>
                  </a:lnTo>
                  <a:lnTo>
                    <a:pt x="200" y="67"/>
                  </a:lnTo>
                  <a:lnTo>
                    <a:pt x="207" y="61"/>
                  </a:lnTo>
                  <a:lnTo>
                    <a:pt x="198" y="54"/>
                  </a:lnTo>
                  <a:lnTo>
                    <a:pt x="188" y="47"/>
                  </a:lnTo>
                  <a:lnTo>
                    <a:pt x="179" y="42"/>
                  </a:lnTo>
                  <a:lnTo>
                    <a:pt x="169" y="36"/>
                  </a:lnTo>
                  <a:lnTo>
                    <a:pt x="150" y="29"/>
                  </a:lnTo>
                  <a:lnTo>
                    <a:pt x="129" y="23"/>
                  </a:lnTo>
                  <a:lnTo>
                    <a:pt x="107" y="18"/>
                  </a:lnTo>
                  <a:lnTo>
                    <a:pt x="85" y="13"/>
                  </a:lnTo>
                  <a:lnTo>
                    <a:pt x="63" y="7"/>
                  </a:lnTo>
                  <a:lnTo>
                    <a:pt x="41" y="0"/>
                  </a:lnTo>
                  <a:lnTo>
                    <a:pt x="0" y="0"/>
                  </a:lnTo>
                  <a:lnTo>
                    <a:pt x="1" y="6"/>
                  </a:lnTo>
                  <a:lnTo>
                    <a:pt x="2" y="13"/>
                  </a:lnTo>
                  <a:lnTo>
                    <a:pt x="4" y="19"/>
                  </a:lnTo>
                  <a:lnTo>
                    <a:pt x="6" y="25"/>
                  </a:lnTo>
                  <a:lnTo>
                    <a:pt x="10" y="35"/>
                  </a:lnTo>
                  <a:lnTo>
                    <a:pt x="13" y="46"/>
                  </a:lnTo>
                  <a:lnTo>
                    <a:pt x="17" y="54"/>
                  </a:lnTo>
                  <a:lnTo>
                    <a:pt x="18" y="62"/>
                  </a:lnTo>
                  <a:lnTo>
                    <a:pt x="17" y="65"/>
                  </a:lnTo>
                  <a:lnTo>
                    <a:pt x="14" y="68"/>
                  </a:lnTo>
                  <a:lnTo>
                    <a:pt x="11" y="71"/>
                  </a:lnTo>
                  <a:lnTo>
                    <a:pt x="7" y="73"/>
                  </a:lnTo>
                  <a:lnTo>
                    <a:pt x="0" y="104"/>
                  </a:lnTo>
                  <a:lnTo>
                    <a:pt x="4" y="106"/>
                  </a:lnTo>
                  <a:lnTo>
                    <a:pt x="13" y="110"/>
                  </a:lnTo>
                  <a:lnTo>
                    <a:pt x="19" y="113"/>
                  </a:lnTo>
                  <a:lnTo>
                    <a:pt x="25" y="117"/>
                  </a:lnTo>
                  <a:lnTo>
                    <a:pt x="33" y="122"/>
                  </a:lnTo>
                  <a:lnTo>
                    <a:pt x="41" y="12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49" name="Freeform 218">
              <a:extLst>
                <a:ext uri="{FF2B5EF4-FFF2-40B4-BE49-F238E27FC236}">
                  <a16:creationId xmlns:a16="http://schemas.microsoft.com/office/drawing/2014/main" id="{75993147-3FE2-43D6-87EC-BA1F91747852}"/>
                </a:ext>
              </a:extLst>
            </p:cNvPr>
            <p:cNvSpPr>
              <a:spLocks/>
            </p:cNvSpPr>
            <p:nvPr>
              <p:custDataLst>
                <p:tags r:id="rId145"/>
              </p:custDataLst>
            </p:nvPr>
          </p:nvSpPr>
          <p:spPr bwMode="auto">
            <a:xfrm>
              <a:off x="1800223" y="3106714"/>
              <a:ext cx="33338" cy="84136"/>
            </a:xfrm>
            <a:custGeom>
              <a:avLst/>
              <a:gdLst>
                <a:gd name="T0" fmla="*/ 33338 w 72"/>
                <a:gd name="T1" fmla="*/ 0 h 154"/>
                <a:gd name="T2" fmla="*/ 31949 w 72"/>
                <a:gd name="T3" fmla="*/ 2185 h 154"/>
                <a:gd name="T4" fmla="*/ 31023 w 72"/>
                <a:gd name="T5" fmla="*/ 4917 h 154"/>
                <a:gd name="T6" fmla="*/ 30560 w 72"/>
                <a:gd name="T7" fmla="*/ 7102 h 154"/>
                <a:gd name="T8" fmla="*/ 30560 w 72"/>
                <a:gd name="T9" fmla="*/ 9834 h 154"/>
                <a:gd name="T10" fmla="*/ 30560 w 72"/>
                <a:gd name="T11" fmla="*/ 14751 h 154"/>
                <a:gd name="T12" fmla="*/ 30560 w 72"/>
                <a:gd name="T13" fmla="*/ 20215 h 154"/>
                <a:gd name="T14" fmla="*/ 31949 w 72"/>
                <a:gd name="T15" fmla="*/ 23493 h 154"/>
                <a:gd name="T16" fmla="*/ 32875 w 72"/>
                <a:gd name="T17" fmla="*/ 27317 h 154"/>
                <a:gd name="T18" fmla="*/ 32875 w 72"/>
                <a:gd name="T19" fmla="*/ 31142 h 154"/>
                <a:gd name="T20" fmla="*/ 32875 w 72"/>
                <a:gd name="T21" fmla="*/ 35512 h 154"/>
                <a:gd name="T22" fmla="*/ 31949 w 72"/>
                <a:gd name="T23" fmla="*/ 39883 h 154"/>
                <a:gd name="T24" fmla="*/ 31023 w 72"/>
                <a:gd name="T25" fmla="*/ 44800 h 154"/>
                <a:gd name="T26" fmla="*/ 30097 w 72"/>
                <a:gd name="T27" fmla="*/ 49717 h 154"/>
                <a:gd name="T28" fmla="*/ 28245 w 72"/>
                <a:gd name="T29" fmla="*/ 54634 h 154"/>
                <a:gd name="T30" fmla="*/ 24540 w 72"/>
                <a:gd name="T31" fmla="*/ 63376 h 154"/>
                <a:gd name="T32" fmla="*/ 20373 w 72"/>
                <a:gd name="T33" fmla="*/ 71571 h 154"/>
                <a:gd name="T34" fmla="*/ 15743 w 72"/>
                <a:gd name="T35" fmla="*/ 78674 h 154"/>
                <a:gd name="T36" fmla="*/ 12039 w 72"/>
                <a:gd name="T37" fmla="*/ 84137 h 154"/>
                <a:gd name="T38" fmla="*/ 12039 w 72"/>
                <a:gd name="T39" fmla="*/ 77035 h 154"/>
                <a:gd name="T40" fmla="*/ 6945 w 72"/>
                <a:gd name="T41" fmla="*/ 78674 h 154"/>
                <a:gd name="T42" fmla="*/ 0 w 72"/>
                <a:gd name="T43" fmla="*/ 80859 h 154"/>
                <a:gd name="T44" fmla="*/ 1389 w 72"/>
                <a:gd name="T45" fmla="*/ 70478 h 154"/>
                <a:gd name="T46" fmla="*/ 3704 w 72"/>
                <a:gd name="T47" fmla="*/ 57366 h 154"/>
                <a:gd name="T48" fmla="*/ 4167 w 72"/>
                <a:gd name="T49" fmla="*/ 50264 h 154"/>
                <a:gd name="T50" fmla="*/ 5556 w 72"/>
                <a:gd name="T51" fmla="*/ 42069 h 154"/>
                <a:gd name="T52" fmla="*/ 6945 w 72"/>
                <a:gd name="T53" fmla="*/ 34420 h 154"/>
                <a:gd name="T54" fmla="*/ 9261 w 72"/>
                <a:gd name="T55" fmla="*/ 26771 h 154"/>
                <a:gd name="T56" fmla="*/ 9261 w 72"/>
                <a:gd name="T57" fmla="*/ 0 h 154"/>
                <a:gd name="T58" fmla="*/ 11576 w 72"/>
                <a:gd name="T59" fmla="*/ 0 h 154"/>
                <a:gd name="T60" fmla="*/ 17595 w 72"/>
                <a:gd name="T61" fmla="*/ 0 h 154"/>
                <a:gd name="T62" fmla="*/ 25930 w 72"/>
                <a:gd name="T63" fmla="*/ 0 h 154"/>
                <a:gd name="T64" fmla="*/ 33338 w 72"/>
                <a:gd name="T65" fmla="*/ 0 h 15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72" h="154">
                  <a:moveTo>
                    <a:pt x="72" y="0"/>
                  </a:moveTo>
                  <a:lnTo>
                    <a:pt x="69" y="4"/>
                  </a:lnTo>
                  <a:lnTo>
                    <a:pt x="67" y="9"/>
                  </a:lnTo>
                  <a:lnTo>
                    <a:pt x="66" y="13"/>
                  </a:lnTo>
                  <a:lnTo>
                    <a:pt x="66" y="18"/>
                  </a:lnTo>
                  <a:lnTo>
                    <a:pt x="66" y="27"/>
                  </a:lnTo>
                  <a:lnTo>
                    <a:pt x="66" y="37"/>
                  </a:lnTo>
                  <a:lnTo>
                    <a:pt x="69" y="43"/>
                  </a:lnTo>
                  <a:lnTo>
                    <a:pt x="71" y="50"/>
                  </a:lnTo>
                  <a:lnTo>
                    <a:pt x="71" y="57"/>
                  </a:lnTo>
                  <a:lnTo>
                    <a:pt x="71" y="65"/>
                  </a:lnTo>
                  <a:lnTo>
                    <a:pt x="69" y="73"/>
                  </a:lnTo>
                  <a:lnTo>
                    <a:pt x="67" y="82"/>
                  </a:lnTo>
                  <a:lnTo>
                    <a:pt x="65" y="91"/>
                  </a:lnTo>
                  <a:lnTo>
                    <a:pt x="61" y="100"/>
                  </a:lnTo>
                  <a:lnTo>
                    <a:pt x="53" y="116"/>
                  </a:lnTo>
                  <a:lnTo>
                    <a:pt x="44" y="131"/>
                  </a:lnTo>
                  <a:lnTo>
                    <a:pt x="34" y="144"/>
                  </a:lnTo>
                  <a:lnTo>
                    <a:pt x="26" y="154"/>
                  </a:lnTo>
                  <a:lnTo>
                    <a:pt x="26" y="141"/>
                  </a:lnTo>
                  <a:lnTo>
                    <a:pt x="15" y="144"/>
                  </a:lnTo>
                  <a:lnTo>
                    <a:pt x="0" y="148"/>
                  </a:lnTo>
                  <a:lnTo>
                    <a:pt x="3" y="129"/>
                  </a:lnTo>
                  <a:lnTo>
                    <a:pt x="8" y="105"/>
                  </a:lnTo>
                  <a:lnTo>
                    <a:pt x="9" y="92"/>
                  </a:lnTo>
                  <a:lnTo>
                    <a:pt x="12" y="77"/>
                  </a:lnTo>
                  <a:lnTo>
                    <a:pt x="15" y="63"/>
                  </a:lnTo>
                  <a:lnTo>
                    <a:pt x="20" y="49"/>
                  </a:lnTo>
                  <a:lnTo>
                    <a:pt x="20" y="0"/>
                  </a:lnTo>
                  <a:lnTo>
                    <a:pt x="25" y="0"/>
                  </a:lnTo>
                  <a:lnTo>
                    <a:pt x="38" y="0"/>
                  </a:lnTo>
                  <a:lnTo>
                    <a:pt x="56" y="0"/>
                  </a:lnTo>
                  <a:lnTo>
                    <a:pt x="7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0" name="Freeform 219">
              <a:extLst>
                <a:ext uri="{FF2B5EF4-FFF2-40B4-BE49-F238E27FC236}">
                  <a16:creationId xmlns:a16="http://schemas.microsoft.com/office/drawing/2014/main" id="{3340B82C-D4E2-42EE-B88E-663B88754CD7}"/>
                </a:ext>
              </a:extLst>
            </p:cNvPr>
            <p:cNvSpPr>
              <a:spLocks/>
            </p:cNvSpPr>
            <p:nvPr>
              <p:custDataLst>
                <p:tags r:id="rId146"/>
              </p:custDataLst>
            </p:nvPr>
          </p:nvSpPr>
          <p:spPr bwMode="auto">
            <a:xfrm>
              <a:off x="1720848" y="3106714"/>
              <a:ext cx="93663" cy="146049"/>
            </a:xfrm>
            <a:custGeom>
              <a:avLst/>
              <a:gdLst>
                <a:gd name="T0" fmla="*/ 3501 w 214"/>
                <a:gd name="T1" fmla="*/ 111558 h 271"/>
                <a:gd name="T2" fmla="*/ 5252 w 214"/>
                <a:gd name="T3" fmla="*/ 97546 h 271"/>
                <a:gd name="T4" fmla="*/ 10504 w 214"/>
                <a:gd name="T5" fmla="*/ 79762 h 271"/>
                <a:gd name="T6" fmla="*/ 15319 w 214"/>
                <a:gd name="T7" fmla="*/ 63594 h 271"/>
                <a:gd name="T8" fmla="*/ 19258 w 214"/>
                <a:gd name="T9" fmla="*/ 60360 h 271"/>
                <a:gd name="T10" fmla="*/ 28449 w 214"/>
                <a:gd name="T11" fmla="*/ 59821 h 271"/>
                <a:gd name="T12" fmla="*/ 38953 w 214"/>
                <a:gd name="T13" fmla="*/ 59821 h 271"/>
                <a:gd name="T14" fmla="*/ 46394 w 214"/>
                <a:gd name="T15" fmla="*/ 59282 h 271"/>
                <a:gd name="T16" fmla="*/ 52521 w 214"/>
                <a:gd name="T17" fmla="*/ 56588 h 271"/>
                <a:gd name="T18" fmla="*/ 56898 w 214"/>
                <a:gd name="T19" fmla="*/ 50659 h 271"/>
                <a:gd name="T20" fmla="*/ 49458 w 214"/>
                <a:gd name="T21" fmla="*/ 39342 h 271"/>
                <a:gd name="T22" fmla="*/ 37640 w 214"/>
                <a:gd name="T23" fmla="*/ 31258 h 271"/>
                <a:gd name="T24" fmla="*/ 33701 w 214"/>
                <a:gd name="T25" fmla="*/ 26408 h 271"/>
                <a:gd name="T26" fmla="*/ 32388 w 214"/>
                <a:gd name="T27" fmla="*/ 22096 h 271"/>
                <a:gd name="T28" fmla="*/ 32826 w 214"/>
                <a:gd name="T29" fmla="*/ 18324 h 271"/>
                <a:gd name="T30" fmla="*/ 35890 w 214"/>
                <a:gd name="T31" fmla="*/ 15090 h 271"/>
                <a:gd name="T32" fmla="*/ 44205 w 214"/>
                <a:gd name="T33" fmla="*/ 10240 h 271"/>
                <a:gd name="T34" fmla="*/ 65652 w 214"/>
                <a:gd name="T35" fmla="*/ 1617 h 271"/>
                <a:gd name="T36" fmla="*/ 78782 w 214"/>
                <a:gd name="T37" fmla="*/ 0 h 271"/>
                <a:gd name="T38" fmla="*/ 86660 w 214"/>
                <a:gd name="T39" fmla="*/ 0 h 271"/>
                <a:gd name="T40" fmla="*/ 90599 w 214"/>
                <a:gd name="T41" fmla="*/ 26408 h 271"/>
                <a:gd name="T42" fmla="*/ 87098 w 214"/>
                <a:gd name="T43" fmla="*/ 41498 h 271"/>
                <a:gd name="T44" fmla="*/ 85347 w 214"/>
                <a:gd name="T45" fmla="*/ 56588 h 271"/>
                <a:gd name="T46" fmla="*/ 81846 w 214"/>
                <a:gd name="T47" fmla="*/ 79762 h 271"/>
                <a:gd name="T48" fmla="*/ 93225 w 214"/>
                <a:gd name="T49" fmla="*/ 82995 h 271"/>
                <a:gd name="T50" fmla="*/ 93663 w 214"/>
                <a:gd name="T51" fmla="*/ 89462 h 271"/>
                <a:gd name="T52" fmla="*/ 91912 w 214"/>
                <a:gd name="T53" fmla="*/ 93774 h 271"/>
                <a:gd name="T54" fmla="*/ 90599 w 214"/>
                <a:gd name="T55" fmla="*/ 95391 h 271"/>
                <a:gd name="T56" fmla="*/ 87536 w 214"/>
                <a:gd name="T57" fmla="*/ 95930 h 271"/>
                <a:gd name="T58" fmla="*/ 84034 w 214"/>
                <a:gd name="T59" fmla="*/ 105630 h 271"/>
                <a:gd name="T60" fmla="*/ 79220 w 214"/>
                <a:gd name="T61" fmla="*/ 115331 h 271"/>
                <a:gd name="T62" fmla="*/ 67840 w 214"/>
                <a:gd name="T63" fmla="*/ 130960 h 271"/>
                <a:gd name="T64" fmla="*/ 52521 w 214"/>
                <a:gd name="T65" fmla="*/ 146050 h 271"/>
                <a:gd name="T66" fmla="*/ 38078 w 214"/>
                <a:gd name="T67" fmla="*/ 140661 h 271"/>
                <a:gd name="T68" fmla="*/ 24072 w 214"/>
                <a:gd name="T69" fmla="*/ 133655 h 271"/>
                <a:gd name="T70" fmla="*/ 0 w 214"/>
                <a:gd name="T71" fmla="*/ 119104 h 27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14" h="271">
                  <a:moveTo>
                    <a:pt x="7" y="221"/>
                  </a:moveTo>
                  <a:lnTo>
                    <a:pt x="8" y="207"/>
                  </a:lnTo>
                  <a:lnTo>
                    <a:pt x="9" y="192"/>
                  </a:lnTo>
                  <a:lnTo>
                    <a:pt x="12" y="181"/>
                  </a:lnTo>
                  <a:lnTo>
                    <a:pt x="16" y="170"/>
                  </a:lnTo>
                  <a:lnTo>
                    <a:pt x="24" y="148"/>
                  </a:lnTo>
                  <a:lnTo>
                    <a:pt x="34" y="123"/>
                  </a:lnTo>
                  <a:lnTo>
                    <a:pt x="35" y="118"/>
                  </a:lnTo>
                  <a:lnTo>
                    <a:pt x="40" y="114"/>
                  </a:lnTo>
                  <a:lnTo>
                    <a:pt x="44" y="112"/>
                  </a:lnTo>
                  <a:lnTo>
                    <a:pt x="51" y="111"/>
                  </a:lnTo>
                  <a:lnTo>
                    <a:pt x="65" y="111"/>
                  </a:lnTo>
                  <a:lnTo>
                    <a:pt x="82" y="111"/>
                  </a:lnTo>
                  <a:lnTo>
                    <a:pt x="89" y="111"/>
                  </a:lnTo>
                  <a:lnTo>
                    <a:pt x="98" y="111"/>
                  </a:lnTo>
                  <a:lnTo>
                    <a:pt x="106" y="110"/>
                  </a:lnTo>
                  <a:lnTo>
                    <a:pt x="113" y="108"/>
                  </a:lnTo>
                  <a:lnTo>
                    <a:pt x="120" y="105"/>
                  </a:lnTo>
                  <a:lnTo>
                    <a:pt x="125" y="100"/>
                  </a:lnTo>
                  <a:lnTo>
                    <a:pt x="130" y="94"/>
                  </a:lnTo>
                  <a:lnTo>
                    <a:pt x="133" y="85"/>
                  </a:lnTo>
                  <a:lnTo>
                    <a:pt x="113" y="73"/>
                  </a:lnTo>
                  <a:lnTo>
                    <a:pt x="94" y="63"/>
                  </a:lnTo>
                  <a:lnTo>
                    <a:pt x="86" y="58"/>
                  </a:lnTo>
                  <a:lnTo>
                    <a:pt x="79" y="52"/>
                  </a:lnTo>
                  <a:lnTo>
                    <a:pt x="77" y="49"/>
                  </a:lnTo>
                  <a:lnTo>
                    <a:pt x="75" y="45"/>
                  </a:lnTo>
                  <a:lnTo>
                    <a:pt x="74" y="41"/>
                  </a:lnTo>
                  <a:lnTo>
                    <a:pt x="74" y="37"/>
                  </a:lnTo>
                  <a:lnTo>
                    <a:pt x="75" y="34"/>
                  </a:lnTo>
                  <a:lnTo>
                    <a:pt x="77" y="31"/>
                  </a:lnTo>
                  <a:lnTo>
                    <a:pt x="82" y="28"/>
                  </a:lnTo>
                  <a:lnTo>
                    <a:pt x="87" y="25"/>
                  </a:lnTo>
                  <a:lnTo>
                    <a:pt x="101" y="19"/>
                  </a:lnTo>
                  <a:lnTo>
                    <a:pt x="118" y="13"/>
                  </a:lnTo>
                  <a:lnTo>
                    <a:pt x="150" y="3"/>
                  </a:lnTo>
                  <a:lnTo>
                    <a:pt x="167" y="0"/>
                  </a:lnTo>
                  <a:lnTo>
                    <a:pt x="180" y="0"/>
                  </a:lnTo>
                  <a:lnTo>
                    <a:pt x="190" y="0"/>
                  </a:lnTo>
                  <a:lnTo>
                    <a:pt x="198" y="0"/>
                  </a:lnTo>
                  <a:lnTo>
                    <a:pt x="200" y="0"/>
                  </a:lnTo>
                  <a:lnTo>
                    <a:pt x="207" y="49"/>
                  </a:lnTo>
                  <a:lnTo>
                    <a:pt x="202" y="63"/>
                  </a:lnTo>
                  <a:lnTo>
                    <a:pt x="199" y="77"/>
                  </a:lnTo>
                  <a:lnTo>
                    <a:pt x="196" y="92"/>
                  </a:lnTo>
                  <a:lnTo>
                    <a:pt x="195" y="105"/>
                  </a:lnTo>
                  <a:lnTo>
                    <a:pt x="190" y="129"/>
                  </a:lnTo>
                  <a:lnTo>
                    <a:pt x="187" y="148"/>
                  </a:lnTo>
                  <a:lnTo>
                    <a:pt x="202" y="151"/>
                  </a:lnTo>
                  <a:lnTo>
                    <a:pt x="213" y="154"/>
                  </a:lnTo>
                  <a:lnTo>
                    <a:pt x="214" y="158"/>
                  </a:lnTo>
                  <a:lnTo>
                    <a:pt x="214" y="166"/>
                  </a:lnTo>
                  <a:lnTo>
                    <a:pt x="213" y="170"/>
                  </a:lnTo>
                  <a:lnTo>
                    <a:pt x="210" y="174"/>
                  </a:lnTo>
                  <a:lnTo>
                    <a:pt x="209" y="176"/>
                  </a:lnTo>
                  <a:lnTo>
                    <a:pt x="207" y="177"/>
                  </a:lnTo>
                  <a:lnTo>
                    <a:pt x="203" y="178"/>
                  </a:lnTo>
                  <a:lnTo>
                    <a:pt x="200" y="178"/>
                  </a:lnTo>
                  <a:lnTo>
                    <a:pt x="197" y="187"/>
                  </a:lnTo>
                  <a:lnTo>
                    <a:pt x="192" y="196"/>
                  </a:lnTo>
                  <a:lnTo>
                    <a:pt x="188" y="205"/>
                  </a:lnTo>
                  <a:lnTo>
                    <a:pt x="181" y="214"/>
                  </a:lnTo>
                  <a:lnTo>
                    <a:pt x="169" y="229"/>
                  </a:lnTo>
                  <a:lnTo>
                    <a:pt x="155" y="243"/>
                  </a:lnTo>
                  <a:lnTo>
                    <a:pt x="131" y="263"/>
                  </a:lnTo>
                  <a:lnTo>
                    <a:pt x="120" y="271"/>
                  </a:lnTo>
                  <a:lnTo>
                    <a:pt x="103" y="266"/>
                  </a:lnTo>
                  <a:lnTo>
                    <a:pt x="87" y="261"/>
                  </a:lnTo>
                  <a:lnTo>
                    <a:pt x="71" y="254"/>
                  </a:lnTo>
                  <a:lnTo>
                    <a:pt x="55" y="248"/>
                  </a:lnTo>
                  <a:lnTo>
                    <a:pt x="27" y="235"/>
                  </a:lnTo>
                  <a:lnTo>
                    <a:pt x="0" y="221"/>
                  </a:lnTo>
                  <a:lnTo>
                    <a:pt x="7" y="2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1" name="Freeform 220">
              <a:extLst>
                <a:ext uri="{FF2B5EF4-FFF2-40B4-BE49-F238E27FC236}">
                  <a16:creationId xmlns:a16="http://schemas.microsoft.com/office/drawing/2014/main" id="{007D22E8-A3FF-4904-9A7A-887B6045AF2E}"/>
                </a:ext>
              </a:extLst>
            </p:cNvPr>
            <p:cNvSpPr>
              <a:spLocks/>
            </p:cNvSpPr>
            <p:nvPr>
              <p:custDataLst>
                <p:tags r:id="rId147"/>
              </p:custDataLst>
            </p:nvPr>
          </p:nvSpPr>
          <p:spPr bwMode="auto">
            <a:xfrm>
              <a:off x="1768473" y="3217837"/>
              <a:ext cx="71438" cy="57150"/>
            </a:xfrm>
            <a:custGeom>
              <a:avLst/>
              <a:gdLst>
                <a:gd name="T0" fmla="*/ 28015 w 153"/>
                <a:gd name="T1" fmla="*/ 0 h 80"/>
                <a:gd name="T2" fmla="*/ 38754 w 153"/>
                <a:gd name="T3" fmla="*/ 10001 h 80"/>
                <a:gd name="T4" fmla="*/ 48559 w 153"/>
                <a:gd name="T5" fmla="*/ 17145 h 80"/>
                <a:gd name="T6" fmla="*/ 53695 w 153"/>
                <a:gd name="T7" fmla="*/ 20003 h 80"/>
                <a:gd name="T8" fmla="*/ 58831 w 153"/>
                <a:gd name="T9" fmla="*/ 22146 h 80"/>
                <a:gd name="T10" fmla="*/ 62100 w 153"/>
                <a:gd name="T11" fmla="*/ 22860 h 80"/>
                <a:gd name="T12" fmla="*/ 64901 w 153"/>
                <a:gd name="T13" fmla="*/ 22860 h 80"/>
                <a:gd name="T14" fmla="*/ 68170 w 153"/>
                <a:gd name="T15" fmla="*/ 22146 h 80"/>
                <a:gd name="T16" fmla="*/ 71438 w 153"/>
                <a:gd name="T17" fmla="*/ 21431 h 80"/>
                <a:gd name="T18" fmla="*/ 71438 w 153"/>
                <a:gd name="T19" fmla="*/ 40005 h 80"/>
                <a:gd name="T20" fmla="*/ 69570 w 153"/>
                <a:gd name="T21" fmla="*/ 42863 h 80"/>
                <a:gd name="T22" fmla="*/ 67703 w 153"/>
                <a:gd name="T23" fmla="*/ 46434 h 80"/>
                <a:gd name="T24" fmla="*/ 64434 w 153"/>
                <a:gd name="T25" fmla="*/ 49292 h 80"/>
                <a:gd name="T26" fmla="*/ 61633 w 153"/>
                <a:gd name="T27" fmla="*/ 51435 h 80"/>
                <a:gd name="T28" fmla="*/ 58364 w 153"/>
                <a:gd name="T29" fmla="*/ 53578 h 80"/>
                <a:gd name="T30" fmla="*/ 55563 w 153"/>
                <a:gd name="T31" fmla="*/ 55721 h 80"/>
                <a:gd name="T32" fmla="*/ 52294 w 153"/>
                <a:gd name="T33" fmla="*/ 56436 h 80"/>
                <a:gd name="T34" fmla="*/ 49493 w 153"/>
                <a:gd name="T35" fmla="*/ 57150 h 80"/>
                <a:gd name="T36" fmla="*/ 42022 w 153"/>
                <a:gd name="T37" fmla="*/ 52864 h 80"/>
                <a:gd name="T38" fmla="*/ 35486 w 153"/>
                <a:gd name="T39" fmla="*/ 50721 h 80"/>
                <a:gd name="T40" fmla="*/ 29416 w 153"/>
                <a:gd name="T41" fmla="*/ 49292 h 80"/>
                <a:gd name="T42" fmla="*/ 23346 w 153"/>
                <a:gd name="T43" fmla="*/ 49292 h 80"/>
                <a:gd name="T44" fmla="*/ 18210 w 153"/>
                <a:gd name="T45" fmla="*/ 48578 h 80"/>
                <a:gd name="T46" fmla="*/ 12607 w 153"/>
                <a:gd name="T47" fmla="*/ 47863 h 80"/>
                <a:gd name="T48" fmla="*/ 6537 w 153"/>
                <a:gd name="T49" fmla="*/ 46434 h 80"/>
                <a:gd name="T50" fmla="*/ 0 w 153"/>
                <a:gd name="T51" fmla="*/ 44291 h 80"/>
                <a:gd name="T52" fmla="*/ 3268 w 153"/>
                <a:gd name="T53" fmla="*/ 41434 h 80"/>
                <a:gd name="T54" fmla="*/ 10739 w 153"/>
                <a:gd name="T55" fmla="*/ 32147 h 80"/>
                <a:gd name="T56" fmla="*/ 15875 w 153"/>
                <a:gd name="T57" fmla="*/ 26432 h 80"/>
                <a:gd name="T58" fmla="*/ 21011 w 153"/>
                <a:gd name="T59" fmla="*/ 20003 h 80"/>
                <a:gd name="T60" fmla="*/ 26147 w 153"/>
                <a:gd name="T61" fmla="*/ 12144 h 80"/>
                <a:gd name="T62" fmla="*/ 31283 w 153"/>
                <a:gd name="T63" fmla="*/ 4286 h 80"/>
                <a:gd name="T64" fmla="*/ 28015 w 153"/>
                <a:gd name="T65" fmla="*/ 0 h 80"/>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53" h="80">
                  <a:moveTo>
                    <a:pt x="60" y="0"/>
                  </a:moveTo>
                  <a:lnTo>
                    <a:pt x="83" y="14"/>
                  </a:lnTo>
                  <a:lnTo>
                    <a:pt x="104" y="24"/>
                  </a:lnTo>
                  <a:lnTo>
                    <a:pt x="115" y="28"/>
                  </a:lnTo>
                  <a:lnTo>
                    <a:pt x="126" y="31"/>
                  </a:lnTo>
                  <a:lnTo>
                    <a:pt x="133" y="32"/>
                  </a:lnTo>
                  <a:lnTo>
                    <a:pt x="139" y="32"/>
                  </a:lnTo>
                  <a:lnTo>
                    <a:pt x="146" y="31"/>
                  </a:lnTo>
                  <a:lnTo>
                    <a:pt x="153" y="30"/>
                  </a:lnTo>
                  <a:lnTo>
                    <a:pt x="153" y="56"/>
                  </a:lnTo>
                  <a:lnTo>
                    <a:pt x="149" y="60"/>
                  </a:lnTo>
                  <a:lnTo>
                    <a:pt x="145" y="65"/>
                  </a:lnTo>
                  <a:lnTo>
                    <a:pt x="138" y="69"/>
                  </a:lnTo>
                  <a:lnTo>
                    <a:pt x="132" y="72"/>
                  </a:lnTo>
                  <a:lnTo>
                    <a:pt x="125" y="75"/>
                  </a:lnTo>
                  <a:lnTo>
                    <a:pt x="119" y="78"/>
                  </a:lnTo>
                  <a:lnTo>
                    <a:pt x="112" y="79"/>
                  </a:lnTo>
                  <a:lnTo>
                    <a:pt x="106" y="80"/>
                  </a:lnTo>
                  <a:lnTo>
                    <a:pt x="90" y="74"/>
                  </a:lnTo>
                  <a:lnTo>
                    <a:pt x="76" y="71"/>
                  </a:lnTo>
                  <a:lnTo>
                    <a:pt x="63" y="69"/>
                  </a:lnTo>
                  <a:lnTo>
                    <a:pt x="50" y="69"/>
                  </a:lnTo>
                  <a:lnTo>
                    <a:pt x="39" y="68"/>
                  </a:lnTo>
                  <a:lnTo>
                    <a:pt x="27" y="67"/>
                  </a:lnTo>
                  <a:lnTo>
                    <a:pt x="14" y="65"/>
                  </a:lnTo>
                  <a:lnTo>
                    <a:pt x="0" y="62"/>
                  </a:lnTo>
                  <a:lnTo>
                    <a:pt x="7" y="58"/>
                  </a:lnTo>
                  <a:lnTo>
                    <a:pt x="23" y="45"/>
                  </a:lnTo>
                  <a:lnTo>
                    <a:pt x="34" y="37"/>
                  </a:lnTo>
                  <a:lnTo>
                    <a:pt x="45" y="28"/>
                  </a:lnTo>
                  <a:lnTo>
                    <a:pt x="56" y="17"/>
                  </a:lnTo>
                  <a:lnTo>
                    <a:pt x="67"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2" name="Freeform 221">
              <a:extLst>
                <a:ext uri="{FF2B5EF4-FFF2-40B4-BE49-F238E27FC236}">
                  <a16:creationId xmlns:a16="http://schemas.microsoft.com/office/drawing/2014/main" id="{E2039A48-0B33-47AB-9757-82341F4A1E05}"/>
                </a:ext>
              </a:extLst>
            </p:cNvPr>
            <p:cNvSpPr>
              <a:spLocks/>
            </p:cNvSpPr>
            <p:nvPr>
              <p:custDataLst>
                <p:tags r:id="rId148"/>
              </p:custDataLst>
            </p:nvPr>
          </p:nvSpPr>
          <p:spPr bwMode="auto">
            <a:xfrm>
              <a:off x="1800223" y="3179738"/>
              <a:ext cx="142875" cy="87311"/>
            </a:xfrm>
            <a:custGeom>
              <a:avLst/>
              <a:gdLst>
                <a:gd name="T0" fmla="*/ 0 w 332"/>
                <a:gd name="T1" fmla="*/ 39781 h 169"/>
                <a:gd name="T2" fmla="*/ 18935 w 332"/>
                <a:gd name="T3" fmla="*/ 52181 h 169"/>
                <a:gd name="T4" fmla="*/ 28403 w 332"/>
                <a:gd name="T5" fmla="*/ 55797 h 169"/>
                <a:gd name="T6" fmla="*/ 33997 w 332"/>
                <a:gd name="T7" fmla="*/ 56314 h 169"/>
                <a:gd name="T8" fmla="*/ 40022 w 332"/>
                <a:gd name="T9" fmla="*/ 55280 h 169"/>
                <a:gd name="T10" fmla="*/ 38731 w 332"/>
                <a:gd name="T11" fmla="*/ 74396 h 169"/>
                <a:gd name="T12" fmla="*/ 40883 w 332"/>
                <a:gd name="T13" fmla="*/ 79562 h 169"/>
                <a:gd name="T14" fmla="*/ 42604 w 332"/>
                <a:gd name="T15" fmla="*/ 84212 h 169"/>
                <a:gd name="T16" fmla="*/ 46047 w 332"/>
                <a:gd name="T17" fmla="*/ 86795 h 169"/>
                <a:gd name="T18" fmla="*/ 50351 w 332"/>
                <a:gd name="T19" fmla="*/ 87312 h 169"/>
                <a:gd name="T20" fmla="*/ 52933 w 332"/>
                <a:gd name="T21" fmla="*/ 85762 h 169"/>
                <a:gd name="T22" fmla="*/ 56806 w 332"/>
                <a:gd name="T23" fmla="*/ 81112 h 169"/>
                <a:gd name="T24" fmla="*/ 62831 w 332"/>
                <a:gd name="T25" fmla="*/ 70263 h 169"/>
                <a:gd name="T26" fmla="*/ 74880 w 332"/>
                <a:gd name="T27" fmla="*/ 59413 h 169"/>
                <a:gd name="T28" fmla="*/ 92094 w 332"/>
                <a:gd name="T29" fmla="*/ 49597 h 169"/>
                <a:gd name="T30" fmla="*/ 110169 w 332"/>
                <a:gd name="T31" fmla="*/ 41331 h 169"/>
                <a:gd name="T32" fmla="*/ 130825 w 332"/>
                <a:gd name="T33" fmla="*/ 33582 h 169"/>
                <a:gd name="T34" fmla="*/ 142875 w 332"/>
                <a:gd name="T35" fmla="*/ 23765 h 169"/>
                <a:gd name="T36" fmla="*/ 142875 w 332"/>
                <a:gd name="T37" fmla="*/ 11366 h 169"/>
                <a:gd name="T38" fmla="*/ 137711 w 332"/>
                <a:gd name="T39" fmla="*/ 1033 h 169"/>
                <a:gd name="T40" fmla="*/ 121788 w 332"/>
                <a:gd name="T41" fmla="*/ 517 h 169"/>
                <a:gd name="T42" fmla="*/ 100701 w 332"/>
                <a:gd name="T43" fmla="*/ 0 h 169"/>
                <a:gd name="T44" fmla="*/ 77462 w 332"/>
                <a:gd name="T45" fmla="*/ 517 h 169"/>
                <a:gd name="T46" fmla="*/ 56375 w 332"/>
                <a:gd name="T47" fmla="*/ 2067 h 169"/>
                <a:gd name="T48" fmla="*/ 38731 w 332"/>
                <a:gd name="T49" fmla="*/ 5166 h 169"/>
                <a:gd name="T50" fmla="*/ 25390 w 332"/>
                <a:gd name="T51" fmla="*/ 9816 h 169"/>
                <a:gd name="T52" fmla="*/ 18075 w 332"/>
                <a:gd name="T53" fmla="*/ 11366 h 169"/>
                <a:gd name="T54" fmla="*/ 15062 w 332"/>
                <a:gd name="T55" fmla="*/ 11883 h 169"/>
                <a:gd name="T56" fmla="*/ 14632 w 332"/>
                <a:gd name="T57" fmla="*/ 13433 h 169"/>
                <a:gd name="T58" fmla="*/ 14201 w 332"/>
                <a:gd name="T59" fmla="*/ 19632 h 169"/>
                <a:gd name="T60" fmla="*/ 12480 w 332"/>
                <a:gd name="T61" fmla="*/ 22732 h 169"/>
                <a:gd name="T62" fmla="*/ 9898 w 332"/>
                <a:gd name="T63" fmla="*/ 23765 h 169"/>
                <a:gd name="T64" fmla="*/ 8177 w 332"/>
                <a:gd name="T65" fmla="*/ 28415 h 169"/>
                <a:gd name="T66" fmla="*/ 4734 w 332"/>
                <a:gd name="T67" fmla="*/ 37198 h 169"/>
                <a:gd name="T68" fmla="*/ 3012 w 332"/>
                <a:gd name="T69" fmla="*/ 42881 h 16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32" h="169">
                  <a:moveTo>
                    <a:pt x="7" y="83"/>
                  </a:moveTo>
                  <a:lnTo>
                    <a:pt x="0" y="77"/>
                  </a:lnTo>
                  <a:lnTo>
                    <a:pt x="23" y="91"/>
                  </a:lnTo>
                  <a:lnTo>
                    <a:pt x="44" y="101"/>
                  </a:lnTo>
                  <a:lnTo>
                    <a:pt x="55" y="105"/>
                  </a:lnTo>
                  <a:lnTo>
                    <a:pt x="66" y="108"/>
                  </a:lnTo>
                  <a:lnTo>
                    <a:pt x="73" y="109"/>
                  </a:lnTo>
                  <a:lnTo>
                    <a:pt x="79" y="109"/>
                  </a:lnTo>
                  <a:lnTo>
                    <a:pt x="86" y="108"/>
                  </a:lnTo>
                  <a:lnTo>
                    <a:pt x="93" y="107"/>
                  </a:lnTo>
                  <a:lnTo>
                    <a:pt x="86" y="139"/>
                  </a:lnTo>
                  <a:lnTo>
                    <a:pt x="90" y="144"/>
                  </a:lnTo>
                  <a:lnTo>
                    <a:pt x="94" y="149"/>
                  </a:lnTo>
                  <a:lnTo>
                    <a:pt x="95" y="154"/>
                  </a:lnTo>
                  <a:lnTo>
                    <a:pt x="97" y="158"/>
                  </a:lnTo>
                  <a:lnTo>
                    <a:pt x="99" y="163"/>
                  </a:lnTo>
                  <a:lnTo>
                    <a:pt x="102" y="166"/>
                  </a:lnTo>
                  <a:lnTo>
                    <a:pt x="107" y="168"/>
                  </a:lnTo>
                  <a:lnTo>
                    <a:pt x="113" y="169"/>
                  </a:lnTo>
                  <a:lnTo>
                    <a:pt x="117" y="169"/>
                  </a:lnTo>
                  <a:lnTo>
                    <a:pt x="120" y="167"/>
                  </a:lnTo>
                  <a:lnTo>
                    <a:pt x="123" y="166"/>
                  </a:lnTo>
                  <a:lnTo>
                    <a:pt x="127" y="163"/>
                  </a:lnTo>
                  <a:lnTo>
                    <a:pt x="132" y="157"/>
                  </a:lnTo>
                  <a:lnTo>
                    <a:pt x="138" y="150"/>
                  </a:lnTo>
                  <a:lnTo>
                    <a:pt x="146" y="136"/>
                  </a:lnTo>
                  <a:lnTo>
                    <a:pt x="153" y="127"/>
                  </a:lnTo>
                  <a:lnTo>
                    <a:pt x="174" y="115"/>
                  </a:lnTo>
                  <a:lnTo>
                    <a:pt x="195" y="105"/>
                  </a:lnTo>
                  <a:lnTo>
                    <a:pt x="214" y="96"/>
                  </a:lnTo>
                  <a:lnTo>
                    <a:pt x="235" y="88"/>
                  </a:lnTo>
                  <a:lnTo>
                    <a:pt x="256" y="80"/>
                  </a:lnTo>
                  <a:lnTo>
                    <a:pt x="279" y="73"/>
                  </a:lnTo>
                  <a:lnTo>
                    <a:pt x="304" y="65"/>
                  </a:lnTo>
                  <a:lnTo>
                    <a:pt x="332" y="58"/>
                  </a:lnTo>
                  <a:lnTo>
                    <a:pt x="332" y="46"/>
                  </a:lnTo>
                  <a:lnTo>
                    <a:pt x="332" y="35"/>
                  </a:lnTo>
                  <a:lnTo>
                    <a:pt x="332" y="22"/>
                  </a:lnTo>
                  <a:lnTo>
                    <a:pt x="332" y="3"/>
                  </a:lnTo>
                  <a:lnTo>
                    <a:pt x="320" y="2"/>
                  </a:lnTo>
                  <a:lnTo>
                    <a:pt x="303" y="2"/>
                  </a:lnTo>
                  <a:lnTo>
                    <a:pt x="283" y="1"/>
                  </a:lnTo>
                  <a:lnTo>
                    <a:pt x="259" y="0"/>
                  </a:lnTo>
                  <a:lnTo>
                    <a:pt x="234" y="0"/>
                  </a:lnTo>
                  <a:lnTo>
                    <a:pt x="208" y="0"/>
                  </a:lnTo>
                  <a:lnTo>
                    <a:pt x="180" y="1"/>
                  </a:lnTo>
                  <a:lnTo>
                    <a:pt x="153" y="3"/>
                  </a:lnTo>
                  <a:lnTo>
                    <a:pt x="131" y="4"/>
                  </a:lnTo>
                  <a:lnTo>
                    <a:pt x="110" y="6"/>
                  </a:lnTo>
                  <a:lnTo>
                    <a:pt x="90" y="10"/>
                  </a:lnTo>
                  <a:lnTo>
                    <a:pt x="73" y="15"/>
                  </a:lnTo>
                  <a:lnTo>
                    <a:pt x="59" y="19"/>
                  </a:lnTo>
                  <a:lnTo>
                    <a:pt x="46" y="22"/>
                  </a:lnTo>
                  <a:lnTo>
                    <a:pt x="42" y="22"/>
                  </a:lnTo>
                  <a:lnTo>
                    <a:pt x="38" y="23"/>
                  </a:lnTo>
                  <a:lnTo>
                    <a:pt x="35" y="23"/>
                  </a:lnTo>
                  <a:lnTo>
                    <a:pt x="33" y="22"/>
                  </a:lnTo>
                  <a:lnTo>
                    <a:pt x="34" y="26"/>
                  </a:lnTo>
                  <a:lnTo>
                    <a:pt x="34" y="34"/>
                  </a:lnTo>
                  <a:lnTo>
                    <a:pt x="33" y="38"/>
                  </a:lnTo>
                  <a:lnTo>
                    <a:pt x="30" y="42"/>
                  </a:lnTo>
                  <a:lnTo>
                    <a:pt x="29" y="44"/>
                  </a:lnTo>
                  <a:lnTo>
                    <a:pt x="27" y="45"/>
                  </a:lnTo>
                  <a:lnTo>
                    <a:pt x="23" y="46"/>
                  </a:lnTo>
                  <a:lnTo>
                    <a:pt x="20" y="46"/>
                  </a:lnTo>
                  <a:lnTo>
                    <a:pt x="19" y="55"/>
                  </a:lnTo>
                  <a:lnTo>
                    <a:pt x="16" y="63"/>
                  </a:lnTo>
                  <a:lnTo>
                    <a:pt x="11" y="72"/>
                  </a:lnTo>
                  <a:lnTo>
                    <a:pt x="7" y="77"/>
                  </a:lnTo>
                  <a:lnTo>
                    <a:pt x="7" y="8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3" name="Freeform 222">
              <a:extLst>
                <a:ext uri="{FF2B5EF4-FFF2-40B4-BE49-F238E27FC236}">
                  <a16:creationId xmlns:a16="http://schemas.microsoft.com/office/drawing/2014/main" id="{3612BE16-F4C3-42CE-A3C8-F8FB98767FB5}"/>
                </a:ext>
              </a:extLst>
            </p:cNvPr>
            <p:cNvSpPr>
              <a:spLocks/>
            </p:cNvSpPr>
            <p:nvPr>
              <p:custDataLst>
                <p:tags r:id="rId149"/>
              </p:custDataLst>
            </p:nvPr>
          </p:nvSpPr>
          <p:spPr bwMode="auto">
            <a:xfrm>
              <a:off x="1817686" y="3209899"/>
              <a:ext cx="125412" cy="122237"/>
            </a:xfrm>
            <a:custGeom>
              <a:avLst/>
              <a:gdLst>
                <a:gd name="T0" fmla="*/ 19294 w 286"/>
                <a:gd name="T1" fmla="*/ 44734 h 235"/>
                <a:gd name="T2" fmla="*/ 21487 w 286"/>
                <a:gd name="T3" fmla="*/ 49936 h 235"/>
                <a:gd name="T4" fmla="*/ 23241 w 286"/>
                <a:gd name="T5" fmla="*/ 54617 h 235"/>
                <a:gd name="T6" fmla="*/ 26749 w 286"/>
                <a:gd name="T7" fmla="*/ 57218 h 235"/>
                <a:gd name="T8" fmla="*/ 31134 w 286"/>
                <a:gd name="T9" fmla="*/ 57738 h 235"/>
                <a:gd name="T10" fmla="*/ 33765 w 286"/>
                <a:gd name="T11" fmla="*/ 56177 h 235"/>
                <a:gd name="T12" fmla="*/ 37711 w 286"/>
                <a:gd name="T13" fmla="*/ 51496 h 235"/>
                <a:gd name="T14" fmla="*/ 43850 w 286"/>
                <a:gd name="T15" fmla="*/ 40573 h 235"/>
                <a:gd name="T16" fmla="*/ 56128 w 286"/>
                <a:gd name="T17" fmla="*/ 29649 h 235"/>
                <a:gd name="T18" fmla="*/ 73669 w 286"/>
                <a:gd name="T19" fmla="*/ 19766 h 235"/>
                <a:gd name="T20" fmla="*/ 92086 w 286"/>
                <a:gd name="T21" fmla="*/ 11444 h 235"/>
                <a:gd name="T22" fmla="*/ 113134 w 286"/>
                <a:gd name="T23" fmla="*/ 3641 h 235"/>
                <a:gd name="T24" fmla="*/ 125412 w 286"/>
                <a:gd name="T25" fmla="*/ 5722 h 235"/>
                <a:gd name="T26" fmla="*/ 123658 w 286"/>
                <a:gd name="T27" fmla="*/ 16645 h 235"/>
                <a:gd name="T28" fmla="*/ 119273 w 286"/>
                <a:gd name="T29" fmla="*/ 36411 h 235"/>
                <a:gd name="T30" fmla="*/ 111380 w 286"/>
                <a:gd name="T31" fmla="*/ 66581 h 235"/>
                <a:gd name="T32" fmla="*/ 106995 w 286"/>
                <a:gd name="T33" fmla="*/ 90508 h 235"/>
                <a:gd name="T34" fmla="*/ 105241 w 286"/>
                <a:gd name="T35" fmla="*/ 107153 h 235"/>
                <a:gd name="T36" fmla="*/ 64022 w 286"/>
                <a:gd name="T37" fmla="*/ 112355 h 235"/>
                <a:gd name="T38" fmla="*/ 60513 w 286"/>
                <a:gd name="T39" fmla="*/ 113395 h 235"/>
                <a:gd name="T40" fmla="*/ 57882 w 286"/>
                <a:gd name="T41" fmla="*/ 115996 h 235"/>
                <a:gd name="T42" fmla="*/ 55690 w 286"/>
                <a:gd name="T43" fmla="*/ 122238 h 235"/>
                <a:gd name="T44" fmla="*/ 47797 w 286"/>
                <a:gd name="T45" fmla="*/ 112875 h 235"/>
                <a:gd name="T46" fmla="*/ 41219 w 286"/>
                <a:gd name="T47" fmla="*/ 103512 h 235"/>
                <a:gd name="T48" fmla="*/ 30257 w 286"/>
                <a:gd name="T49" fmla="*/ 83226 h 235"/>
                <a:gd name="T50" fmla="*/ 24118 w 286"/>
                <a:gd name="T51" fmla="*/ 73863 h 235"/>
                <a:gd name="T52" fmla="*/ 17979 w 286"/>
                <a:gd name="T53" fmla="*/ 65020 h 235"/>
                <a:gd name="T54" fmla="*/ 9647 w 286"/>
                <a:gd name="T55" fmla="*/ 57218 h 235"/>
                <a:gd name="T56" fmla="*/ 0 w 286"/>
                <a:gd name="T57" fmla="*/ 51496 h 235"/>
                <a:gd name="T58" fmla="*/ 5701 w 286"/>
                <a:gd name="T59" fmla="*/ 50456 h 235"/>
                <a:gd name="T60" fmla="*/ 11401 w 286"/>
                <a:gd name="T61" fmla="*/ 47335 h 235"/>
                <a:gd name="T62" fmla="*/ 17102 w 286"/>
                <a:gd name="T63" fmla="*/ 43694 h 235"/>
                <a:gd name="T64" fmla="*/ 20610 w 286"/>
                <a:gd name="T65" fmla="*/ 39012 h 235"/>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86" h="235">
                  <a:moveTo>
                    <a:pt x="40" y="81"/>
                  </a:moveTo>
                  <a:lnTo>
                    <a:pt x="44" y="86"/>
                  </a:lnTo>
                  <a:lnTo>
                    <a:pt x="48" y="91"/>
                  </a:lnTo>
                  <a:lnTo>
                    <a:pt x="49" y="96"/>
                  </a:lnTo>
                  <a:lnTo>
                    <a:pt x="51" y="100"/>
                  </a:lnTo>
                  <a:lnTo>
                    <a:pt x="53" y="105"/>
                  </a:lnTo>
                  <a:lnTo>
                    <a:pt x="56" y="108"/>
                  </a:lnTo>
                  <a:lnTo>
                    <a:pt x="61" y="110"/>
                  </a:lnTo>
                  <a:lnTo>
                    <a:pt x="67" y="111"/>
                  </a:lnTo>
                  <a:lnTo>
                    <a:pt x="71" y="111"/>
                  </a:lnTo>
                  <a:lnTo>
                    <a:pt x="74" y="109"/>
                  </a:lnTo>
                  <a:lnTo>
                    <a:pt x="77" y="108"/>
                  </a:lnTo>
                  <a:lnTo>
                    <a:pt x="81" y="105"/>
                  </a:lnTo>
                  <a:lnTo>
                    <a:pt x="86" y="99"/>
                  </a:lnTo>
                  <a:lnTo>
                    <a:pt x="92" y="92"/>
                  </a:lnTo>
                  <a:lnTo>
                    <a:pt x="100" y="78"/>
                  </a:lnTo>
                  <a:lnTo>
                    <a:pt x="107" y="69"/>
                  </a:lnTo>
                  <a:lnTo>
                    <a:pt x="128" y="57"/>
                  </a:lnTo>
                  <a:lnTo>
                    <a:pt x="149" y="47"/>
                  </a:lnTo>
                  <a:lnTo>
                    <a:pt x="168" y="38"/>
                  </a:lnTo>
                  <a:lnTo>
                    <a:pt x="189" y="30"/>
                  </a:lnTo>
                  <a:lnTo>
                    <a:pt x="210" y="22"/>
                  </a:lnTo>
                  <a:lnTo>
                    <a:pt x="233" y="15"/>
                  </a:lnTo>
                  <a:lnTo>
                    <a:pt x="258" y="7"/>
                  </a:lnTo>
                  <a:lnTo>
                    <a:pt x="286" y="0"/>
                  </a:lnTo>
                  <a:lnTo>
                    <a:pt x="286" y="11"/>
                  </a:lnTo>
                  <a:lnTo>
                    <a:pt x="284" y="21"/>
                  </a:lnTo>
                  <a:lnTo>
                    <a:pt x="282" y="32"/>
                  </a:lnTo>
                  <a:lnTo>
                    <a:pt x="279" y="44"/>
                  </a:lnTo>
                  <a:lnTo>
                    <a:pt x="272" y="70"/>
                  </a:lnTo>
                  <a:lnTo>
                    <a:pt x="263" y="97"/>
                  </a:lnTo>
                  <a:lnTo>
                    <a:pt x="254" y="128"/>
                  </a:lnTo>
                  <a:lnTo>
                    <a:pt x="246" y="158"/>
                  </a:lnTo>
                  <a:lnTo>
                    <a:pt x="244" y="174"/>
                  </a:lnTo>
                  <a:lnTo>
                    <a:pt x="242" y="190"/>
                  </a:lnTo>
                  <a:lnTo>
                    <a:pt x="240" y="206"/>
                  </a:lnTo>
                  <a:lnTo>
                    <a:pt x="240" y="222"/>
                  </a:lnTo>
                  <a:lnTo>
                    <a:pt x="146" y="216"/>
                  </a:lnTo>
                  <a:lnTo>
                    <a:pt x="142" y="216"/>
                  </a:lnTo>
                  <a:lnTo>
                    <a:pt x="138" y="218"/>
                  </a:lnTo>
                  <a:lnTo>
                    <a:pt x="134" y="220"/>
                  </a:lnTo>
                  <a:lnTo>
                    <a:pt x="132" y="223"/>
                  </a:lnTo>
                  <a:lnTo>
                    <a:pt x="128" y="229"/>
                  </a:lnTo>
                  <a:lnTo>
                    <a:pt x="127" y="235"/>
                  </a:lnTo>
                  <a:lnTo>
                    <a:pt x="117" y="226"/>
                  </a:lnTo>
                  <a:lnTo>
                    <a:pt x="109" y="217"/>
                  </a:lnTo>
                  <a:lnTo>
                    <a:pt x="101" y="208"/>
                  </a:lnTo>
                  <a:lnTo>
                    <a:pt x="94" y="199"/>
                  </a:lnTo>
                  <a:lnTo>
                    <a:pt x="81" y="180"/>
                  </a:lnTo>
                  <a:lnTo>
                    <a:pt x="69" y="160"/>
                  </a:lnTo>
                  <a:lnTo>
                    <a:pt x="62" y="150"/>
                  </a:lnTo>
                  <a:lnTo>
                    <a:pt x="55" y="142"/>
                  </a:lnTo>
                  <a:lnTo>
                    <a:pt x="49" y="133"/>
                  </a:lnTo>
                  <a:lnTo>
                    <a:pt x="41" y="125"/>
                  </a:lnTo>
                  <a:lnTo>
                    <a:pt x="32" y="117"/>
                  </a:lnTo>
                  <a:lnTo>
                    <a:pt x="22" y="110"/>
                  </a:lnTo>
                  <a:lnTo>
                    <a:pt x="13" y="104"/>
                  </a:lnTo>
                  <a:lnTo>
                    <a:pt x="0" y="99"/>
                  </a:lnTo>
                  <a:lnTo>
                    <a:pt x="6" y="98"/>
                  </a:lnTo>
                  <a:lnTo>
                    <a:pt x="13" y="97"/>
                  </a:lnTo>
                  <a:lnTo>
                    <a:pt x="19" y="94"/>
                  </a:lnTo>
                  <a:lnTo>
                    <a:pt x="26" y="91"/>
                  </a:lnTo>
                  <a:lnTo>
                    <a:pt x="32" y="88"/>
                  </a:lnTo>
                  <a:lnTo>
                    <a:pt x="39" y="84"/>
                  </a:lnTo>
                  <a:lnTo>
                    <a:pt x="43" y="79"/>
                  </a:lnTo>
                  <a:lnTo>
                    <a:pt x="47" y="75"/>
                  </a:lnTo>
                  <a:lnTo>
                    <a:pt x="40" y="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4" name="Freeform 223">
              <a:extLst>
                <a:ext uri="{FF2B5EF4-FFF2-40B4-BE49-F238E27FC236}">
                  <a16:creationId xmlns:a16="http://schemas.microsoft.com/office/drawing/2014/main" id="{D6778FC3-5C83-43E3-9B9F-F5490798C48F}"/>
                </a:ext>
              </a:extLst>
            </p:cNvPr>
            <p:cNvSpPr>
              <a:spLocks/>
            </p:cNvSpPr>
            <p:nvPr>
              <p:custDataLst>
                <p:tags r:id="rId150"/>
              </p:custDataLst>
            </p:nvPr>
          </p:nvSpPr>
          <p:spPr bwMode="auto">
            <a:xfrm>
              <a:off x="1868486" y="3322612"/>
              <a:ext cx="84137" cy="100011"/>
            </a:xfrm>
            <a:custGeom>
              <a:avLst/>
              <a:gdLst>
                <a:gd name="T0" fmla="*/ 77160 w 205"/>
                <a:gd name="T1" fmla="*/ 96870 h 191"/>
                <a:gd name="T2" fmla="*/ 71824 w 205"/>
                <a:gd name="T3" fmla="*/ 96870 h 191"/>
                <a:gd name="T4" fmla="*/ 64847 w 205"/>
                <a:gd name="T5" fmla="*/ 96870 h 191"/>
                <a:gd name="T6" fmla="*/ 59101 w 205"/>
                <a:gd name="T7" fmla="*/ 94252 h 191"/>
                <a:gd name="T8" fmla="*/ 55818 w 205"/>
                <a:gd name="T9" fmla="*/ 90587 h 191"/>
                <a:gd name="T10" fmla="*/ 52945 w 205"/>
                <a:gd name="T11" fmla="*/ 85351 h 191"/>
                <a:gd name="T12" fmla="*/ 49251 w 205"/>
                <a:gd name="T13" fmla="*/ 76973 h 191"/>
                <a:gd name="T14" fmla="*/ 45147 w 205"/>
                <a:gd name="T15" fmla="*/ 68595 h 191"/>
                <a:gd name="T16" fmla="*/ 40632 w 205"/>
                <a:gd name="T17" fmla="*/ 63358 h 191"/>
                <a:gd name="T18" fmla="*/ 38169 w 205"/>
                <a:gd name="T19" fmla="*/ 65977 h 191"/>
                <a:gd name="T20" fmla="*/ 36938 w 205"/>
                <a:gd name="T21" fmla="*/ 70689 h 191"/>
                <a:gd name="T22" fmla="*/ 34476 w 205"/>
                <a:gd name="T23" fmla="*/ 68071 h 191"/>
                <a:gd name="T24" fmla="*/ 29551 w 205"/>
                <a:gd name="T25" fmla="*/ 59169 h 191"/>
                <a:gd name="T26" fmla="*/ 22984 w 205"/>
                <a:gd name="T27" fmla="*/ 45555 h 191"/>
                <a:gd name="T28" fmla="*/ 16827 w 205"/>
                <a:gd name="T29" fmla="*/ 35083 h 191"/>
                <a:gd name="T30" fmla="*/ 12723 w 205"/>
                <a:gd name="T31" fmla="*/ 30370 h 191"/>
                <a:gd name="T32" fmla="*/ 10671 w 205"/>
                <a:gd name="T33" fmla="*/ 31417 h 191"/>
                <a:gd name="T34" fmla="*/ 11902 w 205"/>
                <a:gd name="T35" fmla="*/ 36130 h 191"/>
                <a:gd name="T36" fmla="*/ 13954 w 205"/>
                <a:gd name="T37" fmla="*/ 40843 h 191"/>
                <a:gd name="T38" fmla="*/ 16827 w 205"/>
                <a:gd name="T39" fmla="*/ 43984 h 191"/>
                <a:gd name="T40" fmla="*/ 18880 w 205"/>
                <a:gd name="T41" fmla="*/ 54980 h 191"/>
                <a:gd name="T42" fmla="*/ 5336 w 205"/>
                <a:gd name="T43" fmla="*/ 51315 h 191"/>
                <a:gd name="T44" fmla="*/ 1642 w 205"/>
                <a:gd name="T45" fmla="*/ 43984 h 191"/>
                <a:gd name="T46" fmla="*/ 0 w 205"/>
                <a:gd name="T47" fmla="*/ 31417 h 191"/>
                <a:gd name="T48" fmla="*/ 0 w 205"/>
                <a:gd name="T49" fmla="*/ 19898 h 191"/>
                <a:gd name="T50" fmla="*/ 1231 w 205"/>
                <a:gd name="T51" fmla="*/ 14661 h 191"/>
                <a:gd name="T52" fmla="*/ 3283 w 205"/>
                <a:gd name="T53" fmla="*/ 11520 h 191"/>
                <a:gd name="T54" fmla="*/ 5746 w 205"/>
                <a:gd name="T55" fmla="*/ 6807 h 191"/>
                <a:gd name="T56" fmla="*/ 8208 w 205"/>
                <a:gd name="T57" fmla="*/ 2094 h 191"/>
                <a:gd name="T58" fmla="*/ 11492 w 205"/>
                <a:gd name="T59" fmla="*/ 0 h 191"/>
                <a:gd name="T60" fmla="*/ 51713 w 205"/>
                <a:gd name="T61" fmla="*/ 3142 h 191"/>
                <a:gd name="T62" fmla="*/ 52124 w 205"/>
                <a:gd name="T63" fmla="*/ 10996 h 191"/>
                <a:gd name="T64" fmla="*/ 53355 w 205"/>
                <a:gd name="T65" fmla="*/ 19374 h 191"/>
                <a:gd name="T66" fmla="*/ 58691 w 205"/>
                <a:gd name="T67" fmla="*/ 36654 h 191"/>
                <a:gd name="T68" fmla="*/ 67720 w 205"/>
                <a:gd name="T69" fmla="*/ 53410 h 191"/>
                <a:gd name="T70" fmla="*/ 72645 w 205"/>
                <a:gd name="T71" fmla="*/ 61264 h 191"/>
                <a:gd name="T72" fmla="*/ 78801 w 205"/>
                <a:gd name="T73" fmla="*/ 68071 h 191"/>
                <a:gd name="T74" fmla="*/ 77570 w 205"/>
                <a:gd name="T75" fmla="*/ 74878 h 191"/>
                <a:gd name="T76" fmla="*/ 77570 w 205"/>
                <a:gd name="T77" fmla="*/ 81685 h 191"/>
                <a:gd name="T78" fmla="*/ 78801 w 205"/>
                <a:gd name="T79" fmla="*/ 100012 h 191"/>
                <a:gd name="T80" fmla="*/ 84137 w 205"/>
                <a:gd name="T81" fmla="*/ 96870 h 191"/>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5" h="191">
                  <a:moveTo>
                    <a:pt x="205" y="185"/>
                  </a:moveTo>
                  <a:lnTo>
                    <a:pt x="188" y="185"/>
                  </a:lnTo>
                  <a:lnTo>
                    <a:pt x="181" y="185"/>
                  </a:lnTo>
                  <a:lnTo>
                    <a:pt x="175" y="185"/>
                  </a:lnTo>
                  <a:lnTo>
                    <a:pt x="165" y="185"/>
                  </a:lnTo>
                  <a:lnTo>
                    <a:pt x="158" y="185"/>
                  </a:lnTo>
                  <a:lnTo>
                    <a:pt x="151" y="182"/>
                  </a:lnTo>
                  <a:lnTo>
                    <a:pt x="144" y="180"/>
                  </a:lnTo>
                  <a:lnTo>
                    <a:pt x="140" y="177"/>
                  </a:lnTo>
                  <a:lnTo>
                    <a:pt x="136" y="173"/>
                  </a:lnTo>
                  <a:lnTo>
                    <a:pt x="132" y="168"/>
                  </a:lnTo>
                  <a:lnTo>
                    <a:pt x="129" y="163"/>
                  </a:lnTo>
                  <a:lnTo>
                    <a:pt x="127" y="158"/>
                  </a:lnTo>
                  <a:lnTo>
                    <a:pt x="120" y="147"/>
                  </a:lnTo>
                  <a:lnTo>
                    <a:pt x="114" y="136"/>
                  </a:lnTo>
                  <a:lnTo>
                    <a:pt x="110" y="131"/>
                  </a:lnTo>
                  <a:lnTo>
                    <a:pt x="105" y="125"/>
                  </a:lnTo>
                  <a:lnTo>
                    <a:pt x="99" y="121"/>
                  </a:lnTo>
                  <a:lnTo>
                    <a:pt x="93" y="117"/>
                  </a:lnTo>
                  <a:lnTo>
                    <a:pt x="93" y="126"/>
                  </a:lnTo>
                  <a:lnTo>
                    <a:pt x="93" y="136"/>
                  </a:lnTo>
                  <a:lnTo>
                    <a:pt x="90" y="135"/>
                  </a:lnTo>
                  <a:lnTo>
                    <a:pt x="86" y="133"/>
                  </a:lnTo>
                  <a:lnTo>
                    <a:pt x="84" y="130"/>
                  </a:lnTo>
                  <a:lnTo>
                    <a:pt x="80" y="124"/>
                  </a:lnTo>
                  <a:lnTo>
                    <a:pt x="72" y="113"/>
                  </a:lnTo>
                  <a:lnTo>
                    <a:pt x="64" y="100"/>
                  </a:lnTo>
                  <a:lnTo>
                    <a:pt x="56" y="87"/>
                  </a:lnTo>
                  <a:lnTo>
                    <a:pt x="46" y="74"/>
                  </a:lnTo>
                  <a:lnTo>
                    <a:pt x="41" y="67"/>
                  </a:lnTo>
                  <a:lnTo>
                    <a:pt x="36" y="62"/>
                  </a:lnTo>
                  <a:lnTo>
                    <a:pt x="31" y="58"/>
                  </a:lnTo>
                  <a:lnTo>
                    <a:pt x="26" y="55"/>
                  </a:lnTo>
                  <a:lnTo>
                    <a:pt x="26" y="60"/>
                  </a:lnTo>
                  <a:lnTo>
                    <a:pt x="27" y="64"/>
                  </a:lnTo>
                  <a:lnTo>
                    <a:pt x="29" y="69"/>
                  </a:lnTo>
                  <a:lnTo>
                    <a:pt x="31" y="74"/>
                  </a:lnTo>
                  <a:lnTo>
                    <a:pt x="34" y="78"/>
                  </a:lnTo>
                  <a:lnTo>
                    <a:pt x="37" y="81"/>
                  </a:lnTo>
                  <a:lnTo>
                    <a:pt x="41" y="84"/>
                  </a:lnTo>
                  <a:lnTo>
                    <a:pt x="46" y="87"/>
                  </a:lnTo>
                  <a:lnTo>
                    <a:pt x="46" y="105"/>
                  </a:lnTo>
                  <a:lnTo>
                    <a:pt x="19" y="105"/>
                  </a:lnTo>
                  <a:lnTo>
                    <a:pt x="13" y="98"/>
                  </a:lnTo>
                  <a:lnTo>
                    <a:pt x="8" y="91"/>
                  </a:lnTo>
                  <a:lnTo>
                    <a:pt x="4" y="84"/>
                  </a:lnTo>
                  <a:lnTo>
                    <a:pt x="2" y="77"/>
                  </a:lnTo>
                  <a:lnTo>
                    <a:pt x="0" y="60"/>
                  </a:lnTo>
                  <a:lnTo>
                    <a:pt x="0" y="43"/>
                  </a:lnTo>
                  <a:lnTo>
                    <a:pt x="0" y="38"/>
                  </a:lnTo>
                  <a:lnTo>
                    <a:pt x="1" y="31"/>
                  </a:lnTo>
                  <a:lnTo>
                    <a:pt x="3" y="28"/>
                  </a:lnTo>
                  <a:lnTo>
                    <a:pt x="5" y="25"/>
                  </a:lnTo>
                  <a:lnTo>
                    <a:pt x="8" y="22"/>
                  </a:lnTo>
                  <a:lnTo>
                    <a:pt x="13" y="19"/>
                  </a:lnTo>
                  <a:lnTo>
                    <a:pt x="14" y="13"/>
                  </a:lnTo>
                  <a:lnTo>
                    <a:pt x="18" y="7"/>
                  </a:lnTo>
                  <a:lnTo>
                    <a:pt x="20" y="4"/>
                  </a:lnTo>
                  <a:lnTo>
                    <a:pt x="24" y="2"/>
                  </a:lnTo>
                  <a:lnTo>
                    <a:pt x="28" y="0"/>
                  </a:lnTo>
                  <a:lnTo>
                    <a:pt x="32" y="0"/>
                  </a:lnTo>
                  <a:lnTo>
                    <a:pt x="126" y="6"/>
                  </a:lnTo>
                  <a:lnTo>
                    <a:pt x="126" y="13"/>
                  </a:lnTo>
                  <a:lnTo>
                    <a:pt x="127" y="21"/>
                  </a:lnTo>
                  <a:lnTo>
                    <a:pt x="128" y="29"/>
                  </a:lnTo>
                  <a:lnTo>
                    <a:pt x="130" y="37"/>
                  </a:lnTo>
                  <a:lnTo>
                    <a:pt x="136" y="53"/>
                  </a:lnTo>
                  <a:lnTo>
                    <a:pt x="143" y="70"/>
                  </a:lnTo>
                  <a:lnTo>
                    <a:pt x="153" y="87"/>
                  </a:lnTo>
                  <a:lnTo>
                    <a:pt x="165" y="102"/>
                  </a:lnTo>
                  <a:lnTo>
                    <a:pt x="171" y="110"/>
                  </a:lnTo>
                  <a:lnTo>
                    <a:pt x="177" y="117"/>
                  </a:lnTo>
                  <a:lnTo>
                    <a:pt x="185" y="123"/>
                  </a:lnTo>
                  <a:lnTo>
                    <a:pt x="192" y="130"/>
                  </a:lnTo>
                  <a:lnTo>
                    <a:pt x="191" y="137"/>
                  </a:lnTo>
                  <a:lnTo>
                    <a:pt x="189" y="143"/>
                  </a:lnTo>
                  <a:lnTo>
                    <a:pt x="189" y="149"/>
                  </a:lnTo>
                  <a:lnTo>
                    <a:pt x="189" y="156"/>
                  </a:lnTo>
                  <a:lnTo>
                    <a:pt x="192" y="171"/>
                  </a:lnTo>
                  <a:lnTo>
                    <a:pt x="192" y="191"/>
                  </a:lnTo>
                  <a:lnTo>
                    <a:pt x="192" y="185"/>
                  </a:lnTo>
                  <a:lnTo>
                    <a:pt x="205" y="18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5" name="Freeform 224">
              <a:extLst>
                <a:ext uri="{FF2B5EF4-FFF2-40B4-BE49-F238E27FC236}">
                  <a16:creationId xmlns:a16="http://schemas.microsoft.com/office/drawing/2014/main" id="{73727429-69E6-49E2-B0A7-57FA237AB44D}"/>
                </a:ext>
              </a:extLst>
            </p:cNvPr>
            <p:cNvSpPr>
              <a:spLocks/>
            </p:cNvSpPr>
            <p:nvPr>
              <p:custDataLst>
                <p:tags r:id="rId151"/>
              </p:custDataLst>
            </p:nvPr>
          </p:nvSpPr>
          <p:spPr bwMode="auto">
            <a:xfrm>
              <a:off x="1949448" y="3376586"/>
              <a:ext cx="142875" cy="79375"/>
            </a:xfrm>
            <a:custGeom>
              <a:avLst/>
              <a:gdLst>
                <a:gd name="T0" fmla="*/ 1303 w 329"/>
                <a:gd name="T1" fmla="*/ 29894 h 154"/>
                <a:gd name="T2" fmla="*/ 0 w 329"/>
                <a:gd name="T3" fmla="*/ 21648 h 154"/>
                <a:gd name="T4" fmla="*/ 869 w 329"/>
                <a:gd name="T5" fmla="*/ 15978 h 154"/>
                <a:gd name="T6" fmla="*/ 7383 w 329"/>
                <a:gd name="T7" fmla="*/ 17009 h 154"/>
                <a:gd name="T8" fmla="*/ 15634 w 329"/>
                <a:gd name="T9" fmla="*/ 21132 h 154"/>
                <a:gd name="T10" fmla="*/ 21279 w 329"/>
                <a:gd name="T11" fmla="*/ 22163 h 154"/>
                <a:gd name="T12" fmla="*/ 29096 w 329"/>
                <a:gd name="T13" fmla="*/ 22163 h 154"/>
                <a:gd name="T14" fmla="*/ 37347 w 329"/>
                <a:gd name="T15" fmla="*/ 20101 h 154"/>
                <a:gd name="T16" fmla="*/ 47770 w 329"/>
                <a:gd name="T17" fmla="*/ 15463 h 154"/>
                <a:gd name="T18" fmla="*/ 60798 w 329"/>
                <a:gd name="T19" fmla="*/ 6700 h 154"/>
                <a:gd name="T20" fmla="*/ 70352 w 329"/>
                <a:gd name="T21" fmla="*/ 2062 h 154"/>
                <a:gd name="T22" fmla="*/ 77734 w 329"/>
                <a:gd name="T23" fmla="*/ 0 h 154"/>
                <a:gd name="T24" fmla="*/ 88157 w 329"/>
                <a:gd name="T25" fmla="*/ 0 h 154"/>
                <a:gd name="T26" fmla="*/ 97277 w 329"/>
                <a:gd name="T27" fmla="*/ 3093 h 154"/>
                <a:gd name="T28" fmla="*/ 105528 w 329"/>
                <a:gd name="T29" fmla="*/ 7731 h 154"/>
                <a:gd name="T30" fmla="*/ 112476 w 329"/>
                <a:gd name="T31" fmla="*/ 14432 h 154"/>
                <a:gd name="T32" fmla="*/ 121596 w 329"/>
                <a:gd name="T33" fmla="*/ 23709 h 154"/>
                <a:gd name="T34" fmla="*/ 131150 w 329"/>
                <a:gd name="T35" fmla="*/ 31441 h 154"/>
                <a:gd name="T36" fmla="*/ 138532 w 329"/>
                <a:gd name="T37" fmla="*/ 34533 h 154"/>
                <a:gd name="T38" fmla="*/ 135927 w 329"/>
                <a:gd name="T39" fmla="*/ 42265 h 154"/>
                <a:gd name="T40" fmla="*/ 127241 w 329"/>
                <a:gd name="T41" fmla="*/ 54635 h 154"/>
                <a:gd name="T42" fmla="*/ 120293 w 329"/>
                <a:gd name="T43" fmla="*/ 71128 h 154"/>
                <a:gd name="T44" fmla="*/ 115082 w 329"/>
                <a:gd name="T45" fmla="*/ 78860 h 154"/>
                <a:gd name="T46" fmla="*/ 109870 w 329"/>
                <a:gd name="T47" fmla="*/ 75252 h 154"/>
                <a:gd name="T48" fmla="*/ 104225 w 329"/>
                <a:gd name="T49" fmla="*/ 70097 h 154"/>
                <a:gd name="T50" fmla="*/ 99882 w 329"/>
                <a:gd name="T51" fmla="*/ 64943 h 154"/>
                <a:gd name="T52" fmla="*/ 99882 w 329"/>
                <a:gd name="T53" fmla="*/ 58758 h 154"/>
                <a:gd name="T54" fmla="*/ 102054 w 329"/>
                <a:gd name="T55" fmla="*/ 51542 h 154"/>
                <a:gd name="T56" fmla="*/ 108133 w 329"/>
                <a:gd name="T57" fmla="*/ 44326 h 154"/>
                <a:gd name="T58" fmla="*/ 101185 w 329"/>
                <a:gd name="T59" fmla="*/ 35049 h 154"/>
                <a:gd name="T60" fmla="*/ 89894 w 329"/>
                <a:gd name="T61" fmla="*/ 28348 h 154"/>
                <a:gd name="T62" fmla="*/ 84683 w 329"/>
                <a:gd name="T63" fmla="*/ 21132 h 154"/>
                <a:gd name="T64" fmla="*/ 77734 w 329"/>
                <a:gd name="T65" fmla="*/ 17524 h 154"/>
                <a:gd name="T66" fmla="*/ 70786 w 329"/>
                <a:gd name="T67" fmla="*/ 21132 h 154"/>
                <a:gd name="T68" fmla="*/ 65141 w 329"/>
                <a:gd name="T69" fmla="*/ 25771 h 154"/>
                <a:gd name="T70" fmla="*/ 60798 w 329"/>
                <a:gd name="T71" fmla="*/ 31441 h 154"/>
                <a:gd name="T72" fmla="*/ 57324 w 329"/>
                <a:gd name="T73" fmla="*/ 38141 h 154"/>
                <a:gd name="T74" fmla="*/ 55587 w 329"/>
                <a:gd name="T75" fmla="*/ 45357 h 154"/>
                <a:gd name="T76" fmla="*/ 53415 w 329"/>
                <a:gd name="T77" fmla="*/ 56181 h 154"/>
                <a:gd name="T78" fmla="*/ 52981 w 329"/>
                <a:gd name="T79" fmla="*/ 64428 h 154"/>
                <a:gd name="T80" fmla="*/ 51244 w 329"/>
                <a:gd name="T81" fmla="*/ 66489 h 154"/>
                <a:gd name="T82" fmla="*/ 46901 w 329"/>
                <a:gd name="T83" fmla="*/ 69582 h 154"/>
                <a:gd name="T84" fmla="*/ 41690 w 329"/>
                <a:gd name="T85" fmla="*/ 69582 h 154"/>
                <a:gd name="T86" fmla="*/ 36044 w 329"/>
                <a:gd name="T87" fmla="*/ 66489 h 154"/>
                <a:gd name="T88" fmla="*/ 28662 w 329"/>
                <a:gd name="T89" fmla="*/ 59789 h 154"/>
                <a:gd name="T90" fmla="*/ 20845 w 329"/>
                <a:gd name="T91" fmla="*/ 48450 h 154"/>
                <a:gd name="T92" fmla="*/ 14331 w 329"/>
                <a:gd name="T93" fmla="*/ 41234 h 154"/>
                <a:gd name="T94" fmla="*/ 9554 w 329"/>
                <a:gd name="T95" fmla="*/ 38141 h 154"/>
                <a:gd name="T96" fmla="*/ 1303 w 329"/>
                <a:gd name="T97" fmla="*/ 37626 h 15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329" h="154">
                  <a:moveTo>
                    <a:pt x="3" y="73"/>
                  </a:moveTo>
                  <a:lnTo>
                    <a:pt x="3" y="58"/>
                  </a:lnTo>
                  <a:lnTo>
                    <a:pt x="0" y="47"/>
                  </a:lnTo>
                  <a:lnTo>
                    <a:pt x="0" y="42"/>
                  </a:lnTo>
                  <a:lnTo>
                    <a:pt x="0" y="37"/>
                  </a:lnTo>
                  <a:lnTo>
                    <a:pt x="2" y="31"/>
                  </a:lnTo>
                  <a:lnTo>
                    <a:pt x="3" y="25"/>
                  </a:lnTo>
                  <a:lnTo>
                    <a:pt x="17" y="33"/>
                  </a:lnTo>
                  <a:lnTo>
                    <a:pt x="30" y="39"/>
                  </a:lnTo>
                  <a:lnTo>
                    <a:pt x="36" y="41"/>
                  </a:lnTo>
                  <a:lnTo>
                    <a:pt x="42" y="42"/>
                  </a:lnTo>
                  <a:lnTo>
                    <a:pt x="49" y="43"/>
                  </a:lnTo>
                  <a:lnTo>
                    <a:pt x="56" y="43"/>
                  </a:lnTo>
                  <a:lnTo>
                    <a:pt x="67" y="43"/>
                  </a:lnTo>
                  <a:lnTo>
                    <a:pt x="77" y="41"/>
                  </a:lnTo>
                  <a:lnTo>
                    <a:pt x="86" y="39"/>
                  </a:lnTo>
                  <a:lnTo>
                    <a:pt x="95" y="36"/>
                  </a:lnTo>
                  <a:lnTo>
                    <a:pt x="110" y="30"/>
                  </a:lnTo>
                  <a:lnTo>
                    <a:pt x="126" y="21"/>
                  </a:lnTo>
                  <a:lnTo>
                    <a:pt x="140" y="13"/>
                  </a:lnTo>
                  <a:lnTo>
                    <a:pt x="154" y="6"/>
                  </a:lnTo>
                  <a:lnTo>
                    <a:pt x="162" y="4"/>
                  </a:lnTo>
                  <a:lnTo>
                    <a:pt x="171" y="2"/>
                  </a:lnTo>
                  <a:lnTo>
                    <a:pt x="179" y="0"/>
                  </a:lnTo>
                  <a:lnTo>
                    <a:pt x="189" y="0"/>
                  </a:lnTo>
                  <a:lnTo>
                    <a:pt x="203" y="0"/>
                  </a:lnTo>
                  <a:lnTo>
                    <a:pt x="214" y="3"/>
                  </a:lnTo>
                  <a:lnTo>
                    <a:pt x="224" y="6"/>
                  </a:lnTo>
                  <a:lnTo>
                    <a:pt x="234" y="10"/>
                  </a:lnTo>
                  <a:lnTo>
                    <a:pt x="243" y="15"/>
                  </a:lnTo>
                  <a:lnTo>
                    <a:pt x="251" y="21"/>
                  </a:lnTo>
                  <a:lnTo>
                    <a:pt x="259" y="28"/>
                  </a:lnTo>
                  <a:lnTo>
                    <a:pt x="266" y="34"/>
                  </a:lnTo>
                  <a:lnTo>
                    <a:pt x="280" y="46"/>
                  </a:lnTo>
                  <a:lnTo>
                    <a:pt x="295" y="57"/>
                  </a:lnTo>
                  <a:lnTo>
                    <a:pt x="302" y="61"/>
                  </a:lnTo>
                  <a:lnTo>
                    <a:pt x="310" y="64"/>
                  </a:lnTo>
                  <a:lnTo>
                    <a:pt x="319" y="67"/>
                  </a:lnTo>
                  <a:lnTo>
                    <a:pt x="329" y="67"/>
                  </a:lnTo>
                  <a:lnTo>
                    <a:pt x="313" y="82"/>
                  </a:lnTo>
                  <a:lnTo>
                    <a:pt x="301" y="94"/>
                  </a:lnTo>
                  <a:lnTo>
                    <a:pt x="293" y="106"/>
                  </a:lnTo>
                  <a:lnTo>
                    <a:pt x="286" y="117"/>
                  </a:lnTo>
                  <a:lnTo>
                    <a:pt x="277" y="138"/>
                  </a:lnTo>
                  <a:lnTo>
                    <a:pt x="268" y="154"/>
                  </a:lnTo>
                  <a:lnTo>
                    <a:pt x="265" y="153"/>
                  </a:lnTo>
                  <a:lnTo>
                    <a:pt x="260" y="150"/>
                  </a:lnTo>
                  <a:lnTo>
                    <a:pt x="253" y="146"/>
                  </a:lnTo>
                  <a:lnTo>
                    <a:pt x="246" y="141"/>
                  </a:lnTo>
                  <a:lnTo>
                    <a:pt x="240" y="136"/>
                  </a:lnTo>
                  <a:lnTo>
                    <a:pt x="234" y="130"/>
                  </a:lnTo>
                  <a:lnTo>
                    <a:pt x="230" y="126"/>
                  </a:lnTo>
                  <a:lnTo>
                    <a:pt x="229" y="123"/>
                  </a:lnTo>
                  <a:lnTo>
                    <a:pt x="230" y="114"/>
                  </a:lnTo>
                  <a:lnTo>
                    <a:pt x="232" y="107"/>
                  </a:lnTo>
                  <a:lnTo>
                    <a:pt x="235" y="100"/>
                  </a:lnTo>
                  <a:lnTo>
                    <a:pt x="240" y="95"/>
                  </a:lnTo>
                  <a:lnTo>
                    <a:pt x="249" y="86"/>
                  </a:lnTo>
                  <a:lnTo>
                    <a:pt x="255" y="80"/>
                  </a:lnTo>
                  <a:lnTo>
                    <a:pt x="233" y="68"/>
                  </a:lnTo>
                  <a:lnTo>
                    <a:pt x="215" y="60"/>
                  </a:lnTo>
                  <a:lnTo>
                    <a:pt x="207" y="55"/>
                  </a:lnTo>
                  <a:lnTo>
                    <a:pt x="200" y="49"/>
                  </a:lnTo>
                  <a:lnTo>
                    <a:pt x="195" y="41"/>
                  </a:lnTo>
                  <a:lnTo>
                    <a:pt x="189" y="31"/>
                  </a:lnTo>
                  <a:lnTo>
                    <a:pt x="179" y="34"/>
                  </a:lnTo>
                  <a:lnTo>
                    <a:pt x="171" y="37"/>
                  </a:lnTo>
                  <a:lnTo>
                    <a:pt x="163" y="41"/>
                  </a:lnTo>
                  <a:lnTo>
                    <a:pt x="156" y="45"/>
                  </a:lnTo>
                  <a:lnTo>
                    <a:pt x="150" y="50"/>
                  </a:lnTo>
                  <a:lnTo>
                    <a:pt x="144" y="55"/>
                  </a:lnTo>
                  <a:lnTo>
                    <a:pt x="140" y="61"/>
                  </a:lnTo>
                  <a:lnTo>
                    <a:pt x="136" y="67"/>
                  </a:lnTo>
                  <a:lnTo>
                    <a:pt x="132" y="74"/>
                  </a:lnTo>
                  <a:lnTo>
                    <a:pt x="130" y="81"/>
                  </a:lnTo>
                  <a:lnTo>
                    <a:pt x="128" y="88"/>
                  </a:lnTo>
                  <a:lnTo>
                    <a:pt x="126" y="95"/>
                  </a:lnTo>
                  <a:lnTo>
                    <a:pt x="123" y="109"/>
                  </a:lnTo>
                  <a:lnTo>
                    <a:pt x="122" y="123"/>
                  </a:lnTo>
                  <a:lnTo>
                    <a:pt x="122" y="125"/>
                  </a:lnTo>
                  <a:lnTo>
                    <a:pt x="120" y="127"/>
                  </a:lnTo>
                  <a:lnTo>
                    <a:pt x="118" y="129"/>
                  </a:lnTo>
                  <a:lnTo>
                    <a:pt x="115" y="131"/>
                  </a:lnTo>
                  <a:lnTo>
                    <a:pt x="108" y="135"/>
                  </a:lnTo>
                  <a:lnTo>
                    <a:pt x="103" y="136"/>
                  </a:lnTo>
                  <a:lnTo>
                    <a:pt x="96" y="135"/>
                  </a:lnTo>
                  <a:lnTo>
                    <a:pt x="89" y="132"/>
                  </a:lnTo>
                  <a:lnTo>
                    <a:pt x="83" y="129"/>
                  </a:lnTo>
                  <a:lnTo>
                    <a:pt x="77" y="125"/>
                  </a:lnTo>
                  <a:lnTo>
                    <a:pt x="66" y="116"/>
                  </a:lnTo>
                  <a:lnTo>
                    <a:pt x="58" y="105"/>
                  </a:lnTo>
                  <a:lnTo>
                    <a:pt x="48" y="94"/>
                  </a:lnTo>
                  <a:lnTo>
                    <a:pt x="38" y="84"/>
                  </a:lnTo>
                  <a:lnTo>
                    <a:pt x="33" y="80"/>
                  </a:lnTo>
                  <a:lnTo>
                    <a:pt x="28" y="76"/>
                  </a:lnTo>
                  <a:lnTo>
                    <a:pt x="22" y="74"/>
                  </a:lnTo>
                  <a:lnTo>
                    <a:pt x="16" y="73"/>
                  </a:lnTo>
                  <a:lnTo>
                    <a:pt x="3"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6" name="Freeform 225">
              <a:extLst>
                <a:ext uri="{FF2B5EF4-FFF2-40B4-BE49-F238E27FC236}">
                  <a16:creationId xmlns:a16="http://schemas.microsoft.com/office/drawing/2014/main" id="{C0B32EF5-4D11-41BD-A404-86491BFA1176}"/>
                </a:ext>
              </a:extLst>
            </p:cNvPr>
            <p:cNvSpPr>
              <a:spLocks/>
            </p:cNvSpPr>
            <p:nvPr>
              <p:custDataLst>
                <p:tags r:id="rId152"/>
              </p:custDataLst>
            </p:nvPr>
          </p:nvSpPr>
          <p:spPr bwMode="auto">
            <a:xfrm>
              <a:off x="2630485" y="4630701"/>
              <a:ext cx="133350" cy="155574"/>
            </a:xfrm>
            <a:custGeom>
              <a:avLst/>
              <a:gdLst>
                <a:gd name="T0" fmla="*/ 129428 w 306"/>
                <a:gd name="T1" fmla="*/ 96106 h 293"/>
                <a:gd name="T2" fmla="*/ 128992 w 306"/>
                <a:gd name="T3" fmla="*/ 98230 h 293"/>
                <a:gd name="T4" fmla="*/ 126813 w 306"/>
                <a:gd name="T5" fmla="*/ 103009 h 293"/>
                <a:gd name="T6" fmla="*/ 122891 w 306"/>
                <a:gd name="T7" fmla="*/ 105664 h 293"/>
                <a:gd name="T8" fmla="*/ 118533 w 306"/>
                <a:gd name="T9" fmla="*/ 106726 h 293"/>
                <a:gd name="T10" fmla="*/ 114611 w 306"/>
                <a:gd name="T11" fmla="*/ 109911 h 293"/>
                <a:gd name="T12" fmla="*/ 110253 w 306"/>
                <a:gd name="T13" fmla="*/ 121593 h 293"/>
                <a:gd name="T14" fmla="*/ 105460 w 306"/>
                <a:gd name="T15" fmla="*/ 134867 h 293"/>
                <a:gd name="T16" fmla="*/ 100666 w 306"/>
                <a:gd name="T17" fmla="*/ 141770 h 293"/>
                <a:gd name="T18" fmla="*/ 96308 w 306"/>
                <a:gd name="T19" fmla="*/ 144956 h 293"/>
                <a:gd name="T20" fmla="*/ 87157 w 306"/>
                <a:gd name="T21" fmla="*/ 149203 h 293"/>
                <a:gd name="T22" fmla="*/ 71469 w 306"/>
                <a:gd name="T23" fmla="*/ 153982 h 293"/>
                <a:gd name="T24" fmla="*/ 60574 w 306"/>
                <a:gd name="T25" fmla="*/ 155575 h 293"/>
                <a:gd name="T26" fmla="*/ 53601 w 306"/>
                <a:gd name="T27" fmla="*/ 155575 h 293"/>
                <a:gd name="T28" fmla="*/ 46193 w 306"/>
                <a:gd name="T29" fmla="*/ 153982 h 293"/>
                <a:gd name="T30" fmla="*/ 40092 w 306"/>
                <a:gd name="T31" fmla="*/ 151858 h 293"/>
                <a:gd name="T32" fmla="*/ 34863 w 306"/>
                <a:gd name="T33" fmla="*/ 147610 h 293"/>
                <a:gd name="T34" fmla="*/ 30941 w 306"/>
                <a:gd name="T35" fmla="*/ 142301 h 293"/>
                <a:gd name="T36" fmla="*/ 436 w 306"/>
                <a:gd name="T37" fmla="*/ 125310 h 293"/>
                <a:gd name="T38" fmla="*/ 0 w 306"/>
                <a:gd name="T39" fmla="*/ 46726 h 293"/>
                <a:gd name="T40" fmla="*/ 436 w 306"/>
                <a:gd name="T41" fmla="*/ 26018 h 293"/>
                <a:gd name="T42" fmla="*/ 1743 w 306"/>
                <a:gd name="T43" fmla="*/ 18584 h 293"/>
                <a:gd name="T44" fmla="*/ 4794 w 306"/>
                <a:gd name="T45" fmla="*/ 11150 h 293"/>
                <a:gd name="T46" fmla="*/ 8716 w 306"/>
                <a:gd name="T47" fmla="*/ 4248 h 293"/>
                <a:gd name="T48" fmla="*/ 17867 w 306"/>
                <a:gd name="T49" fmla="*/ 1062 h 293"/>
                <a:gd name="T50" fmla="*/ 23097 w 306"/>
                <a:gd name="T51" fmla="*/ 0 h 293"/>
                <a:gd name="T52" fmla="*/ 31376 w 306"/>
                <a:gd name="T53" fmla="*/ 3186 h 293"/>
                <a:gd name="T54" fmla="*/ 34863 w 306"/>
                <a:gd name="T55" fmla="*/ 3717 h 293"/>
                <a:gd name="T56" fmla="*/ 36606 w 306"/>
                <a:gd name="T57" fmla="*/ 2124 h 293"/>
                <a:gd name="T58" fmla="*/ 37913 w 306"/>
                <a:gd name="T59" fmla="*/ 2655 h 293"/>
                <a:gd name="T60" fmla="*/ 39221 w 306"/>
                <a:gd name="T61" fmla="*/ 5841 h 293"/>
                <a:gd name="T62" fmla="*/ 43143 w 306"/>
                <a:gd name="T63" fmla="*/ 10088 h 293"/>
                <a:gd name="T64" fmla="*/ 52730 w 306"/>
                <a:gd name="T65" fmla="*/ 16460 h 293"/>
                <a:gd name="T66" fmla="*/ 64496 w 306"/>
                <a:gd name="T67" fmla="*/ 21770 h 293"/>
                <a:gd name="T68" fmla="*/ 79313 w 306"/>
                <a:gd name="T69" fmla="*/ 31327 h 293"/>
                <a:gd name="T70" fmla="*/ 91515 w 306"/>
                <a:gd name="T71" fmla="*/ 41947 h 293"/>
                <a:gd name="T72" fmla="*/ 105024 w 306"/>
                <a:gd name="T73" fmla="*/ 54159 h 293"/>
                <a:gd name="T74" fmla="*/ 113740 w 306"/>
                <a:gd name="T75" fmla="*/ 62124 h 293"/>
                <a:gd name="T76" fmla="*/ 115919 w 306"/>
                <a:gd name="T77" fmla="*/ 65841 h 293"/>
                <a:gd name="T78" fmla="*/ 122020 w 306"/>
                <a:gd name="T79" fmla="*/ 71681 h 293"/>
                <a:gd name="T80" fmla="*/ 130300 w 306"/>
                <a:gd name="T81" fmla="*/ 80177 h 293"/>
                <a:gd name="T82" fmla="*/ 133350 w 306"/>
                <a:gd name="T83" fmla="*/ 85487 h 293"/>
                <a:gd name="T84" fmla="*/ 132478 w 306"/>
                <a:gd name="T85" fmla="*/ 88141 h 29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06" h="293">
                  <a:moveTo>
                    <a:pt x="300" y="169"/>
                  </a:moveTo>
                  <a:lnTo>
                    <a:pt x="297" y="181"/>
                  </a:lnTo>
                  <a:lnTo>
                    <a:pt x="297" y="185"/>
                  </a:lnTo>
                  <a:lnTo>
                    <a:pt x="296" y="185"/>
                  </a:lnTo>
                  <a:lnTo>
                    <a:pt x="294" y="187"/>
                  </a:lnTo>
                  <a:lnTo>
                    <a:pt x="291" y="194"/>
                  </a:lnTo>
                  <a:lnTo>
                    <a:pt x="286" y="197"/>
                  </a:lnTo>
                  <a:lnTo>
                    <a:pt x="282" y="199"/>
                  </a:lnTo>
                  <a:lnTo>
                    <a:pt x="276" y="200"/>
                  </a:lnTo>
                  <a:lnTo>
                    <a:pt x="272" y="201"/>
                  </a:lnTo>
                  <a:lnTo>
                    <a:pt x="267" y="203"/>
                  </a:lnTo>
                  <a:lnTo>
                    <a:pt x="263" y="207"/>
                  </a:lnTo>
                  <a:lnTo>
                    <a:pt x="260" y="212"/>
                  </a:lnTo>
                  <a:lnTo>
                    <a:pt x="253" y="229"/>
                  </a:lnTo>
                  <a:lnTo>
                    <a:pt x="248" y="242"/>
                  </a:lnTo>
                  <a:lnTo>
                    <a:pt x="242" y="254"/>
                  </a:lnTo>
                  <a:lnTo>
                    <a:pt x="236" y="263"/>
                  </a:lnTo>
                  <a:lnTo>
                    <a:pt x="231" y="267"/>
                  </a:lnTo>
                  <a:lnTo>
                    <a:pt x="227" y="270"/>
                  </a:lnTo>
                  <a:lnTo>
                    <a:pt x="221" y="273"/>
                  </a:lnTo>
                  <a:lnTo>
                    <a:pt x="215" y="276"/>
                  </a:lnTo>
                  <a:lnTo>
                    <a:pt x="200" y="281"/>
                  </a:lnTo>
                  <a:lnTo>
                    <a:pt x="181" y="286"/>
                  </a:lnTo>
                  <a:lnTo>
                    <a:pt x="164" y="290"/>
                  </a:lnTo>
                  <a:lnTo>
                    <a:pt x="148" y="292"/>
                  </a:lnTo>
                  <a:lnTo>
                    <a:pt x="139" y="293"/>
                  </a:lnTo>
                  <a:lnTo>
                    <a:pt x="130" y="293"/>
                  </a:lnTo>
                  <a:lnTo>
                    <a:pt x="123" y="293"/>
                  </a:lnTo>
                  <a:lnTo>
                    <a:pt x="114" y="292"/>
                  </a:lnTo>
                  <a:lnTo>
                    <a:pt x="106" y="290"/>
                  </a:lnTo>
                  <a:lnTo>
                    <a:pt x="98" y="288"/>
                  </a:lnTo>
                  <a:lnTo>
                    <a:pt x="92" y="286"/>
                  </a:lnTo>
                  <a:lnTo>
                    <a:pt x="85" y="282"/>
                  </a:lnTo>
                  <a:lnTo>
                    <a:pt x="80" y="278"/>
                  </a:lnTo>
                  <a:lnTo>
                    <a:pt x="74" y="274"/>
                  </a:lnTo>
                  <a:lnTo>
                    <a:pt x="71" y="268"/>
                  </a:lnTo>
                  <a:lnTo>
                    <a:pt x="68" y="262"/>
                  </a:lnTo>
                  <a:lnTo>
                    <a:pt x="1" y="236"/>
                  </a:lnTo>
                  <a:lnTo>
                    <a:pt x="1" y="119"/>
                  </a:lnTo>
                  <a:lnTo>
                    <a:pt x="0" y="88"/>
                  </a:lnTo>
                  <a:lnTo>
                    <a:pt x="0" y="56"/>
                  </a:lnTo>
                  <a:lnTo>
                    <a:pt x="1" y="49"/>
                  </a:lnTo>
                  <a:lnTo>
                    <a:pt x="2" y="42"/>
                  </a:lnTo>
                  <a:lnTo>
                    <a:pt x="4" y="35"/>
                  </a:lnTo>
                  <a:lnTo>
                    <a:pt x="6" y="28"/>
                  </a:lnTo>
                  <a:lnTo>
                    <a:pt x="11" y="21"/>
                  </a:lnTo>
                  <a:lnTo>
                    <a:pt x="15" y="14"/>
                  </a:lnTo>
                  <a:lnTo>
                    <a:pt x="20" y="8"/>
                  </a:lnTo>
                  <a:lnTo>
                    <a:pt x="28" y="2"/>
                  </a:lnTo>
                  <a:lnTo>
                    <a:pt x="41" y="2"/>
                  </a:lnTo>
                  <a:lnTo>
                    <a:pt x="48" y="0"/>
                  </a:lnTo>
                  <a:lnTo>
                    <a:pt x="53" y="0"/>
                  </a:lnTo>
                  <a:lnTo>
                    <a:pt x="68" y="2"/>
                  </a:lnTo>
                  <a:lnTo>
                    <a:pt x="72" y="6"/>
                  </a:lnTo>
                  <a:lnTo>
                    <a:pt x="76" y="7"/>
                  </a:lnTo>
                  <a:lnTo>
                    <a:pt x="80" y="7"/>
                  </a:lnTo>
                  <a:lnTo>
                    <a:pt x="82" y="6"/>
                  </a:lnTo>
                  <a:lnTo>
                    <a:pt x="84" y="4"/>
                  </a:lnTo>
                  <a:lnTo>
                    <a:pt x="86" y="4"/>
                  </a:lnTo>
                  <a:lnTo>
                    <a:pt x="87" y="5"/>
                  </a:lnTo>
                  <a:lnTo>
                    <a:pt x="87" y="9"/>
                  </a:lnTo>
                  <a:lnTo>
                    <a:pt x="90" y="11"/>
                  </a:lnTo>
                  <a:lnTo>
                    <a:pt x="94" y="15"/>
                  </a:lnTo>
                  <a:lnTo>
                    <a:pt x="99" y="19"/>
                  </a:lnTo>
                  <a:lnTo>
                    <a:pt x="107" y="23"/>
                  </a:lnTo>
                  <a:lnTo>
                    <a:pt x="121" y="31"/>
                  </a:lnTo>
                  <a:lnTo>
                    <a:pt x="127" y="34"/>
                  </a:lnTo>
                  <a:lnTo>
                    <a:pt x="148" y="41"/>
                  </a:lnTo>
                  <a:lnTo>
                    <a:pt x="165" y="49"/>
                  </a:lnTo>
                  <a:lnTo>
                    <a:pt x="182" y="59"/>
                  </a:lnTo>
                  <a:lnTo>
                    <a:pt x="196" y="69"/>
                  </a:lnTo>
                  <a:lnTo>
                    <a:pt x="210" y="79"/>
                  </a:lnTo>
                  <a:lnTo>
                    <a:pt x="226" y="91"/>
                  </a:lnTo>
                  <a:lnTo>
                    <a:pt x="241" y="102"/>
                  </a:lnTo>
                  <a:lnTo>
                    <a:pt x="260" y="113"/>
                  </a:lnTo>
                  <a:lnTo>
                    <a:pt x="261" y="117"/>
                  </a:lnTo>
                  <a:lnTo>
                    <a:pt x="263" y="120"/>
                  </a:lnTo>
                  <a:lnTo>
                    <a:pt x="266" y="124"/>
                  </a:lnTo>
                  <a:lnTo>
                    <a:pt x="270" y="128"/>
                  </a:lnTo>
                  <a:lnTo>
                    <a:pt x="280" y="135"/>
                  </a:lnTo>
                  <a:lnTo>
                    <a:pt x="291" y="144"/>
                  </a:lnTo>
                  <a:lnTo>
                    <a:pt x="299" y="151"/>
                  </a:lnTo>
                  <a:lnTo>
                    <a:pt x="305" y="158"/>
                  </a:lnTo>
                  <a:lnTo>
                    <a:pt x="306" y="161"/>
                  </a:lnTo>
                  <a:lnTo>
                    <a:pt x="306" y="164"/>
                  </a:lnTo>
                  <a:lnTo>
                    <a:pt x="304" y="166"/>
                  </a:lnTo>
                  <a:lnTo>
                    <a:pt x="300" y="1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7" name="Freeform 226">
              <a:extLst>
                <a:ext uri="{FF2B5EF4-FFF2-40B4-BE49-F238E27FC236}">
                  <a16:creationId xmlns:a16="http://schemas.microsoft.com/office/drawing/2014/main" id="{84CD73D8-E65C-45A9-BA4A-AD999E1252C9}"/>
                </a:ext>
              </a:extLst>
            </p:cNvPr>
            <p:cNvSpPr>
              <a:spLocks/>
            </p:cNvSpPr>
            <p:nvPr>
              <p:custDataLst>
                <p:tags r:id="rId153"/>
              </p:custDataLst>
            </p:nvPr>
          </p:nvSpPr>
          <p:spPr bwMode="auto">
            <a:xfrm>
              <a:off x="4176708" y="1247766"/>
              <a:ext cx="236537" cy="9207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8" name="Freeform 227">
              <a:extLst>
                <a:ext uri="{FF2B5EF4-FFF2-40B4-BE49-F238E27FC236}">
                  <a16:creationId xmlns:a16="http://schemas.microsoft.com/office/drawing/2014/main" id="{F068982D-7D67-4BA7-B466-6F3A5E04235D}"/>
                </a:ext>
              </a:extLst>
            </p:cNvPr>
            <p:cNvSpPr>
              <a:spLocks/>
            </p:cNvSpPr>
            <p:nvPr>
              <p:custDataLst>
                <p:tags r:id="rId154"/>
              </p:custDataLst>
            </p:nvPr>
          </p:nvSpPr>
          <p:spPr bwMode="auto">
            <a:xfrm>
              <a:off x="4103683" y="1477952"/>
              <a:ext cx="449262" cy="361947"/>
            </a:xfrm>
            <a:custGeom>
              <a:avLst/>
              <a:gdLst>
                <a:gd name="T0" fmla="*/ 103976 w 1037"/>
                <a:gd name="T1" fmla="*/ 326280 h 690"/>
                <a:gd name="T2" fmla="*/ 67151 w 1037"/>
                <a:gd name="T3" fmla="*/ 358278 h 690"/>
                <a:gd name="T4" fmla="*/ 13863 w 1037"/>
                <a:gd name="T5" fmla="*/ 343066 h 690"/>
                <a:gd name="T6" fmla="*/ 29027 w 1037"/>
                <a:gd name="T7" fmla="*/ 332574 h 690"/>
                <a:gd name="T8" fmla="*/ 7798 w 1037"/>
                <a:gd name="T9" fmla="*/ 312641 h 690"/>
                <a:gd name="T10" fmla="*/ 19062 w 1037"/>
                <a:gd name="T11" fmla="*/ 312116 h 690"/>
                <a:gd name="T12" fmla="*/ 29027 w 1037"/>
                <a:gd name="T13" fmla="*/ 297428 h 690"/>
                <a:gd name="T14" fmla="*/ 3466 w 1037"/>
                <a:gd name="T15" fmla="*/ 286413 h 690"/>
                <a:gd name="T16" fmla="*/ 32059 w 1037"/>
                <a:gd name="T17" fmla="*/ 274348 h 690"/>
                <a:gd name="T18" fmla="*/ 0 w 1037"/>
                <a:gd name="T19" fmla="*/ 261758 h 690"/>
                <a:gd name="T20" fmla="*/ 8665 w 1037"/>
                <a:gd name="T21" fmla="*/ 239202 h 690"/>
                <a:gd name="T22" fmla="*/ 16030 w 1037"/>
                <a:gd name="T23" fmla="*/ 241825 h 690"/>
                <a:gd name="T24" fmla="*/ 33359 w 1037"/>
                <a:gd name="T25" fmla="*/ 235530 h 690"/>
                <a:gd name="T26" fmla="*/ 39857 w 1037"/>
                <a:gd name="T27" fmla="*/ 222416 h 690"/>
                <a:gd name="T28" fmla="*/ 56320 w 1037"/>
                <a:gd name="T29" fmla="*/ 214547 h 690"/>
                <a:gd name="T30" fmla="*/ 95311 w 1037"/>
                <a:gd name="T31" fmla="*/ 200384 h 690"/>
                <a:gd name="T32" fmla="*/ 98344 w 1037"/>
                <a:gd name="T33" fmla="*/ 177828 h 690"/>
                <a:gd name="T34" fmla="*/ 122605 w 1037"/>
                <a:gd name="T35" fmla="*/ 170484 h 690"/>
                <a:gd name="T36" fmla="*/ 122172 w 1037"/>
                <a:gd name="T37" fmla="*/ 162615 h 690"/>
                <a:gd name="T38" fmla="*/ 129103 w 1037"/>
                <a:gd name="T39" fmla="*/ 149501 h 690"/>
                <a:gd name="T40" fmla="*/ 145133 w 1037"/>
                <a:gd name="T41" fmla="*/ 127469 h 690"/>
                <a:gd name="T42" fmla="*/ 148599 w 1037"/>
                <a:gd name="T43" fmla="*/ 118552 h 690"/>
                <a:gd name="T44" fmla="*/ 168961 w 1037"/>
                <a:gd name="T45" fmla="*/ 104913 h 690"/>
                <a:gd name="T46" fmla="*/ 167661 w 1037"/>
                <a:gd name="T47" fmla="*/ 82357 h 690"/>
                <a:gd name="T48" fmla="*/ 161596 w 1037"/>
                <a:gd name="T49" fmla="*/ 74488 h 690"/>
                <a:gd name="T50" fmla="*/ 144700 w 1037"/>
                <a:gd name="T51" fmla="*/ 80783 h 690"/>
                <a:gd name="T52" fmla="*/ 168961 w 1037"/>
                <a:gd name="T53" fmla="*/ 54030 h 690"/>
                <a:gd name="T54" fmla="*/ 178059 w 1037"/>
                <a:gd name="T55" fmla="*/ 50358 h 690"/>
                <a:gd name="T56" fmla="*/ 200587 w 1037"/>
                <a:gd name="T57" fmla="*/ 59800 h 690"/>
                <a:gd name="T58" fmla="*/ 201886 w 1037"/>
                <a:gd name="T59" fmla="*/ 47735 h 690"/>
                <a:gd name="T60" fmla="*/ 241744 w 1037"/>
                <a:gd name="T61" fmla="*/ 31998 h 690"/>
                <a:gd name="T62" fmla="*/ 256040 w 1037"/>
                <a:gd name="T63" fmla="*/ 33048 h 690"/>
                <a:gd name="T64" fmla="*/ 279435 w 1037"/>
                <a:gd name="T65" fmla="*/ 28851 h 690"/>
                <a:gd name="T66" fmla="*/ 279435 w 1037"/>
                <a:gd name="T67" fmla="*/ 17311 h 690"/>
                <a:gd name="T68" fmla="*/ 302829 w 1037"/>
                <a:gd name="T69" fmla="*/ 6819 h 690"/>
                <a:gd name="T70" fmla="*/ 305429 w 1037"/>
                <a:gd name="T71" fmla="*/ 15212 h 690"/>
                <a:gd name="T72" fmla="*/ 308461 w 1037"/>
                <a:gd name="T73" fmla="*/ 20983 h 690"/>
                <a:gd name="T74" fmla="*/ 328390 w 1037"/>
                <a:gd name="T75" fmla="*/ 6295 h 690"/>
                <a:gd name="T76" fmla="*/ 353951 w 1037"/>
                <a:gd name="T77" fmla="*/ 3147 h 690"/>
                <a:gd name="T78" fmla="*/ 365648 w 1037"/>
                <a:gd name="T79" fmla="*/ 4197 h 690"/>
                <a:gd name="T80" fmla="*/ 373446 w 1037"/>
                <a:gd name="T81" fmla="*/ 5770 h 690"/>
                <a:gd name="T82" fmla="*/ 400307 w 1037"/>
                <a:gd name="T83" fmla="*/ 3147 h 690"/>
                <a:gd name="T84" fmla="*/ 449262 w 1037"/>
                <a:gd name="T85" fmla="*/ 22556 h 690"/>
                <a:gd name="T86" fmla="*/ 435399 w 1037"/>
                <a:gd name="T87" fmla="*/ 41441 h 690"/>
                <a:gd name="T88" fmla="*/ 402906 w 1037"/>
                <a:gd name="T89" fmla="*/ 28851 h 690"/>
                <a:gd name="T90" fmla="*/ 378212 w 1037"/>
                <a:gd name="T91" fmla="*/ 38818 h 690"/>
                <a:gd name="T92" fmla="*/ 367381 w 1037"/>
                <a:gd name="T93" fmla="*/ 60850 h 690"/>
                <a:gd name="T94" fmla="*/ 351351 w 1037"/>
                <a:gd name="T95" fmla="*/ 58227 h 690"/>
                <a:gd name="T96" fmla="*/ 322758 w 1037"/>
                <a:gd name="T97" fmla="*/ 67144 h 690"/>
                <a:gd name="T98" fmla="*/ 300663 w 1037"/>
                <a:gd name="T99" fmla="*/ 48260 h 690"/>
                <a:gd name="T100" fmla="*/ 268604 w 1037"/>
                <a:gd name="T101" fmla="*/ 58751 h 690"/>
                <a:gd name="T102" fmla="*/ 231346 w 1037"/>
                <a:gd name="T103" fmla="*/ 70292 h 690"/>
                <a:gd name="T104" fmla="*/ 210551 w 1037"/>
                <a:gd name="T105" fmla="*/ 110159 h 690"/>
                <a:gd name="T106" fmla="*/ 186290 w 1037"/>
                <a:gd name="T107" fmla="*/ 146354 h 690"/>
                <a:gd name="T108" fmla="*/ 172860 w 1037"/>
                <a:gd name="T109" fmla="*/ 190942 h 690"/>
                <a:gd name="T110" fmla="*/ 144266 w 1037"/>
                <a:gd name="T111" fmla="*/ 222940 h 690"/>
                <a:gd name="T112" fmla="*/ 153798 w 1037"/>
                <a:gd name="T113" fmla="*/ 260709 h 690"/>
                <a:gd name="T114" fmla="*/ 153364 w 1037"/>
                <a:gd name="T115" fmla="*/ 292707 h 690"/>
                <a:gd name="T116" fmla="*/ 143400 w 1037"/>
                <a:gd name="T117" fmla="*/ 322608 h 690"/>
                <a:gd name="T118" fmla="*/ 127804 w 1037"/>
                <a:gd name="T119" fmla="*/ 338345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59" name="Freeform 228">
              <a:extLst>
                <a:ext uri="{FF2B5EF4-FFF2-40B4-BE49-F238E27FC236}">
                  <a16:creationId xmlns:a16="http://schemas.microsoft.com/office/drawing/2014/main" id="{F5C03244-DCC6-4CD6-89A8-6D26C403943A}"/>
                </a:ext>
              </a:extLst>
            </p:cNvPr>
            <p:cNvSpPr>
              <a:spLocks/>
            </p:cNvSpPr>
            <p:nvPr>
              <p:custDataLst>
                <p:tags r:id="rId155"/>
              </p:custDataLst>
            </p:nvPr>
          </p:nvSpPr>
          <p:spPr bwMode="auto">
            <a:xfrm>
              <a:off x="4443408" y="2319320"/>
              <a:ext cx="49212" cy="90486"/>
            </a:xfrm>
            <a:custGeom>
              <a:avLst/>
              <a:gdLst>
                <a:gd name="T0" fmla="*/ 49212 w 120"/>
                <a:gd name="T1" fmla="*/ 51782 h 173"/>
                <a:gd name="T2" fmla="*/ 37729 w 120"/>
                <a:gd name="T3" fmla="*/ 31383 h 173"/>
                <a:gd name="T4" fmla="*/ 28707 w 120"/>
                <a:gd name="T5" fmla="*/ 14645 h 173"/>
                <a:gd name="T6" fmla="*/ 24606 w 120"/>
                <a:gd name="T7" fmla="*/ 8369 h 173"/>
                <a:gd name="T8" fmla="*/ 21735 w 120"/>
                <a:gd name="T9" fmla="*/ 4184 h 173"/>
                <a:gd name="T10" fmla="*/ 19685 w 120"/>
                <a:gd name="T11" fmla="*/ 2092 h 173"/>
                <a:gd name="T12" fmla="*/ 18455 w 120"/>
                <a:gd name="T13" fmla="*/ 1046 h 173"/>
                <a:gd name="T14" fmla="*/ 17634 w 120"/>
                <a:gd name="T15" fmla="*/ 523 h 173"/>
                <a:gd name="T16" fmla="*/ 15994 w 120"/>
                <a:gd name="T17" fmla="*/ 0 h 173"/>
                <a:gd name="T18" fmla="*/ 13533 w 120"/>
                <a:gd name="T19" fmla="*/ 0 h 173"/>
                <a:gd name="T20" fmla="*/ 11073 w 120"/>
                <a:gd name="T21" fmla="*/ 523 h 173"/>
                <a:gd name="T22" fmla="*/ 9842 w 120"/>
                <a:gd name="T23" fmla="*/ 1569 h 173"/>
                <a:gd name="T24" fmla="*/ 8612 w 120"/>
                <a:gd name="T25" fmla="*/ 2615 h 173"/>
                <a:gd name="T26" fmla="*/ 7792 w 120"/>
                <a:gd name="T27" fmla="*/ 4184 h 173"/>
                <a:gd name="T28" fmla="*/ 6562 w 120"/>
                <a:gd name="T29" fmla="*/ 6277 h 173"/>
                <a:gd name="T30" fmla="*/ 6152 w 120"/>
                <a:gd name="T31" fmla="*/ 7846 h 173"/>
                <a:gd name="T32" fmla="*/ 6152 w 120"/>
                <a:gd name="T33" fmla="*/ 10461 h 173"/>
                <a:gd name="T34" fmla="*/ 5741 w 120"/>
                <a:gd name="T35" fmla="*/ 15691 h 173"/>
                <a:gd name="T36" fmla="*/ 4921 w 120"/>
                <a:gd name="T37" fmla="*/ 21968 h 173"/>
                <a:gd name="T38" fmla="*/ 4101 w 120"/>
                <a:gd name="T39" fmla="*/ 25106 h 173"/>
                <a:gd name="T40" fmla="*/ 3281 w 120"/>
                <a:gd name="T41" fmla="*/ 28244 h 173"/>
                <a:gd name="T42" fmla="*/ 1640 w 120"/>
                <a:gd name="T43" fmla="*/ 31906 h 173"/>
                <a:gd name="T44" fmla="*/ 0 w 120"/>
                <a:gd name="T45" fmla="*/ 35567 h 173"/>
                <a:gd name="T46" fmla="*/ 2051 w 120"/>
                <a:gd name="T47" fmla="*/ 42890 h 173"/>
                <a:gd name="T48" fmla="*/ 4101 w 120"/>
                <a:gd name="T49" fmla="*/ 51782 h 173"/>
                <a:gd name="T50" fmla="*/ 6152 w 120"/>
                <a:gd name="T51" fmla="*/ 60150 h 173"/>
                <a:gd name="T52" fmla="*/ 8202 w 120"/>
                <a:gd name="T53" fmla="*/ 67473 h 173"/>
                <a:gd name="T54" fmla="*/ 9842 w 120"/>
                <a:gd name="T55" fmla="*/ 70088 h 173"/>
                <a:gd name="T56" fmla="*/ 12303 w 120"/>
                <a:gd name="T57" fmla="*/ 72703 h 173"/>
                <a:gd name="T58" fmla="*/ 15174 w 120"/>
                <a:gd name="T59" fmla="*/ 75842 h 173"/>
                <a:gd name="T60" fmla="*/ 18865 w 120"/>
                <a:gd name="T61" fmla="*/ 78980 h 173"/>
                <a:gd name="T62" fmla="*/ 22145 w 120"/>
                <a:gd name="T63" fmla="*/ 82118 h 173"/>
                <a:gd name="T64" fmla="*/ 24606 w 120"/>
                <a:gd name="T65" fmla="*/ 85257 h 173"/>
                <a:gd name="T66" fmla="*/ 25426 w 120"/>
                <a:gd name="T67" fmla="*/ 86303 h 173"/>
                <a:gd name="T68" fmla="*/ 26657 w 120"/>
                <a:gd name="T69" fmla="*/ 87872 h 173"/>
                <a:gd name="T70" fmla="*/ 27067 w 120"/>
                <a:gd name="T71" fmla="*/ 88918 h 173"/>
                <a:gd name="T72" fmla="*/ 27477 w 120"/>
                <a:gd name="T73" fmla="*/ 90487 h 173"/>
                <a:gd name="T74" fmla="*/ 31168 w 120"/>
                <a:gd name="T75" fmla="*/ 87349 h 173"/>
                <a:gd name="T76" fmla="*/ 35269 w 120"/>
                <a:gd name="T77" fmla="*/ 83687 h 173"/>
                <a:gd name="T78" fmla="*/ 38139 w 120"/>
                <a:gd name="T79" fmla="*/ 79503 h 173"/>
                <a:gd name="T80" fmla="*/ 41420 w 120"/>
                <a:gd name="T81" fmla="*/ 74273 h 173"/>
                <a:gd name="T82" fmla="*/ 43471 w 120"/>
                <a:gd name="T83" fmla="*/ 69042 h 173"/>
                <a:gd name="T84" fmla="*/ 45931 w 120"/>
                <a:gd name="T85" fmla="*/ 63289 h 173"/>
                <a:gd name="T86" fmla="*/ 47572 w 120"/>
                <a:gd name="T87" fmla="*/ 57535 h 173"/>
                <a:gd name="T88" fmla="*/ 49212 w 120"/>
                <a:gd name="T89" fmla="*/ 51782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0" name="Freeform 229">
              <a:extLst>
                <a:ext uri="{FF2B5EF4-FFF2-40B4-BE49-F238E27FC236}">
                  <a16:creationId xmlns:a16="http://schemas.microsoft.com/office/drawing/2014/main" id="{5EA6EA08-E451-4032-924D-160999E21915}"/>
                </a:ext>
              </a:extLst>
            </p:cNvPr>
            <p:cNvSpPr>
              <a:spLocks/>
            </p:cNvSpPr>
            <p:nvPr>
              <p:custDataLst>
                <p:tags r:id="rId156"/>
              </p:custDataLst>
            </p:nvPr>
          </p:nvSpPr>
          <p:spPr bwMode="auto">
            <a:xfrm>
              <a:off x="4151308" y="2158983"/>
              <a:ext cx="84137" cy="58738"/>
            </a:xfrm>
            <a:custGeom>
              <a:avLst/>
              <a:gdLst>
                <a:gd name="T0" fmla="*/ 84137 w 200"/>
                <a:gd name="T1" fmla="*/ 32965 h 98"/>
                <a:gd name="T2" fmla="*/ 82034 w 200"/>
                <a:gd name="T3" fmla="*/ 33565 h 98"/>
                <a:gd name="T4" fmla="*/ 78247 w 200"/>
                <a:gd name="T5" fmla="*/ 35962 h 98"/>
                <a:gd name="T6" fmla="*/ 74461 w 200"/>
                <a:gd name="T7" fmla="*/ 38959 h 98"/>
                <a:gd name="T8" fmla="*/ 69834 w 200"/>
                <a:gd name="T9" fmla="*/ 43754 h 98"/>
                <a:gd name="T10" fmla="*/ 65206 w 200"/>
                <a:gd name="T11" fmla="*/ 47949 h 98"/>
                <a:gd name="T12" fmla="*/ 60999 w 200"/>
                <a:gd name="T13" fmla="*/ 52145 h 98"/>
                <a:gd name="T14" fmla="*/ 57634 w 200"/>
                <a:gd name="T15" fmla="*/ 55741 h 98"/>
                <a:gd name="T16" fmla="*/ 55951 w 200"/>
                <a:gd name="T17" fmla="*/ 58738 h 98"/>
                <a:gd name="T18" fmla="*/ 53427 w 200"/>
                <a:gd name="T19" fmla="*/ 58738 h 98"/>
                <a:gd name="T20" fmla="*/ 51324 w 200"/>
                <a:gd name="T21" fmla="*/ 58738 h 98"/>
                <a:gd name="T22" fmla="*/ 48799 w 200"/>
                <a:gd name="T23" fmla="*/ 58139 h 98"/>
                <a:gd name="T24" fmla="*/ 46696 w 200"/>
                <a:gd name="T25" fmla="*/ 56940 h 98"/>
                <a:gd name="T26" fmla="*/ 44593 w 200"/>
                <a:gd name="T27" fmla="*/ 55741 h 98"/>
                <a:gd name="T28" fmla="*/ 43331 w 200"/>
                <a:gd name="T29" fmla="*/ 52744 h 98"/>
                <a:gd name="T30" fmla="*/ 42489 w 200"/>
                <a:gd name="T31" fmla="*/ 49148 h 98"/>
                <a:gd name="T32" fmla="*/ 42069 w 200"/>
                <a:gd name="T33" fmla="*/ 44353 h 98"/>
                <a:gd name="T34" fmla="*/ 38282 w 200"/>
                <a:gd name="T35" fmla="*/ 47949 h 98"/>
                <a:gd name="T36" fmla="*/ 34496 w 200"/>
                <a:gd name="T37" fmla="*/ 51546 h 98"/>
                <a:gd name="T38" fmla="*/ 32813 w 200"/>
                <a:gd name="T39" fmla="*/ 53943 h 98"/>
                <a:gd name="T40" fmla="*/ 30289 w 200"/>
                <a:gd name="T41" fmla="*/ 55741 h 98"/>
                <a:gd name="T42" fmla="*/ 28186 w 200"/>
                <a:gd name="T43" fmla="*/ 57539 h 98"/>
                <a:gd name="T44" fmla="*/ 25241 w 200"/>
                <a:gd name="T45" fmla="*/ 58738 h 98"/>
                <a:gd name="T46" fmla="*/ 16407 w 200"/>
                <a:gd name="T47" fmla="*/ 58738 h 98"/>
                <a:gd name="T48" fmla="*/ 14303 w 200"/>
                <a:gd name="T49" fmla="*/ 58738 h 98"/>
                <a:gd name="T50" fmla="*/ 11779 w 200"/>
                <a:gd name="T51" fmla="*/ 56940 h 98"/>
                <a:gd name="T52" fmla="*/ 9255 w 200"/>
                <a:gd name="T53" fmla="*/ 55142 h 98"/>
                <a:gd name="T54" fmla="*/ 6310 w 200"/>
                <a:gd name="T55" fmla="*/ 53344 h 98"/>
                <a:gd name="T56" fmla="*/ 3786 w 200"/>
                <a:gd name="T57" fmla="*/ 50946 h 98"/>
                <a:gd name="T58" fmla="*/ 1683 w 200"/>
                <a:gd name="T59" fmla="*/ 48549 h 98"/>
                <a:gd name="T60" fmla="*/ 421 w 200"/>
                <a:gd name="T61" fmla="*/ 46151 h 98"/>
                <a:gd name="T62" fmla="*/ 0 w 200"/>
                <a:gd name="T63" fmla="*/ 44353 h 98"/>
                <a:gd name="T64" fmla="*/ 2103 w 200"/>
                <a:gd name="T65" fmla="*/ 42555 h 98"/>
                <a:gd name="T66" fmla="*/ 4207 w 200"/>
                <a:gd name="T67" fmla="*/ 40158 h 98"/>
                <a:gd name="T68" fmla="*/ 5890 w 200"/>
                <a:gd name="T69" fmla="*/ 35962 h 98"/>
                <a:gd name="T70" fmla="*/ 8414 w 200"/>
                <a:gd name="T71" fmla="*/ 31766 h 98"/>
                <a:gd name="T72" fmla="*/ 9676 w 200"/>
                <a:gd name="T73" fmla="*/ 26972 h 98"/>
                <a:gd name="T74" fmla="*/ 11358 w 200"/>
                <a:gd name="T75" fmla="*/ 22177 h 98"/>
                <a:gd name="T76" fmla="*/ 12621 w 200"/>
                <a:gd name="T77" fmla="*/ 16782 h 98"/>
                <a:gd name="T78" fmla="*/ 13883 w 200"/>
                <a:gd name="T79" fmla="*/ 11388 h 98"/>
                <a:gd name="T80" fmla="*/ 27765 w 200"/>
                <a:gd name="T81" fmla="*/ 8391 h 98"/>
                <a:gd name="T82" fmla="*/ 43331 w 200"/>
                <a:gd name="T83" fmla="*/ 5394 h 98"/>
                <a:gd name="T84" fmla="*/ 60999 w 200"/>
                <a:gd name="T85" fmla="*/ 2397 h 98"/>
                <a:gd name="T86" fmla="*/ 81192 w 200"/>
                <a:gd name="T87" fmla="*/ 0 h 98"/>
                <a:gd name="T88" fmla="*/ 69834 w 200"/>
                <a:gd name="T89" fmla="*/ 18580 h 98"/>
                <a:gd name="T90" fmla="*/ 69834 w 200"/>
                <a:gd name="T91" fmla="*/ 20378 h 98"/>
                <a:gd name="T92" fmla="*/ 68992 w 200"/>
                <a:gd name="T93" fmla="*/ 22177 h 98"/>
                <a:gd name="T94" fmla="*/ 68151 w 200"/>
                <a:gd name="T95" fmla="*/ 23375 h 98"/>
                <a:gd name="T96" fmla="*/ 67730 w 200"/>
                <a:gd name="T97" fmla="*/ 24574 h 98"/>
                <a:gd name="T98" fmla="*/ 66048 w 200"/>
                <a:gd name="T99" fmla="*/ 26972 h 98"/>
                <a:gd name="T100" fmla="*/ 65627 w 200"/>
                <a:gd name="T101" fmla="*/ 28170 h 98"/>
                <a:gd name="T102" fmla="*/ 65627 w 200"/>
                <a:gd name="T103" fmla="*/ 29369 h 98"/>
                <a:gd name="T104" fmla="*/ 66048 w 200"/>
                <a:gd name="T105" fmla="*/ 29968 h 98"/>
                <a:gd name="T106" fmla="*/ 66889 w 200"/>
                <a:gd name="T107" fmla="*/ 29968 h 98"/>
                <a:gd name="T108" fmla="*/ 68572 w 200"/>
                <a:gd name="T109" fmla="*/ 30568 h 98"/>
                <a:gd name="T110" fmla="*/ 74461 w 200"/>
                <a:gd name="T111" fmla="*/ 31766 h 98"/>
                <a:gd name="T112" fmla="*/ 84137 w 200"/>
                <a:gd name="T113" fmla="*/ 32965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1" name="Freeform 230">
              <a:extLst>
                <a:ext uri="{FF2B5EF4-FFF2-40B4-BE49-F238E27FC236}">
                  <a16:creationId xmlns:a16="http://schemas.microsoft.com/office/drawing/2014/main" id="{0BC8D6FE-BD00-462F-9A9D-6C7FBE124A1E}"/>
                </a:ext>
              </a:extLst>
            </p:cNvPr>
            <p:cNvSpPr>
              <a:spLocks/>
            </p:cNvSpPr>
            <p:nvPr>
              <p:custDataLst>
                <p:tags r:id="rId157"/>
              </p:custDataLst>
            </p:nvPr>
          </p:nvSpPr>
          <p:spPr bwMode="auto">
            <a:xfrm>
              <a:off x="4089395" y="1978009"/>
              <a:ext cx="84138" cy="73025"/>
            </a:xfrm>
            <a:custGeom>
              <a:avLst/>
              <a:gdLst>
                <a:gd name="T0" fmla="*/ 0 w 186"/>
                <a:gd name="T1" fmla="*/ 57597 h 142"/>
                <a:gd name="T2" fmla="*/ 905 w 186"/>
                <a:gd name="T3" fmla="*/ 59654 h 142"/>
                <a:gd name="T4" fmla="*/ 1357 w 186"/>
                <a:gd name="T5" fmla="*/ 55026 h 142"/>
                <a:gd name="T6" fmla="*/ 1357 w 186"/>
                <a:gd name="T7" fmla="*/ 47826 h 142"/>
                <a:gd name="T8" fmla="*/ 4071 w 186"/>
                <a:gd name="T9" fmla="*/ 42169 h 142"/>
                <a:gd name="T10" fmla="*/ 7690 w 186"/>
                <a:gd name="T11" fmla="*/ 35484 h 142"/>
                <a:gd name="T12" fmla="*/ 9047 w 186"/>
                <a:gd name="T13" fmla="*/ 28799 h 142"/>
                <a:gd name="T14" fmla="*/ 10404 w 186"/>
                <a:gd name="T15" fmla="*/ 23656 h 142"/>
                <a:gd name="T16" fmla="*/ 12666 w 186"/>
                <a:gd name="T17" fmla="*/ 19028 h 142"/>
                <a:gd name="T18" fmla="*/ 15832 w 186"/>
                <a:gd name="T19" fmla="*/ 16456 h 142"/>
                <a:gd name="T20" fmla="*/ 18547 w 186"/>
                <a:gd name="T21" fmla="*/ 19542 h 142"/>
                <a:gd name="T22" fmla="*/ 19451 w 186"/>
                <a:gd name="T23" fmla="*/ 25199 h 142"/>
                <a:gd name="T24" fmla="*/ 21261 w 186"/>
                <a:gd name="T25" fmla="*/ 29827 h 142"/>
                <a:gd name="T26" fmla="*/ 24880 w 186"/>
                <a:gd name="T27" fmla="*/ 33427 h 142"/>
                <a:gd name="T28" fmla="*/ 39355 w 186"/>
                <a:gd name="T29" fmla="*/ 34455 h 142"/>
                <a:gd name="T30" fmla="*/ 35736 w 186"/>
                <a:gd name="T31" fmla="*/ 21085 h 142"/>
                <a:gd name="T32" fmla="*/ 31212 w 186"/>
                <a:gd name="T33" fmla="*/ 18513 h 142"/>
                <a:gd name="T34" fmla="*/ 28498 w 186"/>
                <a:gd name="T35" fmla="*/ 15428 h 142"/>
                <a:gd name="T36" fmla="*/ 27594 w 186"/>
                <a:gd name="T37" fmla="*/ 11828 h 142"/>
                <a:gd name="T38" fmla="*/ 31665 w 186"/>
                <a:gd name="T39" fmla="*/ 8742 h 142"/>
                <a:gd name="T40" fmla="*/ 39355 w 186"/>
                <a:gd name="T41" fmla="*/ 7200 h 142"/>
                <a:gd name="T42" fmla="*/ 44331 w 186"/>
                <a:gd name="T43" fmla="*/ 5143 h 142"/>
                <a:gd name="T44" fmla="*/ 50211 w 186"/>
                <a:gd name="T45" fmla="*/ 3086 h 142"/>
                <a:gd name="T46" fmla="*/ 58806 w 186"/>
                <a:gd name="T47" fmla="*/ 1543 h 142"/>
                <a:gd name="T48" fmla="*/ 66496 w 186"/>
                <a:gd name="T49" fmla="*/ 514 h 142"/>
                <a:gd name="T50" fmla="*/ 71924 w 186"/>
                <a:gd name="T51" fmla="*/ 1029 h 142"/>
                <a:gd name="T52" fmla="*/ 79614 w 186"/>
                <a:gd name="T53" fmla="*/ 514 h 142"/>
                <a:gd name="T54" fmla="*/ 82781 w 186"/>
                <a:gd name="T55" fmla="*/ 5143 h 142"/>
                <a:gd name="T56" fmla="*/ 80519 w 186"/>
                <a:gd name="T57" fmla="*/ 13371 h 142"/>
                <a:gd name="T58" fmla="*/ 76448 w 186"/>
                <a:gd name="T59" fmla="*/ 20570 h 142"/>
                <a:gd name="T60" fmla="*/ 71924 w 186"/>
                <a:gd name="T61" fmla="*/ 26227 h 142"/>
                <a:gd name="T62" fmla="*/ 70115 w 186"/>
                <a:gd name="T63" fmla="*/ 32398 h 142"/>
                <a:gd name="T64" fmla="*/ 69210 w 186"/>
                <a:gd name="T65" fmla="*/ 39084 h 142"/>
                <a:gd name="T66" fmla="*/ 54283 w 186"/>
                <a:gd name="T67" fmla="*/ 73025 h 142"/>
                <a:gd name="T68" fmla="*/ 36188 w 186"/>
                <a:gd name="T69" fmla="*/ 62740 h 142"/>
                <a:gd name="T70" fmla="*/ 15832 w 186"/>
                <a:gd name="T71" fmla="*/ 60168 h 142"/>
                <a:gd name="T72" fmla="*/ 3619 w 186"/>
                <a:gd name="T73" fmla="*/ 58111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2" name="Freeform 231">
              <a:extLst>
                <a:ext uri="{FF2B5EF4-FFF2-40B4-BE49-F238E27FC236}">
                  <a16:creationId xmlns:a16="http://schemas.microsoft.com/office/drawing/2014/main" id="{BDEF4259-C130-4D38-987B-D06F793F5F4B}"/>
                </a:ext>
              </a:extLst>
            </p:cNvPr>
            <p:cNvSpPr>
              <a:spLocks/>
            </p:cNvSpPr>
            <p:nvPr>
              <p:custDataLst>
                <p:tags r:id="rId158"/>
              </p:custDataLst>
            </p:nvPr>
          </p:nvSpPr>
          <p:spPr bwMode="auto">
            <a:xfrm>
              <a:off x="4070345" y="2041509"/>
              <a:ext cx="84138" cy="57150"/>
            </a:xfrm>
            <a:custGeom>
              <a:avLst/>
              <a:gdLst>
                <a:gd name="T0" fmla="*/ 84138 w 192"/>
                <a:gd name="T1" fmla="*/ 33201 h 105"/>
                <a:gd name="T2" fmla="*/ 82823 w 192"/>
                <a:gd name="T3" fmla="*/ 33746 h 105"/>
                <a:gd name="T4" fmla="*/ 80632 w 192"/>
                <a:gd name="T5" fmla="*/ 34290 h 105"/>
                <a:gd name="T6" fmla="*/ 78879 w 192"/>
                <a:gd name="T7" fmla="*/ 34834 h 105"/>
                <a:gd name="T8" fmla="*/ 77565 w 192"/>
                <a:gd name="T9" fmla="*/ 36467 h 105"/>
                <a:gd name="T10" fmla="*/ 73621 w 192"/>
                <a:gd name="T11" fmla="*/ 39189 h 105"/>
                <a:gd name="T12" fmla="*/ 70115 w 192"/>
                <a:gd name="T13" fmla="*/ 42999 h 105"/>
                <a:gd name="T14" fmla="*/ 67486 w 192"/>
                <a:gd name="T15" fmla="*/ 46809 h 105"/>
                <a:gd name="T16" fmla="*/ 64418 w 192"/>
                <a:gd name="T17" fmla="*/ 50619 h 105"/>
                <a:gd name="T18" fmla="*/ 62665 w 192"/>
                <a:gd name="T19" fmla="*/ 53884 h 105"/>
                <a:gd name="T20" fmla="*/ 60912 w 192"/>
                <a:gd name="T21" fmla="*/ 57150 h 105"/>
                <a:gd name="T22" fmla="*/ 52586 w 192"/>
                <a:gd name="T23" fmla="*/ 52796 h 105"/>
                <a:gd name="T24" fmla="*/ 44698 w 192"/>
                <a:gd name="T25" fmla="*/ 48441 h 105"/>
                <a:gd name="T26" fmla="*/ 37687 w 192"/>
                <a:gd name="T27" fmla="*/ 43543 h 105"/>
                <a:gd name="T28" fmla="*/ 30237 w 192"/>
                <a:gd name="T29" fmla="*/ 38644 h 105"/>
                <a:gd name="T30" fmla="*/ 23226 w 192"/>
                <a:gd name="T31" fmla="*/ 33201 h 105"/>
                <a:gd name="T32" fmla="*/ 15776 w 192"/>
                <a:gd name="T33" fmla="*/ 28847 h 105"/>
                <a:gd name="T34" fmla="*/ 8326 w 192"/>
                <a:gd name="T35" fmla="*/ 23949 h 105"/>
                <a:gd name="T36" fmla="*/ 0 w 192"/>
                <a:gd name="T37" fmla="*/ 20139 h 105"/>
                <a:gd name="T38" fmla="*/ 0 w 192"/>
                <a:gd name="T39" fmla="*/ 7076 h 105"/>
                <a:gd name="T40" fmla="*/ 3068 w 192"/>
                <a:gd name="T41" fmla="*/ 3810 h 105"/>
                <a:gd name="T42" fmla="*/ 7012 w 192"/>
                <a:gd name="T43" fmla="*/ 2177 h 105"/>
                <a:gd name="T44" fmla="*/ 12708 w 192"/>
                <a:gd name="T45" fmla="*/ 544 h 105"/>
                <a:gd name="T46" fmla="*/ 17529 w 192"/>
                <a:gd name="T47" fmla="*/ 0 h 105"/>
                <a:gd name="T48" fmla="*/ 26293 w 192"/>
                <a:gd name="T49" fmla="*/ 1089 h 105"/>
                <a:gd name="T50" fmla="*/ 40754 w 192"/>
                <a:gd name="T51" fmla="*/ 2721 h 105"/>
                <a:gd name="T52" fmla="*/ 48642 w 192"/>
                <a:gd name="T53" fmla="*/ 3810 h 105"/>
                <a:gd name="T54" fmla="*/ 56092 w 192"/>
                <a:gd name="T55" fmla="*/ 3810 h 105"/>
                <a:gd name="T56" fmla="*/ 62665 w 192"/>
                <a:gd name="T57" fmla="*/ 3810 h 105"/>
                <a:gd name="T58" fmla="*/ 67047 w 192"/>
                <a:gd name="T59" fmla="*/ 3266 h 105"/>
                <a:gd name="T60" fmla="*/ 67924 w 192"/>
                <a:gd name="T61" fmla="*/ 5987 h 105"/>
                <a:gd name="T62" fmla="*/ 69677 w 192"/>
                <a:gd name="T63" fmla="*/ 9253 h 105"/>
                <a:gd name="T64" fmla="*/ 70553 w 192"/>
                <a:gd name="T65" fmla="*/ 10886 h 105"/>
                <a:gd name="T66" fmla="*/ 71868 w 192"/>
                <a:gd name="T67" fmla="*/ 12519 h 105"/>
                <a:gd name="T68" fmla="*/ 72306 w 192"/>
                <a:gd name="T69" fmla="*/ 14696 h 105"/>
                <a:gd name="T70" fmla="*/ 72744 w 192"/>
                <a:gd name="T71" fmla="*/ 16873 h 105"/>
                <a:gd name="T72" fmla="*/ 74497 w 192"/>
                <a:gd name="T73" fmla="*/ 17417 h 105"/>
                <a:gd name="T74" fmla="*/ 77565 w 192"/>
                <a:gd name="T75" fmla="*/ 17961 h 105"/>
                <a:gd name="T76" fmla="*/ 78879 w 192"/>
                <a:gd name="T77" fmla="*/ 18506 h 105"/>
                <a:gd name="T78" fmla="*/ 80194 w 192"/>
                <a:gd name="T79" fmla="*/ 18506 h 105"/>
                <a:gd name="T80" fmla="*/ 82385 w 192"/>
                <a:gd name="T81" fmla="*/ 17961 h 105"/>
                <a:gd name="T82" fmla="*/ 84138 w 192"/>
                <a:gd name="T83" fmla="*/ 16873 h 105"/>
                <a:gd name="T84" fmla="*/ 84138 w 192"/>
                <a:gd name="T85" fmla="*/ 33201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3" name="Freeform 232">
              <a:extLst>
                <a:ext uri="{FF2B5EF4-FFF2-40B4-BE49-F238E27FC236}">
                  <a16:creationId xmlns:a16="http://schemas.microsoft.com/office/drawing/2014/main" id="{CF093AEE-F93A-480E-A249-76D7CB50BB12}"/>
                </a:ext>
              </a:extLst>
            </p:cNvPr>
            <p:cNvSpPr>
              <a:spLocks/>
            </p:cNvSpPr>
            <p:nvPr>
              <p:custDataLst>
                <p:tags r:id="rId159"/>
              </p:custDataLst>
            </p:nvPr>
          </p:nvSpPr>
          <p:spPr bwMode="auto">
            <a:xfrm>
              <a:off x="4830757" y="2595543"/>
              <a:ext cx="33337" cy="131761"/>
            </a:xfrm>
            <a:custGeom>
              <a:avLst/>
              <a:gdLst>
                <a:gd name="T0" fmla="*/ 13752 w 80"/>
                <a:gd name="T1" fmla="*/ 0 h 254"/>
                <a:gd name="T2" fmla="*/ 15418 w 80"/>
                <a:gd name="T3" fmla="*/ 1037 h 254"/>
                <a:gd name="T4" fmla="*/ 16669 w 80"/>
                <a:gd name="T5" fmla="*/ 2075 h 254"/>
                <a:gd name="T6" fmla="*/ 17919 w 80"/>
                <a:gd name="T7" fmla="*/ 3631 h 254"/>
                <a:gd name="T8" fmla="*/ 19169 w 80"/>
                <a:gd name="T9" fmla="*/ 5187 h 254"/>
                <a:gd name="T10" fmla="*/ 21669 w 80"/>
                <a:gd name="T11" fmla="*/ 9337 h 254"/>
                <a:gd name="T12" fmla="*/ 23336 w 80"/>
                <a:gd name="T13" fmla="*/ 12969 h 254"/>
                <a:gd name="T14" fmla="*/ 25836 w 80"/>
                <a:gd name="T15" fmla="*/ 16600 h 254"/>
                <a:gd name="T16" fmla="*/ 27920 w 80"/>
                <a:gd name="T17" fmla="*/ 19712 h 254"/>
                <a:gd name="T18" fmla="*/ 29170 w 80"/>
                <a:gd name="T19" fmla="*/ 20750 h 254"/>
                <a:gd name="T20" fmla="*/ 30420 w 80"/>
                <a:gd name="T21" fmla="*/ 21787 h 254"/>
                <a:gd name="T22" fmla="*/ 31670 w 80"/>
                <a:gd name="T23" fmla="*/ 22306 h 254"/>
                <a:gd name="T24" fmla="*/ 33337 w 80"/>
                <a:gd name="T25" fmla="*/ 22825 h 254"/>
                <a:gd name="T26" fmla="*/ 33337 w 80"/>
                <a:gd name="T27" fmla="*/ 27494 h 254"/>
                <a:gd name="T28" fmla="*/ 33337 w 80"/>
                <a:gd name="T29" fmla="*/ 32162 h 254"/>
                <a:gd name="T30" fmla="*/ 22086 w 80"/>
                <a:gd name="T31" fmla="*/ 131762 h 254"/>
                <a:gd name="T32" fmla="*/ 0 w 80"/>
                <a:gd name="T33" fmla="*/ 48244 h 254"/>
                <a:gd name="T34" fmla="*/ 1667 w 80"/>
                <a:gd name="T35" fmla="*/ 45650 h 254"/>
                <a:gd name="T36" fmla="*/ 4584 w 80"/>
                <a:gd name="T37" fmla="*/ 36831 h 254"/>
                <a:gd name="T38" fmla="*/ 7084 w 80"/>
                <a:gd name="T39" fmla="*/ 29569 h 254"/>
                <a:gd name="T40" fmla="*/ 9168 w 80"/>
                <a:gd name="T41" fmla="*/ 21269 h 254"/>
                <a:gd name="T42" fmla="*/ 11668 w 80"/>
                <a:gd name="T43" fmla="*/ 11931 h 254"/>
                <a:gd name="T44" fmla="*/ 13752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4" name="Freeform 233">
              <a:extLst>
                <a:ext uri="{FF2B5EF4-FFF2-40B4-BE49-F238E27FC236}">
                  <a16:creationId xmlns:a16="http://schemas.microsoft.com/office/drawing/2014/main" id="{14BFDC0B-892D-4434-9493-B412765B276E}"/>
                </a:ext>
              </a:extLst>
            </p:cNvPr>
            <p:cNvSpPr>
              <a:spLocks/>
            </p:cNvSpPr>
            <p:nvPr>
              <p:custDataLst>
                <p:tags r:id="rId160"/>
              </p:custDataLst>
            </p:nvPr>
          </p:nvSpPr>
          <p:spPr bwMode="auto">
            <a:xfrm>
              <a:off x="4779957" y="2647929"/>
              <a:ext cx="69850" cy="130174"/>
            </a:xfrm>
            <a:custGeom>
              <a:avLst/>
              <a:gdLst>
                <a:gd name="T0" fmla="*/ 47682 w 167"/>
                <a:gd name="T1" fmla="*/ 0 h 259"/>
                <a:gd name="T2" fmla="*/ 69850 w 167"/>
                <a:gd name="T3" fmla="*/ 77904 h 259"/>
                <a:gd name="T4" fmla="*/ 50610 w 167"/>
                <a:gd name="T5" fmla="*/ 130175 h 259"/>
                <a:gd name="T6" fmla="*/ 47264 w 167"/>
                <a:gd name="T7" fmla="*/ 130175 h 259"/>
                <a:gd name="T8" fmla="*/ 44754 w 167"/>
                <a:gd name="T9" fmla="*/ 129170 h 259"/>
                <a:gd name="T10" fmla="*/ 41826 w 167"/>
                <a:gd name="T11" fmla="*/ 127662 h 259"/>
                <a:gd name="T12" fmla="*/ 39735 w 167"/>
                <a:gd name="T13" fmla="*/ 126154 h 259"/>
                <a:gd name="T14" fmla="*/ 37225 w 167"/>
                <a:gd name="T15" fmla="*/ 123139 h 259"/>
                <a:gd name="T16" fmla="*/ 35552 w 167"/>
                <a:gd name="T17" fmla="*/ 120625 h 259"/>
                <a:gd name="T18" fmla="*/ 33461 w 167"/>
                <a:gd name="T19" fmla="*/ 118112 h 259"/>
                <a:gd name="T20" fmla="*/ 31788 w 167"/>
                <a:gd name="T21" fmla="*/ 115097 h 259"/>
                <a:gd name="T22" fmla="*/ 28860 w 167"/>
                <a:gd name="T23" fmla="*/ 109066 h 259"/>
                <a:gd name="T24" fmla="*/ 27187 w 167"/>
                <a:gd name="T25" fmla="*/ 103034 h 259"/>
                <a:gd name="T26" fmla="*/ 25932 w 167"/>
                <a:gd name="T27" fmla="*/ 97506 h 259"/>
                <a:gd name="T28" fmla="*/ 25932 w 167"/>
                <a:gd name="T29" fmla="*/ 92982 h 259"/>
                <a:gd name="T30" fmla="*/ 23004 w 167"/>
                <a:gd name="T31" fmla="*/ 92480 h 259"/>
                <a:gd name="T32" fmla="*/ 21331 w 167"/>
                <a:gd name="T33" fmla="*/ 91977 h 259"/>
                <a:gd name="T34" fmla="*/ 18822 w 167"/>
                <a:gd name="T35" fmla="*/ 91474 h 259"/>
                <a:gd name="T36" fmla="*/ 17567 w 167"/>
                <a:gd name="T37" fmla="*/ 90469 h 259"/>
                <a:gd name="T38" fmla="*/ 16312 w 167"/>
                <a:gd name="T39" fmla="*/ 88961 h 259"/>
                <a:gd name="T40" fmla="*/ 15057 w 167"/>
                <a:gd name="T41" fmla="*/ 87453 h 259"/>
                <a:gd name="T42" fmla="*/ 14221 w 167"/>
                <a:gd name="T43" fmla="*/ 85443 h 259"/>
                <a:gd name="T44" fmla="*/ 13384 w 167"/>
                <a:gd name="T45" fmla="*/ 83935 h 259"/>
                <a:gd name="T46" fmla="*/ 12548 w 167"/>
                <a:gd name="T47" fmla="*/ 79412 h 259"/>
                <a:gd name="T48" fmla="*/ 12130 w 167"/>
                <a:gd name="T49" fmla="*/ 74888 h 259"/>
                <a:gd name="T50" fmla="*/ 11711 w 167"/>
                <a:gd name="T51" fmla="*/ 70365 h 259"/>
                <a:gd name="T52" fmla="*/ 11711 w 167"/>
                <a:gd name="T53" fmla="*/ 64836 h 259"/>
                <a:gd name="T54" fmla="*/ 8784 w 167"/>
                <a:gd name="T55" fmla="*/ 64836 h 259"/>
                <a:gd name="T56" fmla="*/ 6692 w 167"/>
                <a:gd name="T57" fmla="*/ 63831 h 259"/>
                <a:gd name="T58" fmla="*/ 4601 w 167"/>
                <a:gd name="T59" fmla="*/ 62826 h 259"/>
                <a:gd name="T60" fmla="*/ 2928 w 167"/>
                <a:gd name="T61" fmla="*/ 60815 h 259"/>
                <a:gd name="T62" fmla="*/ 2091 w 167"/>
                <a:gd name="T63" fmla="*/ 58805 h 259"/>
                <a:gd name="T64" fmla="*/ 837 w 167"/>
                <a:gd name="T65" fmla="*/ 56292 h 259"/>
                <a:gd name="T66" fmla="*/ 0 w 167"/>
                <a:gd name="T67" fmla="*/ 53779 h 259"/>
                <a:gd name="T68" fmla="*/ 0 w 167"/>
                <a:gd name="T69" fmla="*/ 50763 h 259"/>
                <a:gd name="T70" fmla="*/ 0 w 167"/>
                <a:gd name="T71" fmla="*/ 37695 h 259"/>
                <a:gd name="T72" fmla="*/ 418 w 167"/>
                <a:gd name="T73" fmla="*/ 25130 h 259"/>
                <a:gd name="T74" fmla="*/ 5019 w 167"/>
                <a:gd name="T75" fmla="*/ 26136 h 259"/>
                <a:gd name="T76" fmla="*/ 9202 w 167"/>
                <a:gd name="T77" fmla="*/ 26638 h 259"/>
                <a:gd name="T78" fmla="*/ 13384 w 167"/>
                <a:gd name="T79" fmla="*/ 26638 h 259"/>
                <a:gd name="T80" fmla="*/ 17567 w 167"/>
                <a:gd name="T81" fmla="*/ 26136 h 259"/>
                <a:gd name="T82" fmla="*/ 20913 w 167"/>
                <a:gd name="T83" fmla="*/ 25633 h 259"/>
                <a:gd name="T84" fmla="*/ 24259 w 167"/>
                <a:gd name="T85" fmla="*/ 24628 h 259"/>
                <a:gd name="T86" fmla="*/ 27605 w 167"/>
                <a:gd name="T87" fmla="*/ 23622 h 259"/>
                <a:gd name="T88" fmla="*/ 30533 w 167"/>
                <a:gd name="T89" fmla="*/ 22115 h 259"/>
                <a:gd name="T90" fmla="*/ 33043 w 167"/>
                <a:gd name="T91" fmla="*/ 20104 h 259"/>
                <a:gd name="T92" fmla="*/ 35971 w 167"/>
                <a:gd name="T93" fmla="*/ 18094 h 259"/>
                <a:gd name="T94" fmla="*/ 38062 w 167"/>
                <a:gd name="T95" fmla="*/ 15581 h 259"/>
                <a:gd name="T96" fmla="*/ 40572 w 167"/>
                <a:gd name="T97" fmla="*/ 13068 h 259"/>
                <a:gd name="T98" fmla="*/ 44754 w 167"/>
                <a:gd name="T99" fmla="*/ 6534 h 259"/>
                <a:gd name="T100" fmla="*/ 47682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5" name="Freeform 234">
              <a:extLst>
                <a:ext uri="{FF2B5EF4-FFF2-40B4-BE49-F238E27FC236}">
                  <a16:creationId xmlns:a16="http://schemas.microsoft.com/office/drawing/2014/main" id="{C93E609B-377B-4938-A08C-BC88CD970D22}"/>
                </a:ext>
              </a:extLst>
            </p:cNvPr>
            <p:cNvSpPr>
              <a:spLocks/>
            </p:cNvSpPr>
            <p:nvPr>
              <p:custDataLst>
                <p:tags r:id="rId161"/>
              </p:custDataLst>
            </p:nvPr>
          </p:nvSpPr>
          <p:spPr bwMode="auto">
            <a:xfrm>
              <a:off x="3781420" y="1901810"/>
              <a:ext cx="96838" cy="144462"/>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6" name="Freeform 235">
              <a:extLst>
                <a:ext uri="{FF2B5EF4-FFF2-40B4-BE49-F238E27FC236}">
                  <a16:creationId xmlns:a16="http://schemas.microsoft.com/office/drawing/2014/main" id="{ADE836E0-A827-48ED-ADF4-C760F97A3337}"/>
                </a:ext>
              </a:extLst>
            </p:cNvPr>
            <p:cNvSpPr>
              <a:spLocks/>
            </p:cNvSpPr>
            <p:nvPr>
              <p:custDataLst>
                <p:tags r:id="rId162"/>
              </p:custDataLst>
            </p:nvPr>
          </p:nvSpPr>
          <p:spPr bwMode="auto">
            <a:xfrm>
              <a:off x="3594096" y="2813028"/>
              <a:ext cx="306387" cy="390522"/>
            </a:xfrm>
            <a:custGeom>
              <a:avLst/>
              <a:gdLst>
                <a:gd name="T0" fmla="*/ 124140 w 232"/>
                <a:gd name="T1" fmla="*/ 387376 h 248"/>
                <a:gd name="T2" fmla="*/ 126781 w 232"/>
                <a:gd name="T3" fmla="*/ 382652 h 248"/>
                <a:gd name="T4" fmla="*/ 129423 w 232"/>
                <a:gd name="T5" fmla="*/ 374778 h 248"/>
                <a:gd name="T6" fmla="*/ 132064 w 232"/>
                <a:gd name="T7" fmla="*/ 365330 h 248"/>
                <a:gd name="T8" fmla="*/ 136026 w 232"/>
                <a:gd name="T9" fmla="*/ 363755 h 248"/>
                <a:gd name="T10" fmla="*/ 137346 w 232"/>
                <a:gd name="T11" fmla="*/ 374778 h 248"/>
                <a:gd name="T12" fmla="*/ 139988 w 232"/>
                <a:gd name="T13" fmla="*/ 379502 h 248"/>
                <a:gd name="T14" fmla="*/ 142629 w 232"/>
                <a:gd name="T15" fmla="*/ 381077 h 248"/>
                <a:gd name="T16" fmla="*/ 145270 w 232"/>
                <a:gd name="T17" fmla="*/ 381077 h 248"/>
                <a:gd name="T18" fmla="*/ 149232 w 232"/>
                <a:gd name="T19" fmla="*/ 379502 h 248"/>
                <a:gd name="T20" fmla="*/ 153194 w 232"/>
                <a:gd name="T21" fmla="*/ 374778 h 248"/>
                <a:gd name="T22" fmla="*/ 285258 w 232"/>
                <a:gd name="T23" fmla="*/ 368479 h 248"/>
                <a:gd name="T24" fmla="*/ 281296 w 232"/>
                <a:gd name="T25" fmla="*/ 321238 h 248"/>
                <a:gd name="T26" fmla="*/ 273372 w 232"/>
                <a:gd name="T27" fmla="*/ 217308 h 248"/>
                <a:gd name="T28" fmla="*/ 265448 w 232"/>
                <a:gd name="T29" fmla="*/ 114953 h 248"/>
                <a:gd name="T30" fmla="*/ 261486 w 232"/>
                <a:gd name="T31" fmla="*/ 67712 h 248"/>
                <a:gd name="T32" fmla="*/ 283937 w 232"/>
                <a:gd name="T33" fmla="*/ 69287 h 248"/>
                <a:gd name="T34" fmla="*/ 306388 w 232"/>
                <a:gd name="T35" fmla="*/ 72436 h 248"/>
                <a:gd name="T36" fmla="*/ 212623 w 232"/>
                <a:gd name="T37" fmla="*/ 3149 h 248"/>
                <a:gd name="T38" fmla="*/ 211302 w 232"/>
                <a:gd name="T39" fmla="*/ 12598 h 248"/>
                <a:gd name="T40" fmla="*/ 212623 w 232"/>
                <a:gd name="T41" fmla="*/ 28345 h 248"/>
                <a:gd name="T42" fmla="*/ 129423 w 232"/>
                <a:gd name="T43" fmla="*/ 37793 h 248"/>
                <a:gd name="T44" fmla="*/ 129423 w 232"/>
                <a:gd name="T45" fmla="*/ 116528 h 248"/>
                <a:gd name="T46" fmla="*/ 125461 w 232"/>
                <a:gd name="T47" fmla="*/ 119677 h 248"/>
                <a:gd name="T48" fmla="*/ 114896 w 232"/>
                <a:gd name="T49" fmla="*/ 122826 h 248"/>
                <a:gd name="T50" fmla="*/ 95086 w 232"/>
                <a:gd name="T51" fmla="*/ 129125 h 248"/>
                <a:gd name="T52" fmla="*/ 97727 w 232"/>
                <a:gd name="T53" fmla="*/ 138573 h 248"/>
                <a:gd name="T54" fmla="*/ 103010 w 232"/>
                <a:gd name="T55" fmla="*/ 151171 h 248"/>
                <a:gd name="T56" fmla="*/ 105651 w 232"/>
                <a:gd name="T57" fmla="*/ 165343 h 248"/>
                <a:gd name="T58" fmla="*/ 106972 w 232"/>
                <a:gd name="T59" fmla="*/ 181090 h 248"/>
                <a:gd name="T60" fmla="*/ 11886 w 232"/>
                <a:gd name="T61" fmla="*/ 187389 h 248"/>
                <a:gd name="T62" fmla="*/ 6603 w 232"/>
                <a:gd name="T63" fmla="*/ 204711 h 248"/>
                <a:gd name="T64" fmla="*/ 7924 w 232"/>
                <a:gd name="T65" fmla="*/ 225182 h 248"/>
                <a:gd name="T66" fmla="*/ 10565 w 232"/>
                <a:gd name="T67" fmla="*/ 244078 h 248"/>
                <a:gd name="T68" fmla="*/ 11886 w 232"/>
                <a:gd name="T69" fmla="*/ 264549 h 248"/>
                <a:gd name="T70" fmla="*/ 11886 w 232"/>
                <a:gd name="T71" fmla="*/ 286595 h 248"/>
                <a:gd name="T72" fmla="*/ 10565 w 232"/>
                <a:gd name="T73" fmla="*/ 305491 h 248"/>
                <a:gd name="T74" fmla="*/ 7924 w 232"/>
                <a:gd name="T75" fmla="*/ 324388 h 248"/>
                <a:gd name="T76" fmla="*/ 2641 w 232"/>
                <a:gd name="T77" fmla="*/ 340135 h 248"/>
                <a:gd name="T78" fmla="*/ 2641 w 232"/>
                <a:gd name="T79" fmla="*/ 344859 h 248"/>
                <a:gd name="T80" fmla="*/ 3962 w 232"/>
                <a:gd name="T81" fmla="*/ 346433 h 248"/>
                <a:gd name="T82" fmla="*/ 3962 w 232"/>
                <a:gd name="T83" fmla="*/ 349583 h 248"/>
                <a:gd name="T84" fmla="*/ 9244 w 232"/>
                <a:gd name="T85" fmla="*/ 341709 h 248"/>
                <a:gd name="T86" fmla="*/ 23771 w 232"/>
                <a:gd name="T87" fmla="*/ 335411 h 248"/>
                <a:gd name="T88" fmla="*/ 47543 w 232"/>
                <a:gd name="T89" fmla="*/ 325962 h 248"/>
                <a:gd name="T90" fmla="*/ 59429 w 232"/>
                <a:gd name="T91" fmla="*/ 327537 h 248"/>
                <a:gd name="T92" fmla="*/ 67353 w 232"/>
                <a:gd name="T93" fmla="*/ 333836 h 248"/>
                <a:gd name="T94" fmla="*/ 73956 w 232"/>
                <a:gd name="T95" fmla="*/ 336985 h 248"/>
                <a:gd name="T96" fmla="*/ 81880 w 232"/>
                <a:gd name="T97" fmla="*/ 338560 h 248"/>
                <a:gd name="T98" fmla="*/ 87162 w 232"/>
                <a:gd name="T99" fmla="*/ 344859 h 248"/>
                <a:gd name="T100" fmla="*/ 88483 w 232"/>
                <a:gd name="T101" fmla="*/ 354307 h 248"/>
                <a:gd name="T102" fmla="*/ 92445 w 232"/>
                <a:gd name="T103" fmla="*/ 363755 h 248"/>
                <a:gd name="T104" fmla="*/ 97727 w 232"/>
                <a:gd name="T105" fmla="*/ 370054 h 248"/>
                <a:gd name="T106" fmla="*/ 112254 w 232"/>
                <a:gd name="T107" fmla="*/ 382652 h 24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2" h="248">
                  <a:moveTo>
                    <a:pt x="91" y="248"/>
                  </a:moveTo>
                  <a:lnTo>
                    <a:pt x="94" y="246"/>
                  </a:lnTo>
                  <a:lnTo>
                    <a:pt x="95" y="245"/>
                  </a:lnTo>
                  <a:lnTo>
                    <a:pt x="96" y="243"/>
                  </a:lnTo>
                  <a:lnTo>
                    <a:pt x="97" y="240"/>
                  </a:lnTo>
                  <a:lnTo>
                    <a:pt x="98" y="238"/>
                  </a:lnTo>
                  <a:lnTo>
                    <a:pt x="99" y="235"/>
                  </a:lnTo>
                  <a:lnTo>
                    <a:pt x="100" y="232"/>
                  </a:lnTo>
                  <a:lnTo>
                    <a:pt x="103" y="230"/>
                  </a:lnTo>
                  <a:lnTo>
                    <a:pt x="103" y="231"/>
                  </a:lnTo>
                  <a:lnTo>
                    <a:pt x="103" y="236"/>
                  </a:lnTo>
                  <a:lnTo>
                    <a:pt x="104" y="238"/>
                  </a:lnTo>
                  <a:lnTo>
                    <a:pt x="105" y="240"/>
                  </a:lnTo>
                  <a:lnTo>
                    <a:pt x="106" y="241"/>
                  </a:lnTo>
                  <a:lnTo>
                    <a:pt x="107" y="241"/>
                  </a:lnTo>
                  <a:lnTo>
                    <a:pt x="108" y="242"/>
                  </a:lnTo>
                  <a:lnTo>
                    <a:pt x="109" y="242"/>
                  </a:lnTo>
                  <a:lnTo>
                    <a:pt x="110" y="242"/>
                  </a:lnTo>
                  <a:lnTo>
                    <a:pt x="112" y="241"/>
                  </a:lnTo>
                  <a:lnTo>
                    <a:pt x="113" y="241"/>
                  </a:lnTo>
                  <a:lnTo>
                    <a:pt x="114" y="240"/>
                  </a:lnTo>
                  <a:lnTo>
                    <a:pt x="116" y="238"/>
                  </a:lnTo>
                  <a:lnTo>
                    <a:pt x="118" y="236"/>
                  </a:lnTo>
                  <a:lnTo>
                    <a:pt x="216" y="234"/>
                  </a:lnTo>
                  <a:lnTo>
                    <a:pt x="215" y="225"/>
                  </a:lnTo>
                  <a:lnTo>
                    <a:pt x="213" y="204"/>
                  </a:lnTo>
                  <a:lnTo>
                    <a:pt x="210" y="173"/>
                  </a:lnTo>
                  <a:lnTo>
                    <a:pt x="207" y="138"/>
                  </a:lnTo>
                  <a:lnTo>
                    <a:pt x="204" y="103"/>
                  </a:lnTo>
                  <a:lnTo>
                    <a:pt x="201" y="73"/>
                  </a:lnTo>
                  <a:lnTo>
                    <a:pt x="199" y="51"/>
                  </a:lnTo>
                  <a:lnTo>
                    <a:pt x="198" y="43"/>
                  </a:lnTo>
                  <a:lnTo>
                    <a:pt x="203" y="43"/>
                  </a:lnTo>
                  <a:lnTo>
                    <a:pt x="215" y="44"/>
                  </a:lnTo>
                  <a:lnTo>
                    <a:pt x="226" y="45"/>
                  </a:lnTo>
                  <a:lnTo>
                    <a:pt x="232" y="46"/>
                  </a:lnTo>
                  <a:lnTo>
                    <a:pt x="161" y="0"/>
                  </a:lnTo>
                  <a:lnTo>
                    <a:pt x="161" y="2"/>
                  </a:lnTo>
                  <a:lnTo>
                    <a:pt x="160" y="5"/>
                  </a:lnTo>
                  <a:lnTo>
                    <a:pt x="160" y="8"/>
                  </a:lnTo>
                  <a:lnTo>
                    <a:pt x="161" y="11"/>
                  </a:lnTo>
                  <a:lnTo>
                    <a:pt x="161" y="18"/>
                  </a:lnTo>
                  <a:lnTo>
                    <a:pt x="161" y="24"/>
                  </a:lnTo>
                  <a:lnTo>
                    <a:pt x="98" y="24"/>
                  </a:lnTo>
                  <a:lnTo>
                    <a:pt x="94" y="22"/>
                  </a:lnTo>
                  <a:lnTo>
                    <a:pt x="98" y="74"/>
                  </a:lnTo>
                  <a:lnTo>
                    <a:pt x="97" y="75"/>
                  </a:lnTo>
                  <a:lnTo>
                    <a:pt x="95" y="76"/>
                  </a:lnTo>
                  <a:lnTo>
                    <a:pt x="91" y="77"/>
                  </a:lnTo>
                  <a:lnTo>
                    <a:pt x="87" y="78"/>
                  </a:lnTo>
                  <a:lnTo>
                    <a:pt x="78" y="80"/>
                  </a:lnTo>
                  <a:lnTo>
                    <a:pt x="72" y="82"/>
                  </a:lnTo>
                  <a:lnTo>
                    <a:pt x="73" y="85"/>
                  </a:lnTo>
                  <a:lnTo>
                    <a:pt x="74" y="88"/>
                  </a:lnTo>
                  <a:lnTo>
                    <a:pt x="76" y="92"/>
                  </a:lnTo>
                  <a:lnTo>
                    <a:pt x="78" y="96"/>
                  </a:lnTo>
                  <a:lnTo>
                    <a:pt x="79" y="99"/>
                  </a:lnTo>
                  <a:lnTo>
                    <a:pt x="80" y="105"/>
                  </a:lnTo>
                  <a:lnTo>
                    <a:pt x="80" y="112"/>
                  </a:lnTo>
                  <a:lnTo>
                    <a:pt x="81" y="115"/>
                  </a:lnTo>
                  <a:lnTo>
                    <a:pt x="13" y="115"/>
                  </a:lnTo>
                  <a:lnTo>
                    <a:pt x="9" y="119"/>
                  </a:lnTo>
                  <a:lnTo>
                    <a:pt x="4" y="123"/>
                  </a:lnTo>
                  <a:lnTo>
                    <a:pt x="5" y="130"/>
                  </a:lnTo>
                  <a:lnTo>
                    <a:pt x="5" y="137"/>
                  </a:lnTo>
                  <a:lnTo>
                    <a:pt x="6" y="143"/>
                  </a:lnTo>
                  <a:lnTo>
                    <a:pt x="7" y="149"/>
                  </a:lnTo>
                  <a:lnTo>
                    <a:pt x="8" y="155"/>
                  </a:lnTo>
                  <a:lnTo>
                    <a:pt x="8" y="161"/>
                  </a:lnTo>
                  <a:lnTo>
                    <a:pt x="9" y="168"/>
                  </a:lnTo>
                  <a:lnTo>
                    <a:pt x="9" y="176"/>
                  </a:lnTo>
                  <a:lnTo>
                    <a:pt x="9" y="182"/>
                  </a:lnTo>
                  <a:lnTo>
                    <a:pt x="8" y="188"/>
                  </a:lnTo>
                  <a:lnTo>
                    <a:pt x="8" y="194"/>
                  </a:lnTo>
                  <a:lnTo>
                    <a:pt x="7" y="200"/>
                  </a:lnTo>
                  <a:lnTo>
                    <a:pt x="6" y="206"/>
                  </a:lnTo>
                  <a:lnTo>
                    <a:pt x="4" y="211"/>
                  </a:lnTo>
                  <a:lnTo>
                    <a:pt x="2" y="216"/>
                  </a:lnTo>
                  <a:lnTo>
                    <a:pt x="0" y="221"/>
                  </a:lnTo>
                  <a:lnTo>
                    <a:pt x="2" y="219"/>
                  </a:lnTo>
                  <a:lnTo>
                    <a:pt x="3" y="219"/>
                  </a:lnTo>
                  <a:lnTo>
                    <a:pt x="3" y="220"/>
                  </a:lnTo>
                  <a:lnTo>
                    <a:pt x="3" y="221"/>
                  </a:lnTo>
                  <a:lnTo>
                    <a:pt x="3" y="222"/>
                  </a:lnTo>
                  <a:lnTo>
                    <a:pt x="4" y="217"/>
                  </a:lnTo>
                  <a:lnTo>
                    <a:pt x="7" y="217"/>
                  </a:lnTo>
                  <a:lnTo>
                    <a:pt x="12" y="215"/>
                  </a:lnTo>
                  <a:lnTo>
                    <a:pt x="18" y="213"/>
                  </a:lnTo>
                  <a:lnTo>
                    <a:pt x="25" y="211"/>
                  </a:lnTo>
                  <a:lnTo>
                    <a:pt x="36" y="207"/>
                  </a:lnTo>
                  <a:lnTo>
                    <a:pt x="41" y="205"/>
                  </a:lnTo>
                  <a:lnTo>
                    <a:pt x="45" y="208"/>
                  </a:lnTo>
                  <a:lnTo>
                    <a:pt x="48" y="210"/>
                  </a:lnTo>
                  <a:lnTo>
                    <a:pt x="51" y="212"/>
                  </a:lnTo>
                  <a:lnTo>
                    <a:pt x="53" y="213"/>
                  </a:lnTo>
                  <a:lnTo>
                    <a:pt x="56" y="214"/>
                  </a:lnTo>
                  <a:lnTo>
                    <a:pt x="59" y="215"/>
                  </a:lnTo>
                  <a:lnTo>
                    <a:pt x="62" y="215"/>
                  </a:lnTo>
                  <a:lnTo>
                    <a:pt x="66" y="215"/>
                  </a:lnTo>
                  <a:lnTo>
                    <a:pt x="66" y="219"/>
                  </a:lnTo>
                  <a:lnTo>
                    <a:pt x="66" y="222"/>
                  </a:lnTo>
                  <a:lnTo>
                    <a:pt x="67" y="225"/>
                  </a:lnTo>
                  <a:lnTo>
                    <a:pt x="69" y="228"/>
                  </a:lnTo>
                  <a:lnTo>
                    <a:pt x="70" y="231"/>
                  </a:lnTo>
                  <a:lnTo>
                    <a:pt x="72" y="233"/>
                  </a:lnTo>
                  <a:lnTo>
                    <a:pt x="74" y="235"/>
                  </a:lnTo>
                  <a:lnTo>
                    <a:pt x="76" y="237"/>
                  </a:lnTo>
                  <a:lnTo>
                    <a:pt x="85" y="243"/>
                  </a:lnTo>
                  <a:lnTo>
                    <a:pt x="91" y="24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7" name="Freeform 236">
              <a:extLst>
                <a:ext uri="{FF2B5EF4-FFF2-40B4-BE49-F238E27FC236}">
                  <a16:creationId xmlns:a16="http://schemas.microsoft.com/office/drawing/2014/main" id="{D38C030F-3282-4777-93C6-B92934A04E17}"/>
                </a:ext>
              </a:extLst>
            </p:cNvPr>
            <p:cNvSpPr>
              <a:spLocks/>
            </p:cNvSpPr>
            <p:nvPr>
              <p:custDataLst>
                <p:tags r:id="rId163"/>
              </p:custDataLst>
            </p:nvPr>
          </p:nvSpPr>
          <p:spPr bwMode="auto">
            <a:xfrm>
              <a:off x="3709984" y="2873352"/>
              <a:ext cx="414336" cy="468309"/>
            </a:xfrm>
            <a:custGeom>
              <a:avLst/>
              <a:gdLst>
                <a:gd name="T0" fmla="*/ 39336 w 948"/>
                <a:gd name="T1" fmla="*/ 413248 h 893"/>
                <a:gd name="T2" fmla="*/ 52885 w 948"/>
                <a:gd name="T3" fmla="*/ 413248 h 893"/>
                <a:gd name="T4" fmla="*/ 63811 w 948"/>
                <a:gd name="T5" fmla="*/ 410626 h 893"/>
                <a:gd name="T6" fmla="*/ 81294 w 948"/>
                <a:gd name="T7" fmla="*/ 406955 h 893"/>
                <a:gd name="T8" fmla="*/ 86102 w 948"/>
                <a:gd name="T9" fmla="*/ 426359 h 893"/>
                <a:gd name="T10" fmla="*/ 92658 w 948"/>
                <a:gd name="T11" fmla="*/ 437896 h 893"/>
                <a:gd name="T12" fmla="*/ 98777 w 948"/>
                <a:gd name="T13" fmla="*/ 443665 h 893"/>
                <a:gd name="T14" fmla="*/ 107518 w 948"/>
                <a:gd name="T15" fmla="*/ 445763 h 893"/>
                <a:gd name="T16" fmla="*/ 107518 w 948"/>
                <a:gd name="T17" fmla="*/ 462020 h 893"/>
                <a:gd name="T18" fmla="*/ 142483 w 948"/>
                <a:gd name="T19" fmla="*/ 466215 h 893"/>
                <a:gd name="T20" fmla="*/ 145979 w 948"/>
                <a:gd name="T21" fmla="*/ 459398 h 893"/>
                <a:gd name="T22" fmla="*/ 151661 w 948"/>
                <a:gd name="T23" fmla="*/ 456776 h 893"/>
                <a:gd name="T24" fmla="*/ 152098 w 948"/>
                <a:gd name="T25" fmla="*/ 465691 h 893"/>
                <a:gd name="T26" fmla="*/ 156469 w 948"/>
                <a:gd name="T27" fmla="*/ 468313 h 893"/>
                <a:gd name="T28" fmla="*/ 168270 w 948"/>
                <a:gd name="T29" fmla="*/ 468313 h 893"/>
                <a:gd name="T30" fmla="*/ 175263 w 948"/>
                <a:gd name="T31" fmla="*/ 447860 h 893"/>
                <a:gd name="T32" fmla="*/ 180071 w 948"/>
                <a:gd name="T33" fmla="*/ 413248 h 893"/>
                <a:gd name="T34" fmla="*/ 185315 w 948"/>
                <a:gd name="T35" fmla="*/ 404333 h 893"/>
                <a:gd name="T36" fmla="*/ 197553 w 948"/>
                <a:gd name="T37" fmla="*/ 395418 h 893"/>
                <a:gd name="T38" fmla="*/ 211976 w 948"/>
                <a:gd name="T39" fmla="*/ 389649 h 893"/>
                <a:gd name="T40" fmla="*/ 218969 w 948"/>
                <a:gd name="T41" fmla="*/ 382307 h 893"/>
                <a:gd name="T42" fmla="*/ 225088 w 948"/>
                <a:gd name="T43" fmla="*/ 368148 h 893"/>
                <a:gd name="T44" fmla="*/ 233829 w 948"/>
                <a:gd name="T45" fmla="*/ 350317 h 893"/>
                <a:gd name="T46" fmla="*/ 239074 w 948"/>
                <a:gd name="T47" fmla="*/ 346122 h 893"/>
                <a:gd name="T48" fmla="*/ 250001 w 948"/>
                <a:gd name="T49" fmla="*/ 345597 h 893"/>
                <a:gd name="T50" fmla="*/ 264424 w 948"/>
                <a:gd name="T51" fmla="*/ 337731 h 893"/>
                <a:gd name="T52" fmla="*/ 279284 w 948"/>
                <a:gd name="T53" fmla="*/ 327242 h 893"/>
                <a:gd name="T54" fmla="*/ 294581 w 948"/>
                <a:gd name="T55" fmla="*/ 321474 h 893"/>
                <a:gd name="T56" fmla="*/ 316435 w 948"/>
                <a:gd name="T57" fmla="*/ 319900 h 893"/>
                <a:gd name="T58" fmla="*/ 344407 w 948"/>
                <a:gd name="T59" fmla="*/ 315705 h 893"/>
                <a:gd name="T60" fmla="*/ 356207 w 948"/>
                <a:gd name="T61" fmla="*/ 311509 h 893"/>
                <a:gd name="T62" fmla="*/ 377187 w 948"/>
                <a:gd name="T63" fmla="*/ 309412 h 893"/>
                <a:gd name="T64" fmla="*/ 393795 w 948"/>
                <a:gd name="T65" fmla="*/ 305741 h 893"/>
                <a:gd name="T66" fmla="*/ 399040 w 948"/>
                <a:gd name="T67" fmla="*/ 301021 h 893"/>
                <a:gd name="T68" fmla="*/ 406907 w 948"/>
                <a:gd name="T69" fmla="*/ 285288 h 893"/>
                <a:gd name="T70" fmla="*/ 412152 w 948"/>
                <a:gd name="T71" fmla="*/ 264311 h 893"/>
                <a:gd name="T72" fmla="*/ 414337 w 948"/>
                <a:gd name="T73" fmla="*/ 241761 h 893"/>
                <a:gd name="T74" fmla="*/ 413900 w 948"/>
                <a:gd name="T75" fmla="*/ 220784 h 893"/>
                <a:gd name="T76" fmla="*/ 412152 w 948"/>
                <a:gd name="T77" fmla="*/ 190367 h 893"/>
                <a:gd name="T78" fmla="*/ 402973 w 948"/>
                <a:gd name="T79" fmla="*/ 186696 h 893"/>
                <a:gd name="T80" fmla="*/ 376749 w 948"/>
                <a:gd name="T81" fmla="*/ 168865 h 893"/>
                <a:gd name="T82" fmla="*/ 347029 w 948"/>
                <a:gd name="T83" fmla="*/ 145791 h 893"/>
                <a:gd name="T84" fmla="*/ 322553 w 948"/>
                <a:gd name="T85" fmla="*/ 113276 h 893"/>
                <a:gd name="T86" fmla="*/ 180071 w 948"/>
                <a:gd name="T87" fmla="*/ 6293 h 893"/>
                <a:gd name="T88" fmla="*/ 152098 w 948"/>
                <a:gd name="T89" fmla="*/ 53492 h 893"/>
                <a:gd name="T90" fmla="*/ 165647 w 948"/>
                <a:gd name="T91" fmla="*/ 212393 h 893"/>
                <a:gd name="T92" fmla="*/ 171329 w 948"/>
                <a:gd name="T93" fmla="*/ 296301 h 893"/>
                <a:gd name="T94" fmla="*/ 40647 w 948"/>
                <a:gd name="T95" fmla="*/ 309936 h 893"/>
                <a:gd name="T96" fmla="*/ 34528 w 948"/>
                <a:gd name="T97" fmla="*/ 317803 h 893"/>
                <a:gd name="T98" fmla="*/ 29283 w 948"/>
                <a:gd name="T99" fmla="*/ 319900 h 893"/>
                <a:gd name="T100" fmla="*/ 24913 w 948"/>
                <a:gd name="T101" fmla="*/ 318327 h 893"/>
                <a:gd name="T102" fmla="*/ 21416 w 948"/>
                <a:gd name="T103" fmla="*/ 309936 h 893"/>
                <a:gd name="T104" fmla="*/ 17483 w 948"/>
                <a:gd name="T105" fmla="*/ 304692 h 893"/>
                <a:gd name="T106" fmla="*/ 12675 w 948"/>
                <a:gd name="T107" fmla="*/ 317278 h 893"/>
                <a:gd name="T108" fmla="*/ 6556 w 948"/>
                <a:gd name="T109" fmla="*/ 326718 h 893"/>
                <a:gd name="T110" fmla="*/ 29283 w 948"/>
                <a:gd name="T111" fmla="*/ 384405 h 893"/>
                <a:gd name="T112" fmla="*/ 26661 w 948"/>
                <a:gd name="T113" fmla="*/ 392271 h 893"/>
                <a:gd name="T114" fmla="*/ 27098 w 948"/>
                <a:gd name="T115" fmla="*/ 398564 h 893"/>
                <a:gd name="T116" fmla="*/ 23601 w 948"/>
                <a:gd name="T117" fmla="*/ 413248 h 893"/>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948" h="893">
                  <a:moveTo>
                    <a:pt x="54" y="788"/>
                  </a:moveTo>
                  <a:lnTo>
                    <a:pt x="74" y="788"/>
                  </a:lnTo>
                  <a:lnTo>
                    <a:pt x="90" y="788"/>
                  </a:lnTo>
                  <a:lnTo>
                    <a:pt x="100" y="788"/>
                  </a:lnTo>
                  <a:lnTo>
                    <a:pt x="106" y="788"/>
                  </a:lnTo>
                  <a:lnTo>
                    <a:pt x="121" y="788"/>
                  </a:lnTo>
                  <a:lnTo>
                    <a:pt x="135" y="787"/>
                  </a:lnTo>
                  <a:lnTo>
                    <a:pt x="140" y="785"/>
                  </a:lnTo>
                  <a:lnTo>
                    <a:pt x="146" y="783"/>
                  </a:lnTo>
                  <a:lnTo>
                    <a:pt x="150" y="780"/>
                  </a:lnTo>
                  <a:lnTo>
                    <a:pt x="152" y="776"/>
                  </a:lnTo>
                  <a:lnTo>
                    <a:pt x="186" y="776"/>
                  </a:lnTo>
                  <a:lnTo>
                    <a:pt x="189" y="788"/>
                  </a:lnTo>
                  <a:lnTo>
                    <a:pt x="193" y="800"/>
                  </a:lnTo>
                  <a:lnTo>
                    <a:pt x="197" y="813"/>
                  </a:lnTo>
                  <a:lnTo>
                    <a:pt x="204" y="825"/>
                  </a:lnTo>
                  <a:lnTo>
                    <a:pt x="207" y="830"/>
                  </a:lnTo>
                  <a:lnTo>
                    <a:pt x="212" y="835"/>
                  </a:lnTo>
                  <a:lnTo>
                    <a:pt x="216" y="839"/>
                  </a:lnTo>
                  <a:lnTo>
                    <a:pt x="221" y="843"/>
                  </a:lnTo>
                  <a:lnTo>
                    <a:pt x="226" y="846"/>
                  </a:lnTo>
                  <a:lnTo>
                    <a:pt x="233" y="848"/>
                  </a:lnTo>
                  <a:lnTo>
                    <a:pt x="239" y="849"/>
                  </a:lnTo>
                  <a:lnTo>
                    <a:pt x="246" y="850"/>
                  </a:lnTo>
                  <a:lnTo>
                    <a:pt x="246" y="862"/>
                  </a:lnTo>
                  <a:lnTo>
                    <a:pt x="246" y="871"/>
                  </a:lnTo>
                  <a:lnTo>
                    <a:pt x="246" y="881"/>
                  </a:lnTo>
                  <a:lnTo>
                    <a:pt x="246" y="893"/>
                  </a:lnTo>
                  <a:lnTo>
                    <a:pt x="326" y="893"/>
                  </a:lnTo>
                  <a:lnTo>
                    <a:pt x="326" y="889"/>
                  </a:lnTo>
                  <a:lnTo>
                    <a:pt x="328" y="884"/>
                  </a:lnTo>
                  <a:lnTo>
                    <a:pt x="330" y="880"/>
                  </a:lnTo>
                  <a:lnTo>
                    <a:pt x="334" y="876"/>
                  </a:lnTo>
                  <a:lnTo>
                    <a:pt x="339" y="868"/>
                  </a:lnTo>
                  <a:lnTo>
                    <a:pt x="346" y="862"/>
                  </a:lnTo>
                  <a:lnTo>
                    <a:pt x="347" y="871"/>
                  </a:lnTo>
                  <a:lnTo>
                    <a:pt x="348" y="880"/>
                  </a:lnTo>
                  <a:lnTo>
                    <a:pt x="349" y="884"/>
                  </a:lnTo>
                  <a:lnTo>
                    <a:pt x="348" y="888"/>
                  </a:lnTo>
                  <a:lnTo>
                    <a:pt x="348" y="891"/>
                  </a:lnTo>
                  <a:lnTo>
                    <a:pt x="346" y="893"/>
                  </a:lnTo>
                  <a:lnTo>
                    <a:pt x="358" y="893"/>
                  </a:lnTo>
                  <a:lnTo>
                    <a:pt x="371" y="893"/>
                  </a:lnTo>
                  <a:lnTo>
                    <a:pt x="381" y="893"/>
                  </a:lnTo>
                  <a:lnTo>
                    <a:pt x="385" y="893"/>
                  </a:lnTo>
                  <a:lnTo>
                    <a:pt x="392" y="881"/>
                  </a:lnTo>
                  <a:lnTo>
                    <a:pt x="397" y="868"/>
                  </a:lnTo>
                  <a:lnTo>
                    <a:pt x="401" y="854"/>
                  </a:lnTo>
                  <a:lnTo>
                    <a:pt x="404" y="841"/>
                  </a:lnTo>
                  <a:lnTo>
                    <a:pt x="408" y="813"/>
                  </a:lnTo>
                  <a:lnTo>
                    <a:pt x="412" y="788"/>
                  </a:lnTo>
                  <a:lnTo>
                    <a:pt x="415" y="782"/>
                  </a:lnTo>
                  <a:lnTo>
                    <a:pt x="418" y="776"/>
                  </a:lnTo>
                  <a:lnTo>
                    <a:pt x="424" y="771"/>
                  </a:lnTo>
                  <a:lnTo>
                    <a:pt x="428" y="767"/>
                  </a:lnTo>
                  <a:lnTo>
                    <a:pt x="440" y="759"/>
                  </a:lnTo>
                  <a:lnTo>
                    <a:pt x="452" y="754"/>
                  </a:lnTo>
                  <a:lnTo>
                    <a:pt x="464" y="750"/>
                  </a:lnTo>
                  <a:lnTo>
                    <a:pt x="475" y="746"/>
                  </a:lnTo>
                  <a:lnTo>
                    <a:pt x="485" y="743"/>
                  </a:lnTo>
                  <a:lnTo>
                    <a:pt x="492" y="739"/>
                  </a:lnTo>
                  <a:lnTo>
                    <a:pt x="496" y="734"/>
                  </a:lnTo>
                  <a:lnTo>
                    <a:pt x="501" y="729"/>
                  </a:lnTo>
                  <a:lnTo>
                    <a:pt x="505" y="723"/>
                  </a:lnTo>
                  <a:lnTo>
                    <a:pt x="508" y="716"/>
                  </a:lnTo>
                  <a:lnTo>
                    <a:pt x="515" y="702"/>
                  </a:lnTo>
                  <a:lnTo>
                    <a:pt x="521" y="690"/>
                  </a:lnTo>
                  <a:lnTo>
                    <a:pt x="528" y="678"/>
                  </a:lnTo>
                  <a:lnTo>
                    <a:pt x="535" y="668"/>
                  </a:lnTo>
                  <a:lnTo>
                    <a:pt x="539" y="664"/>
                  </a:lnTo>
                  <a:lnTo>
                    <a:pt x="542" y="662"/>
                  </a:lnTo>
                  <a:lnTo>
                    <a:pt x="547" y="660"/>
                  </a:lnTo>
                  <a:lnTo>
                    <a:pt x="551" y="659"/>
                  </a:lnTo>
                  <a:lnTo>
                    <a:pt x="562" y="660"/>
                  </a:lnTo>
                  <a:lnTo>
                    <a:pt x="572" y="659"/>
                  </a:lnTo>
                  <a:lnTo>
                    <a:pt x="581" y="657"/>
                  </a:lnTo>
                  <a:lnTo>
                    <a:pt x="588" y="653"/>
                  </a:lnTo>
                  <a:lnTo>
                    <a:pt x="605" y="644"/>
                  </a:lnTo>
                  <a:lnTo>
                    <a:pt x="620" y="634"/>
                  </a:lnTo>
                  <a:lnTo>
                    <a:pt x="629" y="629"/>
                  </a:lnTo>
                  <a:lnTo>
                    <a:pt x="639" y="624"/>
                  </a:lnTo>
                  <a:lnTo>
                    <a:pt x="649" y="620"/>
                  </a:lnTo>
                  <a:lnTo>
                    <a:pt x="661" y="616"/>
                  </a:lnTo>
                  <a:lnTo>
                    <a:pt x="674" y="613"/>
                  </a:lnTo>
                  <a:lnTo>
                    <a:pt x="688" y="610"/>
                  </a:lnTo>
                  <a:lnTo>
                    <a:pt x="706" y="609"/>
                  </a:lnTo>
                  <a:lnTo>
                    <a:pt x="724" y="610"/>
                  </a:lnTo>
                  <a:lnTo>
                    <a:pt x="777" y="610"/>
                  </a:lnTo>
                  <a:lnTo>
                    <a:pt x="783" y="606"/>
                  </a:lnTo>
                  <a:lnTo>
                    <a:pt x="788" y="602"/>
                  </a:lnTo>
                  <a:lnTo>
                    <a:pt x="795" y="600"/>
                  </a:lnTo>
                  <a:lnTo>
                    <a:pt x="800" y="598"/>
                  </a:lnTo>
                  <a:lnTo>
                    <a:pt x="815" y="594"/>
                  </a:lnTo>
                  <a:lnTo>
                    <a:pt x="830" y="592"/>
                  </a:lnTo>
                  <a:lnTo>
                    <a:pt x="845" y="591"/>
                  </a:lnTo>
                  <a:lnTo>
                    <a:pt x="863" y="590"/>
                  </a:lnTo>
                  <a:lnTo>
                    <a:pt x="879" y="588"/>
                  </a:lnTo>
                  <a:lnTo>
                    <a:pt x="897" y="585"/>
                  </a:lnTo>
                  <a:lnTo>
                    <a:pt x="901" y="583"/>
                  </a:lnTo>
                  <a:lnTo>
                    <a:pt x="906" y="580"/>
                  </a:lnTo>
                  <a:lnTo>
                    <a:pt x="909" y="577"/>
                  </a:lnTo>
                  <a:lnTo>
                    <a:pt x="913" y="574"/>
                  </a:lnTo>
                  <a:lnTo>
                    <a:pt x="920" y="565"/>
                  </a:lnTo>
                  <a:lnTo>
                    <a:pt x="925" y="555"/>
                  </a:lnTo>
                  <a:lnTo>
                    <a:pt x="931" y="544"/>
                  </a:lnTo>
                  <a:lnTo>
                    <a:pt x="935" y="531"/>
                  </a:lnTo>
                  <a:lnTo>
                    <a:pt x="940" y="518"/>
                  </a:lnTo>
                  <a:lnTo>
                    <a:pt x="943" y="504"/>
                  </a:lnTo>
                  <a:lnTo>
                    <a:pt x="945" y="490"/>
                  </a:lnTo>
                  <a:lnTo>
                    <a:pt x="947" y="475"/>
                  </a:lnTo>
                  <a:lnTo>
                    <a:pt x="948" y="461"/>
                  </a:lnTo>
                  <a:lnTo>
                    <a:pt x="948" y="447"/>
                  </a:lnTo>
                  <a:lnTo>
                    <a:pt x="948" y="434"/>
                  </a:lnTo>
                  <a:lnTo>
                    <a:pt x="947" y="421"/>
                  </a:lnTo>
                  <a:lnTo>
                    <a:pt x="945" y="410"/>
                  </a:lnTo>
                  <a:lnTo>
                    <a:pt x="943" y="400"/>
                  </a:lnTo>
                  <a:lnTo>
                    <a:pt x="943" y="363"/>
                  </a:lnTo>
                  <a:lnTo>
                    <a:pt x="939" y="362"/>
                  </a:lnTo>
                  <a:lnTo>
                    <a:pt x="931" y="359"/>
                  </a:lnTo>
                  <a:lnTo>
                    <a:pt x="922" y="356"/>
                  </a:lnTo>
                  <a:lnTo>
                    <a:pt x="912" y="350"/>
                  </a:lnTo>
                  <a:lnTo>
                    <a:pt x="888" y="337"/>
                  </a:lnTo>
                  <a:lnTo>
                    <a:pt x="862" y="322"/>
                  </a:lnTo>
                  <a:lnTo>
                    <a:pt x="835" y="305"/>
                  </a:lnTo>
                  <a:lnTo>
                    <a:pt x="811" y="290"/>
                  </a:lnTo>
                  <a:lnTo>
                    <a:pt x="794" y="278"/>
                  </a:lnTo>
                  <a:lnTo>
                    <a:pt x="784" y="271"/>
                  </a:lnTo>
                  <a:lnTo>
                    <a:pt x="764" y="240"/>
                  </a:lnTo>
                  <a:lnTo>
                    <a:pt x="738" y="216"/>
                  </a:lnTo>
                  <a:lnTo>
                    <a:pt x="405" y="0"/>
                  </a:lnTo>
                  <a:lnTo>
                    <a:pt x="408" y="6"/>
                  </a:lnTo>
                  <a:lnTo>
                    <a:pt x="412" y="12"/>
                  </a:lnTo>
                  <a:lnTo>
                    <a:pt x="339" y="12"/>
                  </a:lnTo>
                  <a:lnTo>
                    <a:pt x="341" y="36"/>
                  </a:lnTo>
                  <a:lnTo>
                    <a:pt x="348" y="102"/>
                  </a:lnTo>
                  <a:lnTo>
                    <a:pt x="358" y="193"/>
                  </a:lnTo>
                  <a:lnTo>
                    <a:pt x="368" y="299"/>
                  </a:lnTo>
                  <a:lnTo>
                    <a:pt x="379" y="405"/>
                  </a:lnTo>
                  <a:lnTo>
                    <a:pt x="386" y="498"/>
                  </a:lnTo>
                  <a:lnTo>
                    <a:pt x="390" y="535"/>
                  </a:lnTo>
                  <a:lnTo>
                    <a:pt x="392" y="565"/>
                  </a:lnTo>
                  <a:lnTo>
                    <a:pt x="393" y="583"/>
                  </a:lnTo>
                  <a:lnTo>
                    <a:pt x="392" y="591"/>
                  </a:lnTo>
                  <a:lnTo>
                    <a:pt x="93" y="591"/>
                  </a:lnTo>
                  <a:lnTo>
                    <a:pt x="88" y="597"/>
                  </a:lnTo>
                  <a:lnTo>
                    <a:pt x="82" y="603"/>
                  </a:lnTo>
                  <a:lnTo>
                    <a:pt x="79" y="606"/>
                  </a:lnTo>
                  <a:lnTo>
                    <a:pt x="76" y="608"/>
                  </a:lnTo>
                  <a:lnTo>
                    <a:pt x="71" y="609"/>
                  </a:lnTo>
                  <a:lnTo>
                    <a:pt x="67" y="610"/>
                  </a:lnTo>
                  <a:lnTo>
                    <a:pt x="64" y="609"/>
                  </a:lnTo>
                  <a:lnTo>
                    <a:pt x="60" y="608"/>
                  </a:lnTo>
                  <a:lnTo>
                    <a:pt x="57" y="607"/>
                  </a:lnTo>
                  <a:lnTo>
                    <a:pt x="55" y="604"/>
                  </a:lnTo>
                  <a:lnTo>
                    <a:pt x="51" y="598"/>
                  </a:lnTo>
                  <a:lnTo>
                    <a:pt x="49" y="591"/>
                  </a:lnTo>
                  <a:lnTo>
                    <a:pt x="47" y="578"/>
                  </a:lnTo>
                  <a:lnTo>
                    <a:pt x="47" y="573"/>
                  </a:lnTo>
                  <a:lnTo>
                    <a:pt x="40" y="581"/>
                  </a:lnTo>
                  <a:lnTo>
                    <a:pt x="36" y="590"/>
                  </a:lnTo>
                  <a:lnTo>
                    <a:pt x="33" y="598"/>
                  </a:lnTo>
                  <a:lnTo>
                    <a:pt x="29" y="605"/>
                  </a:lnTo>
                  <a:lnTo>
                    <a:pt x="26" y="612"/>
                  </a:lnTo>
                  <a:lnTo>
                    <a:pt x="22" y="618"/>
                  </a:lnTo>
                  <a:lnTo>
                    <a:pt x="15" y="623"/>
                  </a:lnTo>
                  <a:lnTo>
                    <a:pt x="6" y="628"/>
                  </a:lnTo>
                  <a:lnTo>
                    <a:pt x="0" y="709"/>
                  </a:lnTo>
                  <a:lnTo>
                    <a:pt x="67" y="733"/>
                  </a:lnTo>
                  <a:lnTo>
                    <a:pt x="65" y="738"/>
                  </a:lnTo>
                  <a:lnTo>
                    <a:pt x="62" y="743"/>
                  </a:lnTo>
                  <a:lnTo>
                    <a:pt x="61" y="748"/>
                  </a:lnTo>
                  <a:lnTo>
                    <a:pt x="61" y="753"/>
                  </a:lnTo>
                  <a:lnTo>
                    <a:pt x="61" y="757"/>
                  </a:lnTo>
                  <a:lnTo>
                    <a:pt x="62" y="760"/>
                  </a:lnTo>
                  <a:lnTo>
                    <a:pt x="65" y="763"/>
                  </a:lnTo>
                  <a:lnTo>
                    <a:pt x="67" y="764"/>
                  </a:lnTo>
                  <a:lnTo>
                    <a:pt x="54" y="78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8" name="Freeform 237">
              <a:extLst>
                <a:ext uri="{FF2B5EF4-FFF2-40B4-BE49-F238E27FC236}">
                  <a16:creationId xmlns:a16="http://schemas.microsoft.com/office/drawing/2014/main" id="{8C93AD36-BE3B-4F38-8A58-66BBC4AA116E}"/>
                </a:ext>
              </a:extLst>
            </p:cNvPr>
            <p:cNvSpPr>
              <a:spLocks/>
            </p:cNvSpPr>
            <p:nvPr>
              <p:custDataLst>
                <p:tags r:id="rId164"/>
              </p:custDataLst>
            </p:nvPr>
          </p:nvSpPr>
          <p:spPr bwMode="auto">
            <a:xfrm>
              <a:off x="3808409" y="2479656"/>
              <a:ext cx="493712" cy="579434"/>
            </a:xfrm>
            <a:custGeom>
              <a:avLst/>
              <a:gdLst>
                <a:gd name="T0" fmla="*/ 315023 w 373"/>
                <a:gd name="T1" fmla="*/ 574740 h 370"/>
                <a:gd name="T2" fmla="*/ 322964 w 373"/>
                <a:gd name="T3" fmla="*/ 571608 h 370"/>
                <a:gd name="T4" fmla="*/ 337524 w 373"/>
                <a:gd name="T5" fmla="*/ 576306 h 370"/>
                <a:gd name="T6" fmla="*/ 492388 w 373"/>
                <a:gd name="T7" fmla="*/ 433795 h 370"/>
                <a:gd name="T8" fmla="*/ 488418 w 373"/>
                <a:gd name="T9" fmla="*/ 422833 h 370"/>
                <a:gd name="T10" fmla="*/ 477829 w 373"/>
                <a:gd name="T11" fmla="*/ 413437 h 370"/>
                <a:gd name="T12" fmla="*/ 459298 w 373"/>
                <a:gd name="T13" fmla="*/ 405607 h 370"/>
                <a:gd name="T14" fmla="*/ 448709 w 373"/>
                <a:gd name="T15" fmla="*/ 397776 h 370"/>
                <a:gd name="T16" fmla="*/ 444738 w 373"/>
                <a:gd name="T17" fmla="*/ 386814 h 370"/>
                <a:gd name="T18" fmla="*/ 446062 w 373"/>
                <a:gd name="T19" fmla="*/ 357059 h 370"/>
                <a:gd name="T20" fmla="*/ 446062 w 373"/>
                <a:gd name="T21" fmla="*/ 306946 h 370"/>
                <a:gd name="T22" fmla="*/ 442091 w 373"/>
                <a:gd name="T23" fmla="*/ 263096 h 370"/>
                <a:gd name="T24" fmla="*/ 435473 w 373"/>
                <a:gd name="T25" fmla="*/ 242738 h 370"/>
                <a:gd name="T26" fmla="*/ 427531 w 373"/>
                <a:gd name="T27" fmla="*/ 222379 h 370"/>
                <a:gd name="T28" fmla="*/ 416942 w 373"/>
                <a:gd name="T29" fmla="*/ 170699 h 370"/>
                <a:gd name="T30" fmla="*/ 405029 w 373"/>
                <a:gd name="T31" fmla="*/ 140944 h 370"/>
                <a:gd name="T32" fmla="*/ 393117 w 373"/>
                <a:gd name="T33" fmla="*/ 122152 h 370"/>
                <a:gd name="T34" fmla="*/ 397087 w 373"/>
                <a:gd name="T35" fmla="*/ 98661 h 370"/>
                <a:gd name="T36" fmla="*/ 398411 w 373"/>
                <a:gd name="T37" fmla="*/ 67340 h 370"/>
                <a:gd name="T38" fmla="*/ 399735 w 373"/>
                <a:gd name="T39" fmla="*/ 36019 h 370"/>
                <a:gd name="T40" fmla="*/ 410324 w 373"/>
                <a:gd name="T41" fmla="*/ 10962 h 370"/>
                <a:gd name="T42" fmla="*/ 399735 w 373"/>
                <a:gd name="T43" fmla="*/ 9396 h 370"/>
                <a:gd name="T44" fmla="*/ 367968 w 373"/>
                <a:gd name="T45" fmla="*/ 18793 h 370"/>
                <a:gd name="T46" fmla="*/ 324288 w 373"/>
                <a:gd name="T47" fmla="*/ 18793 h 370"/>
                <a:gd name="T48" fmla="*/ 272667 w 373"/>
                <a:gd name="T49" fmla="*/ 21925 h 370"/>
                <a:gd name="T50" fmla="*/ 222369 w 373"/>
                <a:gd name="T51" fmla="*/ 37585 h 370"/>
                <a:gd name="T52" fmla="*/ 191926 w 373"/>
                <a:gd name="T53" fmla="*/ 50114 h 370"/>
                <a:gd name="T54" fmla="*/ 164129 w 373"/>
                <a:gd name="T55" fmla="*/ 68906 h 370"/>
                <a:gd name="T56" fmla="*/ 162806 w 373"/>
                <a:gd name="T57" fmla="*/ 81435 h 370"/>
                <a:gd name="T58" fmla="*/ 173395 w 373"/>
                <a:gd name="T59" fmla="*/ 139378 h 370"/>
                <a:gd name="T60" fmla="*/ 177366 w 373"/>
                <a:gd name="T61" fmla="*/ 145643 h 370"/>
                <a:gd name="T62" fmla="*/ 186631 w 373"/>
                <a:gd name="T63" fmla="*/ 153473 h 370"/>
                <a:gd name="T64" fmla="*/ 187955 w 373"/>
                <a:gd name="T65" fmla="*/ 159737 h 370"/>
                <a:gd name="T66" fmla="*/ 183984 w 373"/>
                <a:gd name="T67" fmla="*/ 167567 h 370"/>
                <a:gd name="T68" fmla="*/ 169424 w 373"/>
                <a:gd name="T69" fmla="*/ 167567 h 370"/>
                <a:gd name="T70" fmla="*/ 140304 w 373"/>
                <a:gd name="T71" fmla="*/ 176963 h 370"/>
                <a:gd name="T72" fmla="*/ 125744 w 373"/>
                <a:gd name="T73" fmla="*/ 191058 h 370"/>
                <a:gd name="T74" fmla="*/ 119126 w 373"/>
                <a:gd name="T75" fmla="*/ 205152 h 370"/>
                <a:gd name="T76" fmla="*/ 108537 w 373"/>
                <a:gd name="T77" fmla="*/ 214549 h 370"/>
                <a:gd name="T78" fmla="*/ 87359 w 373"/>
                <a:gd name="T79" fmla="*/ 234907 h 370"/>
                <a:gd name="T80" fmla="*/ 67505 w 373"/>
                <a:gd name="T81" fmla="*/ 247436 h 370"/>
                <a:gd name="T82" fmla="*/ 41032 w 373"/>
                <a:gd name="T83" fmla="*/ 250568 h 370"/>
                <a:gd name="T84" fmla="*/ 26472 w 373"/>
                <a:gd name="T85" fmla="*/ 256832 h 370"/>
                <a:gd name="T86" fmla="*/ 10589 w 373"/>
                <a:gd name="T87" fmla="*/ 272492 h 370"/>
                <a:gd name="T88" fmla="*/ 0 w 373"/>
                <a:gd name="T89" fmla="*/ 313210 h 370"/>
                <a:gd name="T90" fmla="*/ 236929 w 373"/>
                <a:gd name="T91" fmla="*/ 518362 h 370"/>
                <a:gd name="T92" fmla="*/ 266049 w 373"/>
                <a:gd name="T93" fmla="*/ 551249 h 370"/>
                <a:gd name="T94" fmla="*/ 303110 w 373"/>
                <a:gd name="T95" fmla="*/ 576306 h 370"/>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73" h="370">
                  <a:moveTo>
                    <a:pt x="235" y="370"/>
                  </a:moveTo>
                  <a:lnTo>
                    <a:pt x="237" y="369"/>
                  </a:lnTo>
                  <a:lnTo>
                    <a:pt x="238" y="367"/>
                  </a:lnTo>
                  <a:lnTo>
                    <a:pt x="240" y="366"/>
                  </a:lnTo>
                  <a:lnTo>
                    <a:pt x="241" y="366"/>
                  </a:lnTo>
                  <a:lnTo>
                    <a:pt x="242" y="365"/>
                  </a:lnTo>
                  <a:lnTo>
                    <a:pt x="244" y="365"/>
                  </a:lnTo>
                  <a:lnTo>
                    <a:pt x="245" y="365"/>
                  </a:lnTo>
                  <a:lnTo>
                    <a:pt x="249" y="366"/>
                  </a:lnTo>
                  <a:lnTo>
                    <a:pt x="252" y="367"/>
                  </a:lnTo>
                  <a:lnTo>
                    <a:pt x="255" y="368"/>
                  </a:lnTo>
                  <a:lnTo>
                    <a:pt x="257" y="370"/>
                  </a:lnTo>
                  <a:lnTo>
                    <a:pt x="373" y="282"/>
                  </a:lnTo>
                  <a:lnTo>
                    <a:pt x="373" y="279"/>
                  </a:lnTo>
                  <a:lnTo>
                    <a:pt x="372" y="277"/>
                  </a:lnTo>
                  <a:lnTo>
                    <a:pt x="372" y="275"/>
                  </a:lnTo>
                  <a:lnTo>
                    <a:pt x="371" y="273"/>
                  </a:lnTo>
                  <a:lnTo>
                    <a:pt x="370" y="271"/>
                  </a:lnTo>
                  <a:lnTo>
                    <a:pt x="369" y="270"/>
                  </a:lnTo>
                  <a:lnTo>
                    <a:pt x="368" y="268"/>
                  </a:lnTo>
                  <a:lnTo>
                    <a:pt x="367" y="267"/>
                  </a:lnTo>
                  <a:lnTo>
                    <a:pt x="364" y="265"/>
                  </a:lnTo>
                  <a:lnTo>
                    <a:pt x="361" y="264"/>
                  </a:lnTo>
                  <a:lnTo>
                    <a:pt x="358" y="262"/>
                  </a:lnTo>
                  <a:lnTo>
                    <a:pt x="354" y="261"/>
                  </a:lnTo>
                  <a:lnTo>
                    <a:pt x="351" y="260"/>
                  </a:lnTo>
                  <a:lnTo>
                    <a:pt x="347" y="259"/>
                  </a:lnTo>
                  <a:lnTo>
                    <a:pt x="344" y="258"/>
                  </a:lnTo>
                  <a:lnTo>
                    <a:pt x="342" y="256"/>
                  </a:lnTo>
                  <a:lnTo>
                    <a:pt x="340" y="255"/>
                  </a:lnTo>
                  <a:lnTo>
                    <a:pt x="339" y="254"/>
                  </a:lnTo>
                  <a:lnTo>
                    <a:pt x="338" y="252"/>
                  </a:lnTo>
                  <a:lnTo>
                    <a:pt x="337" y="251"/>
                  </a:lnTo>
                  <a:lnTo>
                    <a:pt x="337" y="249"/>
                  </a:lnTo>
                  <a:lnTo>
                    <a:pt x="336" y="247"/>
                  </a:lnTo>
                  <a:lnTo>
                    <a:pt x="336" y="245"/>
                  </a:lnTo>
                  <a:lnTo>
                    <a:pt x="336" y="243"/>
                  </a:lnTo>
                  <a:lnTo>
                    <a:pt x="336" y="235"/>
                  </a:lnTo>
                  <a:lnTo>
                    <a:pt x="337" y="228"/>
                  </a:lnTo>
                  <a:lnTo>
                    <a:pt x="338" y="220"/>
                  </a:lnTo>
                  <a:lnTo>
                    <a:pt x="338" y="214"/>
                  </a:lnTo>
                  <a:lnTo>
                    <a:pt x="338" y="205"/>
                  </a:lnTo>
                  <a:lnTo>
                    <a:pt x="337" y="196"/>
                  </a:lnTo>
                  <a:lnTo>
                    <a:pt x="337" y="186"/>
                  </a:lnTo>
                  <a:lnTo>
                    <a:pt x="336" y="177"/>
                  </a:lnTo>
                  <a:lnTo>
                    <a:pt x="335" y="172"/>
                  </a:lnTo>
                  <a:lnTo>
                    <a:pt x="334" y="168"/>
                  </a:lnTo>
                  <a:lnTo>
                    <a:pt x="333" y="164"/>
                  </a:lnTo>
                  <a:lnTo>
                    <a:pt x="332" y="160"/>
                  </a:lnTo>
                  <a:lnTo>
                    <a:pt x="330" y="157"/>
                  </a:lnTo>
                  <a:lnTo>
                    <a:pt x="329" y="155"/>
                  </a:lnTo>
                  <a:lnTo>
                    <a:pt x="327" y="153"/>
                  </a:lnTo>
                  <a:lnTo>
                    <a:pt x="325" y="152"/>
                  </a:lnTo>
                  <a:lnTo>
                    <a:pt x="324" y="147"/>
                  </a:lnTo>
                  <a:lnTo>
                    <a:pt x="323" y="142"/>
                  </a:lnTo>
                  <a:lnTo>
                    <a:pt x="322" y="136"/>
                  </a:lnTo>
                  <a:lnTo>
                    <a:pt x="321" y="130"/>
                  </a:lnTo>
                  <a:lnTo>
                    <a:pt x="319" y="120"/>
                  </a:lnTo>
                  <a:lnTo>
                    <a:pt x="315" y="109"/>
                  </a:lnTo>
                  <a:lnTo>
                    <a:pt x="313" y="104"/>
                  </a:lnTo>
                  <a:lnTo>
                    <a:pt x="311" y="99"/>
                  </a:lnTo>
                  <a:lnTo>
                    <a:pt x="308" y="94"/>
                  </a:lnTo>
                  <a:lnTo>
                    <a:pt x="306" y="90"/>
                  </a:lnTo>
                  <a:lnTo>
                    <a:pt x="304" y="86"/>
                  </a:lnTo>
                  <a:lnTo>
                    <a:pt x="301" y="83"/>
                  </a:lnTo>
                  <a:lnTo>
                    <a:pt x="299" y="80"/>
                  </a:lnTo>
                  <a:lnTo>
                    <a:pt x="297" y="78"/>
                  </a:lnTo>
                  <a:lnTo>
                    <a:pt x="298" y="74"/>
                  </a:lnTo>
                  <a:lnTo>
                    <a:pt x="299" y="69"/>
                  </a:lnTo>
                  <a:lnTo>
                    <a:pt x="300" y="66"/>
                  </a:lnTo>
                  <a:lnTo>
                    <a:pt x="300" y="63"/>
                  </a:lnTo>
                  <a:lnTo>
                    <a:pt x="301" y="60"/>
                  </a:lnTo>
                  <a:lnTo>
                    <a:pt x="303" y="57"/>
                  </a:lnTo>
                  <a:lnTo>
                    <a:pt x="302" y="50"/>
                  </a:lnTo>
                  <a:lnTo>
                    <a:pt x="301" y="43"/>
                  </a:lnTo>
                  <a:lnTo>
                    <a:pt x="301" y="37"/>
                  </a:lnTo>
                  <a:lnTo>
                    <a:pt x="301" y="32"/>
                  </a:lnTo>
                  <a:lnTo>
                    <a:pt x="301" y="27"/>
                  </a:lnTo>
                  <a:lnTo>
                    <a:pt x="302" y="23"/>
                  </a:lnTo>
                  <a:lnTo>
                    <a:pt x="303" y="19"/>
                  </a:lnTo>
                  <a:lnTo>
                    <a:pt x="304" y="16"/>
                  </a:lnTo>
                  <a:lnTo>
                    <a:pt x="307" y="11"/>
                  </a:lnTo>
                  <a:lnTo>
                    <a:pt x="310" y="7"/>
                  </a:lnTo>
                  <a:lnTo>
                    <a:pt x="312" y="3"/>
                  </a:lnTo>
                  <a:lnTo>
                    <a:pt x="314" y="0"/>
                  </a:lnTo>
                  <a:lnTo>
                    <a:pt x="308" y="3"/>
                  </a:lnTo>
                  <a:lnTo>
                    <a:pt x="302" y="6"/>
                  </a:lnTo>
                  <a:lnTo>
                    <a:pt x="297" y="8"/>
                  </a:lnTo>
                  <a:lnTo>
                    <a:pt x="290" y="9"/>
                  </a:lnTo>
                  <a:lnTo>
                    <a:pt x="284" y="11"/>
                  </a:lnTo>
                  <a:lnTo>
                    <a:pt x="278" y="12"/>
                  </a:lnTo>
                  <a:lnTo>
                    <a:pt x="271" y="12"/>
                  </a:lnTo>
                  <a:lnTo>
                    <a:pt x="264" y="12"/>
                  </a:lnTo>
                  <a:lnTo>
                    <a:pt x="256" y="12"/>
                  </a:lnTo>
                  <a:lnTo>
                    <a:pt x="245" y="12"/>
                  </a:lnTo>
                  <a:lnTo>
                    <a:pt x="233" y="12"/>
                  </a:lnTo>
                  <a:lnTo>
                    <a:pt x="222" y="12"/>
                  </a:lnTo>
                  <a:lnTo>
                    <a:pt x="215" y="13"/>
                  </a:lnTo>
                  <a:lnTo>
                    <a:pt x="206" y="14"/>
                  </a:lnTo>
                  <a:lnTo>
                    <a:pt x="197" y="16"/>
                  </a:lnTo>
                  <a:lnTo>
                    <a:pt x="187" y="18"/>
                  </a:lnTo>
                  <a:lnTo>
                    <a:pt x="177" y="21"/>
                  </a:lnTo>
                  <a:lnTo>
                    <a:pt x="168" y="24"/>
                  </a:lnTo>
                  <a:lnTo>
                    <a:pt x="159" y="26"/>
                  </a:lnTo>
                  <a:lnTo>
                    <a:pt x="153" y="29"/>
                  </a:lnTo>
                  <a:lnTo>
                    <a:pt x="150" y="30"/>
                  </a:lnTo>
                  <a:lnTo>
                    <a:pt x="145" y="32"/>
                  </a:lnTo>
                  <a:lnTo>
                    <a:pt x="140" y="34"/>
                  </a:lnTo>
                  <a:lnTo>
                    <a:pt x="135" y="37"/>
                  </a:lnTo>
                  <a:lnTo>
                    <a:pt x="130" y="40"/>
                  </a:lnTo>
                  <a:lnTo>
                    <a:pt x="124" y="44"/>
                  </a:lnTo>
                  <a:lnTo>
                    <a:pt x="119" y="48"/>
                  </a:lnTo>
                  <a:lnTo>
                    <a:pt x="116" y="51"/>
                  </a:lnTo>
                  <a:lnTo>
                    <a:pt x="118" y="52"/>
                  </a:lnTo>
                  <a:lnTo>
                    <a:pt x="123" y="52"/>
                  </a:lnTo>
                  <a:lnTo>
                    <a:pt x="128" y="53"/>
                  </a:lnTo>
                  <a:lnTo>
                    <a:pt x="131" y="53"/>
                  </a:lnTo>
                  <a:lnTo>
                    <a:pt x="131" y="88"/>
                  </a:lnTo>
                  <a:lnTo>
                    <a:pt x="131" y="89"/>
                  </a:lnTo>
                  <a:lnTo>
                    <a:pt x="131" y="90"/>
                  </a:lnTo>
                  <a:lnTo>
                    <a:pt x="132" y="91"/>
                  </a:lnTo>
                  <a:lnTo>
                    <a:pt x="133" y="92"/>
                  </a:lnTo>
                  <a:lnTo>
                    <a:pt x="134" y="93"/>
                  </a:lnTo>
                  <a:lnTo>
                    <a:pt x="136" y="94"/>
                  </a:lnTo>
                  <a:lnTo>
                    <a:pt x="138" y="95"/>
                  </a:lnTo>
                  <a:lnTo>
                    <a:pt x="140" y="97"/>
                  </a:lnTo>
                  <a:lnTo>
                    <a:pt x="141" y="98"/>
                  </a:lnTo>
                  <a:lnTo>
                    <a:pt x="141" y="99"/>
                  </a:lnTo>
                  <a:lnTo>
                    <a:pt x="142" y="100"/>
                  </a:lnTo>
                  <a:lnTo>
                    <a:pt x="142" y="101"/>
                  </a:lnTo>
                  <a:lnTo>
                    <a:pt x="142" y="102"/>
                  </a:lnTo>
                  <a:lnTo>
                    <a:pt x="141" y="104"/>
                  </a:lnTo>
                  <a:lnTo>
                    <a:pt x="141" y="105"/>
                  </a:lnTo>
                  <a:lnTo>
                    <a:pt x="140" y="106"/>
                  </a:lnTo>
                  <a:lnTo>
                    <a:pt x="139" y="107"/>
                  </a:lnTo>
                  <a:lnTo>
                    <a:pt x="138" y="107"/>
                  </a:lnTo>
                  <a:lnTo>
                    <a:pt x="136" y="107"/>
                  </a:lnTo>
                  <a:lnTo>
                    <a:pt x="135" y="108"/>
                  </a:lnTo>
                  <a:lnTo>
                    <a:pt x="128" y="107"/>
                  </a:lnTo>
                  <a:lnTo>
                    <a:pt x="120" y="107"/>
                  </a:lnTo>
                  <a:lnTo>
                    <a:pt x="116" y="108"/>
                  </a:lnTo>
                  <a:lnTo>
                    <a:pt x="112" y="111"/>
                  </a:lnTo>
                  <a:lnTo>
                    <a:pt x="106" y="113"/>
                  </a:lnTo>
                  <a:lnTo>
                    <a:pt x="101" y="116"/>
                  </a:lnTo>
                  <a:lnTo>
                    <a:pt x="99" y="118"/>
                  </a:lnTo>
                  <a:lnTo>
                    <a:pt x="97" y="120"/>
                  </a:lnTo>
                  <a:lnTo>
                    <a:pt x="95" y="122"/>
                  </a:lnTo>
                  <a:lnTo>
                    <a:pt x="93" y="124"/>
                  </a:lnTo>
                  <a:lnTo>
                    <a:pt x="92" y="126"/>
                  </a:lnTo>
                  <a:lnTo>
                    <a:pt x="91" y="128"/>
                  </a:lnTo>
                  <a:lnTo>
                    <a:pt x="90" y="131"/>
                  </a:lnTo>
                  <a:lnTo>
                    <a:pt x="90" y="133"/>
                  </a:lnTo>
                  <a:lnTo>
                    <a:pt x="87" y="134"/>
                  </a:lnTo>
                  <a:lnTo>
                    <a:pt x="84" y="135"/>
                  </a:lnTo>
                  <a:lnTo>
                    <a:pt x="82" y="137"/>
                  </a:lnTo>
                  <a:lnTo>
                    <a:pt x="79" y="139"/>
                  </a:lnTo>
                  <a:lnTo>
                    <a:pt x="74" y="143"/>
                  </a:lnTo>
                  <a:lnTo>
                    <a:pt x="69" y="148"/>
                  </a:lnTo>
                  <a:lnTo>
                    <a:pt x="66" y="150"/>
                  </a:lnTo>
                  <a:lnTo>
                    <a:pt x="62" y="152"/>
                  </a:lnTo>
                  <a:lnTo>
                    <a:pt x="59" y="155"/>
                  </a:lnTo>
                  <a:lnTo>
                    <a:pt x="55" y="156"/>
                  </a:lnTo>
                  <a:lnTo>
                    <a:pt x="51" y="158"/>
                  </a:lnTo>
                  <a:lnTo>
                    <a:pt x="46" y="159"/>
                  </a:lnTo>
                  <a:lnTo>
                    <a:pt x="41" y="160"/>
                  </a:lnTo>
                  <a:lnTo>
                    <a:pt x="35" y="160"/>
                  </a:lnTo>
                  <a:lnTo>
                    <a:pt x="31" y="160"/>
                  </a:lnTo>
                  <a:lnTo>
                    <a:pt x="29" y="161"/>
                  </a:lnTo>
                  <a:lnTo>
                    <a:pt x="26" y="161"/>
                  </a:lnTo>
                  <a:lnTo>
                    <a:pt x="24" y="162"/>
                  </a:lnTo>
                  <a:lnTo>
                    <a:pt x="20" y="164"/>
                  </a:lnTo>
                  <a:lnTo>
                    <a:pt x="17" y="167"/>
                  </a:lnTo>
                  <a:lnTo>
                    <a:pt x="13" y="169"/>
                  </a:lnTo>
                  <a:lnTo>
                    <a:pt x="10" y="172"/>
                  </a:lnTo>
                  <a:lnTo>
                    <a:pt x="8" y="174"/>
                  </a:lnTo>
                  <a:lnTo>
                    <a:pt x="6" y="175"/>
                  </a:lnTo>
                  <a:lnTo>
                    <a:pt x="3" y="176"/>
                  </a:lnTo>
                  <a:lnTo>
                    <a:pt x="0" y="177"/>
                  </a:lnTo>
                  <a:lnTo>
                    <a:pt x="0" y="200"/>
                  </a:lnTo>
                  <a:lnTo>
                    <a:pt x="0" y="208"/>
                  </a:lnTo>
                  <a:lnTo>
                    <a:pt x="69" y="253"/>
                  </a:lnTo>
                  <a:lnTo>
                    <a:pt x="170" y="323"/>
                  </a:lnTo>
                  <a:lnTo>
                    <a:pt x="179" y="331"/>
                  </a:lnTo>
                  <a:lnTo>
                    <a:pt x="185" y="341"/>
                  </a:lnTo>
                  <a:lnTo>
                    <a:pt x="189" y="344"/>
                  </a:lnTo>
                  <a:lnTo>
                    <a:pt x="194" y="347"/>
                  </a:lnTo>
                  <a:lnTo>
                    <a:pt x="201" y="352"/>
                  </a:lnTo>
                  <a:lnTo>
                    <a:pt x="210" y="357"/>
                  </a:lnTo>
                  <a:lnTo>
                    <a:pt x="218" y="362"/>
                  </a:lnTo>
                  <a:lnTo>
                    <a:pt x="226" y="366"/>
                  </a:lnTo>
                  <a:lnTo>
                    <a:pt x="229" y="368"/>
                  </a:lnTo>
                  <a:lnTo>
                    <a:pt x="232" y="369"/>
                  </a:lnTo>
                  <a:lnTo>
                    <a:pt x="234" y="370"/>
                  </a:lnTo>
                  <a:lnTo>
                    <a:pt x="235" y="37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69" name="Freeform 238">
              <a:extLst>
                <a:ext uri="{FF2B5EF4-FFF2-40B4-BE49-F238E27FC236}">
                  <a16:creationId xmlns:a16="http://schemas.microsoft.com/office/drawing/2014/main" id="{89940A08-676F-4980-A1D4-4EA72286D8A7}"/>
                </a:ext>
              </a:extLst>
            </p:cNvPr>
            <p:cNvSpPr>
              <a:spLocks/>
            </p:cNvSpPr>
            <p:nvPr>
              <p:custDataLst>
                <p:tags r:id="rId165"/>
              </p:custDataLst>
            </p:nvPr>
          </p:nvSpPr>
          <p:spPr bwMode="auto">
            <a:xfrm>
              <a:off x="4244970" y="2614592"/>
              <a:ext cx="384174" cy="436558"/>
            </a:xfrm>
            <a:custGeom>
              <a:avLst/>
              <a:gdLst>
                <a:gd name="T0" fmla="*/ 15770 w 877"/>
                <a:gd name="T1" fmla="*/ 74522 h 826"/>
                <a:gd name="T2" fmla="*/ 20151 w 877"/>
                <a:gd name="T3" fmla="*/ 57609 h 826"/>
                <a:gd name="T4" fmla="*/ 20151 w 877"/>
                <a:gd name="T5" fmla="*/ 36997 h 826"/>
                <a:gd name="T6" fmla="*/ 26721 w 877"/>
                <a:gd name="T7" fmla="*/ 33826 h 826"/>
                <a:gd name="T8" fmla="*/ 38987 w 877"/>
                <a:gd name="T9" fmla="*/ 29069 h 826"/>
                <a:gd name="T10" fmla="*/ 43368 w 877"/>
                <a:gd name="T11" fmla="*/ 10571 h 826"/>
                <a:gd name="T12" fmla="*/ 73593 w 877"/>
                <a:gd name="T13" fmla="*/ 3171 h 826"/>
                <a:gd name="T14" fmla="*/ 106010 w 877"/>
                <a:gd name="T15" fmla="*/ 12685 h 826"/>
                <a:gd name="T16" fmla="*/ 119589 w 877"/>
                <a:gd name="T17" fmla="*/ 22727 h 826"/>
                <a:gd name="T18" fmla="*/ 124846 w 877"/>
                <a:gd name="T19" fmla="*/ 41225 h 826"/>
                <a:gd name="T20" fmla="*/ 129226 w 877"/>
                <a:gd name="T21" fmla="*/ 53381 h 826"/>
                <a:gd name="T22" fmla="*/ 142368 w 877"/>
                <a:gd name="T23" fmla="*/ 58138 h 826"/>
                <a:gd name="T24" fmla="*/ 159014 w 877"/>
                <a:gd name="T25" fmla="*/ 57609 h 826"/>
                <a:gd name="T26" fmla="*/ 184422 w 877"/>
                <a:gd name="T27" fmla="*/ 70294 h 826"/>
                <a:gd name="T28" fmla="*/ 209391 w 877"/>
                <a:gd name="T29" fmla="*/ 85621 h 826"/>
                <a:gd name="T30" fmla="*/ 224723 w 877"/>
                <a:gd name="T31" fmla="*/ 87735 h 826"/>
                <a:gd name="T32" fmla="*/ 235674 w 877"/>
                <a:gd name="T33" fmla="*/ 83507 h 826"/>
                <a:gd name="T34" fmla="*/ 240493 w 877"/>
                <a:gd name="T35" fmla="*/ 66594 h 826"/>
                <a:gd name="T36" fmla="*/ 238302 w 877"/>
                <a:gd name="T37" fmla="*/ 54438 h 826"/>
                <a:gd name="T38" fmla="*/ 232608 w 877"/>
                <a:gd name="T39" fmla="*/ 42811 h 826"/>
                <a:gd name="T40" fmla="*/ 236112 w 877"/>
                <a:gd name="T41" fmla="*/ 25898 h 826"/>
                <a:gd name="T42" fmla="*/ 251444 w 877"/>
                <a:gd name="T43" fmla="*/ 17970 h 826"/>
                <a:gd name="T44" fmla="*/ 270280 w 877"/>
                <a:gd name="T45" fmla="*/ 2114 h 826"/>
                <a:gd name="T46" fmla="*/ 284736 w 877"/>
                <a:gd name="T47" fmla="*/ 0 h 826"/>
                <a:gd name="T48" fmla="*/ 298316 w 877"/>
                <a:gd name="T49" fmla="*/ 3171 h 826"/>
                <a:gd name="T50" fmla="*/ 304449 w 877"/>
                <a:gd name="T51" fmla="*/ 12685 h 826"/>
                <a:gd name="T52" fmla="*/ 309267 w 877"/>
                <a:gd name="T53" fmla="*/ 26426 h 826"/>
                <a:gd name="T54" fmla="*/ 318905 w 877"/>
                <a:gd name="T55" fmla="*/ 33297 h 826"/>
                <a:gd name="T56" fmla="*/ 349569 w 877"/>
                <a:gd name="T57" fmla="*/ 37525 h 826"/>
                <a:gd name="T58" fmla="*/ 363586 w 877"/>
                <a:gd name="T59" fmla="*/ 51267 h 826"/>
                <a:gd name="T60" fmla="*/ 365339 w 877"/>
                <a:gd name="T61" fmla="*/ 61837 h 826"/>
                <a:gd name="T62" fmla="*/ 369281 w 877"/>
                <a:gd name="T63" fmla="*/ 73994 h 826"/>
                <a:gd name="T64" fmla="*/ 366215 w 877"/>
                <a:gd name="T65" fmla="*/ 84036 h 826"/>
                <a:gd name="T66" fmla="*/ 360958 w 877"/>
                <a:gd name="T67" fmla="*/ 89849 h 826"/>
                <a:gd name="T68" fmla="*/ 363148 w 877"/>
                <a:gd name="T69" fmla="*/ 109405 h 826"/>
                <a:gd name="T70" fmla="*/ 375852 w 877"/>
                <a:gd name="T71" fmla="*/ 129489 h 826"/>
                <a:gd name="T72" fmla="*/ 383737 w 877"/>
                <a:gd name="T73" fmla="*/ 363097 h 826"/>
                <a:gd name="T74" fmla="*/ 384175 w 877"/>
                <a:gd name="T75" fmla="*/ 391637 h 826"/>
                <a:gd name="T76" fmla="*/ 381109 w 877"/>
                <a:gd name="T77" fmla="*/ 409607 h 826"/>
                <a:gd name="T78" fmla="*/ 371471 w 877"/>
                <a:gd name="T79" fmla="*/ 413835 h 826"/>
                <a:gd name="T80" fmla="*/ 363586 w 877"/>
                <a:gd name="T81" fmla="*/ 424934 h 826"/>
                <a:gd name="T82" fmla="*/ 160328 w 877"/>
                <a:gd name="T83" fmla="*/ 313416 h 826"/>
                <a:gd name="T84" fmla="*/ 144996 w 877"/>
                <a:gd name="T85" fmla="*/ 320815 h 826"/>
                <a:gd name="T86" fmla="*/ 127912 w 877"/>
                <a:gd name="T87" fmla="*/ 330857 h 826"/>
                <a:gd name="T88" fmla="*/ 115209 w 877"/>
                <a:gd name="T89" fmla="*/ 331385 h 826"/>
                <a:gd name="T90" fmla="*/ 100753 w 877"/>
                <a:gd name="T91" fmla="*/ 321872 h 826"/>
                <a:gd name="T92" fmla="*/ 84545 w 877"/>
                <a:gd name="T93" fmla="*/ 309716 h 826"/>
                <a:gd name="T94" fmla="*/ 66584 w 877"/>
                <a:gd name="T95" fmla="*/ 305488 h 826"/>
                <a:gd name="T96" fmla="*/ 60452 w 877"/>
                <a:gd name="T97" fmla="*/ 304959 h 826"/>
                <a:gd name="T98" fmla="*/ 56947 w 877"/>
                <a:gd name="T99" fmla="*/ 292275 h 826"/>
                <a:gd name="T100" fmla="*/ 47748 w 877"/>
                <a:gd name="T101" fmla="*/ 282761 h 826"/>
                <a:gd name="T102" fmla="*/ 27598 w 877"/>
                <a:gd name="T103" fmla="*/ 273248 h 826"/>
                <a:gd name="T104" fmla="*/ 12266 w 877"/>
                <a:gd name="T105" fmla="*/ 263734 h 826"/>
                <a:gd name="T106" fmla="*/ 7009 w 877"/>
                <a:gd name="T107" fmla="*/ 254749 h 826"/>
                <a:gd name="T108" fmla="*/ 6133 w 877"/>
                <a:gd name="T109" fmla="*/ 232023 h 826"/>
                <a:gd name="T110" fmla="*/ 8323 w 877"/>
                <a:gd name="T111" fmla="*/ 186041 h 826"/>
                <a:gd name="T112" fmla="*/ 7447 w 877"/>
                <a:gd name="T113" fmla="*/ 136360 h 826"/>
                <a:gd name="T114" fmla="*/ 1752 w 877"/>
                <a:gd name="T115" fmla="*/ 106762 h 82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877" h="826">
                  <a:moveTo>
                    <a:pt x="0" y="190"/>
                  </a:moveTo>
                  <a:lnTo>
                    <a:pt x="16" y="167"/>
                  </a:lnTo>
                  <a:lnTo>
                    <a:pt x="33" y="147"/>
                  </a:lnTo>
                  <a:lnTo>
                    <a:pt x="36" y="141"/>
                  </a:lnTo>
                  <a:lnTo>
                    <a:pt x="39" y="133"/>
                  </a:lnTo>
                  <a:lnTo>
                    <a:pt x="41" y="126"/>
                  </a:lnTo>
                  <a:lnTo>
                    <a:pt x="43" y="118"/>
                  </a:lnTo>
                  <a:lnTo>
                    <a:pt x="46" y="109"/>
                  </a:lnTo>
                  <a:lnTo>
                    <a:pt x="47" y="99"/>
                  </a:lnTo>
                  <a:lnTo>
                    <a:pt x="47" y="87"/>
                  </a:lnTo>
                  <a:lnTo>
                    <a:pt x="46" y="73"/>
                  </a:lnTo>
                  <a:lnTo>
                    <a:pt x="46" y="70"/>
                  </a:lnTo>
                  <a:lnTo>
                    <a:pt x="47" y="67"/>
                  </a:lnTo>
                  <a:lnTo>
                    <a:pt x="49" y="66"/>
                  </a:lnTo>
                  <a:lnTo>
                    <a:pt x="52" y="65"/>
                  </a:lnTo>
                  <a:lnTo>
                    <a:pt x="61" y="64"/>
                  </a:lnTo>
                  <a:lnTo>
                    <a:pt x="72" y="63"/>
                  </a:lnTo>
                  <a:lnTo>
                    <a:pt x="78" y="61"/>
                  </a:lnTo>
                  <a:lnTo>
                    <a:pt x="83" y="59"/>
                  </a:lnTo>
                  <a:lnTo>
                    <a:pt x="89" y="55"/>
                  </a:lnTo>
                  <a:lnTo>
                    <a:pt x="93" y="50"/>
                  </a:lnTo>
                  <a:lnTo>
                    <a:pt x="96" y="42"/>
                  </a:lnTo>
                  <a:lnTo>
                    <a:pt x="98" y="33"/>
                  </a:lnTo>
                  <a:lnTo>
                    <a:pt x="99" y="20"/>
                  </a:lnTo>
                  <a:lnTo>
                    <a:pt x="98" y="6"/>
                  </a:lnTo>
                  <a:lnTo>
                    <a:pt x="124" y="4"/>
                  </a:lnTo>
                  <a:lnTo>
                    <a:pt x="147" y="5"/>
                  </a:lnTo>
                  <a:lnTo>
                    <a:pt x="168" y="6"/>
                  </a:lnTo>
                  <a:lnTo>
                    <a:pt x="188" y="9"/>
                  </a:lnTo>
                  <a:lnTo>
                    <a:pt x="208" y="13"/>
                  </a:lnTo>
                  <a:lnTo>
                    <a:pt x="226" y="18"/>
                  </a:lnTo>
                  <a:lnTo>
                    <a:pt x="242" y="24"/>
                  </a:lnTo>
                  <a:lnTo>
                    <a:pt x="259" y="31"/>
                  </a:lnTo>
                  <a:lnTo>
                    <a:pt x="264" y="35"/>
                  </a:lnTo>
                  <a:lnTo>
                    <a:pt x="269" y="39"/>
                  </a:lnTo>
                  <a:lnTo>
                    <a:pt x="273" y="43"/>
                  </a:lnTo>
                  <a:lnTo>
                    <a:pt x="276" y="47"/>
                  </a:lnTo>
                  <a:lnTo>
                    <a:pt x="281" y="57"/>
                  </a:lnTo>
                  <a:lnTo>
                    <a:pt x="283" y="67"/>
                  </a:lnTo>
                  <a:lnTo>
                    <a:pt x="285" y="78"/>
                  </a:lnTo>
                  <a:lnTo>
                    <a:pt x="288" y="88"/>
                  </a:lnTo>
                  <a:lnTo>
                    <a:pt x="289" y="93"/>
                  </a:lnTo>
                  <a:lnTo>
                    <a:pt x="292" y="97"/>
                  </a:lnTo>
                  <a:lnTo>
                    <a:pt x="295" y="101"/>
                  </a:lnTo>
                  <a:lnTo>
                    <a:pt x="298" y="105"/>
                  </a:lnTo>
                  <a:lnTo>
                    <a:pt x="306" y="108"/>
                  </a:lnTo>
                  <a:lnTo>
                    <a:pt x="315" y="110"/>
                  </a:lnTo>
                  <a:lnTo>
                    <a:pt x="325" y="110"/>
                  </a:lnTo>
                  <a:lnTo>
                    <a:pt x="334" y="110"/>
                  </a:lnTo>
                  <a:lnTo>
                    <a:pt x="344" y="109"/>
                  </a:lnTo>
                  <a:lnTo>
                    <a:pt x="354" y="109"/>
                  </a:lnTo>
                  <a:lnTo>
                    <a:pt x="363" y="109"/>
                  </a:lnTo>
                  <a:lnTo>
                    <a:pt x="372" y="111"/>
                  </a:lnTo>
                  <a:lnTo>
                    <a:pt x="388" y="117"/>
                  </a:lnTo>
                  <a:lnTo>
                    <a:pt x="405" y="124"/>
                  </a:lnTo>
                  <a:lnTo>
                    <a:pt x="421" y="133"/>
                  </a:lnTo>
                  <a:lnTo>
                    <a:pt x="438" y="143"/>
                  </a:lnTo>
                  <a:lnTo>
                    <a:pt x="454" y="152"/>
                  </a:lnTo>
                  <a:lnTo>
                    <a:pt x="471" y="159"/>
                  </a:lnTo>
                  <a:lnTo>
                    <a:pt x="478" y="162"/>
                  </a:lnTo>
                  <a:lnTo>
                    <a:pt x="487" y="164"/>
                  </a:lnTo>
                  <a:lnTo>
                    <a:pt x="496" y="166"/>
                  </a:lnTo>
                  <a:lnTo>
                    <a:pt x="505" y="166"/>
                  </a:lnTo>
                  <a:lnTo>
                    <a:pt x="513" y="166"/>
                  </a:lnTo>
                  <a:lnTo>
                    <a:pt x="521" y="166"/>
                  </a:lnTo>
                  <a:lnTo>
                    <a:pt x="529" y="166"/>
                  </a:lnTo>
                  <a:lnTo>
                    <a:pt x="538" y="166"/>
                  </a:lnTo>
                  <a:lnTo>
                    <a:pt x="538" y="158"/>
                  </a:lnTo>
                  <a:lnTo>
                    <a:pt x="540" y="150"/>
                  </a:lnTo>
                  <a:lnTo>
                    <a:pt x="542" y="143"/>
                  </a:lnTo>
                  <a:lnTo>
                    <a:pt x="544" y="137"/>
                  </a:lnTo>
                  <a:lnTo>
                    <a:pt x="549" y="126"/>
                  </a:lnTo>
                  <a:lnTo>
                    <a:pt x="551" y="117"/>
                  </a:lnTo>
                  <a:lnTo>
                    <a:pt x="550" y="112"/>
                  </a:lnTo>
                  <a:lnTo>
                    <a:pt x="547" y="108"/>
                  </a:lnTo>
                  <a:lnTo>
                    <a:pt x="544" y="103"/>
                  </a:lnTo>
                  <a:lnTo>
                    <a:pt x="541" y="98"/>
                  </a:lnTo>
                  <a:lnTo>
                    <a:pt x="537" y="93"/>
                  </a:lnTo>
                  <a:lnTo>
                    <a:pt x="534" y="87"/>
                  </a:lnTo>
                  <a:lnTo>
                    <a:pt x="531" y="81"/>
                  </a:lnTo>
                  <a:lnTo>
                    <a:pt x="531" y="73"/>
                  </a:lnTo>
                  <a:lnTo>
                    <a:pt x="531" y="61"/>
                  </a:lnTo>
                  <a:lnTo>
                    <a:pt x="531" y="49"/>
                  </a:lnTo>
                  <a:lnTo>
                    <a:pt x="539" y="49"/>
                  </a:lnTo>
                  <a:lnTo>
                    <a:pt x="547" y="47"/>
                  </a:lnTo>
                  <a:lnTo>
                    <a:pt x="554" y="45"/>
                  </a:lnTo>
                  <a:lnTo>
                    <a:pt x="562" y="42"/>
                  </a:lnTo>
                  <a:lnTo>
                    <a:pt x="574" y="34"/>
                  </a:lnTo>
                  <a:lnTo>
                    <a:pt x="586" y="24"/>
                  </a:lnTo>
                  <a:lnTo>
                    <a:pt x="598" y="15"/>
                  </a:lnTo>
                  <a:lnTo>
                    <a:pt x="610" y="7"/>
                  </a:lnTo>
                  <a:lnTo>
                    <a:pt x="617" y="4"/>
                  </a:lnTo>
                  <a:lnTo>
                    <a:pt x="623" y="2"/>
                  </a:lnTo>
                  <a:lnTo>
                    <a:pt x="630" y="0"/>
                  </a:lnTo>
                  <a:lnTo>
                    <a:pt x="638" y="0"/>
                  </a:lnTo>
                  <a:lnTo>
                    <a:pt x="650" y="0"/>
                  </a:lnTo>
                  <a:lnTo>
                    <a:pt x="659" y="1"/>
                  </a:lnTo>
                  <a:lnTo>
                    <a:pt x="668" y="2"/>
                  </a:lnTo>
                  <a:lnTo>
                    <a:pt x="676" y="4"/>
                  </a:lnTo>
                  <a:lnTo>
                    <a:pt x="681" y="6"/>
                  </a:lnTo>
                  <a:lnTo>
                    <a:pt x="685" y="9"/>
                  </a:lnTo>
                  <a:lnTo>
                    <a:pt x="688" y="12"/>
                  </a:lnTo>
                  <a:lnTo>
                    <a:pt x="691" y="16"/>
                  </a:lnTo>
                  <a:lnTo>
                    <a:pt x="695" y="24"/>
                  </a:lnTo>
                  <a:lnTo>
                    <a:pt x="698" y="34"/>
                  </a:lnTo>
                  <a:lnTo>
                    <a:pt x="700" y="39"/>
                  </a:lnTo>
                  <a:lnTo>
                    <a:pt x="702" y="44"/>
                  </a:lnTo>
                  <a:lnTo>
                    <a:pt x="706" y="50"/>
                  </a:lnTo>
                  <a:lnTo>
                    <a:pt x="710" y="55"/>
                  </a:lnTo>
                  <a:lnTo>
                    <a:pt x="715" y="58"/>
                  </a:lnTo>
                  <a:lnTo>
                    <a:pt x="721" y="61"/>
                  </a:lnTo>
                  <a:lnTo>
                    <a:pt x="728" y="63"/>
                  </a:lnTo>
                  <a:lnTo>
                    <a:pt x="734" y="65"/>
                  </a:lnTo>
                  <a:lnTo>
                    <a:pt x="750" y="67"/>
                  </a:lnTo>
                  <a:lnTo>
                    <a:pt x="765" y="69"/>
                  </a:lnTo>
                  <a:lnTo>
                    <a:pt x="798" y="71"/>
                  </a:lnTo>
                  <a:lnTo>
                    <a:pt x="830" y="73"/>
                  </a:lnTo>
                  <a:lnTo>
                    <a:pt x="830" y="83"/>
                  </a:lnTo>
                  <a:lnTo>
                    <a:pt x="830" y="90"/>
                  </a:lnTo>
                  <a:lnTo>
                    <a:pt x="830" y="97"/>
                  </a:lnTo>
                  <a:lnTo>
                    <a:pt x="830" y="105"/>
                  </a:lnTo>
                  <a:lnTo>
                    <a:pt x="830" y="109"/>
                  </a:lnTo>
                  <a:lnTo>
                    <a:pt x="832" y="113"/>
                  </a:lnTo>
                  <a:lnTo>
                    <a:pt x="834" y="117"/>
                  </a:lnTo>
                  <a:lnTo>
                    <a:pt x="836" y="121"/>
                  </a:lnTo>
                  <a:lnTo>
                    <a:pt x="838" y="126"/>
                  </a:lnTo>
                  <a:lnTo>
                    <a:pt x="841" y="132"/>
                  </a:lnTo>
                  <a:lnTo>
                    <a:pt x="843" y="140"/>
                  </a:lnTo>
                  <a:lnTo>
                    <a:pt x="843" y="148"/>
                  </a:lnTo>
                  <a:lnTo>
                    <a:pt x="842" y="152"/>
                  </a:lnTo>
                  <a:lnTo>
                    <a:pt x="840" y="156"/>
                  </a:lnTo>
                  <a:lnTo>
                    <a:pt x="836" y="159"/>
                  </a:lnTo>
                  <a:lnTo>
                    <a:pt x="833" y="162"/>
                  </a:lnTo>
                  <a:lnTo>
                    <a:pt x="830" y="165"/>
                  </a:lnTo>
                  <a:lnTo>
                    <a:pt x="826" y="168"/>
                  </a:lnTo>
                  <a:lnTo>
                    <a:pt x="824" y="170"/>
                  </a:lnTo>
                  <a:lnTo>
                    <a:pt x="823" y="172"/>
                  </a:lnTo>
                  <a:lnTo>
                    <a:pt x="824" y="184"/>
                  </a:lnTo>
                  <a:lnTo>
                    <a:pt x="825" y="196"/>
                  </a:lnTo>
                  <a:lnTo>
                    <a:pt x="829" y="207"/>
                  </a:lnTo>
                  <a:lnTo>
                    <a:pt x="834" y="217"/>
                  </a:lnTo>
                  <a:lnTo>
                    <a:pt x="841" y="227"/>
                  </a:lnTo>
                  <a:lnTo>
                    <a:pt x="848" y="236"/>
                  </a:lnTo>
                  <a:lnTo>
                    <a:pt x="858" y="245"/>
                  </a:lnTo>
                  <a:lnTo>
                    <a:pt x="869" y="253"/>
                  </a:lnTo>
                  <a:lnTo>
                    <a:pt x="876" y="671"/>
                  </a:lnTo>
                  <a:lnTo>
                    <a:pt x="876" y="680"/>
                  </a:lnTo>
                  <a:lnTo>
                    <a:pt x="876" y="687"/>
                  </a:lnTo>
                  <a:lnTo>
                    <a:pt x="876" y="697"/>
                  </a:lnTo>
                  <a:lnTo>
                    <a:pt x="876" y="709"/>
                  </a:lnTo>
                  <a:lnTo>
                    <a:pt x="877" y="726"/>
                  </a:lnTo>
                  <a:lnTo>
                    <a:pt x="877" y="741"/>
                  </a:lnTo>
                  <a:lnTo>
                    <a:pt x="877" y="756"/>
                  </a:lnTo>
                  <a:lnTo>
                    <a:pt x="876" y="766"/>
                  </a:lnTo>
                  <a:lnTo>
                    <a:pt x="874" y="771"/>
                  </a:lnTo>
                  <a:lnTo>
                    <a:pt x="870" y="775"/>
                  </a:lnTo>
                  <a:lnTo>
                    <a:pt x="867" y="778"/>
                  </a:lnTo>
                  <a:lnTo>
                    <a:pt x="863" y="780"/>
                  </a:lnTo>
                  <a:lnTo>
                    <a:pt x="856" y="782"/>
                  </a:lnTo>
                  <a:lnTo>
                    <a:pt x="848" y="783"/>
                  </a:lnTo>
                  <a:lnTo>
                    <a:pt x="840" y="783"/>
                  </a:lnTo>
                  <a:lnTo>
                    <a:pt x="830" y="782"/>
                  </a:lnTo>
                  <a:lnTo>
                    <a:pt x="830" y="792"/>
                  </a:lnTo>
                  <a:lnTo>
                    <a:pt x="830" y="804"/>
                  </a:lnTo>
                  <a:lnTo>
                    <a:pt x="830" y="816"/>
                  </a:lnTo>
                  <a:lnTo>
                    <a:pt x="830" y="826"/>
                  </a:lnTo>
                  <a:lnTo>
                    <a:pt x="378" y="592"/>
                  </a:lnTo>
                  <a:lnTo>
                    <a:pt x="366" y="593"/>
                  </a:lnTo>
                  <a:lnTo>
                    <a:pt x="359" y="595"/>
                  </a:lnTo>
                  <a:lnTo>
                    <a:pt x="353" y="597"/>
                  </a:lnTo>
                  <a:lnTo>
                    <a:pt x="344" y="598"/>
                  </a:lnTo>
                  <a:lnTo>
                    <a:pt x="331" y="607"/>
                  </a:lnTo>
                  <a:lnTo>
                    <a:pt x="318" y="616"/>
                  </a:lnTo>
                  <a:lnTo>
                    <a:pt x="308" y="620"/>
                  </a:lnTo>
                  <a:lnTo>
                    <a:pt x="297" y="624"/>
                  </a:lnTo>
                  <a:lnTo>
                    <a:pt x="292" y="626"/>
                  </a:lnTo>
                  <a:lnTo>
                    <a:pt x="285" y="627"/>
                  </a:lnTo>
                  <a:lnTo>
                    <a:pt x="278" y="628"/>
                  </a:lnTo>
                  <a:lnTo>
                    <a:pt x="272" y="628"/>
                  </a:lnTo>
                  <a:lnTo>
                    <a:pt x="263" y="627"/>
                  </a:lnTo>
                  <a:lnTo>
                    <a:pt x="254" y="624"/>
                  </a:lnTo>
                  <a:lnTo>
                    <a:pt x="246" y="620"/>
                  </a:lnTo>
                  <a:lnTo>
                    <a:pt x="238" y="614"/>
                  </a:lnTo>
                  <a:lnTo>
                    <a:pt x="230" y="609"/>
                  </a:lnTo>
                  <a:lnTo>
                    <a:pt x="224" y="602"/>
                  </a:lnTo>
                  <a:lnTo>
                    <a:pt x="220" y="597"/>
                  </a:lnTo>
                  <a:lnTo>
                    <a:pt x="218" y="592"/>
                  </a:lnTo>
                  <a:lnTo>
                    <a:pt x="193" y="586"/>
                  </a:lnTo>
                  <a:lnTo>
                    <a:pt x="173" y="579"/>
                  </a:lnTo>
                  <a:lnTo>
                    <a:pt x="165" y="577"/>
                  </a:lnTo>
                  <a:lnTo>
                    <a:pt x="157" y="577"/>
                  </a:lnTo>
                  <a:lnTo>
                    <a:pt x="152" y="578"/>
                  </a:lnTo>
                  <a:lnTo>
                    <a:pt x="148" y="579"/>
                  </a:lnTo>
                  <a:lnTo>
                    <a:pt x="143" y="583"/>
                  </a:lnTo>
                  <a:lnTo>
                    <a:pt x="139" y="586"/>
                  </a:lnTo>
                  <a:lnTo>
                    <a:pt x="138" y="577"/>
                  </a:lnTo>
                  <a:lnTo>
                    <a:pt x="137" y="570"/>
                  </a:lnTo>
                  <a:lnTo>
                    <a:pt x="136" y="564"/>
                  </a:lnTo>
                  <a:lnTo>
                    <a:pt x="134" y="558"/>
                  </a:lnTo>
                  <a:lnTo>
                    <a:pt x="130" y="553"/>
                  </a:lnTo>
                  <a:lnTo>
                    <a:pt x="127" y="549"/>
                  </a:lnTo>
                  <a:lnTo>
                    <a:pt x="124" y="545"/>
                  </a:lnTo>
                  <a:lnTo>
                    <a:pt x="119" y="541"/>
                  </a:lnTo>
                  <a:lnTo>
                    <a:pt x="109" y="535"/>
                  </a:lnTo>
                  <a:lnTo>
                    <a:pt x="98" y="530"/>
                  </a:lnTo>
                  <a:lnTo>
                    <a:pt x="87" y="526"/>
                  </a:lnTo>
                  <a:lnTo>
                    <a:pt x="75" y="521"/>
                  </a:lnTo>
                  <a:lnTo>
                    <a:pt x="63" y="517"/>
                  </a:lnTo>
                  <a:lnTo>
                    <a:pt x="52" y="513"/>
                  </a:lnTo>
                  <a:lnTo>
                    <a:pt x="41" y="509"/>
                  </a:lnTo>
                  <a:lnTo>
                    <a:pt x="33" y="503"/>
                  </a:lnTo>
                  <a:lnTo>
                    <a:pt x="28" y="499"/>
                  </a:lnTo>
                  <a:lnTo>
                    <a:pt x="24" y="496"/>
                  </a:lnTo>
                  <a:lnTo>
                    <a:pt x="20" y="492"/>
                  </a:lnTo>
                  <a:lnTo>
                    <a:pt x="18" y="487"/>
                  </a:lnTo>
                  <a:lnTo>
                    <a:pt x="16" y="482"/>
                  </a:lnTo>
                  <a:lnTo>
                    <a:pt x="14" y="476"/>
                  </a:lnTo>
                  <a:lnTo>
                    <a:pt x="13" y="469"/>
                  </a:lnTo>
                  <a:lnTo>
                    <a:pt x="13" y="462"/>
                  </a:lnTo>
                  <a:lnTo>
                    <a:pt x="14" y="439"/>
                  </a:lnTo>
                  <a:lnTo>
                    <a:pt x="16" y="417"/>
                  </a:lnTo>
                  <a:lnTo>
                    <a:pt x="18" y="395"/>
                  </a:lnTo>
                  <a:lnTo>
                    <a:pt x="19" y="376"/>
                  </a:lnTo>
                  <a:lnTo>
                    <a:pt x="19" y="352"/>
                  </a:lnTo>
                  <a:lnTo>
                    <a:pt x="19" y="329"/>
                  </a:lnTo>
                  <a:lnTo>
                    <a:pt x="19" y="305"/>
                  </a:lnTo>
                  <a:lnTo>
                    <a:pt x="19" y="281"/>
                  </a:lnTo>
                  <a:lnTo>
                    <a:pt x="17" y="258"/>
                  </a:lnTo>
                  <a:lnTo>
                    <a:pt x="14" y="234"/>
                  </a:lnTo>
                  <a:lnTo>
                    <a:pt x="11" y="223"/>
                  </a:lnTo>
                  <a:lnTo>
                    <a:pt x="7" y="212"/>
                  </a:lnTo>
                  <a:lnTo>
                    <a:pt x="4" y="202"/>
                  </a:lnTo>
                  <a:lnTo>
                    <a:pt x="0" y="19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0" name="Freeform 239">
              <a:extLst>
                <a:ext uri="{FF2B5EF4-FFF2-40B4-BE49-F238E27FC236}">
                  <a16:creationId xmlns:a16="http://schemas.microsoft.com/office/drawing/2014/main" id="{08F48EAD-1599-422B-A411-9DB311FA78C3}"/>
                </a:ext>
              </a:extLst>
            </p:cNvPr>
            <p:cNvSpPr>
              <a:spLocks/>
            </p:cNvSpPr>
            <p:nvPr>
              <p:custDataLst>
                <p:tags r:id="rId166"/>
              </p:custDataLst>
            </p:nvPr>
          </p:nvSpPr>
          <p:spPr bwMode="auto">
            <a:xfrm>
              <a:off x="4197345" y="2479656"/>
              <a:ext cx="93663" cy="236536"/>
            </a:xfrm>
            <a:custGeom>
              <a:avLst/>
              <a:gdLst>
                <a:gd name="T0" fmla="*/ 46832 w 206"/>
                <a:gd name="T1" fmla="*/ 229260 h 455"/>
                <a:gd name="T2" fmla="*/ 56834 w 206"/>
                <a:gd name="T3" fmla="*/ 218343 h 455"/>
                <a:gd name="T4" fmla="*/ 63654 w 206"/>
                <a:gd name="T5" fmla="*/ 210025 h 455"/>
                <a:gd name="T6" fmla="*/ 66837 w 206"/>
                <a:gd name="T7" fmla="*/ 202747 h 455"/>
                <a:gd name="T8" fmla="*/ 69111 w 206"/>
                <a:gd name="T9" fmla="*/ 193909 h 455"/>
                <a:gd name="T10" fmla="*/ 70020 w 206"/>
                <a:gd name="T11" fmla="*/ 182992 h 455"/>
                <a:gd name="T12" fmla="*/ 69565 w 206"/>
                <a:gd name="T13" fmla="*/ 174154 h 455"/>
                <a:gd name="T14" fmla="*/ 70929 w 206"/>
                <a:gd name="T15" fmla="*/ 172075 h 455"/>
                <a:gd name="T16" fmla="*/ 76385 w 206"/>
                <a:gd name="T17" fmla="*/ 171035 h 455"/>
                <a:gd name="T18" fmla="*/ 84115 w 206"/>
                <a:gd name="T19" fmla="*/ 168956 h 455"/>
                <a:gd name="T20" fmla="*/ 89116 w 206"/>
                <a:gd name="T21" fmla="*/ 165317 h 455"/>
                <a:gd name="T22" fmla="*/ 92299 w 206"/>
                <a:gd name="T23" fmla="*/ 158039 h 455"/>
                <a:gd name="T24" fmla="*/ 93663 w 206"/>
                <a:gd name="T25" fmla="*/ 145562 h 455"/>
                <a:gd name="T26" fmla="*/ 91844 w 206"/>
                <a:gd name="T27" fmla="*/ 137764 h 455"/>
                <a:gd name="T28" fmla="*/ 87752 w 206"/>
                <a:gd name="T29" fmla="*/ 137244 h 455"/>
                <a:gd name="T30" fmla="*/ 80477 w 206"/>
                <a:gd name="T31" fmla="*/ 133085 h 455"/>
                <a:gd name="T32" fmla="*/ 70475 w 206"/>
                <a:gd name="T33" fmla="*/ 125807 h 455"/>
                <a:gd name="T34" fmla="*/ 63654 w 206"/>
                <a:gd name="T35" fmla="*/ 120089 h 455"/>
                <a:gd name="T36" fmla="*/ 59108 w 206"/>
                <a:gd name="T37" fmla="*/ 118529 h 455"/>
                <a:gd name="T38" fmla="*/ 54106 w 206"/>
                <a:gd name="T39" fmla="*/ 115410 h 455"/>
                <a:gd name="T40" fmla="*/ 45922 w 206"/>
                <a:gd name="T41" fmla="*/ 110211 h 455"/>
                <a:gd name="T42" fmla="*/ 43194 w 206"/>
                <a:gd name="T43" fmla="*/ 107092 h 455"/>
                <a:gd name="T44" fmla="*/ 43194 w 206"/>
                <a:gd name="T45" fmla="*/ 103453 h 455"/>
                <a:gd name="T46" fmla="*/ 47286 w 206"/>
                <a:gd name="T47" fmla="*/ 94095 h 455"/>
                <a:gd name="T48" fmla="*/ 54106 w 206"/>
                <a:gd name="T49" fmla="*/ 82138 h 455"/>
                <a:gd name="T50" fmla="*/ 60926 w 206"/>
                <a:gd name="T51" fmla="*/ 72781 h 455"/>
                <a:gd name="T52" fmla="*/ 61836 w 206"/>
                <a:gd name="T53" fmla="*/ 67062 h 455"/>
                <a:gd name="T54" fmla="*/ 57289 w 206"/>
                <a:gd name="T55" fmla="*/ 60304 h 455"/>
                <a:gd name="T56" fmla="*/ 52288 w 206"/>
                <a:gd name="T57" fmla="*/ 54586 h 455"/>
                <a:gd name="T58" fmla="*/ 49105 w 206"/>
                <a:gd name="T59" fmla="*/ 48347 h 455"/>
                <a:gd name="T60" fmla="*/ 48650 w 206"/>
                <a:gd name="T61" fmla="*/ 43669 h 455"/>
                <a:gd name="T62" fmla="*/ 50469 w 206"/>
                <a:gd name="T63" fmla="*/ 40549 h 455"/>
                <a:gd name="T64" fmla="*/ 52742 w 206"/>
                <a:gd name="T65" fmla="*/ 37430 h 455"/>
                <a:gd name="T66" fmla="*/ 55925 w 206"/>
                <a:gd name="T67" fmla="*/ 35871 h 455"/>
                <a:gd name="T68" fmla="*/ 57289 w 206"/>
                <a:gd name="T69" fmla="*/ 19235 h 455"/>
                <a:gd name="T70" fmla="*/ 50014 w 206"/>
                <a:gd name="T71" fmla="*/ 16636 h 455"/>
                <a:gd name="T72" fmla="*/ 39557 w 206"/>
                <a:gd name="T73" fmla="*/ 10917 h 455"/>
                <a:gd name="T74" fmla="*/ 24098 w 206"/>
                <a:gd name="T75" fmla="*/ 0 h 455"/>
                <a:gd name="T76" fmla="*/ 21370 w 206"/>
                <a:gd name="T77" fmla="*/ 5719 h 455"/>
                <a:gd name="T78" fmla="*/ 15459 w 206"/>
                <a:gd name="T79" fmla="*/ 22874 h 455"/>
                <a:gd name="T80" fmla="*/ 12731 w 206"/>
                <a:gd name="T81" fmla="*/ 36390 h 455"/>
                <a:gd name="T82" fmla="*/ 10003 w 206"/>
                <a:gd name="T83" fmla="*/ 51467 h 455"/>
                <a:gd name="T84" fmla="*/ 9093 w 206"/>
                <a:gd name="T85" fmla="*/ 69142 h 455"/>
                <a:gd name="T86" fmla="*/ 9093 w 206"/>
                <a:gd name="T87" fmla="*/ 89417 h 455"/>
                <a:gd name="T88" fmla="*/ 5456 w 206"/>
                <a:gd name="T89" fmla="*/ 97734 h 455"/>
                <a:gd name="T90" fmla="*/ 3637 w 206"/>
                <a:gd name="T91" fmla="*/ 107092 h 455"/>
                <a:gd name="T92" fmla="*/ 0 w 206"/>
                <a:gd name="T93" fmla="*/ 122168 h 455"/>
                <a:gd name="T94" fmla="*/ 10003 w 206"/>
                <a:gd name="T95" fmla="*/ 134645 h 455"/>
                <a:gd name="T96" fmla="*/ 18642 w 206"/>
                <a:gd name="T97" fmla="*/ 146082 h 455"/>
                <a:gd name="T98" fmla="*/ 25007 w 206"/>
                <a:gd name="T99" fmla="*/ 158558 h 455"/>
                <a:gd name="T100" fmla="*/ 30009 w 206"/>
                <a:gd name="T101" fmla="*/ 171035 h 455"/>
                <a:gd name="T102" fmla="*/ 34101 w 206"/>
                <a:gd name="T103" fmla="*/ 184552 h 455"/>
                <a:gd name="T104" fmla="*/ 37283 w 206"/>
                <a:gd name="T105" fmla="*/ 199628 h 455"/>
                <a:gd name="T106" fmla="*/ 42285 w 206"/>
                <a:gd name="T107" fmla="*/ 236538 h 455"/>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06" h="455">
                  <a:moveTo>
                    <a:pt x="93" y="455"/>
                  </a:moveTo>
                  <a:lnTo>
                    <a:pt x="103" y="441"/>
                  </a:lnTo>
                  <a:lnTo>
                    <a:pt x="114" y="430"/>
                  </a:lnTo>
                  <a:lnTo>
                    <a:pt x="125" y="420"/>
                  </a:lnTo>
                  <a:lnTo>
                    <a:pt x="135" y="409"/>
                  </a:lnTo>
                  <a:lnTo>
                    <a:pt x="140" y="404"/>
                  </a:lnTo>
                  <a:lnTo>
                    <a:pt x="144" y="397"/>
                  </a:lnTo>
                  <a:lnTo>
                    <a:pt x="147" y="390"/>
                  </a:lnTo>
                  <a:lnTo>
                    <a:pt x="149" y="382"/>
                  </a:lnTo>
                  <a:lnTo>
                    <a:pt x="152" y="373"/>
                  </a:lnTo>
                  <a:lnTo>
                    <a:pt x="153" y="363"/>
                  </a:lnTo>
                  <a:lnTo>
                    <a:pt x="154" y="352"/>
                  </a:lnTo>
                  <a:lnTo>
                    <a:pt x="153" y="338"/>
                  </a:lnTo>
                  <a:lnTo>
                    <a:pt x="153" y="335"/>
                  </a:lnTo>
                  <a:lnTo>
                    <a:pt x="154" y="332"/>
                  </a:lnTo>
                  <a:lnTo>
                    <a:pt x="156" y="331"/>
                  </a:lnTo>
                  <a:lnTo>
                    <a:pt x="159" y="330"/>
                  </a:lnTo>
                  <a:lnTo>
                    <a:pt x="168" y="329"/>
                  </a:lnTo>
                  <a:lnTo>
                    <a:pt x="179" y="327"/>
                  </a:lnTo>
                  <a:lnTo>
                    <a:pt x="185" y="325"/>
                  </a:lnTo>
                  <a:lnTo>
                    <a:pt x="190" y="322"/>
                  </a:lnTo>
                  <a:lnTo>
                    <a:pt x="196" y="318"/>
                  </a:lnTo>
                  <a:lnTo>
                    <a:pt x="200" y="312"/>
                  </a:lnTo>
                  <a:lnTo>
                    <a:pt x="203" y="304"/>
                  </a:lnTo>
                  <a:lnTo>
                    <a:pt x="205" y="294"/>
                  </a:lnTo>
                  <a:lnTo>
                    <a:pt x="206" y="280"/>
                  </a:lnTo>
                  <a:lnTo>
                    <a:pt x="205" y="265"/>
                  </a:lnTo>
                  <a:lnTo>
                    <a:pt x="202" y="265"/>
                  </a:lnTo>
                  <a:lnTo>
                    <a:pt x="198" y="265"/>
                  </a:lnTo>
                  <a:lnTo>
                    <a:pt x="193" y="264"/>
                  </a:lnTo>
                  <a:lnTo>
                    <a:pt x="188" y="262"/>
                  </a:lnTo>
                  <a:lnTo>
                    <a:pt x="177" y="256"/>
                  </a:lnTo>
                  <a:lnTo>
                    <a:pt x="166" y="249"/>
                  </a:lnTo>
                  <a:lnTo>
                    <a:pt x="155" y="242"/>
                  </a:lnTo>
                  <a:lnTo>
                    <a:pt x="144" y="235"/>
                  </a:lnTo>
                  <a:lnTo>
                    <a:pt x="140" y="231"/>
                  </a:lnTo>
                  <a:lnTo>
                    <a:pt x="134" y="229"/>
                  </a:lnTo>
                  <a:lnTo>
                    <a:pt x="130" y="228"/>
                  </a:lnTo>
                  <a:lnTo>
                    <a:pt x="126" y="227"/>
                  </a:lnTo>
                  <a:lnTo>
                    <a:pt x="119" y="222"/>
                  </a:lnTo>
                  <a:lnTo>
                    <a:pt x="107" y="215"/>
                  </a:lnTo>
                  <a:lnTo>
                    <a:pt x="101" y="212"/>
                  </a:lnTo>
                  <a:lnTo>
                    <a:pt x="97" y="209"/>
                  </a:lnTo>
                  <a:lnTo>
                    <a:pt x="95" y="206"/>
                  </a:lnTo>
                  <a:lnTo>
                    <a:pt x="93" y="203"/>
                  </a:lnTo>
                  <a:lnTo>
                    <a:pt x="95" y="199"/>
                  </a:lnTo>
                  <a:lnTo>
                    <a:pt x="98" y="191"/>
                  </a:lnTo>
                  <a:lnTo>
                    <a:pt x="104" y="181"/>
                  </a:lnTo>
                  <a:lnTo>
                    <a:pt x="111" y="169"/>
                  </a:lnTo>
                  <a:lnTo>
                    <a:pt x="119" y="158"/>
                  </a:lnTo>
                  <a:lnTo>
                    <a:pt x="126" y="148"/>
                  </a:lnTo>
                  <a:lnTo>
                    <a:pt x="134" y="140"/>
                  </a:lnTo>
                  <a:lnTo>
                    <a:pt x="140" y="136"/>
                  </a:lnTo>
                  <a:lnTo>
                    <a:pt x="136" y="129"/>
                  </a:lnTo>
                  <a:lnTo>
                    <a:pt x="132" y="122"/>
                  </a:lnTo>
                  <a:lnTo>
                    <a:pt x="126" y="116"/>
                  </a:lnTo>
                  <a:lnTo>
                    <a:pt x="121" y="111"/>
                  </a:lnTo>
                  <a:lnTo>
                    <a:pt x="115" y="105"/>
                  </a:lnTo>
                  <a:lnTo>
                    <a:pt x="111" y="99"/>
                  </a:lnTo>
                  <a:lnTo>
                    <a:pt x="108" y="93"/>
                  </a:lnTo>
                  <a:lnTo>
                    <a:pt x="107" y="86"/>
                  </a:lnTo>
                  <a:lnTo>
                    <a:pt x="107" y="84"/>
                  </a:lnTo>
                  <a:lnTo>
                    <a:pt x="109" y="81"/>
                  </a:lnTo>
                  <a:lnTo>
                    <a:pt x="111" y="78"/>
                  </a:lnTo>
                  <a:lnTo>
                    <a:pt x="113" y="75"/>
                  </a:lnTo>
                  <a:lnTo>
                    <a:pt x="116" y="72"/>
                  </a:lnTo>
                  <a:lnTo>
                    <a:pt x="120" y="70"/>
                  </a:lnTo>
                  <a:lnTo>
                    <a:pt x="123" y="69"/>
                  </a:lnTo>
                  <a:lnTo>
                    <a:pt x="126" y="68"/>
                  </a:lnTo>
                  <a:lnTo>
                    <a:pt x="126" y="37"/>
                  </a:lnTo>
                  <a:lnTo>
                    <a:pt x="120" y="36"/>
                  </a:lnTo>
                  <a:lnTo>
                    <a:pt x="110" y="32"/>
                  </a:lnTo>
                  <a:lnTo>
                    <a:pt x="99" y="27"/>
                  </a:lnTo>
                  <a:lnTo>
                    <a:pt x="87" y="21"/>
                  </a:lnTo>
                  <a:lnTo>
                    <a:pt x="65" y="8"/>
                  </a:lnTo>
                  <a:lnTo>
                    <a:pt x="53" y="0"/>
                  </a:lnTo>
                  <a:lnTo>
                    <a:pt x="52" y="2"/>
                  </a:lnTo>
                  <a:lnTo>
                    <a:pt x="47" y="11"/>
                  </a:lnTo>
                  <a:lnTo>
                    <a:pt x="41" y="26"/>
                  </a:lnTo>
                  <a:lnTo>
                    <a:pt x="34" y="44"/>
                  </a:lnTo>
                  <a:lnTo>
                    <a:pt x="31" y="56"/>
                  </a:lnTo>
                  <a:lnTo>
                    <a:pt x="28" y="70"/>
                  </a:lnTo>
                  <a:lnTo>
                    <a:pt x="24" y="83"/>
                  </a:lnTo>
                  <a:lnTo>
                    <a:pt x="22" y="99"/>
                  </a:lnTo>
                  <a:lnTo>
                    <a:pt x="20" y="115"/>
                  </a:lnTo>
                  <a:lnTo>
                    <a:pt x="20" y="133"/>
                  </a:lnTo>
                  <a:lnTo>
                    <a:pt x="19" y="152"/>
                  </a:lnTo>
                  <a:lnTo>
                    <a:pt x="20" y="172"/>
                  </a:lnTo>
                  <a:lnTo>
                    <a:pt x="15" y="180"/>
                  </a:lnTo>
                  <a:lnTo>
                    <a:pt x="12" y="188"/>
                  </a:lnTo>
                  <a:lnTo>
                    <a:pt x="9" y="197"/>
                  </a:lnTo>
                  <a:lnTo>
                    <a:pt x="8" y="206"/>
                  </a:lnTo>
                  <a:lnTo>
                    <a:pt x="3" y="222"/>
                  </a:lnTo>
                  <a:lnTo>
                    <a:pt x="0" y="235"/>
                  </a:lnTo>
                  <a:lnTo>
                    <a:pt x="12" y="247"/>
                  </a:lnTo>
                  <a:lnTo>
                    <a:pt x="22" y="259"/>
                  </a:lnTo>
                  <a:lnTo>
                    <a:pt x="32" y="270"/>
                  </a:lnTo>
                  <a:lnTo>
                    <a:pt x="41" y="281"/>
                  </a:lnTo>
                  <a:lnTo>
                    <a:pt x="48" y="294"/>
                  </a:lnTo>
                  <a:lnTo>
                    <a:pt x="55" y="305"/>
                  </a:lnTo>
                  <a:lnTo>
                    <a:pt x="60" y="317"/>
                  </a:lnTo>
                  <a:lnTo>
                    <a:pt x="66" y="329"/>
                  </a:lnTo>
                  <a:lnTo>
                    <a:pt x="71" y="341"/>
                  </a:lnTo>
                  <a:lnTo>
                    <a:pt x="75" y="355"/>
                  </a:lnTo>
                  <a:lnTo>
                    <a:pt x="79" y="369"/>
                  </a:lnTo>
                  <a:lnTo>
                    <a:pt x="82" y="384"/>
                  </a:lnTo>
                  <a:lnTo>
                    <a:pt x="88" y="417"/>
                  </a:lnTo>
                  <a:lnTo>
                    <a:pt x="93" y="45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1" name="Freeform 240">
              <a:extLst>
                <a:ext uri="{FF2B5EF4-FFF2-40B4-BE49-F238E27FC236}">
                  <a16:creationId xmlns:a16="http://schemas.microsoft.com/office/drawing/2014/main" id="{CDA58F99-3BBA-4359-9D14-8CEB2D08DF1D}"/>
                </a:ext>
              </a:extLst>
            </p:cNvPr>
            <p:cNvSpPr>
              <a:spLocks/>
            </p:cNvSpPr>
            <p:nvPr>
              <p:custDataLst>
                <p:tags r:id="rId167"/>
              </p:custDataLst>
            </p:nvPr>
          </p:nvSpPr>
          <p:spPr bwMode="auto">
            <a:xfrm>
              <a:off x="3579809" y="2790803"/>
              <a:ext cx="231775" cy="215899"/>
            </a:xfrm>
            <a:custGeom>
              <a:avLst/>
              <a:gdLst>
                <a:gd name="T0" fmla="*/ 145866 w 518"/>
                <a:gd name="T1" fmla="*/ 58495 h 406"/>
                <a:gd name="T2" fmla="*/ 145866 w 518"/>
                <a:gd name="T3" fmla="*/ 137729 h 406"/>
                <a:gd name="T4" fmla="*/ 140944 w 518"/>
                <a:gd name="T5" fmla="*/ 140388 h 406"/>
                <a:gd name="T6" fmla="*/ 130206 w 518"/>
                <a:gd name="T7" fmla="*/ 144111 h 406"/>
                <a:gd name="T8" fmla="*/ 110071 w 518"/>
                <a:gd name="T9" fmla="*/ 150492 h 406"/>
                <a:gd name="T10" fmla="*/ 113203 w 518"/>
                <a:gd name="T11" fmla="*/ 160596 h 406"/>
                <a:gd name="T12" fmla="*/ 118572 w 518"/>
                <a:gd name="T13" fmla="*/ 173358 h 406"/>
                <a:gd name="T14" fmla="*/ 120362 w 518"/>
                <a:gd name="T15" fmla="*/ 187716 h 406"/>
                <a:gd name="T16" fmla="*/ 121704 w 518"/>
                <a:gd name="T17" fmla="*/ 203137 h 406"/>
                <a:gd name="T18" fmla="*/ 23267 w 518"/>
                <a:gd name="T19" fmla="*/ 209519 h 406"/>
                <a:gd name="T20" fmla="*/ 9844 w 518"/>
                <a:gd name="T21" fmla="*/ 215900 h 406"/>
                <a:gd name="T22" fmla="*/ 2237 w 518"/>
                <a:gd name="T23" fmla="*/ 214305 h 406"/>
                <a:gd name="T24" fmla="*/ 447 w 518"/>
                <a:gd name="T25" fmla="*/ 211646 h 406"/>
                <a:gd name="T26" fmla="*/ 447 w 518"/>
                <a:gd name="T27" fmla="*/ 204733 h 406"/>
                <a:gd name="T28" fmla="*/ 1790 w 518"/>
                <a:gd name="T29" fmla="*/ 197288 h 406"/>
                <a:gd name="T30" fmla="*/ 4922 w 518"/>
                <a:gd name="T31" fmla="*/ 188248 h 406"/>
                <a:gd name="T32" fmla="*/ 8949 w 518"/>
                <a:gd name="T33" fmla="*/ 181335 h 406"/>
                <a:gd name="T34" fmla="*/ 13423 w 518"/>
                <a:gd name="T35" fmla="*/ 177612 h 406"/>
                <a:gd name="T36" fmla="*/ 17003 w 518"/>
                <a:gd name="T37" fmla="*/ 173358 h 406"/>
                <a:gd name="T38" fmla="*/ 19687 w 518"/>
                <a:gd name="T39" fmla="*/ 168572 h 406"/>
                <a:gd name="T40" fmla="*/ 21925 w 518"/>
                <a:gd name="T41" fmla="*/ 155278 h 406"/>
                <a:gd name="T42" fmla="*/ 25057 w 518"/>
                <a:gd name="T43" fmla="*/ 140920 h 406"/>
                <a:gd name="T44" fmla="*/ 27741 w 518"/>
                <a:gd name="T45" fmla="*/ 136666 h 406"/>
                <a:gd name="T46" fmla="*/ 33111 w 518"/>
                <a:gd name="T47" fmla="*/ 130816 h 406"/>
                <a:gd name="T48" fmla="*/ 41165 w 518"/>
                <a:gd name="T49" fmla="*/ 126562 h 406"/>
                <a:gd name="T50" fmla="*/ 47876 w 518"/>
                <a:gd name="T51" fmla="*/ 122840 h 406"/>
                <a:gd name="T52" fmla="*/ 54588 w 518"/>
                <a:gd name="T53" fmla="*/ 115927 h 406"/>
                <a:gd name="T54" fmla="*/ 60852 w 518"/>
                <a:gd name="T55" fmla="*/ 103696 h 406"/>
                <a:gd name="T56" fmla="*/ 67116 w 518"/>
                <a:gd name="T57" fmla="*/ 82957 h 406"/>
                <a:gd name="T58" fmla="*/ 72486 w 518"/>
                <a:gd name="T59" fmla="*/ 62217 h 406"/>
                <a:gd name="T60" fmla="*/ 76960 w 518"/>
                <a:gd name="T61" fmla="*/ 49987 h 406"/>
                <a:gd name="T62" fmla="*/ 83224 w 518"/>
                <a:gd name="T63" fmla="*/ 38819 h 406"/>
                <a:gd name="T64" fmla="*/ 89936 w 518"/>
                <a:gd name="T65" fmla="*/ 32970 h 406"/>
                <a:gd name="T66" fmla="*/ 95305 w 518"/>
                <a:gd name="T67" fmla="*/ 30311 h 406"/>
                <a:gd name="T68" fmla="*/ 97990 w 518"/>
                <a:gd name="T69" fmla="*/ 23398 h 406"/>
                <a:gd name="T70" fmla="*/ 99780 w 518"/>
                <a:gd name="T71" fmla="*/ 14890 h 406"/>
                <a:gd name="T72" fmla="*/ 102017 w 518"/>
                <a:gd name="T73" fmla="*/ 8508 h 406"/>
                <a:gd name="T74" fmla="*/ 106939 w 518"/>
                <a:gd name="T75" fmla="*/ 4254 h 406"/>
                <a:gd name="T76" fmla="*/ 228643 w 518"/>
                <a:gd name="T77" fmla="*/ 0 h 406"/>
                <a:gd name="T78" fmla="*/ 230433 w 518"/>
                <a:gd name="T79" fmla="*/ 24462 h 406"/>
                <a:gd name="T80" fmla="*/ 231775 w 518"/>
                <a:gd name="T81" fmla="*/ 58495 h 40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518" h="406">
                  <a:moveTo>
                    <a:pt x="518" y="110"/>
                  </a:moveTo>
                  <a:lnTo>
                    <a:pt x="326" y="110"/>
                  </a:lnTo>
                  <a:lnTo>
                    <a:pt x="312" y="104"/>
                  </a:lnTo>
                  <a:lnTo>
                    <a:pt x="326" y="259"/>
                  </a:lnTo>
                  <a:lnTo>
                    <a:pt x="323" y="261"/>
                  </a:lnTo>
                  <a:lnTo>
                    <a:pt x="315" y="264"/>
                  </a:lnTo>
                  <a:lnTo>
                    <a:pt x="304" y="267"/>
                  </a:lnTo>
                  <a:lnTo>
                    <a:pt x="291" y="271"/>
                  </a:lnTo>
                  <a:lnTo>
                    <a:pt x="263" y="277"/>
                  </a:lnTo>
                  <a:lnTo>
                    <a:pt x="246" y="283"/>
                  </a:lnTo>
                  <a:lnTo>
                    <a:pt x="250" y="292"/>
                  </a:lnTo>
                  <a:lnTo>
                    <a:pt x="253" y="302"/>
                  </a:lnTo>
                  <a:lnTo>
                    <a:pt x="258" y="314"/>
                  </a:lnTo>
                  <a:lnTo>
                    <a:pt x="265" y="326"/>
                  </a:lnTo>
                  <a:lnTo>
                    <a:pt x="267" y="335"/>
                  </a:lnTo>
                  <a:lnTo>
                    <a:pt x="269" y="353"/>
                  </a:lnTo>
                  <a:lnTo>
                    <a:pt x="271" y="373"/>
                  </a:lnTo>
                  <a:lnTo>
                    <a:pt x="272" y="382"/>
                  </a:lnTo>
                  <a:lnTo>
                    <a:pt x="67" y="382"/>
                  </a:lnTo>
                  <a:lnTo>
                    <a:pt x="52" y="394"/>
                  </a:lnTo>
                  <a:lnTo>
                    <a:pt x="39" y="406"/>
                  </a:lnTo>
                  <a:lnTo>
                    <a:pt x="22" y="406"/>
                  </a:lnTo>
                  <a:lnTo>
                    <a:pt x="10" y="404"/>
                  </a:lnTo>
                  <a:lnTo>
                    <a:pt x="5" y="403"/>
                  </a:lnTo>
                  <a:lnTo>
                    <a:pt x="2" y="401"/>
                  </a:lnTo>
                  <a:lnTo>
                    <a:pt x="1" y="398"/>
                  </a:lnTo>
                  <a:lnTo>
                    <a:pt x="0" y="394"/>
                  </a:lnTo>
                  <a:lnTo>
                    <a:pt x="1" y="385"/>
                  </a:lnTo>
                  <a:lnTo>
                    <a:pt x="2" y="378"/>
                  </a:lnTo>
                  <a:lnTo>
                    <a:pt x="4" y="371"/>
                  </a:lnTo>
                  <a:lnTo>
                    <a:pt x="6" y="365"/>
                  </a:lnTo>
                  <a:lnTo>
                    <a:pt x="11" y="354"/>
                  </a:lnTo>
                  <a:lnTo>
                    <a:pt x="13" y="344"/>
                  </a:lnTo>
                  <a:lnTo>
                    <a:pt x="20" y="341"/>
                  </a:lnTo>
                  <a:lnTo>
                    <a:pt x="26" y="337"/>
                  </a:lnTo>
                  <a:lnTo>
                    <a:pt x="30" y="334"/>
                  </a:lnTo>
                  <a:lnTo>
                    <a:pt x="35" y="330"/>
                  </a:lnTo>
                  <a:lnTo>
                    <a:pt x="38" y="326"/>
                  </a:lnTo>
                  <a:lnTo>
                    <a:pt x="41" y="321"/>
                  </a:lnTo>
                  <a:lnTo>
                    <a:pt x="44" y="317"/>
                  </a:lnTo>
                  <a:lnTo>
                    <a:pt x="46" y="313"/>
                  </a:lnTo>
                  <a:lnTo>
                    <a:pt x="49" y="292"/>
                  </a:lnTo>
                  <a:lnTo>
                    <a:pt x="52" y="271"/>
                  </a:lnTo>
                  <a:lnTo>
                    <a:pt x="56" y="265"/>
                  </a:lnTo>
                  <a:lnTo>
                    <a:pt x="59" y="261"/>
                  </a:lnTo>
                  <a:lnTo>
                    <a:pt x="62" y="257"/>
                  </a:lnTo>
                  <a:lnTo>
                    <a:pt x="66" y="253"/>
                  </a:lnTo>
                  <a:lnTo>
                    <a:pt x="74" y="246"/>
                  </a:lnTo>
                  <a:lnTo>
                    <a:pt x="83" y="242"/>
                  </a:lnTo>
                  <a:lnTo>
                    <a:pt x="92" y="238"/>
                  </a:lnTo>
                  <a:lnTo>
                    <a:pt x="100" y="235"/>
                  </a:lnTo>
                  <a:lnTo>
                    <a:pt x="107" y="231"/>
                  </a:lnTo>
                  <a:lnTo>
                    <a:pt x="113" y="227"/>
                  </a:lnTo>
                  <a:lnTo>
                    <a:pt x="122" y="218"/>
                  </a:lnTo>
                  <a:lnTo>
                    <a:pt x="129" y="207"/>
                  </a:lnTo>
                  <a:lnTo>
                    <a:pt x="136" y="195"/>
                  </a:lnTo>
                  <a:lnTo>
                    <a:pt x="141" y="182"/>
                  </a:lnTo>
                  <a:lnTo>
                    <a:pt x="150" y="156"/>
                  </a:lnTo>
                  <a:lnTo>
                    <a:pt x="158" y="129"/>
                  </a:lnTo>
                  <a:lnTo>
                    <a:pt x="162" y="117"/>
                  </a:lnTo>
                  <a:lnTo>
                    <a:pt x="168" y="105"/>
                  </a:lnTo>
                  <a:lnTo>
                    <a:pt x="172" y="94"/>
                  </a:lnTo>
                  <a:lnTo>
                    <a:pt x="179" y="83"/>
                  </a:lnTo>
                  <a:lnTo>
                    <a:pt x="186" y="73"/>
                  </a:lnTo>
                  <a:lnTo>
                    <a:pt x="195" y="66"/>
                  </a:lnTo>
                  <a:lnTo>
                    <a:pt x="201" y="62"/>
                  </a:lnTo>
                  <a:lnTo>
                    <a:pt x="206" y="59"/>
                  </a:lnTo>
                  <a:lnTo>
                    <a:pt x="213" y="57"/>
                  </a:lnTo>
                  <a:lnTo>
                    <a:pt x="219" y="55"/>
                  </a:lnTo>
                  <a:lnTo>
                    <a:pt x="219" y="44"/>
                  </a:lnTo>
                  <a:lnTo>
                    <a:pt x="220" y="36"/>
                  </a:lnTo>
                  <a:lnTo>
                    <a:pt x="223" y="28"/>
                  </a:lnTo>
                  <a:lnTo>
                    <a:pt x="225" y="21"/>
                  </a:lnTo>
                  <a:lnTo>
                    <a:pt x="228" y="16"/>
                  </a:lnTo>
                  <a:lnTo>
                    <a:pt x="233" y="11"/>
                  </a:lnTo>
                  <a:lnTo>
                    <a:pt x="239" y="8"/>
                  </a:lnTo>
                  <a:lnTo>
                    <a:pt x="246" y="6"/>
                  </a:lnTo>
                  <a:lnTo>
                    <a:pt x="511" y="0"/>
                  </a:lnTo>
                  <a:lnTo>
                    <a:pt x="513" y="13"/>
                  </a:lnTo>
                  <a:lnTo>
                    <a:pt x="515" y="46"/>
                  </a:lnTo>
                  <a:lnTo>
                    <a:pt x="517" y="83"/>
                  </a:lnTo>
                  <a:lnTo>
                    <a:pt x="518" y="11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2" name="Freeform 241">
              <a:extLst>
                <a:ext uri="{FF2B5EF4-FFF2-40B4-BE49-F238E27FC236}">
                  <a16:creationId xmlns:a16="http://schemas.microsoft.com/office/drawing/2014/main" id="{8EC3419F-1E23-4030-885D-5577E727B414}"/>
                </a:ext>
              </a:extLst>
            </p:cNvPr>
            <p:cNvSpPr>
              <a:spLocks/>
            </p:cNvSpPr>
            <p:nvPr>
              <p:custDataLst>
                <p:tags r:id="rId168"/>
              </p:custDataLst>
            </p:nvPr>
          </p:nvSpPr>
          <p:spPr bwMode="auto">
            <a:xfrm>
              <a:off x="3548059" y="1598601"/>
              <a:ext cx="190500" cy="93661"/>
            </a:xfrm>
            <a:custGeom>
              <a:avLst/>
              <a:gdLst>
                <a:gd name="T0" fmla="*/ 14522 w 446"/>
                <a:gd name="T1" fmla="*/ 32098 h 178"/>
                <a:gd name="T2" fmla="*/ 17512 w 446"/>
                <a:gd name="T3" fmla="*/ 22100 h 178"/>
                <a:gd name="T4" fmla="*/ 29045 w 446"/>
                <a:gd name="T5" fmla="*/ 19469 h 178"/>
                <a:gd name="T6" fmla="*/ 34170 w 446"/>
                <a:gd name="T7" fmla="*/ 9471 h 178"/>
                <a:gd name="T8" fmla="*/ 30753 w 446"/>
                <a:gd name="T9" fmla="*/ 7367 h 178"/>
                <a:gd name="T10" fmla="*/ 25628 w 446"/>
                <a:gd name="T11" fmla="*/ 0 h 178"/>
                <a:gd name="T12" fmla="*/ 36306 w 446"/>
                <a:gd name="T13" fmla="*/ 5262 h 178"/>
                <a:gd name="T14" fmla="*/ 46130 w 446"/>
                <a:gd name="T15" fmla="*/ 20521 h 178"/>
                <a:gd name="T16" fmla="*/ 53391 w 446"/>
                <a:gd name="T17" fmla="*/ 32624 h 178"/>
                <a:gd name="T18" fmla="*/ 59371 w 446"/>
                <a:gd name="T19" fmla="*/ 35255 h 178"/>
                <a:gd name="T20" fmla="*/ 67059 w 446"/>
                <a:gd name="T21" fmla="*/ 33150 h 178"/>
                <a:gd name="T22" fmla="*/ 77311 w 446"/>
                <a:gd name="T23" fmla="*/ 23679 h 178"/>
                <a:gd name="T24" fmla="*/ 87562 w 446"/>
                <a:gd name="T25" fmla="*/ 12102 h 178"/>
                <a:gd name="T26" fmla="*/ 93969 w 446"/>
                <a:gd name="T27" fmla="*/ 16312 h 178"/>
                <a:gd name="T28" fmla="*/ 153340 w 446"/>
                <a:gd name="T29" fmla="*/ 5788 h 178"/>
                <a:gd name="T30" fmla="*/ 160601 w 446"/>
                <a:gd name="T31" fmla="*/ 12102 h 178"/>
                <a:gd name="T32" fmla="*/ 169143 w 446"/>
                <a:gd name="T33" fmla="*/ 11576 h 178"/>
                <a:gd name="T34" fmla="*/ 176405 w 446"/>
                <a:gd name="T35" fmla="*/ 19469 h 178"/>
                <a:gd name="T36" fmla="*/ 177259 w 446"/>
                <a:gd name="T37" fmla="*/ 22626 h 178"/>
                <a:gd name="T38" fmla="*/ 183239 w 446"/>
                <a:gd name="T39" fmla="*/ 28414 h 178"/>
                <a:gd name="T40" fmla="*/ 189219 w 446"/>
                <a:gd name="T41" fmla="*/ 35781 h 178"/>
                <a:gd name="T42" fmla="*/ 190500 w 446"/>
                <a:gd name="T43" fmla="*/ 42095 h 178"/>
                <a:gd name="T44" fmla="*/ 187083 w 446"/>
                <a:gd name="T45" fmla="*/ 50514 h 178"/>
                <a:gd name="T46" fmla="*/ 176405 w 446"/>
                <a:gd name="T47" fmla="*/ 58407 h 178"/>
                <a:gd name="T48" fmla="*/ 169571 w 446"/>
                <a:gd name="T49" fmla="*/ 63143 h 178"/>
                <a:gd name="T50" fmla="*/ 156330 w 446"/>
                <a:gd name="T51" fmla="*/ 64721 h 178"/>
                <a:gd name="T52" fmla="*/ 128139 w 446"/>
                <a:gd name="T53" fmla="*/ 76824 h 178"/>
                <a:gd name="T54" fmla="*/ 99948 w 446"/>
                <a:gd name="T55" fmla="*/ 89979 h 178"/>
                <a:gd name="T56" fmla="*/ 84999 w 446"/>
                <a:gd name="T57" fmla="*/ 93662 h 178"/>
                <a:gd name="T58" fmla="*/ 75602 w 446"/>
                <a:gd name="T59" fmla="*/ 91557 h 178"/>
                <a:gd name="T60" fmla="*/ 73466 w 446"/>
                <a:gd name="T61" fmla="*/ 86295 h 178"/>
                <a:gd name="T62" fmla="*/ 72612 w 446"/>
                <a:gd name="T63" fmla="*/ 84717 h 178"/>
                <a:gd name="T64" fmla="*/ 66632 w 446"/>
                <a:gd name="T65" fmla="*/ 84717 h 178"/>
                <a:gd name="T66" fmla="*/ 59371 w 446"/>
                <a:gd name="T67" fmla="*/ 84191 h 178"/>
                <a:gd name="T68" fmla="*/ 42713 w 446"/>
                <a:gd name="T69" fmla="*/ 77350 h 178"/>
                <a:gd name="T70" fmla="*/ 36306 w 446"/>
                <a:gd name="T71" fmla="*/ 72088 h 178"/>
                <a:gd name="T72" fmla="*/ 34598 w 446"/>
                <a:gd name="T73" fmla="*/ 65774 h 178"/>
                <a:gd name="T74" fmla="*/ 37160 w 446"/>
                <a:gd name="T75" fmla="*/ 58407 h 178"/>
                <a:gd name="T76" fmla="*/ 11533 w 446"/>
                <a:gd name="T77" fmla="*/ 54198 h 178"/>
                <a:gd name="T78" fmla="*/ 3844 w 446"/>
                <a:gd name="T79" fmla="*/ 55250 h 178"/>
                <a:gd name="T80" fmla="*/ 0 w 446"/>
                <a:gd name="T81" fmla="*/ 42095 h 178"/>
                <a:gd name="T82" fmla="*/ 25628 w 446"/>
                <a:gd name="T83" fmla="*/ 45252 h 178"/>
                <a:gd name="T84" fmla="*/ 37160 w 446"/>
                <a:gd name="T85" fmla="*/ 42095 h 178"/>
                <a:gd name="T86" fmla="*/ 9824 w 446"/>
                <a:gd name="T87" fmla="*/ 35781 h 178"/>
                <a:gd name="T88" fmla="*/ 6834 w 446"/>
                <a:gd name="T89" fmla="*/ 28941 h 178"/>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46" h="178">
                  <a:moveTo>
                    <a:pt x="27" y="43"/>
                  </a:moveTo>
                  <a:lnTo>
                    <a:pt x="31" y="52"/>
                  </a:lnTo>
                  <a:lnTo>
                    <a:pt x="34" y="61"/>
                  </a:lnTo>
                  <a:lnTo>
                    <a:pt x="37" y="53"/>
                  </a:lnTo>
                  <a:lnTo>
                    <a:pt x="40" y="47"/>
                  </a:lnTo>
                  <a:lnTo>
                    <a:pt x="41" y="42"/>
                  </a:lnTo>
                  <a:lnTo>
                    <a:pt x="41" y="37"/>
                  </a:lnTo>
                  <a:lnTo>
                    <a:pt x="55" y="37"/>
                  </a:lnTo>
                  <a:lnTo>
                    <a:pt x="68" y="37"/>
                  </a:lnTo>
                  <a:lnTo>
                    <a:pt x="77" y="37"/>
                  </a:lnTo>
                  <a:lnTo>
                    <a:pt x="80" y="37"/>
                  </a:lnTo>
                  <a:lnTo>
                    <a:pt x="80" y="18"/>
                  </a:lnTo>
                  <a:lnTo>
                    <a:pt x="78" y="17"/>
                  </a:lnTo>
                  <a:lnTo>
                    <a:pt x="75" y="16"/>
                  </a:lnTo>
                  <a:lnTo>
                    <a:pt x="72" y="14"/>
                  </a:lnTo>
                  <a:lnTo>
                    <a:pt x="70" y="11"/>
                  </a:lnTo>
                  <a:lnTo>
                    <a:pt x="65" y="5"/>
                  </a:lnTo>
                  <a:lnTo>
                    <a:pt x="60" y="0"/>
                  </a:lnTo>
                  <a:lnTo>
                    <a:pt x="69" y="3"/>
                  </a:lnTo>
                  <a:lnTo>
                    <a:pt x="78" y="6"/>
                  </a:lnTo>
                  <a:lnTo>
                    <a:pt x="85" y="10"/>
                  </a:lnTo>
                  <a:lnTo>
                    <a:pt x="90" y="15"/>
                  </a:lnTo>
                  <a:lnTo>
                    <a:pt x="100" y="27"/>
                  </a:lnTo>
                  <a:lnTo>
                    <a:pt x="108" y="39"/>
                  </a:lnTo>
                  <a:lnTo>
                    <a:pt x="114" y="49"/>
                  </a:lnTo>
                  <a:lnTo>
                    <a:pt x="121" y="59"/>
                  </a:lnTo>
                  <a:lnTo>
                    <a:pt x="125" y="62"/>
                  </a:lnTo>
                  <a:lnTo>
                    <a:pt x="130" y="65"/>
                  </a:lnTo>
                  <a:lnTo>
                    <a:pt x="134" y="67"/>
                  </a:lnTo>
                  <a:lnTo>
                    <a:pt x="139" y="67"/>
                  </a:lnTo>
                  <a:lnTo>
                    <a:pt x="146" y="67"/>
                  </a:lnTo>
                  <a:lnTo>
                    <a:pt x="152" y="66"/>
                  </a:lnTo>
                  <a:lnTo>
                    <a:pt x="157" y="63"/>
                  </a:lnTo>
                  <a:lnTo>
                    <a:pt x="163" y="61"/>
                  </a:lnTo>
                  <a:lnTo>
                    <a:pt x="172" y="54"/>
                  </a:lnTo>
                  <a:lnTo>
                    <a:pt x="181" y="45"/>
                  </a:lnTo>
                  <a:lnTo>
                    <a:pt x="190" y="37"/>
                  </a:lnTo>
                  <a:lnTo>
                    <a:pt x="198" y="29"/>
                  </a:lnTo>
                  <a:lnTo>
                    <a:pt x="205" y="23"/>
                  </a:lnTo>
                  <a:lnTo>
                    <a:pt x="213" y="18"/>
                  </a:lnTo>
                  <a:lnTo>
                    <a:pt x="216" y="25"/>
                  </a:lnTo>
                  <a:lnTo>
                    <a:pt x="220" y="31"/>
                  </a:lnTo>
                  <a:lnTo>
                    <a:pt x="293" y="31"/>
                  </a:lnTo>
                  <a:lnTo>
                    <a:pt x="352" y="6"/>
                  </a:lnTo>
                  <a:lnTo>
                    <a:pt x="359" y="11"/>
                  </a:lnTo>
                  <a:lnTo>
                    <a:pt x="367" y="17"/>
                  </a:lnTo>
                  <a:lnTo>
                    <a:pt x="371" y="21"/>
                  </a:lnTo>
                  <a:lnTo>
                    <a:pt x="376" y="23"/>
                  </a:lnTo>
                  <a:lnTo>
                    <a:pt x="381" y="24"/>
                  </a:lnTo>
                  <a:lnTo>
                    <a:pt x="385" y="25"/>
                  </a:lnTo>
                  <a:lnTo>
                    <a:pt x="396" y="22"/>
                  </a:lnTo>
                  <a:lnTo>
                    <a:pt x="413" y="18"/>
                  </a:lnTo>
                  <a:lnTo>
                    <a:pt x="413" y="28"/>
                  </a:lnTo>
                  <a:lnTo>
                    <a:pt x="413" y="37"/>
                  </a:lnTo>
                  <a:lnTo>
                    <a:pt x="413" y="39"/>
                  </a:lnTo>
                  <a:lnTo>
                    <a:pt x="414" y="41"/>
                  </a:lnTo>
                  <a:lnTo>
                    <a:pt x="415" y="43"/>
                  </a:lnTo>
                  <a:lnTo>
                    <a:pt x="417" y="45"/>
                  </a:lnTo>
                  <a:lnTo>
                    <a:pt x="423" y="49"/>
                  </a:lnTo>
                  <a:lnTo>
                    <a:pt x="429" y="54"/>
                  </a:lnTo>
                  <a:lnTo>
                    <a:pt x="435" y="59"/>
                  </a:lnTo>
                  <a:lnTo>
                    <a:pt x="440" y="64"/>
                  </a:lnTo>
                  <a:lnTo>
                    <a:pt x="443" y="68"/>
                  </a:lnTo>
                  <a:lnTo>
                    <a:pt x="444" y="71"/>
                  </a:lnTo>
                  <a:lnTo>
                    <a:pt x="445" y="76"/>
                  </a:lnTo>
                  <a:lnTo>
                    <a:pt x="446" y="80"/>
                  </a:lnTo>
                  <a:lnTo>
                    <a:pt x="445" y="87"/>
                  </a:lnTo>
                  <a:lnTo>
                    <a:pt x="443" y="92"/>
                  </a:lnTo>
                  <a:lnTo>
                    <a:pt x="438" y="96"/>
                  </a:lnTo>
                  <a:lnTo>
                    <a:pt x="434" y="100"/>
                  </a:lnTo>
                  <a:lnTo>
                    <a:pt x="423" y="106"/>
                  </a:lnTo>
                  <a:lnTo>
                    <a:pt x="413" y="111"/>
                  </a:lnTo>
                  <a:lnTo>
                    <a:pt x="407" y="115"/>
                  </a:lnTo>
                  <a:lnTo>
                    <a:pt x="402" y="118"/>
                  </a:lnTo>
                  <a:lnTo>
                    <a:pt x="397" y="120"/>
                  </a:lnTo>
                  <a:lnTo>
                    <a:pt x="392" y="121"/>
                  </a:lnTo>
                  <a:lnTo>
                    <a:pt x="380" y="123"/>
                  </a:lnTo>
                  <a:lnTo>
                    <a:pt x="366" y="123"/>
                  </a:lnTo>
                  <a:lnTo>
                    <a:pt x="344" y="129"/>
                  </a:lnTo>
                  <a:lnTo>
                    <a:pt x="322" y="137"/>
                  </a:lnTo>
                  <a:lnTo>
                    <a:pt x="300" y="146"/>
                  </a:lnTo>
                  <a:lnTo>
                    <a:pt x="279" y="156"/>
                  </a:lnTo>
                  <a:lnTo>
                    <a:pt x="257" y="164"/>
                  </a:lnTo>
                  <a:lnTo>
                    <a:pt x="234" y="171"/>
                  </a:lnTo>
                  <a:lnTo>
                    <a:pt x="223" y="174"/>
                  </a:lnTo>
                  <a:lnTo>
                    <a:pt x="211" y="176"/>
                  </a:lnTo>
                  <a:lnTo>
                    <a:pt x="199" y="178"/>
                  </a:lnTo>
                  <a:lnTo>
                    <a:pt x="187" y="178"/>
                  </a:lnTo>
                  <a:lnTo>
                    <a:pt x="181" y="177"/>
                  </a:lnTo>
                  <a:lnTo>
                    <a:pt x="177" y="174"/>
                  </a:lnTo>
                  <a:lnTo>
                    <a:pt x="175" y="171"/>
                  </a:lnTo>
                  <a:lnTo>
                    <a:pt x="173" y="166"/>
                  </a:lnTo>
                  <a:lnTo>
                    <a:pt x="172" y="164"/>
                  </a:lnTo>
                  <a:lnTo>
                    <a:pt x="172" y="163"/>
                  </a:lnTo>
                  <a:lnTo>
                    <a:pt x="171" y="162"/>
                  </a:lnTo>
                  <a:lnTo>
                    <a:pt x="170" y="161"/>
                  </a:lnTo>
                  <a:lnTo>
                    <a:pt x="166" y="161"/>
                  </a:lnTo>
                  <a:lnTo>
                    <a:pt x="161" y="161"/>
                  </a:lnTo>
                  <a:lnTo>
                    <a:pt x="156" y="161"/>
                  </a:lnTo>
                  <a:lnTo>
                    <a:pt x="150" y="162"/>
                  </a:lnTo>
                  <a:lnTo>
                    <a:pt x="145" y="162"/>
                  </a:lnTo>
                  <a:lnTo>
                    <a:pt x="139" y="160"/>
                  </a:lnTo>
                  <a:lnTo>
                    <a:pt x="125" y="156"/>
                  </a:lnTo>
                  <a:lnTo>
                    <a:pt x="112" y="152"/>
                  </a:lnTo>
                  <a:lnTo>
                    <a:pt x="100" y="147"/>
                  </a:lnTo>
                  <a:lnTo>
                    <a:pt x="91" y="143"/>
                  </a:lnTo>
                  <a:lnTo>
                    <a:pt x="87" y="140"/>
                  </a:lnTo>
                  <a:lnTo>
                    <a:pt x="85" y="137"/>
                  </a:lnTo>
                  <a:lnTo>
                    <a:pt x="82" y="134"/>
                  </a:lnTo>
                  <a:lnTo>
                    <a:pt x="81" y="129"/>
                  </a:lnTo>
                  <a:lnTo>
                    <a:pt x="81" y="125"/>
                  </a:lnTo>
                  <a:lnTo>
                    <a:pt x="81" y="121"/>
                  </a:lnTo>
                  <a:lnTo>
                    <a:pt x="83" y="116"/>
                  </a:lnTo>
                  <a:lnTo>
                    <a:pt x="87" y="111"/>
                  </a:lnTo>
                  <a:lnTo>
                    <a:pt x="63" y="108"/>
                  </a:lnTo>
                  <a:lnTo>
                    <a:pt x="38" y="104"/>
                  </a:lnTo>
                  <a:lnTo>
                    <a:pt x="27" y="103"/>
                  </a:lnTo>
                  <a:lnTo>
                    <a:pt x="18" y="103"/>
                  </a:lnTo>
                  <a:lnTo>
                    <a:pt x="13" y="104"/>
                  </a:lnTo>
                  <a:lnTo>
                    <a:pt x="9" y="105"/>
                  </a:lnTo>
                  <a:lnTo>
                    <a:pt x="4" y="108"/>
                  </a:lnTo>
                  <a:lnTo>
                    <a:pt x="0" y="111"/>
                  </a:lnTo>
                  <a:lnTo>
                    <a:pt x="0" y="80"/>
                  </a:lnTo>
                  <a:lnTo>
                    <a:pt x="30" y="82"/>
                  </a:lnTo>
                  <a:lnTo>
                    <a:pt x="51" y="85"/>
                  </a:lnTo>
                  <a:lnTo>
                    <a:pt x="60" y="86"/>
                  </a:lnTo>
                  <a:lnTo>
                    <a:pt x="68" y="86"/>
                  </a:lnTo>
                  <a:lnTo>
                    <a:pt x="77" y="84"/>
                  </a:lnTo>
                  <a:lnTo>
                    <a:pt x="87" y="80"/>
                  </a:lnTo>
                  <a:lnTo>
                    <a:pt x="64" y="76"/>
                  </a:lnTo>
                  <a:lnTo>
                    <a:pt x="44" y="71"/>
                  </a:lnTo>
                  <a:lnTo>
                    <a:pt x="23" y="68"/>
                  </a:lnTo>
                  <a:lnTo>
                    <a:pt x="0" y="67"/>
                  </a:lnTo>
                  <a:lnTo>
                    <a:pt x="9" y="62"/>
                  </a:lnTo>
                  <a:lnTo>
                    <a:pt x="16" y="55"/>
                  </a:lnTo>
                  <a:lnTo>
                    <a:pt x="22" y="49"/>
                  </a:lnTo>
                  <a:lnTo>
                    <a:pt x="27"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3" name="Freeform 242">
              <a:extLst>
                <a:ext uri="{FF2B5EF4-FFF2-40B4-BE49-F238E27FC236}">
                  <a16:creationId xmlns:a16="http://schemas.microsoft.com/office/drawing/2014/main" id="{22133FF0-C405-433D-960D-ACCF1429E516}"/>
                </a:ext>
              </a:extLst>
            </p:cNvPr>
            <p:cNvSpPr>
              <a:spLocks/>
            </p:cNvSpPr>
            <p:nvPr>
              <p:custDataLst>
                <p:tags r:id="rId169"/>
              </p:custDataLst>
            </p:nvPr>
          </p:nvSpPr>
          <p:spPr bwMode="auto">
            <a:xfrm>
              <a:off x="4340219" y="1862124"/>
              <a:ext cx="14288" cy="57150"/>
            </a:xfrm>
            <a:custGeom>
              <a:avLst/>
              <a:gdLst>
                <a:gd name="T0" fmla="*/ 0 w 28"/>
                <a:gd name="T1" fmla="*/ 57150 h 73"/>
                <a:gd name="T2" fmla="*/ 1021 w 28"/>
                <a:gd name="T3" fmla="*/ 36795 h 73"/>
                <a:gd name="T4" fmla="*/ 3062 w 28"/>
                <a:gd name="T5" fmla="*/ 21921 h 73"/>
                <a:gd name="T6" fmla="*/ 3572 w 28"/>
                <a:gd name="T7" fmla="*/ 15658 h 73"/>
                <a:gd name="T8" fmla="*/ 3062 w 28"/>
                <a:gd name="T9" fmla="*/ 10177 h 73"/>
                <a:gd name="T10" fmla="*/ 2041 w 28"/>
                <a:gd name="T11" fmla="*/ 5480 h 73"/>
                <a:gd name="T12" fmla="*/ 0 w 28"/>
                <a:gd name="T13" fmla="*/ 0 h 73"/>
                <a:gd name="T14" fmla="*/ 14288 w 28"/>
                <a:gd name="T15" fmla="*/ 0 h 73"/>
                <a:gd name="T16" fmla="*/ 11226 w 28"/>
                <a:gd name="T17" fmla="*/ 12526 h 73"/>
                <a:gd name="T18" fmla="*/ 8675 w 28"/>
                <a:gd name="T19" fmla="*/ 23486 h 73"/>
                <a:gd name="T20" fmla="*/ 6123 w 28"/>
                <a:gd name="T21" fmla="*/ 33664 h 73"/>
                <a:gd name="T22" fmla="*/ 3572 w 28"/>
                <a:gd name="T23" fmla="*/ 43058 h 73"/>
                <a:gd name="T24" fmla="*/ 0 w 28"/>
                <a:gd name="T25" fmla="*/ 57150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4" name="Freeform 243">
              <a:extLst>
                <a:ext uri="{FF2B5EF4-FFF2-40B4-BE49-F238E27FC236}">
                  <a16:creationId xmlns:a16="http://schemas.microsoft.com/office/drawing/2014/main" id="{FD8402BA-3F6A-490D-BAD9-2D4565723483}"/>
                </a:ext>
              </a:extLst>
            </p:cNvPr>
            <p:cNvSpPr>
              <a:spLocks/>
            </p:cNvSpPr>
            <p:nvPr>
              <p:custDataLst>
                <p:tags r:id="rId170"/>
              </p:custDataLst>
            </p:nvPr>
          </p:nvSpPr>
          <p:spPr bwMode="auto">
            <a:xfrm>
              <a:off x="4227508" y="1525576"/>
              <a:ext cx="234950" cy="395284"/>
            </a:xfrm>
            <a:custGeom>
              <a:avLst/>
              <a:gdLst>
                <a:gd name="T0" fmla="*/ 185394 w 531"/>
                <a:gd name="T1" fmla="*/ 106002 h 757"/>
                <a:gd name="T2" fmla="*/ 179642 w 531"/>
                <a:gd name="T3" fmla="*/ 115401 h 757"/>
                <a:gd name="T4" fmla="*/ 178757 w 531"/>
                <a:gd name="T5" fmla="*/ 123756 h 757"/>
                <a:gd name="T6" fmla="*/ 169022 w 531"/>
                <a:gd name="T7" fmla="*/ 143598 h 757"/>
                <a:gd name="T8" fmla="*/ 143802 w 531"/>
                <a:gd name="T9" fmla="*/ 159786 h 757"/>
                <a:gd name="T10" fmla="*/ 111502 w 531"/>
                <a:gd name="T11" fmla="*/ 184850 h 757"/>
                <a:gd name="T12" fmla="*/ 104865 w 531"/>
                <a:gd name="T13" fmla="*/ 192683 h 757"/>
                <a:gd name="T14" fmla="*/ 108404 w 531"/>
                <a:gd name="T15" fmla="*/ 198949 h 757"/>
                <a:gd name="T16" fmla="*/ 106192 w 531"/>
                <a:gd name="T17" fmla="*/ 221402 h 757"/>
                <a:gd name="T18" fmla="*/ 105750 w 531"/>
                <a:gd name="T19" fmla="*/ 234457 h 757"/>
                <a:gd name="T20" fmla="*/ 115926 w 531"/>
                <a:gd name="T21" fmla="*/ 244378 h 757"/>
                <a:gd name="T22" fmla="*/ 141589 w 531"/>
                <a:gd name="T23" fmla="*/ 253255 h 757"/>
                <a:gd name="T24" fmla="*/ 146899 w 531"/>
                <a:gd name="T25" fmla="*/ 263699 h 757"/>
                <a:gd name="T26" fmla="*/ 137165 w 531"/>
                <a:gd name="T27" fmla="*/ 277275 h 757"/>
                <a:gd name="T28" fmla="*/ 120351 w 531"/>
                <a:gd name="T29" fmla="*/ 285630 h 757"/>
                <a:gd name="T30" fmla="*/ 117254 w 531"/>
                <a:gd name="T31" fmla="*/ 292418 h 757"/>
                <a:gd name="T32" fmla="*/ 111502 w 531"/>
                <a:gd name="T33" fmla="*/ 329493 h 757"/>
                <a:gd name="T34" fmla="*/ 105750 w 531"/>
                <a:gd name="T35" fmla="*/ 376489 h 757"/>
                <a:gd name="T36" fmla="*/ 76547 w 531"/>
                <a:gd name="T37" fmla="*/ 379622 h 757"/>
                <a:gd name="T38" fmla="*/ 67255 w 531"/>
                <a:gd name="T39" fmla="*/ 385366 h 757"/>
                <a:gd name="T40" fmla="*/ 67697 w 531"/>
                <a:gd name="T41" fmla="*/ 395287 h 757"/>
                <a:gd name="T42" fmla="*/ 46902 w 531"/>
                <a:gd name="T43" fmla="*/ 395287 h 757"/>
                <a:gd name="T44" fmla="*/ 42034 w 531"/>
                <a:gd name="T45" fmla="*/ 392676 h 757"/>
                <a:gd name="T46" fmla="*/ 31415 w 531"/>
                <a:gd name="T47" fmla="*/ 374922 h 757"/>
                <a:gd name="T48" fmla="*/ 18141 w 531"/>
                <a:gd name="T49" fmla="*/ 334192 h 757"/>
                <a:gd name="T50" fmla="*/ 15044 w 531"/>
                <a:gd name="T51" fmla="*/ 311739 h 757"/>
                <a:gd name="T52" fmla="*/ 6195 w 531"/>
                <a:gd name="T53" fmla="*/ 305995 h 757"/>
                <a:gd name="T54" fmla="*/ 8407 w 531"/>
                <a:gd name="T55" fmla="*/ 292941 h 757"/>
                <a:gd name="T56" fmla="*/ 15929 w 531"/>
                <a:gd name="T57" fmla="*/ 280931 h 757"/>
                <a:gd name="T58" fmla="*/ 23451 w 531"/>
                <a:gd name="T59" fmla="*/ 263177 h 757"/>
                <a:gd name="T60" fmla="*/ 26990 w 531"/>
                <a:gd name="T61" fmla="*/ 245945 h 757"/>
                <a:gd name="T62" fmla="*/ 28318 w 531"/>
                <a:gd name="T63" fmla="*/ 230279 h 757"/>
                <a:gd name="T64" fmla="*/ 25663 w 531"/>
                <a:gd name="T65" fmla="*/ 213048 h 757"/>
                <a:gd name="T66" fmla="*/ 19026 w 531"/>
                <a:gd name="T67" fmla="*/ 196860 h 757"/>
                <a:gd name="T68" fmla="*/ 32743 w 531"/>
                <a:gd name="T69" fmla="*/ 144120 h 757"/>
                <a:gd name="T70" fmla="*/ 45574 w 531"/>
                <a:gd name="T71" fmla="*/ 143598 h 757"/>
                <a:gd name="T72" fmla="*/ 49999 w 531"/>
                <a:gd name="T73" fmla="*/ 122189 h 757"/>
                <a:gd name="T74" fmla="*/ 60618 w 531"/>
                <a:gd name="T75" fmla="*/ 100258 h 757"/>
                <a:gd name="T76" fmla="*/ 79644 w 531"/>
                <a:gd name="T77" fmla="*/ 75715 h 757"/>
                <a:gd name="T78" fmla="*/ 87608 w 531"/>
                <a:gd name="T79" fmla="*/ 57962 h 757"/>
                <a:gd name="T80" fmla="*/ 100882 w 531"/>
                <a:gd name="T81" fmla="*/ 31331 h 757"/>
                <a:gd name="T82" fmla="*/ 110174 w 531"/>
                <a:gd name="T83" fmla="*/ 22454 h 757"/>
                <a:gd name="T84" fmla="*/ 136722 w 531"/>
                <a:gd name="T85" fmla="*/ 15143 h 757"/>
                <a:gd name="T86" fmla="*/ 162828 w 531"/>
                <a:gd name="T87" fmla="*/ 6788 h 757"/>
                <a:gd name="T88" fmla="*/ 177429 w 531"/>
                <a:gd name="T89" fmla="*/ 2611 h 757"/>
                <a:gd name="T90" fmla="*/ 190703 w 531"/>
                <a:gd name="T91" fmla="*/ 16710 h 757"/>
                <a:gd name="T92" fmla="*/ 202207 w 531"/>
                <a:gd name="T93" fmla="*/ 21931 h 757"/>
                <a:gd name="T94" fmla="*/ 226986 w 531"/>
                <a:gd name="T95" fmla="*/ 57962 h 757"/>
                <a:gd name="T96" fmla="*/ 233623 w 531"/>
                <a:gd name="T97" fmla="*/ 78326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5" name="Freeform 244">
              <a:extLst>
                <a:ext uri="{FF2B5EF4-FFF2-40B4-BE49-F238E27FC236}">
                  <a16:creationId xmlns:a16="http://schemas.microsoft.com/office/drawing/2014/main" id="{0B007D70-F927-46B7-8C4F-D6104A0DE4C6}"/>
                </a:ext>
              </a:extLst>
            </p:cNvPr>
            <p:cNvSpPr>
              <a:spLocks/>
            </p:cNvSpPr>
            <p:nvPr>
              <p:custDataLst>
                <p:tags r:id="rId171"/>
              </p:custDataLst>
            </p:nvPr>
          </p:nvSpPr>
          <p:spPr bwMode="auto">
            <a:xfrm>
              <a:off x="4365620" y="1839899"/>
              <a:ext cx="26988" cy="57150"/>
            </a:xfrm>
            <a:custGeom>
              <a:avLst/>
              <a:gdLst>
                <a:gd name="T0" fmla="*/ 0 w 60"/>
                <a:gd name="T1" fmla="*/ 41462 h 51"/>
                <a:gd name="T2" fmla="*/ 2699 w 60"/>
                <a:gd name="T3" fmla="*/ 33618 h 51"/>
                <a:gd name="T4" fmla="*/ 6747 w 60"/>
                <a:gd name="T5" fmla="*/ 21291 h 51"/>
                <a:gd name="T6" fmla="*/ 8996 w 60"/>
                <a:gd name="T7" fmla="*/ 14568 h 51"/>
                <a:gd name="T8" fmla="*/ 12145 w 60"/>
                <a:gd name="T9" fmla="*/ 8965 h 51"/>
                <a:gd name="T10" fmla="*/ 14843 w 60"/>
                <a:gd name="T11" fmla="*/ 4482 h 51"/>
                <a:gd name="T12" fmla="*/ 17992 w 60"/>
                <a:gd name="T13" fmla="*/ 0 h 51"/>
                <a:gd name="T14" fmla="*/ 22490 w 60"/>
                <a:gd name="T15" fmla="*/ 7844 h 51"/>
                <a:gd name="T16" fmla="*/ 26988 w 60"/>
                <a:gd name="T17" fmla="*/ 14568 h 51"/>
                <a:gd name="T18" fmla="*/ 26538 w 60"/>
                <a:gd name="T19" fmla="*/ 22412 h 51"/>
                <a:gd name="T20" fmla="*/ 25189 w 60"/>
                <a:gd name="T21" fmla="*/ 32497 h 51"/>
                <a:gd name="T22" fmla="*/ 24289 w 60"/>
                <a:gd name="T23" fmla="*/ 38100 h 51"/>
                <a:gd name="T24" fmla="*/ 23390 w 60"/>
                <a:gd name="T25" fmla="*/ 42582 h 51"/>
                <a:gd name="T26" fmla="*/ 22040 w 60"/>
                <a:gd name="T27" fmla="*/ 47065 h 51"/>
                <a:gd name="T28" fmla="*/ 20241 w 60"/>
                <a:gd name="T29" fmla="*/ 50426 h 51"/>
                <a:gd name="T30" fmla="*/ 18442 w 60"/>
                <a:gd name="T31" fmla="*/ 53788 h 51"/>
                <a:gd name="T32" fmla="*/ 16643 w 60"/>
                <a:gd name="T33" fmla="*/ 56029 h 51"/>
                <a:gd name="T34" fmla="*/ 13944 w 60"/>
                <a:gd name="T35" fmla="*/ 57150 h 51"/>
                <a:gd name="T36" fmla="*/ 12145 w 60"/>
                <a:gd name="T37" fmla="*/ 57150 h 51"/>
                <a:gd name="T38" fmla="*/ 8996 w 60"/>
                <a:gd name="T39" fmla="*/ 56029 h 51"/>
                <a:gd name="T40" fmla="*/ 6747 w 60"/>
                <a:gd name="T41" fmla="*/ 52668 h 51"/>
                <a:gd name="T42" fmla="*/ 3149 w 60"/>
                <a:gd name="T43" fmla="*/ 48185 h 51"/>
                <a:gd name="T44" fmla="*/ 0 w 60"/>
                <a:gd name="T45" fmla="*/ 41462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6" name="Freeform 245">
              <a:extLst>
                <a:ext uri="{FF2B5EF4-FFF2-40B4-BE49-F238E27FC236}">
                  <a16:creationId xmlns:a16="http://schemas.microsoft.com/office/drawing/2014/main" id="{E82FB646-12BC-4C26-9CCC-3B639F4EA9D8}"/>
                </a:ext>
              </a:extLst>
            </p:cNvPr>
            <p:cNvSpPr>
              <a:spLocks/>
            </p:cNvSpPr>
            <p:nvPr>
              <p:custDataLst>
                <p:tags r:id="rId172"/>
              </p:custDataLst>
            </p:nvPr>
          </p:nvSpPr>
          <p:spPr bwMode="auto">
            <a:xfrm>
              <a:off x="3809995" y="2001822"/>
              <a:ext cx="28575" cy="57150"/>
            </a:xfrm>
            <a:custGeom>
              <a:avLst/>
              <a:gdLst>
                <a:gd name="T0" fmla="*/ 25544 w 66"/>
                <a:gd name="T1" fmla="*/ 53788 h 51"/>
                <a:gd name="T2" fmla="*/ 18184 w 66"/>
                <a:gd name="T3" fmla="*/ 56029 h 51"/>
                <a:gd name="T4" fmla="*/ 9525 w 66"/>
                <a:gd name="T5" fmla="*/ 57150 h 51"/>
                <a:gd name="T6" fmla="*/ 7360 w 66"/>
                <a:gd name="T7" fmla="*/ 56029 h 51"/>
                <a:gd name="T8" fmla="*/ 5628 w 66"/>
                <a:gd name="T9" fmla="*/ 54909 h 51"/>
                <a:gd name="T10" fmla="*/ 4330 w 66"/>
                <a:gd name="T11" fmla="*/ 53788 h 51"/>
                <a:gd name="T12" fmla="*/ 3031 w 66"/>
                <a:gd name="T13" fmla="*/ 51547 h 51"/>
                <a:gd name="T14" fmla="*/ 1299 w 66"/>
                <a:gd name="T15" fmla="*/ 48185 h 51"/>
                <a:gd name="T16" fmla="*/ 433 w 66"/>
                <a:gd name="T17" fmla="*/ 44824 h 51"/>
                <a:gd name="T18" fmla="*/ 0 w 66"/>
                <a:gd name="T19" fmla="*/ 39221 h 51"/>
                <a:gd name="T20" fmla="*/ 0 w 66"/>
                <a:gd name="T21" fmla="*/ 33618 h 51"/>
                <a:gd name="T22" fmla="*/ 1732 w 66"/>
                <a:gd name="T23" fmla="*/ 32497 h 51"/>
                <a:gd name="T24" fmla="*/ 4330 w 66"/>
                <a:gd name="T25" fmla="*/ 30256 h 51"/>
                <a:gd name="T26" fmla="*/ 6061 w 66"/>
                <a:gd name="T27" fmla="*/ 26894 h 51"/>
                <a:gd name="T28" fmla="*/ 8226 w 66"/>
                <a:gd name="T29" fmla="*/ 22412 h 51"/>
                <a:gd name="T30" fmla="*/ 11257 w 66"/>
                <a:gd name="T31" fmla="*/ 11206 h 51"/>
                <a:gd name="T32" fmla="*/ 14288 w 66"/>
                <a:gd name="T33" fmla="*/ 0 h 51"/>
                <a:gd name="T34" fmla="*/ 19916 w 66"/>
                <a:gd name="T35" fmla="*/ 1121 h 51"/>
                <a:gd name="T36" fmla="*/ 22514 w 66"/>
                <a:gd name="T37" fmla="*/ 2241 h 51"/>
                <a:gd name="T38" fmla="*/ 24245 w 66"/>
                <a:gd name="T39" fmla="*/ 3362 h 51"/>
                <a:gd name="T40" fmla="*/ 28575 w 66"/>
                <a:gd name="T41" fmla="*/ 0 h 51"/>
                <a:gd name="T42" fmla="*/ 28142 w 66"/>
                <a:gd name="T43" fmla="*/ 14568 h 51"/>
                <a:gd name="T44" fmla="*/ 27276 w 66"/>
                <a:gd name="T45" fmla="*/ 26894 h 51"/>
                <a:gd name="T46" fmla="*/ 25977 w 66"/>
                <a:gd name="T47" fmla="*/ 40341 h 51"/>
                <a:gd name="T48" fmla="*/ 25544 w 66"/>
                <a:gd name="T49" fmla="*/ 53788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7" name="Freeform 246">
              <a:extLst>
                <a:ext uri="{FF2B5EF4-FFF2-40B4-BE49-F238E27FC236}">
                  <a16:creationId xmlns:a16="http://schemas.microsoft.com/office/drawing/2014/main" id="{402C155A-1676-4777-9378-A35D4609CD66}"/>
                </a:ext>
              </a:extLst>
            </p:cNvPr>
            <p:cNvSpPr>
              <a:spLocks/>
            </p:cNvSpPr>
            <p:nvPr>
              <p:custDataLst>
                <p:tags r:id="rId173"/>
              </p:custDataLst>
            </p:nvPr>
          </p:nvSpPr>
          <p:spPr bwMode="auto">
            <a:xfrm>
              <a:off x="4762494" y="2530455"/>
              <a:ext cx="50800" cy="57150"/>
            </a:xfrm>
            <a:custGeom>
              <a:avLst/>
              <a:gdLst>
                <a:gd name="T0" fmla="*/ 0 w 113"/>
                <a:gd name="T1" fmla="*/ 33981 h 74"/>
                <a:gd name="T2" fmla="*/ 8991 w 113"/>
                <a:gd name="T3" fmla="*/ 57150 h 74"/>
                <a:gd name="T4" fmla="*/ 16634 w 113"/>
                <a:gd name="T5" fmla="*/ 53289 h 74"/>
                <a:gd name="T6" fmla="*/ 22927 w 113"/>
                <a:gd name="T7" fmla="*/ 50199 h 74"/>
                <a:gd name="T8" fmla="*/ 28772 w 113"/>
                <a:gd name="T9" fmla="*/ 45566 h 74"/>
                <a:gd name="T10" fmla="*/ 33267 w 113"/>
                <a:gd name="T11" fmla="*/ 40932 h 74"/>
                <a:gd name="T12" fmla="*/ 35065 w 113"/>
                <a:gd name="T13" fmla="*/ 37843 h 74"/>
                <a:gd name="T14" fmla="*/ 37313 w 113"/>
                <a:gd name="T15" fmla="*/ 34753 h 74"/>
                <a:gd name="T16" fmla="*/ 38662 w 113"/>
                <a:gd name="T17" fmla="*/ 31664 h 74"/>
                <a:gd name="T18" fmla="*/ 39561 w 113"/>
                <a:gd name="T19" fmla="*/ 28575 h 74"/>
                <a:gd name="T20" fmla="*/ 40460 w 113"/>
                <a:gd name="T21" fmla="*/ 24714 h 74"/>
                <a:gd name="T22" fmla="*/ 40910 w 113"/>
                <a:gd name="T23" fmla="*/ 20080 h 74"/>
                <a:gd name="T24" fmla="*/ 41809 w 113"/>
                <a:gd name="T25" fmla="*/ 14674 h 74"/>
                <a:gd name="T26" fmla="*/ 42258 w 113"/>
                <a:gd name="T27" fmla="*/ 10040 h 74"/>
                <a:gd name="T28" fmla="*/ 44506 w 113"/>
                <a:gd name="T29" fmla="*/ 9268 h 74"/>
                <a:gd name="T30" fmla="*/ 47653 w 113"/>
                <a:gd name="T31" fmla="*/ 6951 h 74"/>
                <a:gd name="T32" fmla="*/ 48552 w 113"/>
                <a:gd name="T33" fmla="*/ 5406 h 74"/>
                <a:gd name="T34" fmla="*/ 49901 w 113"/>
                <a:gd name="T35" fmla="*/ 3861 h 74"/>
                <a:gd name="T36" fmla="*/ 50350 w 113"/>
                <a:gd name="T37" fmla="*/ 2317 h 74"/>
                <a:gd name="T38" fmla="*/ 50800 w 113"/>
                <a:gd name="T39" fmla="*/ 0 h 74"/>
                <a:gd name="T40" fmla="*/ 44057 w 113"/>
                <a:gd name="T41" fmla="*/ 3089 h 74"/>
                <a:gd name="T42" fmla="*/ 36864 w 113"/>
                <a:gd name="T43" fmla="*/ 6178 h 74"/>
                <a:gd name="T44" fmla="*/ 29221 w 113"/>
                <a:gd name="T45" fmla="*/ 10040 h 74"/>
                <a:gd name="T46" fmla="*/ 22028 w 113"/>
                <a:gd name="T47" fmla="*/ 14674 h 74"/>
                <a:gd name="T48" fmla="*/ 8991 w 113"/>
                <a:gd name="T49" fmla="*/ 25486 h 74"/>
                <a:gd name="T50" fmla="*/ 0 w 113"/>
                <a:gd name="T51" fmla="*/ 33981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8" name="Freeform 247">
              <a:extLst>
                <a:ext uri="{FF2B5EF4-FFF2-40B4-BE49-F238E27FC236}">
                  <a16:creationId xmlns:a16="http://schemas.microsoft.com/office/drawing/2014/main" id="{E2DC253C-26C1-4AD1-B678-989762A5FFB4}"/>
                </a:ext>
              </a:extLst>
            </p:cNvPr>
            <p:cNvSpPr>
              <a:spLocks/>
            </p:cNvSpPr>
            <p:nvPr>
              <p:custDataLst>
                <p:tags r:id="rId174"/>
              </p:custDataLst>
            </p:nvPr>
          </p:nvSpPr>
          <p:spPr bwMode="auto">
            <a:xfrm>
              <a:off x="4370383" y="3322612"/>
              <a:ext cx="325436" cy="244473"/>
            </a:xfrm>
            <a:custGeom>
              <a:avLst/>
              <a:gdLst>
                <a:gd name="T0" fmla="*/ 42752 w 746"/>
                <a:gd name="T1" fmla="*/ 235613 h 469"/>
                <a:gd name="T2" fmla="*/ 23557 w 746"/>
                <a:gd name="T3" fmla="*/ 229358 h 469"/>
                <a:gd name="T4" fmla="*/ 9161 w 746"/>
                <a:gd name="T5" fmla="*/ 223624 h 469"/>
                <a:gd name="T6" fmla="*/ 2181 w 746"/>
                <a:gd name="T7" fmla="*/ 215284 h 469"/>
                <a:gd name="T8" fmla="*/ 0 w 746"/>
                <a:gd name="T9" fmla="*/ 189221 h 469"/>
                <a:gd name="T10" fmla="*/ 2181 w 746"/>
                <a:gd name="T11" fmla="*/ 161072 h 469"/>
                <a:gd name="T12" fmla="*/ 10034 w 746"/>
                <a:gd name="T13" fmla="*/ 142306 h 469"/>
                <a:gd name="T14" fmla="*/ 24430 w 746"/>
                <a:gd name="T15" fmla="*/ 118849 h 469"/>
                <a:gd name="T16" fmla="*/ 52785 w 746"/>
                <a:gd name="T17" fmla="*/ 106339 h 469"/>
                <a:gd name="T18" fmla="*/ 72416 w 746"/>
                <a:gd name="T19" fmla="*/ 97999 h 469"/>
                <a:gd name="T20" fmla="*/ 102517 w 746"/>
                <a:gd name="T21" fmla="*/ 90179 h 469"/>
                <a:gd name="T22" fmla="*/ 114296 w 746"/>
                <a:gd name="T23" fmla="*/ 79754 h 469"/>
                <a:gd name="T24" fmla="*/ 116477 w 746"/>
                <a:gd name="T25" fmla="*/ 70893 h 469"/>
                <a:gd name="T26" fmla="*/ 127383 w 746"/>
                <a:gd name="T27" fmla="*/ 62552 h 469"/>
                <a:gd name="T28" fmla="*/ 144833 w 746"/>
                <a:gd name="T29" fmla="*/ 59946 h 469"/>
                <a:gd name="T30" fmla="*/ 156611 w 746"/>
                <a:gd name="T31" fmla="*/ 52648 h 469"/>
                <a:gd name="T32" fmla="*/ 169698 w 746"/>
                <a:gd name="T33" fmla="*/ 34925 h 469"/>
                <a:gd name="T34" fmla="*/ 185403 w 746"/>
                <a:gd name="T35" fmla="*/ 11468 h 469"/>
                <a:gd name="T36" fmla="*/ 196309 w 746"/>
                <a:gd name="T37" fmla="*/ 3128 h 469"/>
                <a:gd name="T38" fmla="*/ 212014 w 746"/>
                <a:gd name="T39" fmla="*/ 0 h 469"/>
                <a:gd name="T40" fmla="*/ 221175 w 746"/>
                <a:gd name="T41" fmla="*/ 15117 h 469"/>
                <a:gd name="T42" fmla="*/ 232081 w 746"/>
                <a:gd name="T43" fmla="*/ 27627 h 469"/>
                <a:gd name="T44" fmla="*/ 241242 w 746"/>
                <a:gd name="T45" fmla="*/ 55776 h 469"/>
                <a:gd name="T46" fmla="*/ 252584 w 746"/>
                <a:gd name="T47" fmla="*/ 82882 h 469"/>
                <a:gd name="T48" fmla="*/ 267417 w 746"/>
                <a:gd name="T49" fmla="*/ 89658 h 469"/>
                <a:gd name="T50" fmla="*/ 273960 w 746"/>
                <a:gd name="T51" fmla="*/ 100605 h 469"/>
                <a:gd name="T52" fmla="*/ 283558 w 746"/>
                <a:gd name="T53" fmla="*/ 121456 h 469"/>
                <a:gd name="T54" fmla="*/ 306242 w 746"/>
                <a:gd name="T55" fmla="*/ 145434 h 469"/>
                <a:gd name="T56" fmla="*/ 323256 w 746"/>
                <a:gd name="T57" fmla="*/ 164200 h 469"/>
                <a:gd name="T58" fmla="*/ 310169 w 746"/>
                <a:gd name="T59" fmla="*/ 179838 h 469"/>
                <a:gd name="T60" fmla="*/ 301444 w 746"/>
                <a:gd name="T61" fmla="*/ 178274 h 469"/>
                <a:gd name="T62" fmla="*/ 296209 w 746"/>
                <a:gd name="T63" fmla="*/ 167327 h 469"/>
                <a:gd name="T64" fmla="*/ 283994 w 746"/>
                <a:gd name="T65" fmla="*/ 172019 h 469"/>
                <a:gd name="T66" fmla="*/ 278759 w 746"/>
                <a:gd name="T67" fmla="*/ 183487 h 469"/>
                <a:gd name="T68" fmla="*/ 263491 w 746"/>
                <a:gd name="T69" fmla="*/ 185572 h 469"/>
                <a:gd name="T70" fmla="*/ 241242 w 746"/>
                <a:gd name="T71" fmla="*/ 185572 h 469"/>
                <a:gd name="T72" fmla="*/ 227719 w 746"/>
                <a:gd name="T73" fmla="*/ 190263 h 469"/>
                <a:gd name="T74" fmla="*/ 216376 w 746"/>
                <a:gd name="T75" fmla="*/ 201731 h 469"/>
                <a:gd name="T76" fmla="*/ 212014 w 746"/>
                <a:gd name="T77" fmla="*/ 205380 h 469"/>
                <a:gd name="T78" fmla="*/ 185839 w 746"/>
                <a:gd name="T79" fmla="*/ 208507 h 469"/>
                <a:gd name="T80" fmla="*/ 172752 w 746"/>
                <a:gd name="T81" fmla="*/ 204337 h 469"/>
                <a:gd name="T82" fmla="*/ 152249 w 746"/>
                <a:gd name="T83" fmla="*/ 184529 h 469"/>
                <a:gd name="T84" fmla="*/ 139161 w 746"/>
                <a:gd name="T85" fmla="*/ 179838 h 469"/>
                <a:gd name="T86" fmla="*/ 126947 w 746"/>
                <a:gd name="T87" fmla="*/ 185050 h 469"/>
                <a:gd name="T88" fmla="*/ 116041 w 746"/>
                <a:gd name="T89" fmla="*/ 196518 h 469"/>
                <a:gd name="T90" fmla="*/ 99027 w 746"/>
                <a:gd name="T91" fmla="*/ 227794 h 469"/>
                <a:gd name="T92" fmla="*/ 65436 w 746"/>
                <a:gd name="T93" fmla="*/ 228837 h 469"/>
                <a:gd name="T94" fmla="*/ 58893 w 746"/>
                <a:gd name="T95" fmla="*/ 233528 h 469"/>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746" h="469">
                  <a:moveTo>
                    <a:pt x="114" y="469"/>
                  </a:moveTo>
                  <a:lnTo>
                    <a:pt x="109" y="463"/>
                  </a:lnTo>
                  <a:lnTo>
                    <a:pt x="103" y="456"/>
                  </a:lnTo>
                  <a:lnTo>
                    <a:pt x="98" y="452"/>
                  </a:lnTo>
                  <a:lnTo>
                    <a:pt x="92" y="449"/>
                  </a:lnTo>
                  <a:lnTo>
                    <a:pt x="79" y="445"/>
                  </a:lnTo>
                  <a:lnTo>
                    <a:pt x="67" y="442"/>
                  </a:lnTo>
                  <a:lnTo>
                    <a:pt x="54" y="440"/>
                  </a:lnTo>
                  <a:lnTo>
                    <a:pt x="39" y="437"/>
                  </a:lnTo>
                  <a:lnTo>
                    <a:pt x="33" y="435"/>
                  </a:lnTo>
                  <a:lnTo>
                    <a:pt x="26" y="433"/>
                  </a:lnTo>
                  <a:lnTo>
                    <a:pt x="21" y="429"/>
                  </a:lnTo>
                  <a:lnTo>
                    <a:pt x="14" y="425"/>
                  </a:lnTo>
                  <a:lnTo>
                    <a:pt x="11" y="422"/>
                  </a:lnTo>
                  <a:lnTo>
                    <a:pt x="8" y="418"/>
                  </a:lnTo>
                  <a:lnTo>
                    <a:pt x="5" y="413"/>
                  </a:lnTo>
                  <a:lnTo>
                    <a:pt x="3" y="408"/>
                  </a:lnTo>
                  <a:lnTo>
                    <a:pt x="1" y="396"/>
                  </a:lnTo>
                  <a:lnTo>
                    <a:pt x="0" y="385"/>
                  </a:lnTo>
                  <a:lnTo>
                    <a:pt x="0" y="363"/>
                  </a:lnTo>
                  <a:lnTo>
                    <a:pt x="1" y="345"/>
                  </a:lnTo>
                  <a:lnTo>
                    <a:pt x="1" y="332"/>
                  </a:lnTo>
                  <a:lnTo>
                    <a:pt x="3" y="320"/>
                  </a:lnTo>
                  <a:lnTo>
                    <a:pt x="5" y="309"/>
                  </a:lnTo>
                  <a:lnTo>
                    <a:pt x="10" y="299"/>
                  </a:lnTo>
                  <a:lnTo>
                    <a:pt x="13" y="289"/>
                  </a:lnTo>
                  <a:lnTo>
                    <a:pt x="19" y="281"/>
                  </a:lnTo>
                  <a:lnTo>
                    <a:pt x="23" y="273"/>
                  </a:lnTo>
                  <a:lnTo>
                    <a:pt x="30" y="265"/>
                  </a:lnTo>
                  <a:lnTo>
                    <a:pt x="41" y="251"/>
                  </a:lnTo>
                  <a:lnTo>
                    <a:pt x="52" y="236"/>
                  </a:lnTo>
                  <a:lnTo>
                    <a:pt x="56" y="228"/>
                  </a:lnTo>
                  <a:lnTo>
                    <a:pt x="60" y="220"/>
                  </a:lnTo>
                  <a:lnTo>
                    <a:pt x="65" y="212"/>
                  </a:lnTo>
                  <a:lnTo>
                    <a:pt x="67" y="204"/>
                  </a:lnTo>
                  <a:lnTo>
                    <a:pt x="121" y="204"/>
                  </a:lnTo>
                  <a:lnTo>
                    <a:pt x="131" y="198"/>
                  </a:lnTo>
                  <a:lnTo>
                    <a:pt x="142" y="194"/>
                  </a:lnTo>
                  <a:lnTo>
                    <a:pt x="154" y="191"/>
                  </a:lnTo>
                  <a:lnTo>
                    <a:pt x="166" y="188"/>
                  </a:lnTo>
                  <a:lnTo>
                    <a:pt x="190" y="184"/>
                  </a:lnTo>
                  <a:lnTo>
                    <a:pt x="213" y="178"/>
                  </a:lnTo>
                  <a:lnTo>
                    <a:pt x="224" y="176"/>
                  </a:lnTo>
                  <a:lnTo>
                    <a:pt x="235" y="173"/>
                  </a:lnTo>
                  <a:lnTo>
                    <a:pt x="244" y="170"/>
                  </a:lnTo>
                  <a:lnTo>
                    <a:pt x="251" y="165"/>
                  </a:lnTo>
                  <a:lnTo>
                    <a:pt x="258" y="160"/>
                  </a:lnTo>
                  <a:lnTo>
                    <a:pt x="262" y="153"/>
                  </a:lnTo>
                  <a:lnTo>
                    <a:pt x="265" y="150"/>
                  </a:lnTo>
                  <a:lnTo>
                    <a:pt x="266" y="145"/>
                  </a:lnTo>
                  <a:lnTo>
                    <a:pt x="267" y="141"/>
                  </a:lnTo>
                  <a:lnTo>
                    <a:pt x="267" y="136"/>
                  </a:lnTo>
                  <a:lnTo>
                    <a:pt x="267" y="126"/>
                  </a:lnTo>
                  <a:lnTo>
                    <a:pt x="267" y="117"/>
                  </a:lnTo>
                  <a:lnTo>
                    <a:pt x="280" y="119"/>
                  </a:lnTo>
                  <a:lnTo>
                    <a:pt x="292" y="120"/>
                  </a:lnTo>
                  <a:lnTo>
                    <a:pt x="303" y="120"/>
                  </a:lnTo>
                  <a:lnTo>
                    <a:pt x="313" y="119"/>
                  </a:lnTo>
                  <a:lnTo>
                    <a:pt x="323" y="117"/>
                  </a:lnTo>
                  <a:lnTo>
                    <a:pt x="332" y="115"/>
                  </a:lnTo>
                  <a:lnTo>
                    <a:pt x="339" y="112"/>
                  </a:lnTo>
                  <a:lnTo>
                    <a:pt x="347" y="109"/>
                  </a:lnTo>
                  <a:lnTo>
                    <a:pt x="354" y="105"/>
                  </a:lnTo>
                  <a:lnTo>
                    <a:pt x="359" y="101"/>
                  </a:lnTo>
                  <a:lnTo>
                    <a:pt x="366" y="96"/>
                  </a:lnTo>
                  <a:lnTo>
                    <a:pt x="370" y="91"/>
                  </a:lnTo>
                  <a:lnTo>
                    <a:pt x="380" y="80"/>
                  </a:lnTo>
                  <a:lnTo>
                    <a:pt x="389" y="67"/>
                  </a:lnTo>
                  <a:lnTo>
                    <a:pt x="397" y="56"/>
                  </a:lnTo>
                  <a:lnTo>
                    <a:pt x="405" y="44"/>
                  </a:lnTo>
                  <a:lnTo>
                    <a:pt x="414" y="32"/>
                  </a:lnTo>
                  <a:lnTo>
                    <a:pt x="425" y="22"/>
                  </a:lnTo>
                  <a:lnTo>
                    <a:pt x="430" y="18"/>
                  </a:lnTo>
                  <a:lnTo>
                    <a:pt x="436" y="13"/>
                  </a:lnTo>
                  <a:lnTo>
                    <a:pt x="442" y="9"/>
                  </a:lnTo>
                  <a:lnTo>
                    <a:pt x="450" y="6"/>
                  </a:lnTo>
                  <a:lnTo>
                    <a:pt x="458" y="3"/>
                  </a:lnTo>
                  <a:lnTo>
                    <a:pt x="467" y="1"/>
                  </a:lnTo>
                  <a:lnTo>
                    <a:pt x="475" y="0"/>
                  </a:lnTo>
                  <a:lnTo>
                    <a:pt x="486" y="0"/>
                  </a:lnTo>
                  <a:lnTo>
                    <a:pt x="486" y="6"/>
                  </a:lnTo>
                  <a:lnTo>
                    <a:pt x="492" y="14"/>
                  </a:lnTo>
                  <a:lnTo>
                    <a:pt x="498" y="22"/>
                  </a:lnTo>
                  <a:lnTo>
                    <a:pt x="507" y="29"/>
                  </a:lnTo>
                  <a:lnTo>
                    <a:pt x="515" y="35"/>
                  </a:lnTo>
                  <a:lnTo>
                    <a:pt x="523" y="41"/>
                  </a:lnTo>
                  <a:lnTo>
                    <a:pt x="530" y="49"/>
                  </a:lnTo>
                  <a:lnTo>
                    <a:pt x="532" y="53"/>
                  </a:lnTo>
                  <a:lnTo>
                    <a:pt x="536" y="57"/>
                  </a:lnTo>
                  <a:lnTo>
                    <a:pt x="538" y="62"/>
                  </a:lnTo>
                  <a:lnTo>
                    <a:pt x="539" y="67"/>
                  </a:lnTo>
                  <a:lnTo>
                    <a:pt x="553" y="107"/>
                  </a:lnTo>
                  <a:lnTo>
                    <a:pt x="564" y="141"/>
                  </a:lnTo>
                  <a:lnTo>
                    <a:pt x="569" y="148"/>
                  </a:lnTo>
                  <a:lnTo>
                    <a:pt x="573" y="154"/>
                  </a:lnTo>
                  <a:lnTo>
                    <a:pt x="579" y="159"/>
                  </a:lnTo>
                  <a:lnTo>
                    <a:pt x="585" y="164"/>
                  </a:lnTo>
                  <a:lnTo>
                    <a:pt x="593" y="168"/>
                  </a:lnTo>
                  <a:lnTo>
                    <a:pt x="602" y="170"/>
                  </a:lnTo>
                  <a:lnTo>
                    <a:pt x="613" y="172"/>
                  </a:lnTo>
                  <a:lnTo>
                    <a:pt x="626" y="172"/>
                  </a:lnTo>
                  <a:lnTo>
                    <a:pt x="626" y="179"/>
                  </a:lnTo>
                  <a:lnTo>
                    <a:pt x="627" y="187"/>
                  </a:lnTo>
                  <a:lnTo>
                    <a:pt x="628" y="193"/>
                  </a:lnTo>
                  <a:lnTo>
                    <a:pt x="630" y="199"/>
                  </a:lnTo>
                  <a:lnTo>
                    <a:pt x="636" y="211"/>
                  </a:lnTo>
                  <a:lnTo>
                    <a:pt x="642" y="222"/>
                  </a:lnTo>
                  <a:lnTo>
                    <a:pt x="650" y="233"/>
                  </a:lnTo>
                  <a:lnTo>
                    <a:pt x="660" y="244"/>
                  </a:lnTo>
                  <a:lnTo>
                    <a:pt x="670" y="254"/>
                  </a:lnTo>
                  <a:lnTo>
                    <a:pt x="681" y="263"/>
                  </a:lnTo>
                  <a:lnTo>
                    <a:pt x="702" y="279"/>
                  </a:lnTo>
                  <a:lnTo>
                    <a:pt x="720" y="294"/>
                  </a:lnTo>
                  <a:lnTo>
                    <a:pt x="729" y="302"/>
                  </a:lnTo>
                  <a:lnTo>
                    <a:pt x="736" y="309"/>
                  </a:lnTo>
                  <a:lnTo>
                    <a:pt x="741" y="315"/>
                  </a:lnTo>
                  <a:lnTo>
                    <a:pt x="746" y="321"/>
                  </a:lnTo>
                  <a:lnTo>
                    <a:pt x="738" y="345"/>
                  </a:lnTo>
                  <a:lnTo>
                    <a:pt x="728" y="345"/>
                  </a:lnTo>
                  <a:lnTo>
                    <a:pt x="711" y="345"/>
                  </a:lnTo>
                  <a:lnTo>
                    <a:pt x="706" y="345"/>
                  </a:lnTo>
                  <a:lnTo>
                    <a:pt x="700" y="344"/>
                  </a:lnTo>
                  <a:lnTo>
                    <a:pt x="695" y="343"/>
                  </a:lnTo>
                  <a:lnTo>
                    <a:pt x="691" y="342"/>
                  </a:lnTo>
                  <a:lnTo>
                    <a:pt x="685" y="339"/>
                  </a:lnTo>
                  <a:lnTo>
                    <a:pt x="682" y="335"/>
                  </a:lnTo>
                  <a:lnTo>
                    <a:pt x="680" y="329"/>
                  </a:lnTo>
                  <a:lnTo>
                    <a:pt x="679" y="321"/>
                  </a:lnTo>
                  <a:lnTo>
                    <a:pt x="666" y="321"/>
                  </a:lnTo>
                  <a:lnTo>
                    <a:pt x="659" y="321"/>
                  </a:lnTo>
                  <a:lnTo>
                    <a:pt x="654" y="325"/>
                  </a:lnTo>
                  <a:lnTo>
                    <a:pt x="651" y="330"/>
                  </a:lnTo>
                  <a:lnTo>
                    <a:pt x="648" y="334"/>
                  </a:lnTo>
                  <a:lnTo>
                    <a:pt x="647" y="338"/>
                  </a:lnTo>
                  <a:lnTo>
                    <a:pt x="642" y="345"/>
                  </a:lnTo>
                  <a:lnTo>
                    <a:pt x="639" y="352"/>
                  </a:lnTo>
                  <a:lnTo>
                    <a:pt x="630" y="354"/>
                  </a:lnTo>
                  <a:lnTo>
                    <a:pt x="621" y="355"/>
                  </a:lnTo>
                  <a:lnTo>
                    <a:pt x="613" y="355"/>
                  </a:lnTo>
                  <a:lnTo>
                    <a:pt x="604" y="356"/>
                  </a:lnTo>
                  <a:lnTo>
                    <a:pt x="586" y="355"/>
                  </a:lnTo>
                  <a:lnTo>
                    <a:pt x="570" y="355"/>
                  </a:lnTo>
                  <a:lnTo>
                    <a:pt x="561" y="355"/>
                  </a:lnTo>
                  <a:lnTo>
                    <a:pt x="553" y="356"/>
                  </a:lnTo>
                  <a:lnTo>
                    <a:pt x="545" y="357"/>
                  </a:lnTo>
                  <a:lnTo>
                    <a:pt x="537" y="359"/>
                  </a:lnTo>
                  <a:lnTo>
                    <a:pt x="529" y="361"/>
                  </a:lnTo>
                  <a:lnTo>
                    <a:pt x="522" y="365"/>
                  </a:lnTo>
                  <a:lnTo>
                    <a:pt x="514" y="370"/>
                  </a:lnTo>
                  <a:lnTo>
                    <a:pt x="506" y="376"/>
                  </a:lnTo>
                  <a:lnTo>
                    <a:pt x="501" y="381"/>
                  </a:lnTo>
                  <a:lnTo>
                    <a:pt x="496" y="387"/>
                  </a:lnTo>
                  <a:lnTo>
                    <a:pt x="493" y="390"/>
                  </a:lnTo>
                  <a:lnTo>
                    <a:pt x="491" y="392"/>
                  </a:lnTo>
                  <a:lnTo>
                    <a:pt x="489" y="394"/>
                  </a:lnTo>
                  <a:lnTo>
                    <a:pt x="486" y="394"/>
                  </a:lnTo>
                  <a:lnTo>
                    <a:pt x="466" y="395"/>
                  </a:lnTo>
                  <a:lnTo>
                    <a:pt x="451" y="397"/>
                  </a:lnTo>
                  <a:lnTo>
                    <a:pt x="439" y="399"/>
                  </a:lnTo>
                  <a:lnTo>
                    <a:pt x="426" y="400"/>
                  </a:lnTo>
                  <a:lnTo>
                    <a:pt x="417" y="400"/>
                  </a:lnTo>
                  <a:lnTo>
                    <a:pt x="410" y="398"/>
                  </a:lnTo>
                  <a:lnTo>
                    <a:pt x="403" y="395"/>
                  </a:lnTo>
                  <a:lnTo>
                    <a:pt x="396" y="392"/>
                  </a:lnTo>
                  <a:lnTo>
                    <a:pt x="384" y="383"/>
                  </a:lnTo>
                  <a:lnTo>
                    <a:pt x="373" y="373"/>
                  </a:lnTo>
                  <a:lnTo>
                    <a:pt x="361" y="363"/>
                  </a:lnTo>
                  <a:lnTo>
                    <a:pt x="349" y="354"/>
                  </a:lnTo>
                  <a:lnTo>
                    <a:pt x="343" y="351"/>
                  </a:lnTo>
                  <a:lnTo>
                    <a:pt x="336" y="347"/>
                  </a:lnTo>
                  <a:lnTo>
                    <a:pt x="328" y="345"/>
                  </a:lnTo>
                  <a:lnTo>
                    <a:pt x="319" y="345"/>
                  </a:lnTo>
                  <a:lnTo>
                    <a:pt x="313" y="345"/>
                  </a:lnTo>
                  <a:lnTo>
                    <a:pt x="305" y="347"/>
                  </a:lnTo>
                  <a:lnTo>
                    <a:pt x="299" y="351"/>
                  </a:lnTo>
                  <a:lnTo>
                    <a:pt x="291" y="355"/>
                  </a:lnTo>
                  <a:lnTo>
                    <a:pt x="284" y="360"/>
                  </a:lnTo>
                  <a:lnTo>
                    <a:pt x="278" y="365"/>
                  </a:lnTo>
                  <a:lnTo>
                    <a:pt x="272" y="371"/>
                  </a:lnTo>
                  <a:lnTo>
                    <a:pt x="266" y="377"/>
                  </a:lnTo>
                  <a:lnTo>
                    <a:pt x="255" y="392"/>
                  </a:lnTo>
                  <a:lnTo>
                    <a:pt x="244" y="408"/>
                  </a:lnTo>
                  <a:lnTo>
                    <a:pt x="235" y="423"/>
                  </a:lnTo>
                  <a:lnTo>
                    <a:pt x="227" y="437"/>
                  </a:lnTo>
                  <a:lnTo>
                    <a:pt x="197" y="437"/>
                  </a:lnTo>
                  <a:lnTo>
                    <a:pt x="176" y="437"/>
                  </a:lnTo>
                  <a:lnTo>
                    <a:pt x="160" y="437"/>
                  </a:lnTo>
                  <a:lnTo>
                    <a:pt x="150" y="439"/>
                  </a:lnTo>
                  <a:lnTo>
                    <a:pt x="146" y="440"/>
                  </a:lnTo>
                  <a:lnTo>
                    <a:pt x="143" y="442"/>
                  </a:lnTo>
                  <a:lnTo>
                    <a:pt x="139" y="445"/>
                  </a:lnTo>
                  <a:lnTo>
                    <a:pt x="135" y="448"/>
                  </a:lnTo>
                  <a:lnTo>
                    <a:pt x="126" y="456"/>
                  </a:lnTo>
                  <a:lnTo>
                    <a:pt x="114" y="46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79" name="Freeform 248">
              <a:extLst>
                <a:ext uri="{FF2B5EF4-FFF2-40B4-BE49-F238E27FC236}">
                  <a16:creationId xmlns:a16="http://schemas.microsoft.com/office/drawing/2014/main" id="{B563EE21-41EE-4264-8CFC-80F1B191B912}"/>
                </a:ext>
              </a:extLst>
            </p:cNvPr>
            <p:cNvSpPr>
              <a:spLocks/>
            </p:cNvSpPr>
            <p:nvPr>
              <p:custDataLst>
                <p:tags r:id="rId175"/>
              </p:custDataLst>
            </p:nvPr>
          </p:nvSpPr>
          <p:spPr bwMode="auto">
            <a:xfrm>
              <a:off x="4306883" y="3490885"/>
              <a:ext cx="500062" cy="552445"/>
            </a:xfrm>
            <a:custGeom>
              <a:avLst/>
              <a:gdLst>
                <a:gd name="T0" fmla="*/ 393935 w 1145"/>
                <a:gd name="T1" fmla="*/ 29905 h 1053"/>
                <a:gd name="T2" fmla="*/ 433678 w 1145"/>
                <a:gd name="T3" fmla="*/ 34626 h 1053"/>
                <a:gd name="T4" fmla="*/ 471674 w 1145"/>
                <a:gd name="T5" fmla="*/ 42496 h 1053"/>
                <a:gd name="T6" fmla="*/ 491764 w 1145"/>
                <a:gd name="T7" fmla="*/ 91813 h 1053"/>
                <a:gd name="T8" fmla="*/ 494821 w 1145"/>
                <a:gd name="T9" fmla="*/ 110700 h 1053"/>
                <a:gd name="T10" fmla="*/ 462066 w 1145"/>
                <a:gd name="T11" fmla="*/ 142703 h 1053"/>
                <a:gd name="T12" fmla="*/ 456388 w 1145"/>
                <a:gd name="T13" fmla="*/ 188872 h 1053"/>
                <a:gd name="T14" fmla="*/ 438046 w 1145"/>
                <a:gd name="T15" fmla="*/ 230843 h 1053"/>
                <a:gd name="T16" fmla="*/ 432368 w 1145"/>
                <a:gd name="T17" fmla="*/ 249730 h 1053"/>
                <a:gd name="T18" fmla="*/ 445033 w 1145"/>
                <a:gd name="T19" fmla="*/ 302195 h 1053"/>
                <a:gd name="T20" fmla="*/ 448090 w 1145"/>
                <a:gd name="T21" fmla="*/ 348364 h 1053"/>
                <a:gd name="T22" fmla="*/ 457262 w 1145"/>
                <a:gd name="T23" fmla="*/ 383515 h 1053"/>
                <a:gd name="T24" fmla="*/ 471237 w 1145"/>
                <a:gd name="T25" fmla="*/ 401353 h 1053"/>
                <a:gd name="T26" fmla="*/ 476915 w 1145"/>
                <a:gd name="T27" fmla="*/ 432831 h 1053"/>
                <a:gd name="T28" fmla="*/ 454205 w 1145"/>
                <a:gd name="T29" fmla="*/ 442799 h 1053"/>
                <a:gd name="T30" fmla="*/ 435425 w 1145"/>
                <a:gd name="T31" fmla="*/ 449095 h 1053"/>
                <a:gd name="T32" fmla="*/ 419266 w 1145"/>
                <a:gd name="T33" fmla="*/ 520447 h 1053"/>
                <a:gd name="T34" fmla="*/ 406164 w 1145"/>
                <a:gd name="T35" fmla="*/ 538285 h 1053"/>
                <a:gd name="T36" fmla="*/ 393935 w 1145"/>
                <a:gd name="T37" fmla="*/ 540908 h 1053"/>
                <a:gd name="T38" fmla="*/ 366858 w 1145"/>
                <a:gd name="T39" fmla="*/ 552450 h 1053"/>
                <a:gd name="T40" fmla="*/ 341527 w 1145"/>
                <a:gd name="T41" fmla="*/ 544056 h 1053"/>
                <a:gd name="T42" fmla="*/ 324494 w 1145"/>
                <a:gd name="T43" fmla="*/ 531989 h 1053"/>
                <a:gd name="T44" fmla="*/ 308772 w 1145"/>
                <a:gd name="T45" fmla="*/ 523070 h 1053"/>
                <a:gd name="T46" fmla="*/ 294360 w 1145"/>
                <a:gd name="T47" fmla="*/ 517299 h 1053"/>
                <a:gd name="T48" fmla="*/ 265535 w 1145"/>
                <a:gd name="T49" fmla="*/ 517824 h 1053"/>
                <a:gd name="T50" fmla="*/ 259421 w 1145"/>
                <a:gd name="T51" fmla="*/ 494215 h 1053"/>
                <a:gd name="T52" fmla="*/ 251123 w 1145"/>
                <a:gd name="T53" fmla="*/ 463785 h 1053"/>
                <a:gd name="T54" fmla="*/ 257674 w 1145"/>
                <a:gd name="T55" fmla="*/ 443849 h 1053"/>
                <a:gd name="T56" fmla="*/ 257674 w 1145"/>
                <a:gd name="T57" fmla="*/ 408698 h 1053"/>
                <a:gd name="T58" fmla="*/ 198278 w 1145"/>
                <a:gd name="T59" fmla="*/ 396106 h 1053"/>
                <a:gd name="T60" fmla="*/ 193474 w 1145"/>
                <a:gd name="T61" fmla="*/ 411845 h 1053"/>
                <a:gd name="T62" fmla="*/ 172947 w 1145"/>
                <a:gd name="T63" fmla="*/ 428634 h 1053"/>
                <a:gd name="T64" fmla="*/ 147180 w 1145"/>
                <a:gd name="T65" fmla="*/ 418141 h 1053"/>
                <a:gd name="T66" fmla="*/ 129710 w 1145"/>
                <a:gd name="T67" fmla="*/ 371448 h 1053"/>
                <a:gd name="T68" fmla="*/ 1310 w 1145"/>
                <a:gd name="T69" fmla="*/ 352036 h 1053"/>
                <a:gd name="T70" fmla="*/ 19653 w 1145"/>
                <a:gd name="T71" fmla="*/ 349937 h 1053"/>
                <a:gd name="T72" fmla="*/ 11355 w 1145"/>
                <a:gd name="T73" fmla="*/ 331050 h 1053"/>
                <a:gd name="T74" fmla="*/ 32755 w 1145"/>
                <a:gd name="T75" fmla="*/ 322656 h 1053"/>
                <a:gd name="T76" fmla="*/ 63327 w 1145"/>
                <a:gd name="T77" fmla="*/ 322131 h 1053"/>
                <a:gd name="T78" fmla="*/ 79923 w 1145"/>
                <a:gd name="T79" fmla="*/ 325279 h 1053"/>
                <a:gd name="T80" fmla="*/ 96082 w 1145"/>
                <a:gd name="T81" fmla="*/ 301146 h 1053"/>
                <a:gd name="T82" fmla="*/ 113551 w 1145"/>
                <a:gd name="T83" fmla="*/ 291177 h 1053"/>
                <a:gd name="T84" fmla="*/ 122723 w 1145"/>
                <a:gd name="T85" fmla="*/ 230843 h 1053"/>
                <a:gd name="T86" fmla="*/ 151110 w 1145"/>
                <a:gd name="T87" fmla="*/ 194118 h 1053"/>
                <a:gd name="T88" fmla="*/ 161592 w 1145"/>
                <a:gd name="T89" fmla="*/ 144802 h 1053"/>
                <a:gd name="T90" fmla="*/ 162466 w 1145"/>
                <a:gd name="T91" fmla="*/ 94436 h 1053"/>
                <a:gd name="T92" fmla="*/ 167270 w 1145"/>
                <a:gd name="T93" fmla="*/ 64007 h 1053"/>
                <a:gd name="T94" fmla="*/ 192164 w 1145"/>
                <a:gd name="T95" fmla="*/ 18363 h 1053"/>
                <a:gd name="T96" fmla="*/ 214437 w 1145"/>
                <a:gd name="T97" fmla="*/ 15739 h 1053"/>
                <a:gd name="T98" fmla="*/ 243698 w 1145"/>
                <a:gd name="T99" fmla="*/ 40398 h 1053"/>
                <a:gd name="T100" fmla="*/ 278200 w 1145"/>
                <a:gd name="T101" fmla="*/ 38299 h 1053"/>
                <a:gd name="T102" fmla="*/ 292613 w 1145"/>
                <a:gd name="T103" fmla="*/ 23084 h 1053"/>
                <a:gd name="T104" fmla="*/ 320564 w 1145"/>
                <a:gd name="T105" fmla="*/ 17838 h 1053"/>
                <a:gd name="T106" fmla="*/ 347205 w 1145"/>
                <a:gd name="T107" fmla="*/ 8919 h 1053"/>
                <a:gd name="T108" fmla="*/ 361617 w 1145"/>
                <a:gd name="T109" fmla="*/ 4197 h 1053"/>
                <a:gd name="T110" fmla="*/ 375156 w 1145"/>
                <a:gd name="T111" fmla="*/ 12591 h 1053"/>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1145" h="1053">
                  <a:moveTo>
                    <a:pt x="894" y="24"/>
                  </a:moveTo>
                  <a:lnTo>
                    <a:pt x="894" y="32"/>
                  </a:lnTo>
                  <a:lnTo>
                    <a:pt x="895" y="38"/>
                  </a:lnTo>
                  <a:lnTo>
                    <a:pt x="896" y="44"/>
                  </a:lnTo>
                  <a:lnTo>
                    <a:pt x="897" y="49"/>
                  </a:lnTo>
                  <a:lnTo>
                    <a:pt x="900" y="53"/>
                  </a:lnTo>
                  <a:lnTo>
                    <a:pt x="902" y="57"/>
                  </a:lnTo>
                  <a:lnTo>
                    <a:pt x="906" y="61"/>
                  </a:lnTo>
                  <a:lnTo>
                    <a:pt x="909" y="64"/>
                  </a:lnTo>
                  <a:lnTo>
                    <a:pt x="918" y="68"/>
                  </a:lnTo>
                  <a:lnTo>
                    <a:pt x="926" y="71"/>
                  </a:lnTo>
                  <a:lnTo>
                    <a:pt x="936" y="72"/>
                  </a:lnTo>
                  <a:lnTo>
                    <a:pt x="947" y="72"/>
                  </a:lnTo>
                  <a:lnTo>
                    <a:pt x="993" y="66"/>
                  </a:lnTo>
                  <a:lnTo>
                    <a:pt x="1033" y="61"/>
                  </a:lnTo>
                  <a:lnTo>
                    <a:pt x="1038" y="61"/>
                  </a:lnTo>
                  <a:lnTo>
                    <a:pt x="1045" y="63"/>
                  </a:lnTo>
                  <a:lnTo>
                    <a:pt x="1051" y="64"/>
                  </a:lnTo>
                  <a:lnTo>
                    <a:pt x="1057" y="67"/>
                  </a:lnTo>
                  <a:lnTo>
                    <a:pt x="1069" y="73"/>
                  </a:lnTo>
                  <a:lnTo>
                    <a:pt x="1080" y="81"/>
                  </a:lnTo>
                  <a:lnTo>
                    <a:pt x="1099" y="98"/>
                  </a:lnTo>
                  <a:lnTo>
                    <a:pt x="1112" y="110"/>
                  </a:lnTo>
                  <a:lnTo>
                    <a:pt x="1113" y="124"/>
                  </a:lnTo>
                  <a:lnTo>
                    <a:pt x="1114" y="138"/>
                  </a:lnTo>
                  <a:lnTo>
                    <a:pt x="1117" y="152"/>
                  </a:lnTo>
                  <a:lnTo>
                    <a:pt x="1122" y="164"/>
                  </a:lnTo>
                  <a:lnTo>
                    <a:pt x="1126" y="175"/>
                  </a:lnTo>
                  <a:lnTo>
                    <a:pt x="1132" y="183"/>
                  </a:lnTo>
                  <a:lnTo>
                    <a:pt x="1135" y="186"/>
                  </a:lnTo>
                  <a:lnTo>
                    <a:pt x="1138" y="188"/>
                  </a:lnTo>
                  <a:lnTo>
                    <a:pt x="1142" y="190"/>
                  </a:lnTo>
                  <a:lnTo>
                    <a:pt x="1145" y="190"/>
                  </a:lnTo>
                  <a:lnTo>
                    <a:pt x="1139" y="202"/>
                  </a:lnTo>
                  <a:lnTo>
                    <a:pt x="1133" y="211"/>
                  </a:lnTo>
                  <a:lnTo>
                    <a:pt x="1125" y="220"/>
                  </a:lnTo>
                  <a:lnTo>
                    <a:pt x="1117" y="227"/>
                  </a:lnTo>
                  <a:lnTo>
                    <a:pt x="1100" y="240"/>
                  </a:lnTo>
                  <a:lnTo>
                    <a:pt x="1082" y="253"/>
                  </a:lnTo>
                  <a:lnTo>
                    <a:pt x="1074" y="259"/>
                  </a:lnTo>
                  <a:lnTo>
                    <a:pt x="1066" y="266"/>
                  </a:lnTo>
                  <a:lnTo>
                    <a:pt x="1058" y="272"/>
                  </a:lnTo>
                  <a:lnTo>
                    <a:pt x="1052" y="280"/>
                  </a:lnTo>
                  <a:lnTo>
                    <a:pt x="1046" y="288"/>
                  </a:lnTo>
                  <a:lnTo>
                    <a:pt x="1043" y="297"/>
                  </a:lnTo>
                  <a:lnTo>
                    <a:pt x="1040" y="308"/>
                  </a:lnTo>
                  <a:lnTo>
                    <a:pt x="1040" y="320"/>
                  </a:lnTo>
                  <a:lnTo>
                    <a:pt x="1041" y="339"/>
                  </a:lnTo>
                  <a:lnTo>
                    <a:pt x="1045" y="360"/>
                  </a:lnTo>
                  <a:lnTo>
                    <a:pt x="1046" y="371"/>
                  </a:lnTo>
                  <a:lnTo>
                    <a:pt x="1047" y="381"/>
                  </a:lnTo>
                  <a:lnTo>
                    <a:pt x="1047" y="391"/>
                  </a:lnTo>
                  <a:lnTo>
                    <a:pt x="1046" y="400"/>
                  </a:lnTo>
                  <a:lnTo>
                    <a:pt x="1034" y="410"/>
                  </a:lnTo>
                  <a:lnTo>
                    <a:pt x="1013" y="430"/>
                  </a:lnTo>
                  <a:lnTo>
                    <a:pt x="1003" y="440"/>
                  </a:lnTo>
                  <a:lnTo>
                    <a:pt x="995" y="450"/>
                  </a:lnTo>
                  <a:lnTo>
                    <a:pt x="991" y="455"/>
                  </a:lnTo>
                  <a:lnTo>
                    <a:pt x="988" y="460"/>
                  </a:lnTo>
                  <a:lnTo>
                    <a:pt x="987" y="464"/>
                  </a:lnTo>
                  <a:lnTo>
                    <a:pt x="986" y="467"/>
                  </a:lnTo>
                  <a:lnTo>
                    <a:pt x="987" y="470"/>
                  </a:lnTo>
                  <a:lnTo>
                    <a:pt x="990" y="476"/>
                  </a:lnTo>
                  <a:lnTo>
                    <a:pt x="995" y="481"/>
                  </a:lnTo>
                  <a:lnTo>
                    <a:pt x="999" y="486"/>
                  </a:lnTo>
                  <a:lnTo>
                    <a:pt x="1009" y="495"/>
                  </a:lnTo>
                  <a:lnTo>
                    <a:pt x="1012" y="499"/>
                  </a:lnTo>
                  <a:lnTo>
                    <a:pt x="1016" y="524"/>
                  </a:lnTo>
                  <a:lnTo>
                    <a:pt x="1019" y="550"/>
                  </a:lnTo>
                  <a:lnTo>
                    <a:pt x="1019" y="576"/>
                  </a:lnTo>
                  <a:lnTo>
                    <a:pt x="1019" y="610"/>
                  </a:lnTo>
                  <a:lnTo>
                    <a:pt x="1020" y="618"/>
                  </a:lnTo>
                  <a:lnTo>
                    <a:pt x="1022" y="625"/>
                  </a:lnTo>
                  <a:lnTo>
                    <a:pt x="1025" y="632"/>
                  </a:lnTo>
                  <a:lnTo>
                    <a:pt x="1026" y="640"/>
                  </a:lnTo>
                  <a:lnTo>
                    <a:pt x="1026" y="650"/>
                  </a:lnTo>
                  <a:lnTo>
                    <a:pt x="1026" y="664"/>
                  </a:lnTo>
                  <a:lnTo>
                    <a:pt x="1027" y="679"/>
                  </a:lnTo>
                  <a:lnTo>
                    <a:pt x="1031" y="696"/>
                  </a:lnTo>
                  <a:lnTo>
                    <a:pt x="1033" y="705"/>
                  </a:lnTo>
                  <a:lnTo>
                    <a:pt x="1035" y="713"/>
                  </a:lnTo>
                  <a:lnTo>
                    <a:pt x="1038" y="720"/>
                  </a:lnTo>
                  <a:lnTo>
                    <a:pt x="1043" y="726"/>
                  </a:lnTo>
                  <a:lnTo>
                    <a:pt x="1047" y="731"/>
                  </a:lnTo>
                  <a:lnTo>
                    <a:pt x="1053" y="735"/>
                  </a:lnTo>
                  <a:lnTo>
                    <a:pt x="1058" y="738"/>
                  </a:lnTo>
                  <a:lnTo>
                    <a:pt x="1066" y="739"/>
                  </a:lnTo>
                  <a:lnTo>
                    <a:pt x="1067" y="745"/>
                  </a:lnTo>
                  <a:lnTo>
                    <a:pt x="1070" y="751"/>
                  </a:lnTo>
                  <a:lnTo>
                    <a:pt x="1074" y="759"/>
                  </a:lnTo>
                  <a:lnTo>
                    <a:pt x="1079" y="765"/>
                  </a:lnTo>
                  <a:lnTo>
                    <a:pt x="1083" y="772"/>
                  </a:lnTo>
                  <a:lnTo>
                    <a:pt x="1088" y="780"/>
                  </a:lnTo>
                  <a:lnTo>
                    <a:pt x="1091" y="790"/>
                  </a:lnTo>
                  <a:lnTo>
                    <a:pt x="1092" y="800"/>
                  </a:lnTo>
                  <a:lnTo>
                    <a:pt x="1092" y="807"/>
                  </a:lnTo>
                  <a:lnTo>
                    <a:pt x="1092" y="816"/>
                  </a:lnTo>
                  <a:lnTo>
                    <a:pt x="1092" y="825"/>
                  </a:lnTo>
                  <a:lnTo>
                    <a:pt x="1092" y="831"/>
                  </a:lnTo>
                  <a:lnTo>
                    <a:pt x="1092" y="837"/>
                  </a:lnTo>
                  <a:lnTo>
                    <a:pt x="1080" y="836"/>
                  </a:lnTo>
                  <a:lnTo>
                    <a:pt x="1069" y="837"/>
                  </a:lnTo>
                  <a:lnTo>
                    <a:pt x="1059" y="840"/>
                  </a:lnTo>
                  <a:lnTo>
                    <a:pt x="1049" y="842"/>
                  </a:lnTo>
                  <a:lnTo>
                    <a:pt x="1040" y="844"/>
                  </a:lnTo>
                  <a:lnTo>
                    <a:pt x="1029" y="844"/>
                  </a:lnTo>
                  <a:lnTo>
                    <a:pt x="1023" y="844"/>
                  </a:lnTo>
                  <a:lnTo>
                    <a:pt x="1018" y="842"/>
                  </a:lnTo>
                  <a:lnTo>
                    <a:pt x="1012" y="840"/>
                  </a:lnTo>
                  <a:lnTo>
                    <a:pt x="1005" y="837"/>
                  </a:lnTo>
                  <a:lnTo>
                    <a:pt x="1001" y="846"/>
                  </a:lnTo>
                  <a:lnTo>
                    <a:pt x="997" y="856"/>
                  </a:lnTo>
                  <a:lnTo>
                    <a:pt x="993" y="869"/>
                  </a:lnTo>
                  <a:lnTo>
                    <a:pt x="990" y="883"/>
                  </a:lnTo>
                  <a:lnTo>
                    <a:pt x="982" y="914"/>
                  </a:lnTo>
                  <a:lnTo>
                    <a:pt x="975" y="947"/>
                  </a:lnTo>
                  <a:lnTo>
                    <a:pt x="970" y="962"/>
                  </a:lnTo>
                  <a:lnTo>
                    <a:pt x="966" y="978"/>
                  </a:lnTo>
                  <a:lnTo>
                    <a:pt x="960" y="992"/>
                  </a:lnTo>
                  <a:lnTo>
                    <a:pt x="955" y="1004"/>
                  </a:lnTo>
                  <a:lnTo>
                    <a:pt x="951" y="1009"/>
                  </a:lnTo>
                  <a:lnTo>
                    <a:pt x="947" y="1014"/>
                  </a:lnTo>
                  <a:lnTo>
                    <a:pt x="944" y="1018"/>
                  </a:lnTo>
                  <a:lnTo>
                    <a:pt x="940" y="1021"/>
                  </a:lnTo>
                  <a:lnTo>
                    <a:pt x="935" y="1024"/>
                  </a:lnTo>
                  <a:lnTo>
                    <a:pt x="930" y="1026"/>
                  </a:lnTo>
                  <a:lnTo>
                    <a:pt x="925" y="1028"/>
                  </a:lnTo>
                  <a:lnTo>
                    <a:pt x="920" y="1028"/>
                  </a:lnTo>
                  <a:lnTo>
                    <a:pt x="918" y="1029"/>
                  </a:lnTo>
                  <a:lnTo>
                    <a:pt x="912" y="1031"/>
                  </a:lnTo>
                  <a:lnTo>
                    <a:pt x="909" y="1032"/>
                  </a:lnTo>
                  <a:lnTo>
                    <a:pt x="906" y="1032"/>
                  </a:lnTo>
                  <a:lnTo>
                    <a:pt x="902" y="1031"/>
                  </a:lnTo>
                  <a:lnTo>
                    <a:pt x="900" y="1028"/>
                  </a:lnTo>
                  <a:lnTo>
                    <a:pt x="888" y="1035"/>
                  </a:lnTo>
                  <a:lnTo>
                    <a:pt x="873" y="1043"/>
                  </a:lnTo>
                  <a:lnTo>
                    <a:pt x="864" y="1047"/>
                  </a:lnTo>
                  <a:lnTo>
                    <a:pt x="856" y="1050"/>
                  </a:lnTo>
                  <a:lnTo>
                    <a:pt x="847" y="1052"/>
                  </a:lnTo>
                  <a:lnTo>
                    <a:pt x="840" y="1053"/>
                  </a:lnTo>
                  <a:lnTo>
                    <a:pt x="828" y="1053"/>
                  </a:lnTo>
                  <a:lnTo>
                    <a:pt x="816" y="1052"/>
                  </a:lnTo>
                  <a:lnTo>
                    <a:pt x="805" y="1049"/>
                  </a:lnTo>
                  <a:lnTo>
                    <a:pt x="795" y="1046"/>
                  </a:lnTo>
                  <a:lnTo>
                    <a:pt x="789" y="1043"/>
                  </a:lnTo>
                  <a:lnTo>
                    <a:pt x="786" y="1040"/>
                  </a:lnTo>
                  <a:lnTo>
                    <a:pt x="782" y="1037"/>
                  </a:lnTo>
                  <a:lnTo>
                    <a:pt x="779" y="1033"/>
                  </a:lnTo>
                  <a:lnTo>
                    <a:pt x="777" y="1027"/>
                  </a:lnTo>
                  <a:lnTo>
                    <a:pt x="775" y="1022"/>
                  </a:lnTo>
                  <a:lnTo>
                    <a:pt x="774" y="1016"/>
                  </a:lnTo>
                  <a:lnTo>
                    <a:pt x="774" y="1010"/>
                  </a:lnTo>
                  <a:lnTo>
                    <a:pt x="761" y="1011"/>
                  </a:lnTo>
                  <a:lnTo>
                    <a:pt x="743" y="1014"/>
                  </a:lnTo>
                  <a:lnTo>
                    <a:pt x="734" y="1014"/>
                  </a:lnTo>
                  <a:lnTo>
                    <a:pt x="727" y="1012"/>
                  </a:lnTo>
                  <a:lnTo>
                    <a:pt x="723" y="1011"/>
                  </a:lnTo>
                  <a:lnTo>
                    <a:pt x="719" y="1009"/>
                  </a:lnTo>
                  <a:lnTo>
                    <a:pt x="717" y="1007"/>
                  </a:lnTo>
                  <a:lnTo>
                    <a:pt x="713" y="1004"/>
                  </a:lnTo>
                  <a:lnTo>
                    <a:pt x="707" y="997"/>
                  </a:lnTo>
                  <a:lnTo>
                    <a:pt x="701" y="993"/>
                  </a:lnTo>
                  <a:lnTo>
                    <a:pt x="697" y="992"/>
                  </a:lnTo>
                  <a:lnTo>
                    <a:pt x="694" y="992"/>
                  </a:lnTo>
                  <a:lnTo>
                    <a:pt x="689" y="993"/>
                  </a:lnTo>
                  <a:lnTo>
                    <a:pt x="686" y="993"/>
                  </a:lnTo>
                  <a:lnTo>
                    <a:pt x="680" y="991"/>
                  </a:lnTo>
                  <a:lnTo>
                    <a:pt x="674" y="986"/>
                  </a:lnTo>
                  <a:lnTo>
                    <a:pt x="662" y="987"/>
                  </a:lnTo>
                  <a:lnTo>
                    <a:pt x="653" y="989"/>
                  </a:lnTo>
                  <a:lnTo>
                    <a:pt x="643" y="991"/>
                  </a:lnTo>
                  <a:lnTo>
                    <a:pt x="627" y="992"/>
                  </a:lnTo>
                  <a:lnTo>
                    <a:pt x="618" y="991"/>
                  </a:lnTo>
                  <a:lnTo>
                    <a:pt x="611" y="988"/>
                  </a:lnTo>
                  <a:lnTo>
                    <a:pt x="608" y="987"/>
                  </a:lnTo>
                  <a:lnTo>
                    <a:pt x="605" y="984"/>
                  </a:lnTo>
                  <a:lnTo>
                    <a:pt x="603" y="982"/>
                  </a:lnTo>
                  <a:lnTo>
                    <a:pt x="600" y="979"/>
                  </a:lnTo>
                  <a:lnTo>
                    <a:pt x="597" y="971"/>
                  </a:lnTo>
                  <a:lnTo>
                    <a:pt x="596" y="963"/>
                  </a:lnTo>
                  <a:lnTo>
                    <a:pt x="595" y="953"/>
                  </a:lnTo>
                  <a:lnTo>
                    <a:pt x="594" y="942"/>
                  </a:lnTo>
                  <a:lnTo>
                    <a:pt x="593" y="933"/>
                  </a:lnTo>
                  <a:lnTo>
                    <a:pt x="590" y="925"/>
                  </a:lnTo>
                  <a:lnTo>
                    <a:pt x="587" y="916"/>
                  </a:lnTo>
                  <a:lnTo>
                    <a:pt x="584" y="908"/>
                  </a:lnTo>
                  <a:lnTo>
                    <a:pt x="581" y="900"/>
                  </a:lnTo>
                  <a:lnTo>
                    <a:pt x="577" y="892"/>
                  </a:lnTo>
                  <a:lnTo>
                    <a:pt x="575" y="884"/>
                  </a:lnTo>
                  <a:lnTo>
                    <a:pt x="574" y="875"/>
                  </a:lnTo>
                  <a:lnTo>
                    <a:pt x="575" y="870"/>
                  </a:lnTo>
                  <a:lnTo>
                    <a:pt x="577" y="866"/>
                  </a:lnTo>
                  <a:lnTo>
                    <a:pt x="581" y="860"/>
                  </a:lnTo>
                  <a:lnTo>
                    <a:pt x="584" y="856"/>
                  </a:lnTo>
                  <a:lnTo>
                    <a:pt x="587" y="851"/>
                  </a:lnTo>
                  <a:lnTo>
                    <a:pt x="590" y="846"/>
                  </a:lnTo>
                  <a:lnTo>
                    <a:pt x="593" y="842"/>
                  </a:lnTo>
                  <a:lnTo>
                    <a:pt x="594" y="837"/>
                  </a:lnTo>
                  <a:lnTo>
                    <a:pt x="593" y="825"/>
                  </a:lnTo>
                  <a:lnTo>
                    <a:pt x="589" y="809"/>
                  </a:lnTo>
                  <a:lnTo>
                    <a:pt x="588" y="798"/>
                  </a:lnTo>
                  <a:lnTo>
                    <a:pt x="588" y="789"/>
                  </a:lnTo>
                  <a:lnTo>
                    <a:pt x="590" y="779"/>
                  </a:lnTo>
                  <a:lnTo>
                    <a:pt x="594" y="770"/>
                  </a:lnTo>
                  <a:lnTo>
                    <a:pt x="571" y="766"/>
                  </a:lnTo>
                  <a:lnTo>
                    <a:pt x="521" y="759"/>
                  </a:lnTo>
                  <a:lnTo>
                    <a:pt x="494" y="756"/>
                  </a:lnTo>
                  <a:lnTo>
                    <a:pt x="471" y="755"/>
                  </a:lnTo>
                  <a:lnTo>
                    <a:pt x="461" y="754"/>
                  </a:lnTo>
                  <a:lnTo>
                    <a:pt x="454" y="755"/>
                  </a:lnTo>
                  <a:lnTo>
                    <a:pt x="450" y="756"/>
                  </a:lnTo>
                  <a:lnTo>
                    <a:pt x="448" y="758"/>
                  </a:lnTo>
                  <a:lnTo>
                    <a:pt x="448" y="762"/>
                  </a:lnTo>
                  <a:lnTo>
                    <a:pt x="448" y="770"/>
                  </a:lnTo>
                  <a:lnTo>
                    <a:pt x="447" y="775"/>
                  </a:lnTo>
                  <a:lnTo>
                    <a:pt x="446" y="780"/>
                  </a:lnTo>
                  <a:lnTo>
                    <a:pt x="443" y="785"/>
                  </a:lnTo>
                  <a:lnTo>
                    <a:pt x="440" y="790"/>
                  </a:lnTo>
                  <a:lnTo>
                    <a:pt x="437" y="796"/>
                  </a:lnTo>
                  <a:lnTo>
                    <a:pt x="431" y="801"/>
                  </a:lnTo>
                  <a:lnTo>
                    <a:pt x="425" y="806"/>
                  </a:lnTo>
                  <a:lnTo>
                    <a:pt x="417" y="811"/>
                  </a:lnTo>
                  <a:lnTo>
                    <a:pt x="407" y="814"/>
                  </a:lnTo>
                  <a:lnTo>
                    <a:pt x="396" y="817"/>
                  </a:lnTo>
                  <a:lnTo>
                    <a:pt x="383" y="819"/>
                  </a:lnTo>
                  <a:lnTo>
                    <a:pt x="369" y="819"/>
                  </a:lnTo>
                  <a:lnTo>
                    <a:pt x="362" y="818"/>
                  </a:lnTo>
                  <a:lnTo>
                    <a:pt x="355" y="816"/>
                  </a:lnTo>
                  <a:lnTo>
                    <a:pt x="349" y="811"/>
                  </a:lnTo>
                  <a:lnTo>
                    <a:pt x="342" y="804"/>
                  </a:lnTo>
                  <a:lnTo>
                    <a:pt x="337" y="797"/>
                  </a:lnTo>
                  <a:lnTo>
                    <a:pt x="330" y="789"/>
                  </a:lnTo>
                  <a:lnTo>
                    <a:pt x="325" y="780"/>
                  </a:lnTo>
                  <a:lnTo>
                    <a:pt x="319" y="771"/>
                  </a:lnTo>
                  <a:lnTo>
                    <a:pt x="309" y="749"/>
                  </a:lnTo>
                  <a:lnTo>
                    <a:pt x="302" y="728"/>
                  </a:lnTo>
                  <a:lnTo>
                    <a:pt x="298" y="718"/>
                  </a:lnTo>
                  <a:lnTo>
                    <a:pt x="297" y="708"/>
                  </a:lnTo>
                  <a:lnTo>
                    <a:pt x="295" y="699"/>
                  </a:lnTo>
                  <a:lnTo>
                    <a:pt x="295" y="689"/>
                  </a:lnTo>
                  <a:lnTo>
                    <a:pt x="3" y="689"/>
                  </a:lnTo>
                  <a:lnTo>
                    <a:pt x="2" y="683"/>
                  </a:lnTo>
                  <a:lnTo>
                    <a:pt x="0" y="680"/>
                  </a:lnTo>
                  <a:lnTo>
                    <a:pt x="0" y="677"/>
                  </a:lnTo>
                  <a:lnTo>
                    <a:pt x="3" y="671"/>
                  </a:lnTo>
                  <a:lnTo>
                    <a:pt x="10" y="669"/>
                  </a:lnTo>
                  <a:lnTo>
                    <a:pt x="16" y="668"/>
                  </a:lnTo>
                  <a:lnTo>
                    <a:pt x="23" y="668"/>
                  </a:lnTo>
                  <a:lnTo>
                    <a:pt x="28" y="668"/>
                  </a:lnTo>
                  <a:lnTo>
                    <a:pt x="34" y="668"/>
                  </a:lnTo>
                  <a:lnTo>
                    <a:pt x="39" y="668"/>
                  </a:lnTo>
                  <a:lnTo>
                    <a:pt x="45" y="667"/>
                  </a:lnTo>
                  <a:lnTo>
                    <a:pt x="49" y="665"/>
                  </a:lnTo>
                  <a:lnTo>
                    <a:pt x="49" y="640"/>
                  </a:lnTo>
                  <a:lnTo>
                    <a:pt x="36" y="640"/>
                  </a:lnTo>
                  <a:lnTo>
                    <a:pt x="27" y="640"/>
                  </a:lnTo>
                  <a:lnTo>
                    <a:pt x="18" y="640"/>
                  </a:lnTo>
                  <a:lnTo>
                    <a:pt x="10" y="640"/>
                  </a:lnTo>
                  <a:lnTo>
                    <a:pt x="26" y="631"/>
                  </a:lnTo>
                  <a:lnTo>
                    <a:pt x="39" y="622"/>
                  </a:lnTo>
                  <a:lnTo>
                    <a:pt x="46" y="619"/>
                  </a:lnTo>
                  <a:lnTo>
                    <a:pt x="52" y="615"/>
                  </a:lnTo>
                  <a:lnTo>
                    <a:pt x="60" y="612"/>
                  </a:lnTo>
                  <a:lnTo>
                    <a:pt x="69" y="610"/>
                  </a:lnTo>
                  <a:lnTo>
                    <a:pt x="72" y="613"/>
                  </a:lnTo>
                  <a:lnTo>
                    <a:pt x="75" y="615"/>
                  </a:lnTo>
                  <a:lnTo>
                    <a:pt x="79" y="616"/>
                  </a:lnTo>
                  <a:lnTo>
                    <a:pt x="82" y="617"/>
                  </a:lnTo>
                  <a:lnTo>
                    <a:pt x="91" y="618"/>
                  </a:lnTo>
                  <a:lnTo>
                    <a:pt x="101" y="616"/>
                  </a:lnTo>
                  <a:lnTo>
                    <a:pt x="122" y="612"/>
                  </a:lnTo>
                  <a:lnTo>
                    <a:pt x="142" y="610"/>
                  </a:lnTo>
                  <a:lnTo>
                    <a:pt x="145" y="614"/>
                  </a:lnTo>
                  <a:lnTo>
                    <a:pt x="148" y="617"/>
                  </a:lnTo>
                  <a:lnTo>
                    <a:pt x="152" y="619"/>
                  </a:lnTo>
                  <a:lnTo>
                    <a:pt x="157" y="620"/>
                  </a:lnTo>
                  <a:lnTo>
                    <a:pt x="166" y="621"/>
                  </a:lnTo>
                  <a:lnTo>
                    <a:pt x="175" y="622"/>
                  </a:lnTo>
                  <a:lnTo>
                    <a:pt x="179" y="621"/>
                  </a:lnTo>
                  <a:lnTo>
                    <a:pt x="183" y="620"/>
                  </a:lnTo>
                  <a:lnTo>
                    <a:pt x="186" y="618"/>
                  </a:lnTo>
                  <a:lnTo>
                    <a:pt x="190" y="616"/>
                  </a:lnTo>
                  <a:lnTo>
                    <a:pt x="195" y="610"/>
                  </a:lnTo>
                  <a:lnTo>
                    <a:pt x="201" y="603"/>
                  </a:lnTo>
                  <a:lnTo>
                    <a:pt x="209" y="588"/>
                  </a:lnTo>
                  <a:lnTo>
                    <a:pt x="215" y="578"/>
                  </a:lnTo>
                  <a:lnTo>
                    <a:pt x="220" y="574"/>
                  </a:lnTo>
                  <a:lnTo>
                    <a:pt x="225" y="571"/>
                  </a:lnTo>
                  <a:lnTo>
                    <a:pt x="230" y="569"/>
                  </a:lnTo>
                  <a:lnTo>
                    <a:pt x="236" y="567"/>
                  </a:lnTo>
                  <a:lnTo>
                    <a:pt x="246" y="564"/>
                  </a:lnTo>
                  <a:lnTo>
                    <a:pt x="256" y="560"/>
                  </a:lnTo>
                  <a:lnTo>
                    <a:pt x="258" y="558"/>
                  </a:lnTo>
                  <a:lnTo>
                    <a:pt x="260" y="555"/>
                  </a:lnTo>
                  <a:lnTo>
                    <a:pt x="262" y="550"/>
                  </a:lnTo>
                  <a:lnTo>
                    <a:pt x="264" y="544"/>
                  </a:lnTo>
                  <a:lnTo>
                    <a:pt x="268" y="528"/>
                  </a:lnTo>
                  <a:lnTo>
                    <a:pt x="270" y="511"/>
                  </a:lnTo>
                  <a:lnTo>
                    <a:pt x="274" y="477"/>
                  </a:lnTo>
                  <a:lnTo>
                    <a:pt x="275" y="449"/>
                  </a:lnTo>
                  <a:lnTo>
                    <a:pt x="281" y="440"/>
                  </a:lnTo>
                  <a:lnTo>
                    <a:pt x="287" y="432"/>
                  </a:lnTo>
                  <a:lnTo>
                    <a:pt x="294" y="425"/>
                  </a:lnTo>
                  <a:lnTo>
                    <a:pt x="302" y="416"/>
                  </a:lnTo>
                  <a:lnTo>
                    <a:pt x="316" y="404"/>
                  </a:lnTo>
                  <a:lnTo>
                    <a:pt x="328" y="394"/>
                  </a:lnTo>
                  <a:lnTo>
                    <a:pt x="338" y="382"/>
                  </a:lnTo>
                  <a:lnTo>
                    <a:pt x="346" y="370"/>
                  </a:lnTo>
                  <a:lnTo>
                    <a:pt x="352" y="357"/>
                  </a:lnTo>
                  <a:lnTo>
                    <a:pt x="357" y="345"/>
                  </a:lnTo>
                  <a:lnTo>
                    <a:pt x="361" y="334"/>
                  </a:lnTo>
                  <a:lnTo>
                    <a:pt x="364" y="323"/>
                  </a:lnTo>
                  <a:lnTo>
                    <a:pt x="366" y="312"/>
                  </a:lnTo>
                  <a:lnTo>
                    <a:pt x="369" y="299"/>
                  </a:lnTo>
                  <a:lnTo>
                    <a:pt x="370" y="276"/>
                  </a:lnTo>
                  <a:lnTo>
                    <a:pt x="370" y="251"/>
                  </a:lnTo>
                  <a:lnTo>
                    <a:pt x="369" y="225"/>
                  </a:lnTo>
                  <a:lnTo>
                    <a:pt x="369" y="197"/>
                  </a:lnTo>
                  <a:lnTo>
                    <a:pt x="369" y="191"/>
                  </a:lnTo>
                  <a:lnTo>
                    <a:pt x="369" y="187"/>
                  </a:lnTo>
                  <a:lnTo>
                    <a:pt x="371" y="183"/>
                  </a:lnTo>
                  <a:lnTo>
                    <a:pt x="372" y="180"/>
                  </a:lnTo>
                  <a:lnTo>
                    <a:pt x="375" y="174"/>
                  </a:lnTo>
                  <a:lnTo>
                    <a:pt x="380" y="167"/>
                  </a:lnTo>
                  <a:lnTo>
                    <a:pt x="383" y="160"/>
                  </a:lnTo>
                  <a:lnTo>
                    <a:pt x="385" y="149"/>
                  </a:lnTo>
                  <a:lnTo>
                    <a:pt x="385" y="140"/>
                  </a:lnTo>
                  <a:lnTo>
                    <a:pt x="385" y="132"/>
                  </a:lnTo>
                  <a:lnTo>
                    <a:pt x="383" y="122"/>
                  </a:lnTo>
                  <a:lnTo>
                    <a:pt x="382" y="110"/>
                  </a:lnTo>
                  <a:lnTo>
                    <a:pt x="397" y="87"/>
                  </a:lnTo>
                  <a:lnTo>
                    <a:pt x="417" y="58"/>
                  </a:lnTo>
                  <a:lnTo>
                    <a:pt x="422" y="51"/>
                  </a:lnTo>
                  <a:lnTo>
                    <a:pt x="428" y="45"/>
                  </a:lnTo>
                  <a:lnTo>
                    <a:pt x="435" y="40"/>
                  </a:lnTo>
                  <a:lnTo>
                    <a:pt x="440" y="35"/>
                  </a:lnTo>
                  <a:lnTo>
                    <a:pt x="447" y="31"/>
                  </a:lnTo>
                  <a:lnTo>
                    <a:pt x="453" y="26"/>
                  </a:lnTo>
                  <a:lnTo>
                    <a:pt x="461" y="24"/>
                  </a:lnTo>
                  <a:lnTo>
                    <a:pt x="467" y="24"/>
                  </a:lnTo>
                  <a:lnTo>
                    <a:pt x="476" y="24"/>
                  </a:lnTo>
                  <a:lnTo>
                    <a:pt x="484" y="26"/>
                  </a:lnTo>
                  <a:lnTo>
                    <a:pt x="491" y="30"/>
                  </a:lnTo>
                  <a:lnTo>
                    <a:pt x="497" y="33"/>
                  </a:lnTo>
                  <a:lnTo>
                    <a:pt x="509" y="42"/>
                  </a:lnTo>
                  <a:lnTo>
                    <a:pt x="521" y="52"/>
                  </a:lnTo>
                  <a:lnTo>
                    <a:pt x="532" y="62"/>
                  </a:lnTo>
                  <a:lnTo>
                    <a:pt x="544" y="71"/>
                  </a:lnTo>
                  <a:lnTo>
                    <a:pt x="551" y="74"/>
                  </a:lnTo>
                  <a:lnTo>
                    <a:pt x="558" y="77"/>
                  </a:lnTo>
                  <a:lnTo>
                    <a:pt x="565" y="79"/>
                  </a:lnTo>
                  <a:lnTo>
                    <a:pt x="574" y="79"/>
                  </a:lnTo>
                  <a:lnTo>
                    <a:pt x="587" y="78"/>
                  </a:lnTo>
                  <a:lnTo>
                    <a:pt x="599" y="76"/>
                  </a:lnTo>
                  <a:lnTo>
                    <a:pt x="614" y="74"/>
                  </a:lnTo>
                  <a:lnTo>
                    <a:pt x="634" y="73"/>
                  </a:lnTo>
                  <a:lnTo>
                    <a:pt x="637" y="73"/>
                  </a:lnTo>
                  <a:lnTo>
                    <a:pt x="639" y="71"/>
                  </a:lnTo>
                  <a:lnTo>
                    <a:pt x="641" y="69"/>
                  </a:lnTo>
                  <a:lnTo>
                    <a:pt x="644" y="66"/>
                  </a:lnTo>
                  <a:lnTo>
                    <a:pt x="649" y="60"/>
                  </a:lnTo>
                  <a:lnTo>
                    <a:pt x="654" y="55"/>
                  </a:lnTo>
                  <a:lnTo>
                    <a:pt x="662" y="49"/>
                  </a:lnTo>
                  <a:lnTo>
                    <a:pt x="670" y="44"/>
                  </a:lnTo>
                  <a:lnTo>
                    <a:pt x="677" y="40"/>
                  </a:lnTo>
                  <a:lnTo>
                    <a:pt x="685" y="38"/>
                  </a:lnTo>
                  <a:lnTo>
                    <a:pt x="693" y="36"/>
                  </a:lnTo>
                  <a:lnTo>
                    <a:pt x="701" y="35"/>
                  </a:lnTo>
                  <a:lnTo>
                    <a:pt x="709" y="34"/>
                  </a:lnTo>
                  <a:lnTo>
                    <a:pt x="718" y="34"/>
                  </a:lnTo>
                  <a:lnTo>
                    <a:pt x="734" y="34"/>
                  </a:lnTo>
                  <a:lnTo>
                    <a:pt x="752" y="35"/>
                  </a:lnTo>
                  <a:lnTo>
                    <a:pt x="761" y="34"/>
                  </a:lnTo>
                  <a:lnTo>
                    <a:pt x="769" y="34"/>
                  </a:lnTo>
                  <a:lnTo>
                    <a:pt x="778" y="33"/>
                  </a:lnTo>
                  <a:lnTo>
                    <a:pt x="787" y="31"/>
                  </a:lnTo>
                  <a:lnTo>
                    <a:pt x="790" y="24"/>
                  </a:lnTo>
                  <a:lnTo>
                    <a:pt x="795" y="17"/>
                  </a:lnTo>
                  <a:lnTo>
                    <a:pt x="796" y="13"/>
                  </a:lnTo>
                  <a:lnTo>
                    <a:pt x="799" y="9"/>
                  </a:lnTo>
                  <a:lnTo>
                    <a:pt x="802" y="4"/>
                  </a:lnTo>
                  <a:lnTo>
                    <a:pt x="807" y="0"/>
                  </a:lnTo>
                  <a:lnTo>
                    <a:pt x="814" y="0"/>
                  </a:lnTo>
                  <a:lnTo>
                    <a:pt x="827" y="0"/>
                  </a:lnTo>
                  <a:lnTo>
                    <a:pt x="828" y="8"/>
                  </a:lnTo>
                  <a:lnTo>
                    <a:pt x="830" y="14"/>
                  </a:lnTo>
                  <a:lnTo>
                    <a:pt x="833" y="18"/>
                  </a:lnTo>
                  <a:lnTo>
                    <a:pt x="839" y="21"/>
                  </a:lnTo>
                  <a:lnTo>
                    <a:pt x="843" y="22"/>
                  </a:lnTo>
                  <a:lnTo>
                    <a:pt x="848" y="23"/>
                  </a:lnTo>
                  <a:lnTo>
                    <a:pt x="854" y="24"/>
                  </a:lnTo>
                  <a:lnTo>
                    <a:pt x="859" y="24"/>
                  </a:lnTo>
                  <a:lnTo>
                    <a:pt x="869" y="24"/>
                  </a:lnTo>
                  <a:lnTo>
                    <a:pt x="879" y="24"/>
                  </a:lnTo>
                  <a:lnTo>
                    <a:pt x="887" y="24"/>
                  </a:lnTo>
                  <a:lnTo>
                    <a:pt x="894" y="2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0" name="Freeform 249">
              <a:extLst>
                <a:ext uri="{FF2B5EF4-FFF2-40B4-BE49-F238E27FC236}">
                  <a16:creationId xmlns:a16="http://schemas.microsoft.com/office/drawing/2014/main" id="{F41336C8-30DB-45BF-B415-F89A3524E8D6}"/>
                </a:ext>
              </a:extLst>
            </p:cNvPr>
            <p:cNvSpPr>
              <a:spLocks/>
            </p:cNvSpPr>
            <p:nvPr>
              <p:custDataLst>
                <p:tags r:id="rId176"/>
              </p:custDataLst>
            </p:nvPr>
          </p:nvSpPr>
          <p:spPr bwMode="auto">
            <a:xfrm>
              <a:off x="4243383" y="3590897"/>
              <a:ext cx="55562" cy="55562"/>
            </a:xfrm>
            <a:custGeom>
              <a:avLst/>
              <a:gdLst>
                <a:gd name="T0" fmla="*/ 53340 w 125"/>
                <a:gd name="T1" fmla="*/ 0 h 81"/>
                <a:gd name="T2" fmla="*/ 53784 w 125"/>
                <a:gd name="T3" fmla="*/ 18521 h 81"/>
                <a:gd name="T4" fmla="*/ 55118 w 125"/>
                <a:gd name="T5" fmla="*/ 31554 h 81"/>
                <a:gd name="T6" fmla="*/ 55562 w 125"/>
                <a:gd name="T7" fmla="*/ 36356 h 81"/>
                <a:gd name="T8" fmla="*/ 55562 w 125"/>
                <a:gd name="T9" fmla="*/ 40472 h 81"/>
                <a:gd name="T10" fmla="*/ 55562 w 125"/>
                <a:gd name="T11" fmla="*/ 44588 h 81"/>
                <a:gd name="T12" fmla="*/ 54673 w 125"/>
                <a:gd name="T13" fmla="*/ 47331 h 81"/>
                <a:gd name="T14" fmla="*/ 52895 w 125"/>
                <a:gd name="T15" fmla="*/ 49389 h 81"/>
                <a:gd name="T16" fmla="*/ 49784 w 125"/>
                <a:gd name="T17" fmla="*/ 50761 h 81"/>
                <a:gd name="T18" fmla="*/ 45783 w 125"/>
                <a:gd name="T19" fmla="*/ 52133 h 81"/>
                <a:gd name="T20" fmla="*/ 40449 w 125"/>
                <a:gd name="T21" fmla="*/ 52819 h 81"/>
                <a:gd name="T22" fmla="*/ 25336 w 125"/>
                <a:gd name="T23" fmla="*/ 54191 h 81"/>
                <a:gd name="T24" fmla="*/ 3111 w 125"/>
                <a:gd name="T25" fmla="*/ 55563 h 81"/>
                <a:gd name="T26" fmla="*/ 2222 w 125"/>
                <a:gd name="T27" fmla="*/ 54191 h 81"/>
                <a:gd name="T28" fmla="*/ 1333 w 125"/>
                <a:gd name="T29" fmla="*/ 49389 h 81"/>
                <a:gd name="T30" fmla="*/ 444 w 125"/>
                <a:gd name="T31" fmla="*/ 40472 h 81"/>
                <a:gd name="T32" fmla="*/ 0 w 125"/>
                <a:gd name="T33" fmla="*/ 29496 h 81"/>
                <a:gd name="T34" fmla="*/ 0 w 125"/>
                <a:gd name="T35" fmla="*/ 25381 h 81"/>
                <a:gd name="T36" fmla="*/ 444 w 125"/>
                <a:gd name="T37" fmla="*/ 21265 h 81"/>
                <a:gd name="T38" fmla="*/ 889 w 125"/>
                <a:gd name="T39" fmla="*/ 17149 h 81"/>
                <a:gd name="T40" fmla="*/ 1778 w 125"/>
                <a:gd name="T41" fmla="*/ 13719 h 81"/>
                <a:gd name="T42" fmla="*/ 3556 w 125"/>
                <a:gd name="T43" fmla="*/ 10289 h 81"/>
                <a:gd name="T44" fmla="*/ 4889 w 125"/>
                <a:gd name="T45" fmla="*/ 6860 h 81"/>
                <a:gd name="T46" fmla="*/ 6223 w 125"/>
                <a:gd name="T47" fmla="*/ 3430 h 81"/>
                <a:gd name="T48" fmla="*/ 8890 w 125"/>
                <a:gd name="T49" fmla="*/ 0 h 81"/>
                <a:gd name="T50" fmla="*/ 53340 w 125"/>
                <a:gd name="T51" fmla="*/ 0 h 8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5" h="81">
                  <a:moveTo>
                    <a:pt x="120" y="0"/>
                  </a:moveTo>
                  <a:lnTo>
                    <a:pt x="121" y="27"/>
                  </a:lnTo>
                  <a:lnTo>
                    <a:pt x="124" y="46"/>
                  </a:lnTo>
                  <a:lnTo>
                    <a:pt x="125" y="53"/>
                  </a:lnTo>
                  <a:lnTo>
                    <a:pt x="125" y="59"/>
                  </a:lnTo>
                  <a:lnTo>
                    <a:pt x="125" y="65"/>
                  </a:lnTo>
                  <a:lnTo>
                    <a:pt x="123" y="69"/>
                  </a:lnTo>
                  <a:lnTo>
                    <a:pt x="119" y="72"/>
                  </a:lnTo>
                  <a:lnTo>
                    <a:pt x="112" y="74"/>
                  </a:lnTo>
                  <a:lnTo>
                    <a:pt x="103" y="76"/>
                  </a:lnTo>
                  <a:lnTo>
                    <a:pt x="91" y="77"/>
                  </a:lnTo>
                  <a:lnTo>
                    <a:pt x="57" y="79"/>
                  </a:lnTo>
                  <a:lnTo>
                    <a:pt x="7" y="81"/>
                  </a:lnTo>
                  <a:lnTo>
                    <a:pt x="5" y="79"/>
                  </a:lnTo>
                  <a:lnTo>
                    <a:pt x="3" y="72"/>
                  </a:lnTo>
                  <a:lnTo>
                    <a:pt x="1" y="59"/>
                  </a:lnTo>
                  <a:lnTo>
                    <a:pt x="0" y="43"/>
                  </a:lnTo>
                  <a:lnTo>
                    <a:pt x="0" y="37"/>
                  </a:lnTo>
                  <a:lnTo>
                    <a:pt x="1" y="31"/>
                  </a:lnTo>
                  <a:lnTo>
                    <a:pt x="2" y="25"/>
                  </a:lnTo>
                  <a:lnTo>
                    <a:pt x="4" y="20"/>
                  </a:lnTo>
                  <a:lnTo>
                    <a:pt x="8" y="15"/>
                  </a:lnTo>
                  <a:lnTo>
                    <a:pt x="11" y="10"/>
                  </a:lnTo>
                  <a:lnTo>
                    <a:pt x="14" y="5"/>
                  </a:lnTo>
                  <a:lnTo>
                    <a:pt x="20" y="0"/>
                  </a:lnTo>
                  <a:lnTo>
                    <a:pt x="1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1" name="Freeform 250">
              <a:extLst>
                <a:ext uri="{FF2B5EF4-FFF2-40B4-BE49-F238E27FC236}">
                  <a16:creationId xmlns:a16="http://schemas.microsoft.com/office/drawing/2014/main" id="{46D30418-3212-4538-8D1E-E7521FE475AE}"/>
                </a:ext>
              </a:extLst>
            </p:cNvPr>
            <p:cNvSpPr>
              <a:spLocks/>
            </p:cNvSpPr>
            <p:nvPr>
              <p:custDataLst>
                <p:tags r:id="rId177"/>
              </p:custDataLst>
            </p:nvPr>
          </p:nvSpPr>
          <p:spPr bwMode="auto">
            <a:xfrm>
              <a:off x="4225920" y="3590897"/>
              <a:ext cx="152400" cy="201612"/>
            </a:xfrm>
            <a:custGeom>
              <a:avLst/>
              <a:gdLst>
                <a:gd name="T0" fmla="*/ 112475 w 355"/>
                <a:gd name="T1" fmla="*/ 7794 h 388"/>
                <a:gd name="T2" fmla="*/ 110329 w 355"/>
                <a:gd name="T3" fmla="*/ 19226 h 388"/>
                <a:gd name="T4" fmla="*/ 113334 w 355"/>
                <a:gd name="T5" fmla="*/ 26501 h 388"/>
                <a:gd name="T6" fmla="*/ 121491 w 355"/>
                <a:gd name="T7" fmla="*/ 31177 h 388"/>
                <a:gd name="T8" fmla="*/ 136945 w 355"/>
                <a:gd name="T9" fmla="*/ 28579 h 388"/>
                <a:gd name="T10" fmla="*/ 142526 w 355"/>
                <a:gd name="T11" fmla="*/ 29618 h 388"/>
                <a:gd name="T12" fmla="*/ 145961 w 355"/>
                <a:gd name="T13" fmla="*/ 35334 h 388"/>
                <a:gd name="T14" fmla="*/ 148107 w 355"/>
                <a:gd name="T15" fmla="*/ 43129 h 388"/>
                <a:gd name="T16" fmla="*/ 150683 w 355"/>
                <a:gd name="T17" fmla="*/ 48844 h 388"/>
                <a:gd name="T18" fmla="*/ 148107 w 355"/>
                <a:gd name="T19" fmla="*/ 56119 h 388"/>
                <a:gd name="T20" fmla="*/ 137375 w 355"/>
                <a:gd name="T21" fmla="*/ 70668 h 388"/>
                <a:gd name="T22" fmla="*/ 149395 w 355"/>
                <a:gd name="T23" fmla="*/ 90934 h 388"/>
                <a:gd name="T24" fmla="*/ 152400 w 355"/>
                <a:gd name="T25" fmla="*/ 104963 h 388"/>
                <a:gd name="T26" fmla="*/ 151541 w 355"/>
                <a:gd name="T27" fmla="*/ 113797 h 388"/>
                <a:gd name="T28" fmla="*/ 148107 w 355"/>
                <a:gd name="T29" fmla="*/ 131984 h 388"/>
                <a:gd name="T30" fmla="*/ 142955 w 355"/>
                <a:gd name="T31" fmla="*/ 140817 h 388"/>
                <a:gd name="T32" fmla="*/ 133940 w 355"/>
                <a:gd name="T33" fmla="*/ 145494 h 388"/>
                <a:gd name="T34" fmla="*/ 122779 w 355"/>
                <a:gd name="T35" fmla="*/ 146533 h 388"/>
                <a:gd name="T36" fmla="*/ 115910 w 355"/>
                <a:gd name="T37" fmla="*/ 146533 h 388"/>
                <a:gd name="T38" fmla="*/ 108183 w 355"/>
                <a:gd name="T39" fmla="*/ 137700 h 388"/>
                <a:gd name="T40" fmla="*/ 103031 w 355"/>
                <a:gd name="T41" fmla="*/ 134582 h 388"/>
                <a:gd name="T42" fmla="*/ 94874 w 355"/>
                <a:gd name="T43" fmla="*/ 139778 h 388"/>
                <a:gd name="T44" fmla="*/ 88006 w 355"/>
                <a:gd name="T45" fmla="*/ 144974 h 388"/>
                <a:gd name="T46" fmla="*/ 83283 w 355"/>
                <a:gd name="T47" fmla="*/ 148092 h 388"/>
                <a:gd name="T48" fmla="*/ 79420 w 355"/>
                <a:gd name="T49" fmla="*/ 154847 h 388"/>
                <a:gd name="T50" fmla="*/ 80278 w 355"/>
                <a:gd name="T51" fmla="*/ 166798 h 388"/>
                <a:gd name="T52" fmla="*/ 88864 w 355"/>
                <a:gd name="T53" fmla="*/ 186024 h 388"/>
                <a:gd name="T54" fmla="*/ 83713 w 355"/>
                <a:gd name="T55" fmla="*/ 183426 h 388"/>
                <a:gd name="T56" fmla="*/ 75985 w 355"/>
                <a:gd name="T57" fmla="*/ 184466 h 388"/>
                <a:gd name="T58" fmla="*/ 69546 w 355"/>
                <a:gd name="T59" fmla="*/ 189662 h 388"/>
                <a:gd name="T60" fmla="*/ 62677 w 355"/>
                <a:gd name="T61" fmla="*/ 201613 h 388"/>
                <a:gd name="T62" fmla="*/ 52803 w 355"/>
                <a:gd name="T63" fmla="*/ 192260 h 388"/>
                <a:gd name="T64" fmla="*/ 48510 w 355"/>
                <a:gd name="T65" fmla="*/ 186024 h 388"/>
                <a:gd name="T66" fmla="*/ 41212 w 355"/>
                <a:gd name="T67" fmla="*/ 168357 h 388"/>
                <a:gd name="T68" fmla="*/ 21465 w 355"/>
                <a:gd name="T69" fmla="*/ 145494 h 388"/>
                <a:gd name="T70" fmla="*/ 9445 w 355"/>
                <a:gd name="T71" fmla="*/ 131984 h 388"/>
                <a:gd name="T72" fmla="*/ 2146 w 355"/>
                <a:gd name="T73" fmla="*/ 115876 h 388"/>
                <a:gd name="T74" fmla="*/ 429 w 355"/>
                <a:gd name="T75" fmla="*/ 97169 h 388"/>
                <a:gd name="T76" fmla="*/ 4722 w 355"/>
                <a:gd name="T77" fmla="*/ 84179 h 388"/>
                <a:gd name="T78" fmla="*/ 17601 w 355"/>
                <a:gd name="T79" fmla="*/ 69629 h 388"/>
                <a:gd name="T80" fmla="*/ 23182 w 355"/>
                <a:gd name="T81" fmla="*/ 60276 h 388"/>
                <a:gd name="T82" fmla="*/ 24041 w 355"/>
                <a:gd name="T83" fmla="*/ 47286 h 388"/>
                <a:gd name="T84" fmla="*/ 46364 w 355"/>
                <a:gd name="T85" fmla="*/ 43129 h 388"/>
                <a:gd name="T86" fmla="*/ 66970 w 355"/>
                <a:gd name="T87" fmla="*/ 41570 h 388"/>
                <a:gd name="T88" fmla="*/ 73839 w 355"/>
                <a:gd name="T89" fmla="*/ 37932 h 388"/>
                <a:gd name="T90" fmla="*/ 75985 w 355"/>
                <a:gd name="T91" fmla="*/ 32736 h 388"/>
                <a:gd name="T92" fmla="*/ 74697 w 355"/>
                <a:gd name="T93" fmla="*/ 21304 h 388"/>
                <a:gd name="T94" fmla="*/ 71692 w 355"/>
                <a:gd name="T95" fmla="*/ 6235 h 388"/>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55" h="388">
                  <a:moveTo>
                    <a:pt x="266" y="7"/>
                  </a:moveTo>
                  <a:lnTo>
                    <a:pt x="265" y="9"/>
                  </a:lnTo>
                  <a:lnTo>
                    <a:pt x="262" y="15"/>
                  </a:lnTo>
                  <a:lnTo>
                    <a:pt x="259" y="23"/>
                  </a:lnTo>
                  <a:lnTo>
                    <a:pt x="257" y="32"/>
                  </a:lnTo>
                  <a:lnTo>
                    <a:pt x="257" y="37"/>
                  </a:lnTo>
                  <a:lnTo>
                    <a:pt x="258" y="42"/>
                  </a:lnTo>
                  <a:lnTo>
                    <a:pt x="261" y="46"/>
                  </a:lnTo>
                  <a:lnTo>
                    <a:pt x="264" y="51"/>
                  </a:lnTo>
                  <a:lnTo>
                    <a:pt x="268" y="54"/>
                  </a:lnTo>
                  <a:lnTo>
                    <a:pt x="275" y="58"/>
                  </a:lnTo>
                  <a:lnTo>
                    <a:pt x="283" y="60"/>
                  </a:lnTo>
                  <a:lnTo>
                    <a:pt x="294" y="63"/>
                  </a:lnTo>
                  <a:lnTo>
                    <a:pt x="301" y="58"/>
                  </a:lnTo>
                  <a:lnTo>
                    <a:pt x="319" y="55"/>
                  </a:lnTo>
                  <a:lnTo>
                    <a:pt x="323" y="55"/>
                  </a:lnTo>
                  <a:lnTo>
                    <a:pt x="328" y="55"/>
                  </a:lnTo>
                  <a:lnTo>
                    <a:pt x="332" y="57"/>
                  </a:lnTo>
                  <a:lnTo>
                    <a:pt x="335" y="59"/>
                  </a:lnTo>
                  <a:lnTo>
                    <a:pt x="337" y="63"/>
                  </a:lnTo>
                  <a:lnTo>
                    <a:pt x="340" y="68"/>
                  </a:lnTo>
                  <a:lnTo>
                    <a:pt x="340" y="74"/>
                  </a:lnTo>
                  <a:lnTo>
                    <a:pt x="340" y="81"/>
                  </a:lnTo>
                  <a:lnTo>
                    <a:pt x="345" y="83"/>
                  </a:lnTo>
                  <a:lnTo>
                    <a:pt x="348" y="87"/>
                  </a:lnTo>
                  <a:lnTo>
                    <a:pt x="350" y="90"/>
                  </a:lnTo>
                  <a:lnTo>
                    <a:pt x="351" y="94"/>
                  </a:lnTo>
                  <a:lnTo>
                    <a:pt x="350" y="99"/>
                  </a:lnTo>
                  <a:lnTo>
                    <a:pt x="347" y="103"/>
                  </a:lnTo>
                  <a:lnTo>
                    <a:pt x="345" y="108"/>
                  </a:lnTo>
                  <a:lnTo>
                    <a:pt x="342" y="113"/>
                  </a:lnTo>
                  <a:lnTo>
                    <a:pt x="328" y="129"/>
                  </a:lnTo>
                  <a:lnTo>
                    <a:pt x="320" y="136"/>
                  </a:lnTo>
                  <a:lnTo>
                    <a:pt x="326" y="143"/>
                  </a:lnTo>
                  <a:lnTo>
                    <a:pt x="341" y="162"/>
                  </a:lnTo>
                  <a:lnTo>
                    <a:pt x="348" y="175"/>
                  </a:lnTo>
                  <a:lnTo>
                    <a:pt x="353" y="188"/>
                  </a:lnTo>
                  <a:lnTo>
                    <a:pt x="355" y="195"/>
                  </a:lnTo>
                  <a:lnTo>
                    <a:pt x="355" y="202"/>
                  </a:lnTo>
                  <a:lnTo>
                    <a:pt x="355" y="209"/>
                  </a:lnTo>
                  <a:lnTo>
                    <a:pt x="353" y="216"/>
                  </a:lnTo>
                  <a:lnTo>
                    <a:pt x="353" y="219"/>
                  </a:lnTo>
                  <a:lnTo>
                    <a:pt x="352" y="228"/>
                  </a:lnTo>
                  <a:lnTo>
                    <a:pt x="350" y="241"/>
                  </a:lnTo>
                  <a:lnTo>
                    <a:pt x="345" y="254"/>
                  </a:lnTo>
                  <a:lnTo>
                    <a:pt x="342" y="260"/>
                  </a:lnTo>
                  <a:lnTo>
                    <a:pt x="339" y="266"/>
                  </a:lnTo>
                  <a:lnTo>
                    <a:pt x="333" y="271"/>
                  </a:lnTo>
                  <a:lnTo>
                    <a:pt x="328" y="276"/>
                  </a:lnTo>
                  <a:lnTo>
                    <a:pt x="321" y="279"/>
                  </a:lnTo>
                  <a:lnTo>
                    <a:pt x="312" y="280"/>
                  </a:lnTo>
                  <a:lnTo>
                    <a:pt x="303" y="280"/>
                  </a:lnTo>
                  <a:lnTo>
                    <a:pt x="294" y="277"/>
                  </a:lnTo>
                  <a:lnTo>
                    <a:pt x="286" y="282"/>
                  </a:lnTo>
                  <a:lnTo>
                    <a:pt x="280" y="285"/>
                  </a:lnTo>
                  <a:lnTo>
                    <a:pt x="275" y="285"/>
                  </a:lnTo>
                  <a:lnTo>
                    <a:pt x="270" y="282"/>
                  </a:lnTo>
                  <a:lnTo>
                    <a:pt x="263" y="276"/>
                  </a:lnTo>
                  <a:lnTo>
                    <a:pt x="255" y="268"/>
                  </a:lnTo>
                  <a:lnTo>
                    <a:pt x="252" y="265"/>
                  </a:lnTo>
                  <a:lnTo>
                    <a:pt x="249" y="261"/>
                  </a:lnTo>
                  <a:lnTo>
                    <a:pt x="244" y="259"/>
                  </a:lnTo>
                  <a:lnTo>
                    <a:pt x="240" y="259"/>
                  </a:lnTo>
                  <a:lnTo>
                    <a:pt x="234" y="260"/>
                  </a:lnTo>
                  <a:lnTo>
                    <a:pt x="229" y="263"/>
                  </a:lnTo>
                  <a:lnTo>
                    <a:pt x="221" y="269"/>
                  </a:lnTo>
                  <a:lnTo>
                    <a:pt x="213" y="277"/>
                  </a:lnTo>
                  <a:lnTo>
                    <a:pt x="211" y="278"/>
                  </a:lnTo>
                  <a:lnTo>
                    <a:pt x="205" y="279"/>
                  </a:lnTo>
                  <a:lnTo>
                    <a:pt x="201" y="280"/>
                  </a:lnTo>
                  <a:lnTo>
                    <a:pt x="197" y="282"/>
                  </a:lnTo>
                  <a:lnTo>
                    <a:pt x="194" y="285"/>
                  </a:lnTo>
                  <a:lnTo>
                    <a:pt x="190" y="288"/>
                  </a:lnTo>
                  <a:lnTo>
                    <a:pt x="187" y="292"/>
                  </a:lnTo>
                  <a:lnTo>
                    <a:pt x="185" y="298"/>
                  </a:lnTo>
                  <a:lnTo>
                    <a:pt x="185" y="304"/>
                  </a:lnTo>
                  <a:lnTo>
                    <a:pt x="185" y="312"/>
                  </a:lnTo>
                  <a:lnTo>
                    <a:pt x="187" y="321"/>
                  </a:lnTo>
                  <a:lnTo>
                    <a:pt x="191" y="331"/>
                  </a:lnTo>
                  <a:lnTo>
                    <a:pt x="198" y="344"/>
                  </a:lnTo>
                  <a:lnTo>
                    <a:pt x="207" y="358"/>
                  </a:lnTo>
                  <a:lnTo>
                    <a:pt x="206" y="357"/>
                  </a:lnTo>
                  <a:lnTo>
                    <a:pt x="201" y="355"/>
                  </a:lnTo>
                  <a:lnTo>
                    <a:pt x="195" y="353"/>
                  </a:lnTo>
                  <a:lnTo>
                    <a:pt x="187" y="353"/>
                  </a:lnTo>
                  <a:lnTo>
                    <a:pt x="183" y="353"/>
                  </a:lnTo>
                  <a:lnTo>
                    <a:pt x="177" y="355"/>
                  </a:lnTo>
                  <a:lnTo>
                    <a:pt x="173" y="357"/>
                  </a:lnTo>
                  <a:lnTo>
                    <a:pt x="167" y="361"/>
                  </a:lnTo>
                  <a:lnTo>
                    <a:pt x="162" y="365"/>
                  </a:lnTo>
                  <a:lnTo>
                    <a:pt x="157" y="371"/>
                  </a:lnTo>
                  <a:lnTo>
                    <a:pt x="152" y="379"/>
                  </a:lnTo>
                  <a:lnTo>
                    <a:pt x="146" y="388"/>
                  </a:lnTo>
                  <a:lnTo>
                    <a:pt x="137" y="380"/>
                  </a:lnTo>
                  <a:lnTo>
                    <a:pt x="128" y="373"/>
                  </a:lnTo>
                  <a:lnTo>
                    <a:pt x="123" y="370"/>
                  </a:lnTo>
                  <a:lnTo>
                    <a:pt x="120" y="366"/>
                  </a:lnTo>
                  <a:lnTo>
                    <a:pt x="117" y="362"/>
                  </a:lnTo>
                  <a:lnTo>
                    <a:pt x="113" y="358"/>
                  </a:lnTo>
                  <a:lnTo>
                    <a:pt x="109" y="346"/>
                  </a:lnTo>
                  <a:lnTo>
                    <a:pt x="102" y="334"/>
                  </a:lnTo>
                  <a:lnTo>
                    <a:pt x="96" y="324"/>
                  </a:lnTo>
                  <a:lnTo>
                    <a:pt x="87" y="315"/>
                  </a:lnTo>
                  <a:lnTo>
                    <a:pt x="70" y="297"/>
                  </a:lnTo>
                  <a:lnTo>
                    <a:pt x="50" y="280"/>
                  </a:lnTo>
                  <a:lnTo>
                    <a:pt x="40" y="271"/>
                  </a:lnTo>
                  <a:lnTo>
                    <a:pt x="31" y="263"/>
                  </a:lnTo>
                  <a:lnTo>
                    <a:pt x="22" y="254"/>
                  </a:lnTo>
                  <a:lnTo>
                    <a:pt x="16" y="245"/>
                  </a:lnTo>
                  <a:lnTo>
                    <a:pt x="9" y="235"/>
                  </a:lnTo>
                  <a:lnTo>
                    <a:pt x="5" y="223"/>
                  </a:lnTo>
                  <a:lnTo>
                    <a:pt x="1" y="211"/>
                  </a:lnTo>
                  <a:lnTo>
                    <a:pt x="0" y="198"/>
                  </a:lnTo>
                  <a:lnTo>
                    <a:pt x="1" y="187"/>
                  </a:lnTo>
                  <a:lnTo>
                    <a:pt x="4" y="178"/>
                  </a:lnTo>
                  <a:lnTo>
                    <a:pt x="7" y="169"/>
                  </a:lnTo>
                  <a:lnTo>
                    <a:pt x="11" y="162"/>
                  </a:lnTo>
                  <a:lnTo>
                    <a:pt x="22" y="150"/>
                  </a:lnTo>
                  <a:lnTo>
                    <a:pt x="34" y="139"/>
                  </a:lnTo>
                  <a:lnTo>
                    <a:pt x="41" y="134"/>
                  </a:lnTo>
                  <a:lnTo>
                    <a:pt x="45" y="129"/>
                  </a:lnTo>
                  <a:lnTo>
                    <a:pt x="50" y="123"/>
                  </a:lnTo>
                  <a:lnTo>
                    <a:pt x="54" y="116"/>
                  </a:lnTo>
                  <a:lnTo>
                    <a:pt x="56" y="109"/>
                  </a:lnTo>
                  <a:lnTo>
                    <a:pt x="57" y="101"/>
                  </a:lnTo>
                  <a:lnTo>
                    <a:pt x="56" y="91"/>
                  </a:lnTo>
                  <a:lnTo>
                    <a:pt x="54" y="81"/>
                  </a:lnTo>
                  <a:lnTo>
                    <a:pt x="84" y="83"/>
                  </a:lnTo>
                  <a:lnTo>
                    <a:pt x="108" y="83"/>
                  </a:lnTo>
                  <a:lnTo>
                    <a:pt x="129" y="83"/>
                  </a:lnTo>
                  <a:lnTo>
                    <a:pt x="144" y="82"/>
                  </a:lnTo>
                  <a:lnTo>
                    <a:pt x="156" y="80"/>
                  </a:lnTo>
                  <a:lnTo>
                    <a:pt x="165" y="77"/>
                  </a:lnTo>
                  <a:lnTo>
                    <a:pt x="168" y="75"/>
                  </a:lnTo>
                  <a:lnTo>
                    <a:pt x="172" y="73"/>
                  </a:lnTo>
                  <a:lnTo>
                    <a:pt x="174" y="71"/>
                  </a:lnTo>
                  <a:lnTo>
                    <a:pt x="175" y="69"/>
                  </a:lnTo>
                  <a:lnTo>
                    <a:pt x="177" y="63"/>
                  </a:lnTo>
                  <a:lnTo>
                    <a:pt x="176" y="56"/>
                  </a:lnTo>
                  <a:lnTo>
                    <a:pt x="175" y="49"/>
                  </a:lnTo>
                  <a:lnTo>
                    <a:pt x="174" y="41"/>
                  </a:lnTo>
                  <a:lnTo>
                    <a:pt x="172" y="32"/>
                  </a:lnTo>
                  <a:lnTo>
                    <a:pt x="169" y="22"/>
                  </a:lnTo>
                  <a:lnTo>
                    <a:pt x="167" y="12"/>
                  </a:lnTo>
                  <a:lnTo>
                    <a:pt x="167" y="0"/>
                  </a:lnTo>
                  <a:lnTo>
                    <a:pt x="266"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2" name="Freeform 251">
              <a:extLst>
                <a:ext uri="{FF2B5EF4-FFF2-40B4-BE49-F238E27FC236}">
                  <a16:creationId xmlns:a16="http://schemas.microsoft.com/office/drawing/2014/main" id="{06E577CA-ECF8-4965-AD37-2852F343E7D5}"/>
                </a:ext>
              </a:extLst>
            </p:cNvPr>
            <p:cNvSpPr>
              <a:spLocks/>
            </p:cNvSpPr>
            <p:nvPr>
              <p:custDataLst>
                <p:tags r:id="rId178"/>
              </p:custDataLst>
            </p:nvPr>
          </p:nvSpPr>
          <p:spPr bwMode="auto">
            <a:xfrm>
              <a:off x="4759319" y="3995706"/>
              <a:ext cx="260350" cy="520696"/>
            </a:xfrm>
            <a:custGeom>
              <a:avLst/>
              <a:gdLst>
                <a:gd name="T0" fmla="*/ 0 w 599"/>
                <a:gd name="T1" fmla="*/ 135812 h 993"/>
                <a:gd name="T2" fmla="*/ 79105 w 599"/>
                <a:gd name="T3" fmla="*/ 117459 h 993"/>
                <a:gd name="T4" fmla="*/ 99967 w 599"/>
                <a:gd name="T5" fmla="*/ 125849 h 993"/>
                <a:gd name="T6" fmla="*/ 112137 w 599"/>
                <a:gd name="T7" fmla="*/ 135288 h 993"/>
                <a:gd name="T8" fmla="*/ 109530 w 599"/>
                <a:gd name="T9" fmla="*/ 155214 h 993"/>
                <a:gd name="T10" fmla="*/ 101706 w 599"/>
                <a:gd name="T11" fmla="*/ 171469 h 993"/>
                <a:gd name="T12" fmla="*/ 108660 w 599"/>
                <a:gd name="T13" fmla="*/ 187200 h 993"/>
                <a:gd name="T14" fmla="*/ 127784 w 599"/>
                <a:gd name="T15" fmla="*/ 191395 h 993"/>
                <a:gd name="T16" fmla="*/ 138651 w 599"/>
                <a:gd name="T17" fmla="*/ 178286 h 993"/>
                <a:gd name="T18" fmla="*/ 146909 w 599"/>
                <a:gd name="T19" fmla="*/ 166225 h 993"/>
                <a:gd name="T20" fmla="*/ 144301 w 599"/>
                <a:gd name="T21" fmla="*/ 136861 h 993"/>
                <a:gd name="T22" fmla="*/ 136477 w 599"/>
                <a:gd name="T23" fmla="*/ 106972 h 993"/>
                <a:gd name="T24" fmla="*/ 117788 w 599"/>
                <a:gd name="T25" fmla="*/ 82326 h 993"/>
                <a:gd name="T26" fmla="*/ 110399 w 599"/>
                <a:gd name="T27" fmla="*/ 65546 h 993"/>
                <a:gd name="T28" fmla="*/ 117353 w 599"/>
                <a:gd name="T29" fmla="*/ 32511 h 993"/>
                <a:gd name="T30" fmla="*/ 139085 w 599"/>
                <a:gd name="T31" fmla="*/ 28840 h 993"/>
                <a:gd name="T32" fmla="*/ 181680 w 599"/>
                <a:gd name="T33" fmla="*/ 31462 h 993"/>
                <a:gd name="T34" fmla="*/ 226448 w 599"/>
                <a:gd name="T35" fmla="*/ 18877 h 993"/>
                <a:gd name="T36" fmla="*/ 259481 w 599"/>
                <a:gd name="T37" fmla="*/ 1573 h 993"/>
                <a:gd name="T38" fmla="*/ 259481 w 599"/>
                <a:gd name="T39" fmla="*/ 15731 h 993"/>
                <a:gd name="T40" fmla="*/ 259481 w 599"/>
                <a:gd name="T41" fmla="*/ 66071 h 993"/>
                <a:gd name="T42" fmla="*/ 257308 w 599"/>
                <a:gd name="T43" fmla="*/ 119556 h 993"/>
                <a:gd name="T44" fmla="*/ 254265 w 599"/>
                <a:gd name="T45" fmla="*/ 144726 h 993"/>
                <a:gd name="T46" fmla="*/ 239053 w 599"/>
                <a:gd name="T47" fmla="*/ 176713 h 993"/>
                <a:gd name="T48" fmla="*/ 203412 w 599"/>
                <a:gd name="T49" fmla="*/ 210797 h 993"/>
                <a:gd name="T50" fmla="*/ 162556 w 599"/>
                <a:gd name="T51" fmla="*/ 223382 h 993"/>
                <a:gd name="T52" fmla="*/ 153428 w 599"/>
                <a:gd name="T53" fmla="*/ 243308 h 993"/>
                <a:gd name="T54" fmla="*/ 127350 w 599"/>
                <a:gd name="T55" fmla="*/ 265856 h 993"/>
                <a:gd name="T56" fmla="*/ 105618 w 599"/>
                <a:gd name="T57" fmla="*/ 287879 h 993"/>
                <a:gd name="T58" fmla="*/ 99533 w 599"/>
                <a:gd name="T59" fmla="*/ 305184 h 993"/>
                <a:gd name="T60" fmla="*/ 103010 w 599"/>
                <a:gd name="T61" fmla="*/ 324585 h 993"/>
                <a:gd name="T62" fmla="*/ 116049 w 599"/>
                <a:gd name="T63" fmla="*/ 342938 h 993"/>
                <a:gd name="T64" fmla="*/ 110399 w 599"/>
                <a:gd name="T65" fmla="*/ 363913 h 993"/>
                <a:gd name="T66" fmla="*/ 115180 w 599"/>
                <a:gd name="T67" fmla="*/ 382266 h 993"/>
                <a:gd name="T68" fmla="*/ 116049 w 599"/>
                <a:gd name="T69" fmla="*/ 414253 h 993"/>
                <a:gd name="T70" fmla="*/ 111268 w 599"/>
                <a:gd name="T71" fmla="*/ 426838 h 993"/>
                <a:gd name="T72" fmla="*/ 83886 w 599"/>
                <a:gd name="T73" fmla="*/ 457776 h 993"/>
                <a:gd name="T74" fmla="*/ 63892 w 599"/>
                <a:gd name="T75" fmla="*/ 465117 h 993"/>
                <a:gd name="T76" fmla="*/ 44333 w 599"/>
                <a:gd name="T77" fmla="*/ 468787 h 993"/>
                <a:gd name="T78" fmla="*/ 37814 w 599"/>
                <a:gd name="T79" fmla="*/ 478750 h 993"/>
                <a:gd name="T80" fmla="*/ 41291 w 599"/>
                <a:gd name="T81" fmla="*/ 492384 h 993"/>
                <a:gd name="T82" fmla="*/ 39552 w 599"/>
                <a:gd name="T83" fmla="*/ 520176 h 993"/>
                <a:gd name="T84" fmla="*/ 32163 w 599"/>
                <a:gd name="T85" fmla="*/ 424740 h 993"/>
                <a:gd name="T86" fmla="*/ 25209 w 599"/>
                <a:gd name="T87" fmla="*/ 401144 h 993"/>
                <a:gd name="T88" fmla="*/ 17820 w 599"/>
                <a:gd name="T89" fmla="*/ 377547 h 993"/>
                <a:gd name="T90" fmla="*/ 46941 w 599"/>
                <a:gd name="T91" fmla="*/ 349231 h 993"/>
                <a:gd name="T92" fmla="*/ 47376 w 599"/>
                <a:gd name="T93" fmla="*/ 321964 h 993"/>
                <a:gd name="T94" fmla="*/ 64762 w 599"/>
                <a:gd name="T95" fmla="*/ 299416 h 993"/>
                <a:gd name="T96" fmla="*/ 75628 w 599"/>
                <a:gd name="T97" fmla="*/ 275819 h 993"/>
                <a:gd name="T98" fmla="*/ 73020 w 599"/>
                <a:gd name="T99" fmla="*/ 231247 h 993"/>
                <a:gd name="T100" fmla="*/ 66065 w 599"/>
                <a:gd name="T101" fmla="*/ 190871 h 993"/>
                <a:gd name="T102" fmla="*/ 35206 w 599"/>
                <a:gd name="T103" fmla="*/ 178810 h 993"/>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99" h="993">
                  <a:moveTo>
                    <a:pt x="15" y="309"/>
                  </a:moveTo>
                  <a:lnTo>
                    <a:pt x="9" y="291"/>
                  </a:lnTo>
                  <a:lnTo>
                    <a:pt x="3" y="273"/>
                  </a:lnTo>
                  <a:lnTo>
                    <a:pt x="1" y="266"/>
                  </a:lnTo>
                  <a:lnTo>
                    <a:pt x="0" y="259"/>
                  </a:lnTo>
                  <a:lnTo>
                    <a:pt x="0" y="253"/>
                  </a:lnTo>
                  <a:lnTo>
                    <a:pt x="2" y="248"/>
                  </a:lnTo>
                  <a:lnTo>
                    <a:pt x="174" y="216"/>
                  </a:lnTo>
                  <a:lnTo>
                    <a:pt x="177" y="220"/>
                  </a:lnTo>
                  <a:lnTo>
                    <a:pt x="182" y="224"/>
                  </a:lnTo>
                  <a:lnTo>
                    <a:pt x="187" y="227"/>
                  </a:lnTo>
                  <a:lnTo>
                    <a:pt x="193" y="229"/>
                  </a:lnTo>
                  <a:lnTo>
                    <a:pt x="207" y="234"/>
                  </a:lnTo>
                  <a:lnTo>
                    <a:pt x="222" y="238"/>
                  </a:lnTo>
                  <a:lnTo>
                    <a:pt x="230" y="240"/>
                  </a:lnTo>
                  <a:lnTo>
                    <a:pt x="237" y="242"/>
                  </a:lnTo>
                  <a:lnTo>
                    <a:pt x="243" y="245"/>
                  </a:lnTo>
                  <a:lnTo>
                    <a:pt x="249" y="249"/>
                  </a:lnTo>
                  <a:lnTo>
                    <a:pt x="253" y="253"/>
                  </a:lnTo>
                  <a:lnTo>
                    <a:pt x="258" y="258"/>
                  </a:lnTo>
                  <a:lnTo>
                    <a:pt x="260" y="264"/>
                  </a:lnTo>
                  <a:lnTo>
                    <a:pt x="261" y="272"/>
                  </a:lnTo>
                  <a:lnTo>
                    <a:pt x="260" y="280"/>
                  </a:lnTo>
                  <a:lnTo>
                    <a:pt x="256" y="289"/>
                  </a:lnTo>
                  <a:lnTo>
                    <a:pt x="252" y="296"/>
                  </a:lnTo>
                  <a:lnTo>
                    <a:pt x="248" y="302"/>
                  </a:lnTo>
                  <a:lnTo>
                    <a:pt x="242" y="308"/>
                  </a:lnTo>
                  <a:lnTo>
                    <a:pt x="238" y="314"/>
                  </a:lnTo>
                  <a:lnTo>
                    <a:pt x="236" y="321"/>
                  </a:lnTo>
                  <a:lnTo>
                    <a:pt x="234" y="327"/>
                  </a:lnTo>
                  <a:lnTo>
                    <a:pt x="234" y="333"/>
                  </a:lnTo>
                  <a:lnTo>
                    <a:pt x="236" y="338"/>
                  </a:lnTo>
                  <a:lnTo>
                    <a:pt x="238" y="344"/>
                  </a:lnTo>
                  <a:lnTo>
                    <a:pt x="241" y="349"/>
                  </a:lnTo>
                  <a:lnTo>
                    <a:pt x="250" y="357"/>
                  </a:lnTo>
                  <a:lnTo>
                    <a:pt x="259" y="365"/>
                  </a:lnTo>
                  <a:lnTo>
                    <a:pt x="278" y="378"/>
                  </a:lnTo>
                  <a:lnTo>
                    <a:pt x="294" y="389"/>
                  </a:lnTo>
                  <a:lnTo>
                    <a:pt x="294" y="376"/>
                  </a:lnTo>
                  <a:lnTo>
                    <a:pt x="294" y="365"/>
                  </a:lnTo>
                  <a:lnTo>
                    <a:pt x="294" y="356"/>
                  </a:lnTo>
                  <a:lnTo>
                    <a:pt x="294" y="346"/>
                  </a:lnTo>
                  <a:lnTo>
                    <a:pt x="305" y="346"/>
                  </a:lnTo>
                  <a:lnTo>
                    <a:pt x="315" y="343"/>
                  </a:lnTo>
                  <a:lnTo>
                    <a:pt x="319" y="340"/>
                  </a:lnTo>
                  <a:lnTo>
                    <a:pt x="323" y="338"/>
                  </a:lnTo>
                  <a:lnTo>
                    <a:pt x="327" y="335"/>
                  </a:lnTo>
                  <a:lnTo>
                    <a:pt x="329" y="332"/>
                  </a:lnTo>
                  <a:lnTo>
                    <a:pt x="334" y="326"/>
                  </a:lnTo>
                  <a:lnTo>
                    <a:pt x="338" y="317"/>
                  </a:lnTo>
                  <a:lnTo>
                    <a:pt x="340" y="308"/>
                  </a:lnTo>
                  <a:lnTo>
                    <a:pt x="340" y="297"/>
                  </a:lnTo>
                  <a:lnTo>
                    <a:pt x="339" y="283"/>
                  </a:lnTo>
                  <a:lnTo>
                    <a:pt x="337" y="272"/>
                  </a:lnTo>
                  <a:lnTo>
                    <a:pt x="332" y="261"/>
                  </a:lnTo>
                  <a:lnTo>
                    <a:pt x="327" y="251"/>
                  </a:lnTo>
                  <a:lnTo>
                    <a:pt x="322" y="240"/>
                  </a:lnTo>
                  <a:lnTo>
                    <a:pt x="318" y="229"/>
                  </a:lnTo>
                  <a:lnTo>
                    <a:pt x="315" y="217"/>
                  </a:lnTo>
                  <a:lnTo>
                    <a:pt x="314" y="204"/>
                  </a:lnTo>
                  <a:lnTo>
                    <a:pt x="309" y="202"/>
                  </a:lnTo>
                  <a:lnTo>
                    <a:pt x="301" y="194"/>
                  </a:lnTo>
                  <a:lnTo>
                    <a:pt x="292" y="184"/>
                  </a:lnTo>
                  <a:lnTo>
                    <a:pt x="282" y="171"/>
                  </a:lnTo>
                  <a:lnTo>
                    <a:pt x="271" y="157"/>
                  </a:lnTo>
                  <a:lnTo>
                    <a:pt x="262" y="144"/>
                  </a:lnTo>
                  <a:lnTo>
                    <a:pt x="259" y="139"/>
                  </a:lnTo>
                  <a:lnTo>
                    <a:pt x="256" y="133"/>
                  </a:lnTo>
                  <a:lnTo>
                    <a:pt x="254" y="128"/>
                  </a:lnTo>
                  <a:lnTo>
                    <a:pt x="254" y="125"/>
                  </a:lnTo>
                  <a:lnTo>
                    <a:pt x="255" y="110"/>
                  </a:lnTo>
                  <a:lnTo>
                    <a:pt x="259" y="90"/>
                  </a:lnTo>
                  <a:lnTo>
                    <a:pt x="262" y="80"/>
                  </a:lnTo>
                  <a:lnTo>
                    <a:pt x="265" y="71"/>
                  </a:lnTo>
                  <a:lnTo>
                    <a:pt x="270" y="62"/>
                  </a:lnTo>
                  <a:lnTo>
                    <a:pt x="274" y="56"/>
                  </a:lnTo>
                  <a:lnTo>
                    <a:pt x="286" y="57"/>
                  </a:lnTo>
                  <a:lnTo>
                    <a:pt x="298" y="58"/>
                  </a:lnTo>
                  <a:lnTo>
                    <a:pt x="309" y="57"/>
                  </a:lnTo>
                  <a:lnTo>
                    <a:pt x="320" y="55"/>
                  </a:lnTo>
                  <a:lnTo>
                    <a:pt x="343" y="52"/>
                  </a:lnTo>
                  <a:lnTo>
                    <a:pt x="367" y="50"/>
                  </a:lnTo>
                  <a:lnTo>
                    <a:pt x="378" y="52"/>
                  </a:lnTo>
                  <a:lnTo>
                    <a:pt x="398" y="56"/>
                  </a:lnTo>
                  <a:lnTo>
                    <a:pt x="418" y="60"/>
                  </a:lnTo>
                  <a:lnTo>
                    <a:pt x="433" y="62"/>
                  </a:lnTo>
                  <a:lnTo>
                    <a:pt x="445" y="60"/>
                  </a:lnTo>
                  <a:lnTo>
                    <a:pt x="466" y="54"/>
                  </a:lnTo>
                  <a:lnTo>
                    <a:pt x="493" y="46"/>
                  </a:lnTo>
                  <a:lnTo>
                    <a:pt x="521" y="36"/>
                  </a:lnTo>
                  <a:lnTo>
                    <a:pt x="550" y="26"/>
                  </a:lnTo>
                  <a:lnTo>
                    <a:pt x="574" y="16"/>
                  </a:lnTo>
                  <a:lnTo>
                    <a:pt x="584" y="12"/>
                  </a:lnTo>
                  <a:lnTo>
                    <a:pt x="591" y="7"/>
                  </a:lnTo>
                  <a:lnTo>
                    <a:pt x="597" y="3"/>
                  </a:lnTo>
                  <a:lnTo>
                    <a:pt x="599" y="0"/>
                  </a:lnTo>
                  <a:lnTo>
                    <a:pt x="598" y="12"/>
                  </a:lnTo>
                  <a:lnTo>
                    <a:pt x="597" y="20"/>
                  </a:lnTo>
                  <a:lnTo>
                    <a:pt x="597" y="25"/>
                  </a:lnTo>
                  <a:lnTo>
                    <a:pt x="597" y="30"/>
                  </a:lnTo>
                  <a:lnTo>
                    <a:pt x="598" y="36"/>
                  </a:lnTo>
                  <a:lnTo>
                    <a:pt x="599" y="44"/>
                  </a:lnTo>
                  <a:lnTo>
                    <a:pt x="599" y="76"/>
                  </a:lnTo>
                  <a:lnTo>
                    <a:pt x="598" y="102"/>
                  </a:lnTo>
                  <a:lnTo>
                    <a:pt x="597" y="126"/>
                  </a:lnTo>
                  <a:lnTo>
                    <a:pt x="596" y="146"/>
                  </a:lnTo>
                  <a:lnTo>
                    <a:pt x="595" y="165"/>
                  </a:lnTo>
                  <a:lnTo>
                    <a:pt x="594" y="185"/>
                  </a:lnTo>
                  <a:lnTo>
                    <a:pt x="592" y="205"/>
                  </a:lnTo>
                  <a:lnTo>
                    <a:pt x="592" y="228"/>
                  </a:lnTo>
                  <a:lnTo>
                    <a:pt x="592" y="239"/>
                  </a:lnTo>
                  <a:lnTo>
                    <a:pt x="591" y="249"/>
                  </a:lnTo>
                  <a:lnTo>
                    <a:pt x="589" y="258"/>
                  </a:lnTo>
                  <a:lnTo>
                    <a:pt x="587" y="267"/>
                  </a:lnTo>
                  <a:lnTo>
                    <a:pt x="585" y="276"/>
                  </a:lnTo>
                  <a:lnTo>
                    <a:pt x="581" y="285"/>
                  </a:lnTo>
                  <a:lnTo>
                    <a:pt x="577" y="295"/>
                  </a:lnTo>
                  <a:lnTo>
                    <a:pt x="573" y="304"/>
                  </a:lnTo>
                  <a:lnTo>
                    <a:pt x="562" y="321"/>
                  </a:lnTo>
                  <a:lnTo>
                    <a:pt x="550" y="337"/>
                  </a:lnTo>
                  <a:lnTo>
                    <a:pt x="535" y="353"/>
                  </a:lnTo>
                  <a:lnTo>
                    <a:pt x="520" y="367"/>
                  </a:lnTo>
                  <a:lnTo>
                    <a:pt x="503" y="379"/>
                  </a:lnTo>
                  <a:lnTo>
                    <a:pt x="487" y="391"/>
                  </a:lnTo>
                  <a:lnTo>
                    <a:pt x="468" y="402"/>
                  </a:lnTo>
                  <a:lnTo>
                    <a:pt x="450" y="410"/>
                  </a:lnTo>
                  <a:lnTo>
                    <a:pt x="431" y="417"/>
                  </a:lnTo>
                  <a:lnTo>
                    <a:pt x="411" y="422"/>
                  </a:lnTo>
                  <a:lnTo>
                    <a:pt x="393" y="425"/>
                  </a:lnTo>
                  <a:lnTo>
                    <a:pt x="374" y="426"/>
                  </a:lnTo>
                  <a:lnTo>
                    <a:pt x="372" y="433"/>
                  </a:lnTo>
                  <a:lnTo>
                    <a:pt x="368" y="440"/>
                  </a:lnTo>
                  <a:lnTo>
                    <a:pt x="365" y="446"/>
                  </a:lnTo>
                  <a:lnTo>
                    <a:pt x="362" y="452"/>
                  </a:lnTo>
                  <a:lnTo>
                    <a:pt x="353" y="464"/>
                  </a:lnTo>
                  <a:lnTo>
                    <a:pt x="342" y="474"/>
                  </a:lnTo>
                  <a:lnTo>
                    <a:pt x="331" y="483"/>
                  </a:lnTo>
                  <a:lnTo>
                    <a:pt x="318" y="491"/>
                  </a:lnTo>
                  <a:lnTo>
                    <a:pt x="306" y="499"/>
                  </a:lnTo>
                  <a:lnTo>
                    <a:pt x="293" y="507"/>
                  </a:lnTo>
                  <a:lnTo>
                    <a:pt x="281" y="516"/>
                  </a:lnTo>
                  <a:lnTo>
                    <a:pt x="269" y="525"/>
                  </a:lnTo>
                  <a:lnTo>
                    <a:pt x="258" y="534"/>
                  </a:lnTo>
                  <a:lnTo>
                    <a:pt x="248" y="544"/>
                  </a:lnTo>
                  <a:lnTo>
                    <a:pt x="243" y="549"/>
                  </a:lnTo>
                  <a:lnTo>
                    <a:pt x="239" y="555"/>
                  </a:lnTo>
                  <a:lnTo>
                    <a:pt x="236" y="561"/>
                  </a:lnTo>
                  <a:lnTo>
                    <a:pt x="232" y="568"/>
                  </a:lnTo>
                  <a:lnTo>
                    <a:pt x="230" y="575"/>
                  </a:lnTo>
                  <a:lnTo>
                    <a:pt x="229" y="582"/>
                  </a:lnTo>
                  <a:lnTo>
                    <a:pt x="228" y="590"/>
                  </a:lnTo>
                  <a:lnTo>
                    <a:pt x="227" y="598"/>
                  </a:lnTo>
                  <a:lnTo>
                    <a:pt x="228" y="604"/>
                  </a:lnTo>
                  <a:lnTo>
                    <a:pt x="231" y="611"/>
                  </a:lnTo>
                  <a:lnTo>
                    <a:pt x="237" y="619"/>
                  </a:lnTo>
                  <a:lnTo>
                    <a:pt x="242" y="629"/>
                  </a:lnTo>
                  <a:lnTo>
                    <a:pt x="249" y="637"/>
                  </a:lnTo>
                  <a:lnTo>
                    <a:pt x="255" y="645"/>
                  </a:lnTo>
                  <a:lnTo>
                    <a:pt x="262" y="650"/>
                  </a:lnTo>
                  <a:lnTo>
                    <a:pt x="267" y="654"/>
                  </a:lnTo>
                  <a:lnTo>
                    <a:pt x="262" y="663"/>
                  </a:lnTo>
                  <a:lnTo>
                    <a:pt x="258" y="671"/>
                  </a:lnTo>
                  <a:lnTo>
                    <a:pt x="255" y="680"/>
                  </a:lnTo>
                  <a:lnTo>
                    <a:pt x="254" y="685"/>
                  </a:lnTo>
                  <a:lnTo>
                    <a:pt x="254" y="694"/>
                  </a:lnTo>
                  <a:lnTo>
                    <a:pt x="256" y="701"/>
                  </a:lnTo>
                  <a:lnTo>
                    <a:pt x="258" y="709"/>
                  </a:lnTo>
                  <a:lnTo>
                    <a:pt x="261" y="715"/>
                  </a:lnTo>
                  <a:lnTo>
                    <a:pt x="263" y="722"/>
                  </a:lnTo>
                  <a:lnTo>
                    <a:pt x="265" y="729"/>
                  </a:lnTo>
                  <a:lnTo>
                    <a:pt x="266" y="738"/>
                  </a:lnTo>
                  <a:lnTo>
                    <a:pt x="267" y="747"/>
                  </a:lnTo>
                  <a:lnTo>
                    <a:pt x="267" y="766"/>
                  </a:lnTo>
                  <a:lnTo>
                    <a:pt x="267" y="780"/>
                  </a:lnTo>
                  <a:lnTo>
                    <a:pt x="267" y="790"/>
                  </a:lnTo>
                  <a:lnTo>
                    <a:pt x="267" y="796"/>
                  </a:lnTo>
                  <a:lnTo>
                    <a:pt x="266" y="799"/>
                  </a:lnTo>
                  <a:lnTo>
                    <a:pt x="264" y="803"/>
                  </a:lnTo>
                  <a:lnTo>
                    <a:pt x="261" y="808"/>
                  </a:lnTo>
                  <a:lnTo>
                    <a:pt x="256" y="814"/>
                  </a:lnTo>
                  <a:lnTo>
                    <a:pt x="244" y="827"/>
                  </a:lnTo>
                  <a:lnTo>
                    <a:pt x="230" y="841"/>
                  </a:lnTo>
                  <a:lnTo>
                    <a:pt x="215" y="856"/>
                  </a:lnTo>
                  <a:lnTo>
                    <a:pt x="200" y="868"/>
                  </a:lnTo>
                  <a:lnTo>
                    <a:pt x="193" y="873"/>
                  </a:lnTo>
                  <a:lnTo>
                    <a:pt x="186" y="877"/>
                  </a:lnTo>
                  <a:lnTo>
                    <a:pt x="180" y="880"/>
                  </a:lnTo>
                  <a:lnTo>
                    <a:pt x="174" y="882"/>
                  </a:lnTo>
                  <a:lnTo>
                    <a:pt x="161" y="885"/>
                  </a:lnTo>
                  <a:lnTo>
                    <a:pt x="147" y="887"/>
                  </a:lnTo>
                  <a:lnTo>
                    <a:pt x="132" y="889"/>
                  </a:lnTo>
                  <a:lnTo>
                    <a:pt x="118" y="890"/>
                  </a:lnTo>
                  <a:lnTo>
                    <a:pt x="113" y="891"/>
                  </a:lnTo>
                  <a:lnTo>
                    <a:pt x="106" y="892"/>
                  </a:lnTo>
                  <a:lnTo>
                    <a:pt x="102" y="894"/>
                  </a:lnTo>
                  <a:lnTo>
                    <a:pt x="96" y="896"/>
                  </a:lnTo>
                  <a:lnTo>
                    <a:pt x="93" y="900"/>
                  </a:lnTo>
                  <a:lnTo>
                    <a:pt x="91" y="904"/>
                  </a:lnTo>
                  <a:lnTo>
                    <a:pt x="88" y="908"/>
                  </a:lnTo>
                  <a:lnTo>
                    <a:pt x="87" y="913"/>
                  </a:lnTo>
                  <a:lnTo>
                    <a:pt x="88" y="920"/>
                  </a:lnTo>
                  <a:lnTo>
                    <a:pt x="90" y="925"/>
                  </a:lnTo>
                  <a:lnTo>
                    <a:pt x="91" y="931"/>
                  </a:lnTo>
                  <a:lnTo>
                    <a:pt x="93" y="935"/>
                  </a:lnTo>
                  <a:lnTo>
                    <a:pt x="95" y="939"/>
                  </a:lnTo>
                  <a:lnTo>
                    <a:pt x="99" y="941"/>
                  </a:lnTo>
                  <a:lnTo>
                    <a:pt x="103" y="943"/>
                  </a:lnTo>
                  <a:lnTo>
                    <a:pt x="108" y="943"/>
                  </a:lnTo>
                  <a:lnTo>
                    <a:pt x="94" y="993"/>
                  </a:lnTo>
                  <a:lnTo>
                    <a:pt x="91" y="992"/>
                  </a:lnTo>
                  <a:lnTo>
                    <a:pt x="82" y="990"/>
                  </a:lnTo>
                  <a:lnTo>
                    <a:pt x="75" y="988"/>
                  </a:lnTo>
                  <a:lnTo>
                    <a:pt x="74" y="987"/>
                  </a:lnTo>
                  <a:lnTo>
                    <a:pt x="74" y="820"/>
                  </a:lnTo>
                  <a:lnTo>
                    <a:pt x="74" y="810"/>
                  </a:lnTo>
                  <a:lnTo>
                    <a:pt x="73" y="801"/>
                  </a:lnTo>
                  <a:lnTo>
                    <a:pt x="71" y="793"/>
                  </a:lnTo>
                  <a:lnTo>
                    <a:pt x="70" y="785"/>
                  </a:lnTo>
                  <a:lnTo>
                    <a:pt x="64" y="774"/>
                  </a:lnTo>
                  <a:lnTo>
                    <a:pt x="58" y="765"/>
                  </a:lnTo>
                  <a:lnTo>
                    <a:pt x="52" y="755"/>
                  </a:lnTo>
                  <a:lnTo>
                    <a:pt x="47" y="744"/>
                  </a:lnTo>
                  <a:lnTo>
                    <a:pt x="45" y="738"/>
                  </a:lnTo>
                  <a:lnTo>
                    <a:pt x="42" y="729"/>
                  </a:lnTo>
                  <a:lnTo>
                    <a:pt x="41" y="720"/>
                  </a:lnTo>
                  <a:lnTo>
                    <a:pt x="41" y="709"/>
                  </a:lnTo>
                  <a:lnTo>
                    <a:pt x="51" y="704"/>
                  </a:lnTo>
                  <a:lnTo>
                    <a:pt x="72" y="690"/>
                  </a:lnTo>
                  <a:lnTo>
                    <a:pt x="95" y="675"/>
                  </a:lnTo>
                  <a:lnTo>
                    <a:pt x="108" y="666"/>
                  </a:lnTo>
                  <a:lnTo>
                    <a:pt x="107" y="653"/>
                  </a:lnTo>
                  <a:lnTo>
                    <a:pt x="106" y="636"/>
                  </a:lnTo>
                  <a:lnTo>
                    <a:pt x="106" y="627"/>
                  </a:lnTo>
                  <a:lnTo>
                    <a:pt x="108" y="617"/>
                  </a:lnTo>
                  <a:lnTo>
                    <a:pt x="109" y="614"/>
                  </a:lnTo>
                  <a:lnTo>
                    <a:pt x="110" y="610"/>
                  </a:lnTo>
                  <a:lnTo>
                    <a:pt x="113" y="607"/>
                  </a:lnTo>
                  <a:lnTo>
                    <a:pt x="115" y="604"/>
                  </a:lnTo>
                  <a:lnTo>
                    <a:pt x="129" y="591"/>
                  </a:lnTo>
                  <a:lnTo>
                    <a:pt x="149" y="571"/>
                  </a:lnTo>
                  <a:lnTo>
                    <a:pt x="159" y="558"/>
                  </a:lnTo>
                  <a:lnTo>
                    <a:pt x="166" y="546"/>
                  </a:lnTo>
                  <a:lnTo>
                    <a:pt x="170" y="539"/>
                  </a:lnTo>
                  <a:lnTo>
                    <a:pt x="172" y="532"/>
                  </a:lnTo>
                  <a:lnTo>
                    <a:pt x="174" y="526"/>
                  </a:lnTo>
                  <a:lnTo>
                    <a:pt x="174" y="519"/>
                  </a:lnTo>
                  <a:lnTo>
                    <a:pt x="174" y="498"/>
                  </a:lnTo>
                  <a:lnTo>
                    <a:pt x="172" y="479"/>
                  </a:lnTo>
                  <a:lnTo>
                    <a:pt x="170" y="460"/>
                  </a:lnTo>
                  <a:lnTo>
                    <a:pt x="168" y="441"/>
                  </a:lnTo>
                  <a:lnTo>
                    <a:pt x="165" y="423"/>
                  </a:lnTo>
                  <a:lnTo>
                    <a:pt x="163" y="404"/>
                  </a:lnTo>
                  <a:lnTo>
                    <a:pt x="161" y="384"/>
                  </a:lnTo>
                  <a:lnTo>
                    <a:pt x="161" y="364"/>
                  </a:lnTo>
                  <a:lnTo>
                    <a:pt x="152" y="364"/>
                  </a:lnTo>
                  <a:lnTo>
                    <a:pt x="142" y="363"/>
                  </a:lnTo>
                  <a:lnTo>
                    <a:pt x="132" y="361"/>
                  </a:lnTo>
                  <a:lnTo>
                    <a:pt x="122" y="358"/>
                  </a:lnTo>
                  <a:lnTo>
                    <a:pt x="102" y="350"/>
                  </a:lnTo>
                  <a:lnTo>
                    <a:pt x="81" y="341"/>
                  </a:lnTo>
                  <a:lnTo>
                    <a:pt x="42" y="323"/>
                  </a:lnTo>
                  <a:lnTo>
                    <a:pt x="15" y="30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3" name="Freeform 252">
              <a:extLst>
                <a:ext uri="{FF2B5EF4-FFF2-40B4-BE49-F238E27FC236}">
                  <a16:creationId xmlns:a16="http://schemas.microsoft.com/office/drawing/2014/main" id="{F3ABFD79-6D2A-430D-91BE-114904F94621}"/>
                </a:ext>
              </a:extLst>
            </p:cNvPr>
            <p:cNvSpPr>
              <a:spLocks/>
            </p:cNvSpPr>
            <p:nvPr>
              <p:custDataLst>
                <p:tags r:id="rId179"/>
              </p:custDataLst>
            </p:nvPr>
          </p:nvSpPr>
          <p:spPr bwMode="auto">
            <a:xfrm>
              <a:off x="4494208" y="4235416"/>
              <a:ext cx="238125" cy="287336"/>
            </a:xfrm>
            <a:custGeom>
              <a:avLst/>
              <a:gdLst>
                <a:gd name="T0" fmla="*/ 13108 w 545"/>
                <a:gd name="T1" fmla="*/ 224008 h 549"/>
                <a:gd name="T2" fmla="*/ 20099 w 545"/>
                <a:gd name="T3" fmla="*/ 237616 h 549"/>
                <a:gd name="T4" fmla="*/ 20099 w 545"/>
                <a:gd name="T5" fmla="*/ 267973 h 549"/>
                <a:gd name="T6" fmla="*/ 20972 w 545"/>
                <a:gd name="T7" fmla="*/ 275824 h 549"/>
                <a:gd name="T8" fmla="*/ 24031 w 545"/>
                <a:gd name="T9" fmla="*/ 281057 h 549"/>
                <a:gd name="T10" fmla="*/ 29711 w 545"/>
                <a:gd name="T11" fmla="*/ 285244 h 549"/>
                <a:gd name="T12" fmla="*/ 43693 w 545"/>
                <a:gd name="T13" fmla="*/ 287338 h 549"/>
                <a:gd name="T14" fmla="*/ 49373 w 545"/>
                <a:gd name="T15" fmla="*/ 285768 h 549"/>
                <a:gd name="T16" fmla="*/ 56800 w 545"/>
                <a:gd name="T17" fmla="*/ 278964 h 549"/>
                <a:gd name="T18" fmla="*/ 62481 w 545"/>
                <a:gd name="T19" fmla="*/ 265356 h 549"/>
                <a:gd name="T20" fmla="*/ 67287 w 545"/>
                <a:gd name="T21" fmla="*/ 249654 h 549"/>
                <a:gd name="T22" fmla="*/ 73841 w 545"/>
                <a:gd name="T23" fmla="*/ 237616 h 549"/>
                <a:gd name="T24" fmla="*/ 79958 w 545"/>
                <a:gd name="T25" fmla="*/ 232906 h 549"/>
                <a:gd name="T26" fmla="*/ 87822 w 545"/>
                <a:gd name="T27" fmla="*/ 232383 h 549"/>
                <a:gd name="T28" fmla="*/ 96998 w 545"/>
                <a:gd name="T29" fmla="*/ 234476 h 549"/>
                <a:gd name="T30" fmla="*/ 110106 w 545"/>
                <a:gd name="T31" fmla="*/ 241280 h 549"/>
                <a:gd name="T32" fmla="*/ 118844 w 545"/>
                <a:gd name="T33" fmla="*/ 244944 h 549"/>
                <a:gd name="T34" fmla="*/ 129767 w 545"/>
                <a:gd name="T35" fmla="*/ 245467 h 549"/>
                <a:gd name="T36" fmla="*/ 139380 w 545"/>
                <a:gd name="T37" fmla="*/ 242850 h 549"/>
                <a:gd name="T38" fmla="*/ 145060 w 545"/>
                <a:gd name="T39" fmla="*/ 237093 h 549"/>
                <a:gd name="T40" fmla="*/ 156857 w 545"/>
                <a:gd name="T41" fmla="*/ 203073 h 549"/>
                <a:gd name="T42" fmla="*/ 166906 w 545"/>
                <a:gd name="T43" fmla="*/ 189989 h 549"/>
                <a:gd name="T44" fmla="*/ 195306 w 545"/>
                <a:gd name="T45" fmla="*/ 164343 h 549"/>
                <a:gd name="T46" fmla="*/ 230260 w 545"/>
                <a:gd name="T47" fmla="*/ 138173 h 549"/>
                <a:gd name="T48" fmla="*/ 230697 w 545"/>
                <a:gd name="T49" fmla="*/ 121425 h 549"/>
                <a:gd name="T50" fmla="*/ 219774 w 545"/>
                <a:gd name="T51" fmla="*/ 114098 h 549"/>
                <a:gd name="T52" fmla="*/ 211909 w 545"/>
                <a:gd name="T53" fmla="*/ 104153 h 549"/>
                <a:gd name="T54" fmla="*/ 200986 w 545"/>
                <a:gd name="T55" fmla="*/ 82171 h 549"/>
                <a:gd name="T56" fmla="*/ 192248 w 545"/>
                <a:gd name="T57" fmla="*/ 69087 h 549"/>
                <a:gd name="T58" fmla="*/ 164721 w 545"/>
                <a:gd name="T59" fmla="*/ 39777 h 549"/>
                <a:gd name="T60" fmla="*/ 156857 w 545"/>
                <a:gd name="T61" fmla="*/ 27739 h 549"/>
                <a:gd name="T62" fmla="*/ 152050 w 545"/>
                <a:gd name="T63" fmla="*/ 12561 h 549"/>
                <a:gd name="T64" fmla="*/ 139380 w 545"/>
                <a:gd name="T65" fmla="*/ 0 h 549"/>
                <a:gd name="T66" fmla="*/ 106610 w 545"/>
                <a:gd name="T67" fmla="*/ 1047 h 549"/>
                <a:gd name="T68" fmla="*/ 76899 w 545"/>
                <a:gd name="T69" fmla="*/ 6804 h 549"/>
                <a:gd name="T70" fmla="*/ 41508 w 545"/>
                <a:gd name="T71" fmla="*/ 11514 h 549"/>
                <a:gd name="T72" fmla="*/ 31022 w 545"/>
                <a:gd name="T73" fmla="*/ 14131 h 549"/>
                <a:gd name="T74" fmla="*/ 29274 w 545"/>
                <a:gd name="T75" fmla="*/ 19889 h 549"/>
                <a:gd name="T76" fmla="*/ 31896 w 545"/>
                <a:gd name="T77" fmla="*/ 29310 h 549"/>
                <a:gd name="T78" fmla="*/ 36702 w 545"/>
                <a:gd name="T79" fmla="*/ 38730 h 549"/>
                <a:gd name="T80" fmla="*/ 37576 w 545"/>
                <a:gd name="T81" fmla="*/ 56002 h 549"/>
                <a:gd name="T82" fmla="*/ 32333 w 545"/>
                <a:gd name="T83" fmla="*/ 89499 h 549"/>
                <a:gd name="T84" fmla="*/ 27089 w 545"/>
                <a:gd name="T85" fmla="*/ 124042 h 549"/>
                <a:gd name="T86" fmla="*/ 20536 w 545"/>
                <a:gd name="T87" fmla="*/ 137650 h 549"/>
                <a:gd name="T88" fmla="*/ 11360 w 545"/>
                <a:gd name="T89" fmla="*/ 144977 h 549"/>
                <a:gd name="T90" fmla="*/ 2185 w 545"/>
                <a:gd name="T91" fmla="*/ 160679 h 549"/>
                <a:gd name="T92" fmla="*/ 437 w 545"/>
                <a:gd name="T93" fmla="*/ 177427 h 549"/>
                <a:gd name="T94" fmla="*/ 3495 w 545"/>
                <a:gd name="T95" fmla="*/ 192082 h 549"/>
                <a:gd name="T96" fmla="*/ 3495 w 545"/>
                <a:gd name="T97" fmla="*/ 204643 h 549"/>
                <a:gd name="T98" fmla="*/ 0 w 545"/>
                <a:gd name="T99" fmla="*/ 213541 h 549"/>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545" h="549">
                  <a:moveTo>
                    <a:pt x="13" y="420"/>
                  </a:moveTo>
                  <a:lnTo>
                    <a:pt x="21" y="424"/>
                  </a:lnTo>
                  <a:lnTo>
                    <a:pt x="30" y="428"/>
                  </a:lnTo>
                  <a:lnTo>
                    <a:pt x="40" y="431"/>
                  </a:lnTo>
                  <a:lnTo>
                    <a:pt x="46" y="432"/>
                  </a:lnTo>
                  <a:lnTo>
                    <a:pt x="46" y="454"/>
                  </a:lnTo>
                  <a:lnTo>
                    <a:pt x="46" y="472"/>
                  </a:lnTo>
                  <a:lnTo>
                    <a:pt x="46" y="491"/>
                  </a:lnTo>
                  <a:lnTo>
                    <a:pt x="46" y="512"/>
                  </a:lnTo>
                  <a:lnTo>
                    <a:pt x="47" y="518"/>
                  </a:lnTo>
                  <a:lnTo>
                    <a:pt x="47" y="523"/>
                  </a:lnTo>
                  <a:lnTo>
                    <a:pt x="48" y="527"/>
                  </a:lnTo>
                  <a:lnTo>
                    <a:pt x="51" y="531"/>
                  </a:lnTo>
                  <a:lnTo>
                    <a:pt x="53" y="534"/>
                  </a:lnTo>
                  <a:lnTo>
                    <a:pt x="55" y="537"/>
                  </a:lnTo>
                  <a:lnTo>
                    <a:pt x="57" y="540"/>
                  </a:lnTo>
                  <a:lnTo>
                    <a:pt x="61" y="542"/>
                  </a:lnTo>
                  <a:lnTo>
                    <a:pt x="68" y="545"/>
                  </a:lnTo>
                  <a:lnTo>
                    <a:pt x="77" y="547"/>
                  </a:lnTo>
                  <a:lnTo>
                    <a:pt x="88" y="548"/>
                  </a:lnTo>
                  <a:lnTo>
                    <a:pt x="100" y="549"/>
                  </a:lnTo>
                  <a:lnTo>
                    <a:pt x="104" y="548"/>
                  </a:lnTo>
                  <a:lnTo>
                    <a:pt x="109" y="548"/>
                  </a:lnTo>
                  <a:lnTo>
                    <a:pt x="113" y="546"/>
                  </a:lnTo>
                  <a:lnTo>
                    <a:pt x="117" y="544"/>
                  </a:lnTo>
                  <a:lnTo>
                    <a:pt x="123" y="539"/>
                  </a:lnTo>
                  <a:lnTo>
                    <a:pt x="130" y="533"/>
                  </a:lnTo>
                  <a:lnTo>
                    <a:pt x="134" y="525"/>
                  </a:lnTo>
                  <a:lnTo>
                    <a:pt x="138" y="516"/>
                  </a:lnTo>
                  <a:lnTo>
                    <a:pt x="143" y="507"/>
                  </a:lnTo>
                  <a:lnTo>
                    <a:pt x="146" y="496"/>
                  </a:lnTo>
                  <a:lnTo>
                    <a:pt x="151" y="487"/>
                  </a:lnTo>
                  <a:lnTo>
                    <a:pt x="154" y="477"/>
                  </a:lnTo>
                  <a:lnTo>
                    <a:pt x="158" y="469"/>
                  </a:lnTo>
                  <a:lnTo>
                    <a:pt x="164" y="461"/>
                  </a:lnTo>
                  <a:lnTo>
                    <a:pt x="169" y="454"/>
                  </a:lnTo>
                  <a:lnTo>
                    <a:pt x="176" y="448"/>
                  </a:lnTo>
                  <a:lnTo>
                    <a:pt x="179" y="446"/>
                  </a:lnTo>
                  <a:lnTo>
                    <a:pt x="183" y="445"/>
                  </a:lnTo>
                  <a:lnTo>
                    <a:pt x="188" y="444"/>
                  </a:lnTo>
                  <a:lnTo>
                    <a:pt x="193" y="444"/>
                  </a:lnTo>
                  <a:lnTo>
                    <a:pt x="201" y="444"/>
                  </a:lnTo>
                  <a:lnTo>
                    <a:pt x="209" y="445"/>
                  </a:lnTo>
                  <a:lnTo>
                    <a:pt x="215" y="446"/>
                  </a:lnTo>
                  <a:lnTo>
                    <a:pt x="222" y="448"/>
                  </a:lnTo>
                  <a:lnTo>
                    <a:pt x="232" y="453"/>
                  </a:lnTo>
                  <a:lnTo>
                    <a:pt x="242" y="457"/>
                  </a:lnTo>
                  <a:lnTo>
                    <a:pt x="252" y="461"/>
                  </a:lnTo>
                  <a:lnTo>
                    <a:pt x="261" y="465"/>
                  </a:lnTo>
                  <a:lnTo>
                    <a:pt x="267" y="467"/>
                  </a:lnTo>
                  <a:lnTo>
                    <a:pt x="272" y="468"/>
                  </a:lnTo>
                  <a:lnTo>
                    <a:pt x="279" y="469"/>
                  </a:lnTo>
                  <a:lnTo>
                    <a:pt x="286" y="469"/>
                  </a:lnTo>
                  <a:lnTo>
                    <a:pt x="297" y="469"/>
                  </a:lnTo>
                  <a:lnTo>
                    <a:pt x="305" y="468"/>
                  </a:lnTo>
                  <a:lnTo>
                    <a:pt x="313" y="466"/>
                  </a:lnTo>
                  <a:lnTo>
                    <a:pt x="319" y="464"/>
                  </a:lnTo>
                  <a:lnTo>
                    <a:pt x="324" y="461"/>
                  </a:lnTo>
                  <a:lnTo>
                    <a:pt x="328" y="457"/>
                  </a:lnTo>
                  <a:lnTo>
                    <a:pt x="332" y="453"/>
                  </a:lnTo>
                  <a:lnTo>
                    <a:pt x="335" y="447"/>
                  </a:lnTo>
                  <a:lnTo>
                    <a:pt x="345" y="422"/>
                  </a:lnTo>
                  <a:lnTo>
                    <a:pt x="359" y="388"/>
                  </a:lnTo>
                  <a:lnTo>
                    <a:pt x="365" y="380"/>
                  </a:lnTo>
                  <a:lnTo>
                    <a:pt x="373" y="372"/>
                  </a:lnTo>
                  <a:lnTo>
                    <a:pt x="382" y="363"/>
                  </a:lnTo>
                  <a:lnTo>
                    <a:pt x="393" y="353"/>
                  </a:lnTo>
                  <a:lnTo>
                    <a:pt x="418" y="333"/>
                  </a:lnTo>
                  <a:lnTo>
                    <a:pt x="447" y="314"/>
                  </a:lnTo>
                  <a:lnTo>
                    <a:pt x="476" y="296"/>
                  </a:lnTo>
                  <a:lnTo>
                    <a:pt x="503" y="278"/>
                  </a:lnTo>
                  <a:lnTo>
                    <a:pt x="527" y="264"/>
                  </a:lnTo>
                  <a:lnTo>
                    <a:pt x="545" y="253"/>
                  </a:lnTo>
                  <a:lnTo>
                    <a:pt x="538" y="235"/>
                  </a:lnTo>
                  <a:lnTo>
                    <a:pt x="528" y="232"/>
                  </a:lnTo>
                  <a:lnTo>
                    <a:pt x="518" y="229"/>
                  </a:lnTo>
                  <a:lnTo>
                    <a:pt x="511" y="223"/>
                  </a:lnTo>
                  <a:lnTo>
                    <a:pt x="503" y="218"/>
                  </a:lnTo>
                  <a:lnTo>
                    <a:pt x="496" y="212"/>
                  </a:lnTo>
                  <a:lnTo>
                    <a:pt x="491" y="206"/>
                  </a:lnTo>
                  <a:lnTo>
                    <a:pt x="485" y="199"/>
                  </a:lnTo>
                  <a:lnTo>
                    <a:pt x="480" y="191"/>
                  </a:lnTo>
                  <a:lnTo>
                    <a:pt x="470" y="175"/>
                  </a:lnTo>
                  <a:lnTo>
                    <a:pt x="460" y="157"/>
                  </a:lnTo>
                  <a:lnTo>
                    <a:pt x="454" y="149"/>
                  </a:lnTo>
                  <a:lnTo>
                    <a:pt x="447" y="141"/>
                  </a:lnTo>
                  <a:lnTo>
                    <a:pt x="440" y="132"/>
                  </a:lnTo>
                  <a:lnTo>
                    <a:pt x="432" y="124"/>
                  </a:lnTo>
                  <a:lnTo>
                    <a:pt x="404" y="101"/>
                  </a:lnTo>
                  <a:lnTo>
                    <a:pt x="377" y="76"/>
                  </a:lnTo>
                  <a:lnTo>
                    <a:pt x="370" y="69"/>
                  </a:lnTo>
                  <a:lnTo>
                    <a:pt x="365" y="62"/>
                  </a:lnTo>
                  <a:lnTo>
                    <a:pt x="359" y="53"/>
                  </a:lnTo>
                  <a:lnTo>
                    <a:pt x="355" y="44"/>
                  </a:lnTo>
                  <a:lnTo>
                    <a:pt x="350" y="35"/>
                  </a:lnTo>
                  <a:lnTo>
                    <a:pt x="348" y="24"/>
                  </a:lnTo>
                  <a:lnTo>
                    <a:pt x="346" y="13"/>
                  </a:lnTo>
                  <a:lnTo>
                    <a:pt x="346" y="0"/>
                  </a:lnTo>
                  <a:lnTo>
                    <a:pt x="319" y="0"/>
                  </a:lnTo>
                  <a:lnTo>
                    <a:pt x="293" y="0"/>
                  </a:lnTo>
                  <a:lnTo>
                    <a:pt x="268" y="1"/>
                  </a:lnTo>
                  <a:lnTo>
                    <a:pt x="244" y="2"/>
                  </a:lnTo>
                  <a:lnTo>
                    <a:pt x="221" y="6"/>
                  </a:lnTo>
                  <a:lnTo>
                    <a:pt x="198" y="9"/>
                  </a:lnTo>
                  <a:lnTo>
                    <a:pt x="176" y="13"/>
                  </a:lnTo>
                  <a:lnTo>
                    <a:pt x="153" y="19"/>
                  </a:lnTo>
                  <a:lnTo>
                    <a:pt x="123" y="21"/>
                  </a:lnTo>
                  <a:lnTo>
                    <a:pt x="95" y="22"/>
                  </a:lnTo>
                  <a:lnTo>
                    <a:pt x="84" y="23"/>
                  </a:lnTo>
                  <a:lnTo>
                    <a:pt x="75" y="25"/>
                  </a:lnTo>
                  <a:lnTo>
                    <a:pt x="71" y="27"/>
                  </a:lnTo>
                  <a:lnTo>
                    <a:pt x="68" y="30"/>
                  </a:lnTo>
                  <a:lnTo>
                    <a:pt x="67" y="33"/>
                  </a:lnTo>
                  <a:lnTo>
                    <a:pt x="67" y="38"/>
                  </a:lnTo>
                  <a:lnTo>
                    <a:pt x="67" y="44"/>
                  </a:lnTo>
                  <a:lnTo>
                    <a:pt x="69" y="50"/>
                  </a:lnTo>
                  <a:lnTo>
                    <a:pt x="73" y="56"/>
                  </a:lnTo>
                  <a:lnTo>
                    <a:pt x="77" y="63"/>
                  </a:lnTo>
                  <a:lnTo>
                    <a:pt x="80" y="68"/>
                  </a:lnTo>
                  <a:lnTo>
                    <a:pt x="84" y="74"/>
                  </a:lnTo>
                  <a:lnTo>
                    <a:pt x="86" y="80"/>
                  </a:lnTo>
                  <a:lnTo>
                    <a:pt x="87" y="87"/>
                  </a:lnTo>
                  <a:lnTo>
                    <a:pt x="86" y="107"/>
                  </a:lnTo>
                  <a:lnTo>
                    <a:pt x="82" y="129"/>
                  </a:lnTo>
                  <a:lnTo>
                    <a:pt x="78" y="150"/>
                  </a:lnTo>
                  <a:lnTo>
                    <a:pt x="74" y="171"/>
                  </a:lnTo>
                  <a:lnTo>
                    <a:pt x="68" y="193"/>
                  </a:lnTo>
                  <a:lnTo>
                    <a:pt x="64" y="214"/>
                  </a:lnTo>
                  <a:lnTo>
                    <a:pt x="62" y="237"/>
                  </a:lnTo>
                  <a:lnTo>
                    <a:pt x="61" y="259"/>
                  </a:lnTo>
                  <a:lnTo>
                    <a:pt x="54" y="261"/>
                  </a:lnTo>
                  <a:lnTo>
                    <a:pt x="47" y="263"/>
                  </a:lnTo>
                  <a:lnTo>
                    <a:pt x="42" y="266"/>
                  </a:lnTo>
                  <a:lnTo>
                    <a:pt x="36" y="269"/>
                  </a:lnTo>
                  <a:lnTo>
                    <a:pt x="26" y="277"/>
                  </a:lnTo>
                  <a:lnTo>
                    <a:pt x="18" y="287"/>
                  </a:lnTo>
                  <a:lnTo>
                    <a:pt x="10" y="297"/>
                  </a:lnTo>
                  <a:lnTo>
                    <a:pt x="5" y="307"/>
                  </a:lnTo>
                  <a:lnTo>
                    <a:pt x="1" y="317"/>
                  </a:lnTo>
                  <a:lnTo>
                    <a:pt x="0" y="327"/>
                  </a:lnTo>
                  <a:lnTo>
                    <a:pt x="1" y="339"/>
                  </a:lnTo>
                  <a:lnTo>
                    <a:pt x="3" y="349"/>
                  </a:lnTo>
                  <a:lnTo>
                    <a:pt x="6" y="358"/>
                  </a:lnTo>
                  <a:lnTo>
                    <a:pt x="8" y="367"/>
                  </a:lnTo>
                  <a:lnTo>
                    <a:pt x="9" y="376"/>
                  </a:lnTo>
                  <a:lnTo>
                    <a:pt x="9" y="386"/>
                  </a:lnTo>
                  <a:lnTo>
                    <a:pt x="8" y="391"/>
                  </a:lnTo>
                  <a:lnTo>
                    <a:pt x="6" y="397"/>
                  </a:lnTo>
                  <a:lnTo>
                    <a:pt x="3" y="402"/>
                  </a:lnTo>
                  <a:lnTo>
                    <a:pt x="0" y="408"/>
                  </a:lnTo>
                  <a:lnTo>
                    <a:pt x="13" y="42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4" name="Freeform 253">
              <a:extLst>
                <a:ext uri="{FF2B5EF4-FFF2-40B4-BE49-F238E27FC236}">
                  <a16:creationId xmlns:a16="http://schemas.microsoft.com/office/drawing/2014/main" id="{97A35198-E62D-4091-870B-00F6BCAB71ED}"/>
                </a:ext>
              </a:extLst>
            </p:cNvPr>
            <p:cNvSpPr>
              <a:spLocks/>
            </p:cNvSpPr>
            <p:nvPr>
              <p:custDataLst>
                <p:tags r:id="rId180"/>
              </p:custDataLst>
            </p:nvPr>
          </p:nvSpPr>
          <p:spPr bwMode="auto">
            <a:xfrm>
              <a:off x="5067294" y="4036981"/>
              <a:ext cx="196850" cy="434972"/>
            </a:xfrm>
            <a:custGeom>
              <a:avLst/>
              <a:gdLst>
                <a:gd name="T0" fmla="*/ 48777 w 452"/>
                <a:gd name="T1" fmla="*/ 136452 h 832"/>
                <a:gd name="T2" fmla="*/ 60100 w 452"/>
                <a:gd name="T3" fmla="*/ 129656 h 832"/>
                <a:gd name="T4" fmla="*/ 71859 w 452"/>
                <a:gd name="T5" fmla="*/ 125474 h 832"/>
                <a:gd name="T6" fmla="*/ 83618 w 452"/>
                <a:gd name="T7" fmla="*/ 121291 h 832"/>
                <a:gd name="T8" fmla="*/ 93634 w 452"/>
                <a:gd name="T9" fmla="*/ 113449 h 832"/>
                <a:gd name="T10" fmla="*/ 101038 w 452"/>
                <a:gd name="T11" fmla="*/ 104561 h 832"/>
                <a:gd name="T12" fmla="*/ 101038 w 452"/>
                <a:gd name="T13" fmla="*/ 93582 h 832"/>
                <a:gd name="T14" fmla="*/ 115410 w 452"/>
                <a:gd name="T15" fmla="*/ 93060 h 832"/>
                <a:gd name="T16" fmla="*/ 122813 w 452"/>
                <a:gd name="T17" fmla="*/ 90446 h 832"/>
                <a:gd name="T18" fmla="*/ 129782 w 452"/>
                <a:gd name="T19" fmla="*/ 84695 h 832"/>
                <a:gd name="T20" fmla="*/ 139363 w 452"/>
                <a:gd name="T21" fmla="*/ 69533 h 832"/>
                <a:gd name="T22" fmla="*/ 152428 w 452"/>
                <a:gd name="T23" fmla="*/ 39210 h 832"/>
                <a:gd name="T24" fmla="*/ 164622 w 452"/>
                <a:gd name="T25" fmla="*/ 0 h 832"/>
                <a:gd name="T26" fmla="*/ 167671 w 452"/>
                <a:gd name="T27" fmla="*/ 9933 h 832"/>
                <a:gd name="T28" fmla="*/ 177252 w 452"/>
                <a:gd name="T29" fmla="*/ 24572 h 832"/>
                <a:gd name="T30" fmla="*/ 195108 w 452"/>
                <a:gd name="T31" fmla="*/ 44439 h 832"/>
                <a:gd name="T32" fmla="*/ 191624 w 452"/>
                <a:gd name="T33" fmla="*/ 53849 h 832"/>
                <a:gd name="T34" fmla="*/ 193366 w 452"/>
                <a:gd name="T35" fmla="*/ 72147 h 832"/>
                <a:gd name="T36" fmla="*/ 196850 w 452"/>
                <a:gd name="T37" fmla="*/ 96719 h 832"/>
                <a:gd name="T38" fmla="*/ 195108 w 452"/>
                <a:gd name="T39" fmla="*/ 107698 h 832"/>
                <a:gd name="T40" fmla="*/ 186398 w 452"/>
                <a:gd name="T41" fmla="*/ 122337 h 832"/>
                <a:gd name="T42" fmla="*/ 178123 w 452"/>
                <a:gd name="T43" fmla="*/ 136452 h 832"/>
                <a:gd name="T44" fmla="*/ 176381 w 452"/>
                <a:gd name="T45" fmla="*/ 147954 h 832"/>
                <a:gd name="T46" fmla="*/ 171155 w 452"/>
                <a:gd name="T47" fmla="*/ 161024 h 832"/>
                <a:gd name="T48" fmla="*/ 166800 w 452"/>
                <a:gd name="T49" fmla="*/ 166252 h 832"/>
                <a:gd name="T50" fmla="*/ 164187 w 452"/>
                <a:gd name="T51" fmla="*/ 173572 h 832"/>
                <a:gd name="T52" fmla="*/ 160267 w 452"/>
                <a:gd name="T53" fmla="*/ 190302 h 832"/>
                <a:gd name="T54" fmla="*/ 147202 w 452"/>
                <a:gd name="T55" fmla="*/ 223238 h 832"/>
                <a:gd name="T56" fmla="*/ 139798 w 452"/>
                <a:gd name="T57" fmla="*/ 245719 h 832"/>
                <a:gd name="T58" fmla="*/ 138492 w 452"/>
                <a:gd name="T59" fmla="*/ 261403 h 832"/>
                <a:gd name="T60" fmla="*/ 135008 w 452"/>
                <a:gd name="T61" fmla="*/ 277610 h 832"/>
                <a:gd name="T62" fmla="*/ 122378 w 452"/>
                <a:gd name="T63" fmla="*/ 314730 h 832"/>
                <a:gd name="T64" fmla="*/ 113232 w 452"/>
                <a:gd name="T65" fmla="*/ 333028 h 832"/>
                <a:gd name="T66" fmla="*/ 105393 w 452"/>
                <a:gd name="T67" fmla="*/ 342438 h 832"/>
                <a:gd name="T68" fmla="*/ 101038 w 452"/>
                <a:gd name="T69" fmla="*/ 345052 h 832"/>
                <a:gd name="T70" fmla="*/ 99296 w 452"/>
                <a:gd name="T71" fmla="*/ 373284 h 832"/>
                <a:gd name="T72" fmla="*/ 93634 w 452"/>
                <a:gd name="T73" fmla="*/ 396810 h 832"/>
                <a:gd name="T74" fmla="*/ 83182 w 452"/>
                <a:gd name="T75" fmla="*/ 415631 h 832"/>
                <a:gd name="T76" fmla="*/ 68375 w 452"/>
                <a:gd name="T77" fmla="*/ 428179 h 832"/>
                <a:gd name="T78" fmla="*/ 47906 w 452"/>
                <a:gd name="T79" fmla="*/ 434452 h 832"/>
                <a:gd name="T80" fmla="*/ 34841 w 452"/>
                <a:gd name="T81" fmla="*/ 432361 h 832"/>
                <a:gd name="T82" fmla="*/ 31792 w 452"/>
                <a:gd name="T83" fmla="*/ 427133 h 832"/>
                <a:gd name="T84" fmla="*/ 21775 w 452"/>
                <a:gd name="T85" fmla="*/ 423473 h 832"/>
                <a:gd name="T86" fmla="*/ 11323 w 452"/>
                <a:gd name="T87" fmla="*/ 417200 h 832"/>
                <a:gd name="T88" fmla="*/ 5226 w 452"/>
                <a:gd name="T89" fmla="*/ 406221 h 832"/>
                <a:gd name="T90" fmla="*/ 1307 w 452"/>
                <a:gd name="T91" fmla="*/ 393150 h 832"/>
                <a:gd name="T92" fmla="*/ 0 w 452"/>
                <a:gd name="T93" fmla="*/ 370147 h 832"/>
                <a:gd name="T94" fmla="*/ 1742 w 452"/>
                <a:gd name="T95" fmla="*/ 362828 h 832"/>
                <a:gd name="T96" fmla="*/ 8275 w 452"/>
                <a:gd name="T97" fmla="*/ 354463 h 832"/>
                <a:gd name="T98" fmla="*/ 4791 w 452"/>
                <a:gd name="T99" fmla="*/ 351326 h 832"/>
                <a:gd name="T100" fmla="*/ 0 w 452"/>
                <a:gd name="T101" fmla="*/ 340870 h 832"/>
                <a:gd name="T102" fmla="*/ 2178 w 452"/>
                <a:gd name="T103" fmla="*/ 328322 h 832"/>
                <a:gd name="T104" fmla="*/ 3484 w 452"/>
                <a:gd name="T105" fmla="*/ 318912 h 832"/>
                <a:gd name="T106" fmla="*/ 2178 w 452"/>
                <a:gd name="T107" fmla="*/ 308979 h 832"/>
                <a:gd name="T108" fmla="*/ 7839 w 452"/>
                <a:gd name="T109" fmla="*/ 306887 h 832"/>
                <a:gd name="T110" fmla="*/ 18727 w 452"/>
                <a:gd name="T111" fmla="*/ 296954 h 832"/>
                <a:gd name="T112" fmla="*/ 27437 w 452"/>
                <a:gd name="T113" fmla="*/ 281270 h 832"/>
                <a:gd name="T114" fmla="*/ 33099 w 452"/>
                <a:gd name="T115" fmla="*/ 264540 h 832"/>
                <a:gd name="T116" fmla="*/ 37454 w 452"/>
                <a:gd name="T117" fmla="*/ 241537 h 832"/>
                <a:gd name="T118" fmla="*/ 36147 w 452"/>
                <a:gd name="T119" fmla="*/ 228989 h 832"/>
                <a:gd name="T120" fmla="*/ 30486 w 452"/>
                <a:gd name="T121" fmla="*/ 213305 h 832"/>
                <a:gd name="T122" fmla="*/ 24388 w 452"/>
                <a:gd name="T123" fmla="*/ 199712 h 832"/>
                <a:gd name="T124" fmla="*/ 23082 w 452"/>
                <a:gd name="T125" fmla="*/ 189779 h 832"/>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52" h="832">
                  <a:moveTo>
                    <a:pt x="93" y="264"/>
                  </a:moveTo>
                  <a:lnTo>
                    <a:pt x="103" y="263"/>
                  </a:lnTo>
                  <a:lnTo>
                    <a:pt x="112" y="261"/>
                  </a:lnTo>
                  <a:lnTo>
                    <a:pt x="120" y="257"/>
                  </a:lnTo>
                  <a:lnTo>
                    <a:pt x="129" y="252"/>
                  </a:lnTo>
                  <a:lnTo>
                    <a:pt x="138" y="248"/>
                  </a:lnTo>
                  <a:lnTo>
                    <a:pt x="147" y="244"/>
                  </a:lnTo>
                  <a:lnTo>
                    <a:pt x="157" y="241"/>
                  </a:lnTo>
                  <a:lnTo>
                    <a:pt x="165" y="240"/>
                  </a:lnTo>
                  <a:lnTo>
                    <a:pt x="175" y="239"/>
                  </a:lnTo>
                  <a:lnTo>
                    <a:pt x="184" y="236"/>
                  </a:lnTo>
                  <a:lnTo>
                    <a:pt x="192" y="232"/>
                  </a:lnTo>
                  <a:lnTo>
                    <a:pt x="199" y="227"/>
                  </a:lnTo>
                  <a:lnTo>
                    <a:pt x="206" y="222"/>
                  </a:lnTo>
                  <a:lnTo>
                    <a:pt x="215" y="217"/>
                  </a:lnTo>
                  <a:lnTo>
                    <a:pt x="222" y="213"/>
                  </a:lnTo>
                  <a:lnTo>
                    <a:pt x="232" y="209"/>
                  </a:lnTo>
                  <a:lnTo>
                    <a:pt x="232" y="200"/>
                  </a:lnTo>
                  <a:lnTo>
                    <a:pt x="232" y="191"/>
                  </a:lnTo>
                  <a:lnTo>
                    <a:pt x="232" y="184"/>
                  </a:lnTo>
                  <a:lnTo>
                    <a:pt x="232" y="179"/>
                  </a:lnTo>
                  <a:lnTo>
                    <a:pt x="248" y="179"/>
                  </a:lnTo>
                  <a:lnTo>
                    <a:pt x="259" y="179"/>
                  </a:lnTo>
                  <a:lnTo>
                    <a:pt x="265" y="178"/>
                  </a:lnTo>
                  <a:lnTo>
                    <a:pt x="271" y="177"/>
                  </a:lnTo>
                  <a:lnTo>
                    <a:pt x="276" y="175"/>
                  </a:lnTo>
                  <a:lnTo>
                    <a:pt x="282" y="173"/>
                  </a:lnTo>
                  <a:lnTo>
                    <a:pt x="287" y="170"/>
                  </a:lnTo>
                  <a:lnTo>
                    <a:pt x="293" y="166"/>
                  </a:lnTo>
                  <a:lnTo>
                    <a:pt x="298" y="162"/>
                  </a:lnTo>
                  <a:lnTo>
                    <a:pt x="303" y="157"/>
                  </a:lnTo>
                  <a:lnTo>
                    <a:pt x="311" y="145"/>
                  </a:lnTo>
                  <a:lnTo>
                    <a:pt x="320" y="133"/>
                  </a:lnTo>
                  <a:lnTo>
                    <a:pt x="329" y="120"/>
                  </a:lnTo>
                  <a:lnTo>
                    <a:pt x="336" y="106"/>
                  </a:lnTo>
                  <a:lnTo>
                    <a:pt x="350" y="75"/>
                  </a:lnTo>
                  <a:lnTo>
                    <a:pt x="361" y="46"/>
                  </a:lnTo>
                  <a:lnTo>
                    <a:pt x="371" y="20"/>
                  </a:lnTo>
                  <a:lnTo>
                    <a:pt x="378" y="0"/>
                  </a:lnTo>
                  <a:lnTo>
                    <a:pt x="379" y="7"/>
                  </a:lnTo>
                  <a:lnTo>
                    <a:pt x="383" y="13"/>
                  </a:lnTo>
                  <a:lnTo>
                    <a:pt x="385" y="19"/>
                  </a:lnTo>
                  <a:lnTo>
                    <a:pt x="389" y="25"/>
                  </a:lnTo>
                  <a:lnTo>
                    <a:pt x="397" y="36"/>
                  </a:lnTo>
                  <a:lnTo>
                    <a:pt x="407" y="47"/>
                  </a:lnTo>
                  <a:lnTo>
                    <a:pt x="430" y="65"/>
                  </a:lnTo>
                  <a:lnTo>
                    <a:pt x="452" y="80"/>
                  </a:lnTo>
                  <a:lnTo>
                    <a:pt x="448" y="85"/>
                  </a:lnTo>
                  <a:lnTo>
                    <a:pt x="444" y="91"/>
                  </a:lnTo>
                  <a:lnTo>
                    <a:pt x="442" y="96"/>
                  </a:lnTo>
                  <a:lnTo>
                    <a:pt x="440" y="103"/>
                  </a:lnTo>
                  <a:lnTo>
                    <a:pt x="440" y="114"/>
                  </a:lnTo>
                  <a:lnTo>
                    <a:pt x="442" y="125"/>
                  </a:lnTo>
                  <a:lnTo>
                    <a:pt x="444" y="138"/>
                  </a:lnTo>
                  <a:lnTo>
                    <a:pt x="448" y="151"/>
                  </a:lnTo>
                  <a:lnTo>
                    <a:pt x="451" y="168"/>
                  </a:lnTo>
                  <a:lnTo>
                    <a:pt x="452" y="185"/>
                  </a:lnTo>
                  <a:lnTo>
                    <a:pt x="451" y="192"/>
                  </a:lnTo>
                  <a:lnTo>
                    <a:pt x="450" y="199"/>
                  </a:lnTo>
                  <a:lnTo>
                    <a:pt x="448" y="206"/>
                  </a:lnTo>
                  <a:lnTo>
                    <a:pt x="444" y="213"/>
                  </a:lnTo>
                  <a:lnTo>
                    <a:pt x="437" y="224"/>
                  </a:lnTo>
                  <a:lnTo>
                    <a:pt x="428" y="234"/>
                  </a:lnTo>
                  <a:lnTo>
                    <a:pt x="420" y="244"/>
                  </a:lnTo>
                  <a:lnTo>
                    <a:pt x="412" y="255"/>
                  </a:lnTo>
                  <a:lnTo>
                    <a:pt x="409" y="261"/>
                  </a:lnTo>
                  <a:lnTo>
                    <a:pt x="407" y="269"/>
                  </a:lnTo>
                  <a:lnTo>
                    <a:pt x="406" y="276"/>
                  </a:lnTo>
                  <a:lnTo>
                    <a:pt x="405" y="283"/>
                  </a:lnTo>
                  <a:lnTo>
                    <a:pt x="402" y="289"/>
                  </a:lnTo>
                  <a:lnTo>
                    <a:pt x="397" y="302"/>
                  </a:lnTo>
                  <a:lnTo>
                    <a:pt x="393" y="308"/>
                  </a:lnTo>
                  <a:lnTo>
                    <a:pt x="388" y="314"/>
                  </a:lnTo>
                  <a:lnTo>
                    <a:pt x="386" y="316"/>
                  </a:lnTo>
                  <a:lnTo>
                    <a:pt x="383" y="318"/>
                  </a:lnTo>
                  <a:lnTo>
                    <a:pt x="381" y="319"/>
                  </a:lnTo>
                  <a:lnTo>
                    <a:pt x="378" y="320"/>
                  </a:lnTo>
                  <a:lnTo>
                    <a:pt x="377" y="332"/>
                  </a:lnTo>
                  <a:lnTo>
                    <a:pt x="376" y="343"/>
                  </a:lnTo>
                  <a:lnTo>
                    <a:pt x="373" y="354"/>
                  </a:lnTo>
                  <a:lnTo>
                    <a:pt x="368" y="364"/>
                  </a:lnTo>
                  <a:lnTo>
                    <a:pt x="360" y="386"/>
                  </a:lnTo>
                  <a:lnTo>
                    <a:pt x="349" y="406"/>
                  </a:lnTo>
                  <a:lnTo>
                    <a:pt x="338" y="427"/>
                  </a:lnTo>
                  <a:lnTo>
                    <a:pt x="328" y="449"/>
                  </a:lnTo>
                  <a:lnTo>
                    <a:pt x="325" y="459"/>
                  </a:lnTo>
                  <a:lnTo>
                    <a:pt x="321" y="470"/>
                  </a:lnTo>
                  <a:lnTo>
                    <a:pt x="319" y="481"/>
                  </a:lnTo>
                  <a:lnTo>
                    <a:pt x="319" y="493"/>
                  </a:lnTo>
                  <a:lnTo>
                    <a:pt x="318" y="500"/>
                  </a:lnTo>
                  <a:lnTo>
                    <a:pt x="316" y="509"/>
                  </a:lnTo>
                  <a:lnTo>
                    <a:pt x="314" y="520"/>
                  </a:lnTo>
                  <a:lnTo>
                    <a:pt x="310" y="531"/>
                  </a:lnTo>
                  <a:lnTo>
                    <a:pt x="300" y="559"/>
                  </a:lnTo>
                  <a:lnTo>
                    <a:pt x="288" y="587"/>
                  </a:lnTo>
                  <a:lnTo>
                    <a:pt x="281" y="602"/>
                  </a:lnTo>
                  <a:lnTo>
                    <a:pt x="274" y="615"/>
                  </a:lnTo>
                  <a:lnTo>
                    <a:pt x="266" y="627"/>
                  </a:lnTo>
                  <a:lnTo>
                    <a:pt x="260" y="637"/>
                  </a:lnTo>
                  <a:lnTo>
                    <a:pt x="252" y="646"/>
                  </a:lnTo>
                  <a:lnTo>
                    <a:pt x="245" y="653"/>
                  </a:lnTo>
                  <a:lnTo>
                    <a:pt x="242" y="655"/>
                  </a:lnTo>
                  <a:lnTo>
                    <a:pt x="239" y="658"/>
                  </a:lnTo>
                  <a:lnTo>
                    <a:pt x="236" y="659"/>
                  </a:lnTo>
                  <a:lnTo>
                    <a:pt x="232" y="660"/>
                  </a:lnTo>
                  <a:lnTo>
                    <a:pt x="231" y="678"/>
                  </a:lnTo>
                  <a:lnTo>
                    <a:pt x="230" y="696"/>
                  </a:lnTo>
                  <a:lnTo>
                    <a:pt x="228" y="714"/>
                  </a:lnTo>
                  <a:lnTo>
                    <a:pt x="225" y="730"/>
                  </a:lnTo>
                  <a:lnTo>
                    <a:pt x="220" y="745"/>
                  </a:lnTo>
                  <a:lnTo>
                    <a:pt x="215" y="759"/>
                  </a:lnTo>
                  <a:lnTo>
                    <a:pt x="207" y="773"/>
                  </a:lnTo>
                  <a:lnTo>
                    <a:pt x="199" y="785"/>
                  </a:lnTo>
                  <a:lnTo>
                    <a:pt x="191" y="795"/>
                  </a:lnTo>
                  <a:lnTo>
                    <a:pt x="181" y="805"/>
                  </a:lnTo>
                  <a:lnTo>
                    <a:pt x="169" y="812"/>
                  </a:lnTo>
                  <a:lnTo>
                    <a:pt x="157" y="819"/>
                  </a:lnTo>
                  <a:lnTo>
                    <a:pt x="142" y="825"/>
                  </a:lnTo>
                  <a:lnTo>
                    <a:pt x="127" y="829"/>
                  </a:lnTo>
                  <a:lnTo>
                    <a:pt x="110" y="831"/>
                  </a:lnTo>
                  <a:lnTo>
                    <a:pt x="93" y="832"/>
                  </a:lnTo>
                  <a:lnTo>
                    <a:pt x="86" y="831"/>
                  </a:lnTo>
                  <a:lnTo>
                    <a:pt x="80" y="827"/>
                  </a:lnTo>
                  <a:lnTo>
                    <a:pt x="77" y="825"/>
                  </a:lnTo>
                  <a:lnTo>
                    <a:pt x="75" y="821"/>
                  </a:lnTo>
                  <a:lnTo>
                    <a:pt x="73" y="817"/>
                  </a:lnTo>
                  <a:lnTo>
                    <a:pt x="73" y="813"/>
                  </a:lnTo>
                  <a:lnTo>
                    <a:pt x="61" y="812"/>
                  </a:lnTo>
                  <a:lnTo>
                    <a:pt x="50" y="810"/>
                  </a:lnTo>
                  <a:lnTo>
                    <a:pt x="41" y="807"/>
                  </a:lnTo>
                  <a:lnTo>
                    <a:pt x="34" y="803"/>
                  </a:lnTo>
                  <a:lnTo>
                    <a:pt x="26" y="798"/>
                  </a:lnTo>
                  <a:lnTo>
                    <a:pt x="20" y="791"/>
                  </a:lnTo>
                  <a:lnTo>
                    <a:pt x="15" y="785"/>
                  </a:lnTo>
                  <a:lnTo>
                    <a:pt x="12" y="777"/>
                  </a:lnTo>
                  <a:lnTo>
                    <a:pt x="8" y="769"/>
                  </a:lnTo>
                  <a:lnTo>
                    <a:pt x="5" y="760"/>
                  </a:lnTo>
                  <a:lnTo>
                    <a:pt x="3" y="752"/>
                  </a:lnTo>
                  <a:lnTo>
                    <a:pt x="2" y="743"/>
                  </a:lnTo>
                  <a:lnTo>
                    <a:pt x="0" y="726"/>
                  </a:lnTo>
                  <a:lnTo>
                    <a:pt x="0" y="708"/>
                  </a:lnTo>
                  <a:lnTo>
                    <a:pt x="1" y="702"/>
                  </a:lnTo>
                  <a:lnTo>
                    <a:pt x="2" y="697"/>
                  </a:lnTo>
                  <a:lnTo>
                    <a:pt x="4" y="694"/>
                  </a:lnTo>
                  <a:lnTo>
                    <a:pt x="7" y="691"/>
                  </a:lnTo>
                  <a:lnTo>
                    <a:pt x="14" y="685"/>
                  </a:lnTo>
                  <a:lnTo>
                    <a:pt x="19" y="678"/>
                  </a:lnTo>
                  <a:lnTo>
                    <a:pt x="17" y="677"/>
                  </a:lnTo>
                  <a:lnTo>
                    <a:pt x="14" y="675"/>
                  </a:lnTo>
                  <a:lnTo>
                    <a:pt x="11" y="672"/>
                  </a:lnTo>
                  <a:lnTo>
                    <a:pt x="7" y="668"/>
                  </a:lnTo>
                  <a:lnTo>
                    <a:pt x="2" y="660"/>
                  </a:lnTo>
                  <a:lnTo>
                    <a:pt x="0" y="652"/>
                  </a:lnTo>
                  <a:lnTo>
                    <a:pt x="1" y="642"/>
                  </a:lnTo>
                  <a:lnTo>
                    <a:pt x="3" y="635"/>
                  </a:lnTo>
                  <a:lnTo>
                    <a:pt x="5" y="628"/>
                  </a:lnTo>
                  <a:lnTo>
                    <a:pt x="7" y="622"/>
                  </a:lnTo>
                  <a:lnTo>
                    <a:pt x="8" y="616"/>
                  </a:lnTo>
                  <a:lnTo>
                    <a:pt x="8" y="610"/>
                  </a:lnTo>
                  <a:lnTo>
                    <a:pt x="5" y="602"/>
                  </a:lnTo>
                  <a:lnTo>
                    <a:pt x="0" y="591"/>
                  </a:lnTo>
                  <a:lnTo>
                    <a:pt x="5" y="591"/>
                  </a:lnTo>
                  <a:lnTo>
                    <a:pt x="9" y="590"/>
                  </a:lnTo>
                  <a:lnTo>
                    <a:pt x="14" y="589"/>
                  </a:lnTo>
                  <a:lnTo>
                    <a:pt x="18" y="587"/>
                  </a:lnTo>
                  <a:lnTo>
                    <a:pt x="27" y="582"/>
                  </a:lnTo>
                  <a:lnTo>
                    <a:pt x="36" y="575"/>
                  </a:lnTo>
                  <a:lnTo>
                    <a:pt x="43" y="568"/>
                  </a:lnTo>
                  <a:lnTo>
                    <a:pt x="50" y="559"/>
                  </a:lnTo>
                  <a:lnTo>
                    <a:pt x="57" y="549"/>
                  </a:lnTo>
                  <a:lnTo>
                    <a:pt x="63" y="538"/>
                  </a:lnTo>
                  <a:lnTo>
                    <a:pt x="68" y="527"/>
                  </a:lnTo>
                  <a:lnTo>
                    <a:pt x="73" y="516"/>
                  </a:lnTo>
                  <a:lnTo>
                    <a:pt x="76" y="506"/>
                  </a:lnTo>
                  <a:lnTo>
                    <a:pt x="80" y="496"/>
                  </a:lnTo>
                  <a:lnTo>
                    <a:pt x="84" y="476"/>
                  </a:lnTo>
                  <a:lnTo>
                    <a:pt x="86" y="462"/>
                  </a:lnTo>
                  <a:lnTo>
                    <a:pt x="85" y="453"/>
                  </a:lnTo>
                  <a:lnTo>
                    <a:pt x="84" y="445"/>
                  </a:lnTo>
                  <a:lnTo>
                    <a:pt x="83" y="438"/>
                  </a:lnTo>
                  <a:lnTo>
                    <a:pt x="81" y="430"/>
                  </a:lnTo>
                  <a:lnTo>
                    <a:pt x="75" y="419"/>
                  </a:lnTo>
                  <a:lnTo>
                    <a:pt x="70" y="408"/>
                  </a:lnTo>
                  <a:lnTo>
                    <a:pt x="63" y="398"/>
                  </a:lnTo>
                  <a:lnTo>
                    <a:pt x="58" y="388"/>
                  </a:lnTo>
                  <a:lnTo>
                    <a:pt x="56" y="382"/>
                  </a:lnTo>
                  <a:lnTo>
                    <a:pt x="54" y="376"/>
                  </a:lnTo>
                  <a:lnTo>
                    <a:pt x="53" y="370"/>
                  </a:lnTo>
                  <a:lnTo>
                    <a:pt x="53" y="363"/>
                  </a:lnTo>
                  <a:lnTo>
                    <a:pt x="93" y="26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5" name="Freeform 254">
              <a:extLst>
                <a:ext uri="{FF2B5EF4-FFF2-40B4-BE49-F238E27FC236}">
                  <a16:creationId xmlns:a16="http://schemas.microsoft.com/office/drawing/2014/main" id="{28197F10-C0DC-4B4B-B574-79225DF1686B}"/>
                </a:ext>
              </a:extLst>
            </p:cNvPr>
            <p:cNvSpPr>
              <a:spLocks/>
            </p:cNvSpPr>
            <p:nvPr>
              <p:custDataLst>
                <p:tags r:id="rId181"/>
              </p:custDataLst>
            </p:nvPr>
          </p:nvSpPr>
          <p:spPr bwMode="auto">
            <a:xfrm>
              <a:off x="4743444" y="3735359"/>
              <a:ext cx="36513" cy="66675"/>
            </a:xfrm>
            <a:custGeom>
              <a:avLst/>
              <a:gdLst>
                <a:gd name="T0" fmla="*/ 36513 w 80"/>
                <a:gd name="T1" fmla="*/ 1058 h 126"/>
                <a:gd name="T2" fmla="*/ 36513 w 80"/>
                <a:gd name="T3" fmla="*/ 53446 h 126"/>
                <a:gd name="T4" fmla="*/ 35600 w 80"/>
                <a:gd name="T5" fmla="*/ 55033 h 126"/>
                <a:gd name="T6" fmla="*/ 34231 w 80"/>
                <a:gd name="T7" fmla="*/ 56621 h 126"/>
                <a:gd name="T8" fmla="*/ 31949 w 80"/>
                <a:gd name="T9" fmla="*/ 57679 h 126"/>
                <a:gd name="T10" fmla="*/ 30580 w 80"/>
                <a:gd name="T11" fmla="*/ 58737 h 126"/>
                <a:gd name="T12" fmla="*/ 26472 w 80"/>
                <a:gd name="T13" fmla="*/ 60325 h 126"/>
                <a:gd name="T14" fmla="*/ 21908 w 80"/>
                <a:gd name="T15" fmla="*/ 61383 h 126"/>
                <a:gd name="T16" fmla="*/ 16431 w 80"/>
                <a:gd name="T17" fmla="*/ 61912 h 126"/>
                <a:gd name="T18" fmla="*/ 11410 w 80"/>
                <a:gd name="T19" fmla="*/ 62971 h 126"/>
                <a:gd name="T20" fmla="*/ 5933 w 80"/>
                <a:gd name="T21" fmla="*/ 65087 h 126"/>
                <a:gd name="T22" fmla="*/ 0 w 80"/>
                <a:gd name="T23" fmla="*/ 66675 h 126"/>
                <a:gd name="T24" fmla="*/ 3195 w 80"/>
                <a:gd name="T25" fmla="*/ 21167 h 126"/>
                <a:gd name="T26" fmla="*/ 10497 w 80"/>
                <a:gd name="T27" fmla="*/ 14287 h 126"/>
                <a:gd name="T28" fmla="*/ 18713 w 80"/>
                <a:gd name="T29" fmla="*/ 6350 h 126"/>
                <a:gd name="T30" fmla="*/ 23277 w 80"/>
                <a:gd name="T31" fmla="*/ 2646 h 126"/>
                <a:gd name="T32" fmla="*/ 27385 w 80"/>
                <a:gd name="T33" fmla="*/ 529 h 126"/>
                <a:gd name="T34" fmla="*/ 29667 w 80"/>
                <a:gd name="T35" fmla="*/ 0 h 126"/>
                <a:gd name="T36" fmla="*/ 31949 w 80"/>
                <a:gd name="T37" fmla="*/ 0 h 126"/>
                <a:gd name="T38" fmla="*/ 34231 w 80"/>
                <a:gd name="T39" fmla="*/ 529 h 126"/>
                <a:gd name="T40" fmla="*/ 36513 w 80"/>
                <a:gd name="T41" fmla="*/ 1058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0" h="126">
                  <a:moveTo>
                    <a:pt x="80" y="2"/>
                  </a:moveTo>
                  <a:lnTo>
                    <a:pt x="80" y="101"/>
                  </a:lnTo>
                  <a:lnTo>
                    <a:pt x="78" y="104"/>
                  </a:lnTo>
                  <a:lnTo>
                    <a:pt x="75" y="107"/>
                  </a:lnTo>
                  <a:lnTo>
                    <a:pt x="70" y="109"/>
                  </a:lnTo>
                  <a:lnTo>
                    <a:pt x="67" y="111"/>
                  </a:lnTo>
                  <a:lnTo>
                    <a:pt x="58" y="114"/>
                  </a:lnTo>
                  <a:lnTo>
                    <a:pt x="48" y="116"/>
                  </a:lnTo>
                  <a:lnTo>
                    <a:pt x="36" y="117"/>
                  </a:lnTo>
                  <a:lnTo>
                    <a:pt x="25" y="119"/>
                  </a:lnTo>
                  <a:lnTo>
                    <a:pt x="13" y="123"/>
                  </a:lnTo>
                  <a:lnTo>
                    <a:pt x="0" y="126"/>
                  </a:lnTo>
                  <a:lnTo>
                    <a:pt x="7" y="40"/>
                  </a:lnTo>
                  <a:lnTo>
                    <a:pt x="23" y="27"/>
                  </a:lnTo>
                  <a:lnTo>
                    <a:pt x="41" y="12"/>
                  </a:lnTo>
                  <a:lnTo>
                    <a:pt x="51" y="5"/>
                  </a:lnTo>
                  <a:lnTo>
                    <a:pt x="60" y="1"/>
                  </a:lnTo>
                  <a:lnTo>
                    <a:pt x="65" y="0"/>
                  </a:lnTo>
                  <a:lnTo>
                    <a:pt x="70" y="0"/>
                  </a:lnTo>
                  <a:lnTo>
                    <a:pt x="75" y="1"/>
                  </a:lnTo>
                  <a:lnTo>
                    <a:pt x="80" y="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6" name="Freeform 255">
              <a:extLst>
                <a:ext uri="{FF2B5EF4-FFF2-40B4-BE49-F238E27FC236}">
                  <a16:creationId xmlns:a16="http://schemas.microsoft.com/office/drawing/2014/main" id="{2715EC9A-F358-4883-86A8-716A30D187A2}"/>
                </a:ext>
              </a:extLst>
            </p:cNvPr>
            <p:cNvSpPr>
              <a:spLocks/>
            </p:cNvSpPr>
            <p:nvPr>
              <p:custDataLst>
                <p:tags r:id="rId182"/>
              </p:custDataLst>
            </p:nvPr>
          </p:nvSpPr>
          <p:spPr bwMode="auto">
            <a:xfrm>
              <a:off x="4732332" y="3695671"/>
              <a:ext cx="55562" cy="60325"/>
            </a:xfrm>
            <a:custGeom>
              <a:avLst/>
              <a:gdLst>
                <a:gd name="T0" fmla="*/ 50633 w 124"/>
                <a:gd name="T1" fmla="*/ 0 h 117"/>
                <a:gd name="T2" fmla="*/ 51977 w 124"/>
                <a:gd name="T3" fmla="*/ 7734 h 117"/>
                <a:gd name="T4" fmla="*/ 54666 w 124"/>
                <a:gd name="T5" fmla="*/ 18046 h 117"/>
                <a:gd name="T6" fmla="*/ 55562 w 124"/>
                <a:gd name="T7" fmla="*/ 23202 h 117"/>
                <a:gd name="T8" fmla="*/ 55562 w 124"/>
                <a:gd name="T9" fmla="*/ 27842 h 117"/>
                <a:gd name="T10" fmla="*/ 55562 w 124"/>
                <a:gd name="T11" fmla="*/ 30420 h 117"/>
                <a:gd name="T12" fmla="*/ 55114 w 124"/>
                <a:gd name="T13" fmla="*/ 32998 h 117"/>
                <a:gd name="T14" fmla="*/ 54666 w 124"/>
                <a:gd name="T15" fmla="*/ 35576 h 117"/>
                <a:gd name="T16" fmla="*/ 53322 w 124"/>
                <a:gd name="T17" fmla="*/ 37639 h 117"/>
                <a:gd name="T18" fmla="*/ 51081 w 124"/>
                <a:gd name="T19" fmla="*/ 37123 h 117"/>
                <a:gd name="T20" fmla="*/ 48393 w 124"/>
                <a:gd name="T21" fmla="*/ 36607 h 117"/>
                <a:gd name="T22" fmla="*/ 46152 w 124"/>
                <a:gd name="T23" fmla="*/ 37123 h 117"/>
                <a:gd name="T24" fmla="*/ 43016 w 124"/>
                <a:gd name="T25" fmla="*/ 37639 h 117"/>
                <a:gd name="T26" fmla="*/ 37191 w 124"/>
                <a:gd name="T27" fmla="*/ 40217 h 117"/>
                <a:gd name="T28" fmla="*/ 31814 w 124"/>
                <a:gd name="T29" fmla="*/ 43826 h 117"/>
                <a:gd name="T30" fmla="*/ 20612 w 124"/>
                <a:gd name="T31" fmla="*/ 53107 h 117"/>
                <a:gd name="T32" fmla="*/ 11650 w 124"/>
                <a:gd name="T33" fmla="*/ 60325 h 117"/>
                <a:gd name="T34" fmla="*/ 10306 w 124"/>
                <a:gd name="T35" fmla="*/ 57747 h 117"/>
                <a:gd name="T36" fmla="*/ 5825 w 124"/>
                <a:gd name="T37" fmla="*/ 52075 h 117"/>
                <a:gd name="T38" fmla="*/ 1792 w 124"/>
                <a:gd name="T39" fmla="*/ 45888 h 117"/>
                <a:gd name="T40" fmla="*/ 0 w 124"/>
                <a:gd name="T41" fmla="*/ 40732 h 117"/>
                <a:gd name="T42" fmla="*/ 448 w 124"/>
                <a:gd name="T43" fmla="*/ 39185 h 117"/>
                <a:gd name="T44" fmla="*/ 896 w 124"/>
                <a:gd name="T45" fmla="*/ 37123 h 117"/>
                <a:gd name="T46" fmla="*/ 2240 w 124"/>
                <a:gd name="T47" fmla="*/ 34545 h 117"/>
                <a:gd name="T48" fmla="*/ 4033 w 124"/>
                <a:gd name="T49" fmla="*/ 31967 h 117"/>
                <a:gd name="T50" fmla="*/ 7617 w 124"/>
                <a:gd name="T51" fmla="*/ 26811 h 117"/>
                <a:gd name="T52" fmla="*/ 12098 w 124"/>
                <a:gd name="T53" fmla="*/ 21655 h 117"/>
                <a:gd name="T54" fmla="*/ 21508 w 124"/>
                <a:gd name="T55" fmla="*/ 11343 h 117"/>
                <a:gd name="T56" fmla="*/ 26885 w 124"/>
                <a:gd name="T57" fmla="*/ 6187 h 117"/>
                <a:gd name="T58" fmla="*/ 32710 w 124"/>
                <a:gd name="T59" fmla="*/ 6187 h 117"/>
                <a:gd name="T60" fmla="*/ 38535 w 124"/>
                <a:gd name="T61" fmla="*/ 6187 h 117"/>
                <a:gd name="T62" fmla="*/ 44808 w 124"/>
                <a:gd name="T63" fmla="*/ 3094 h 117"/>
                <a:gd name="T64" fmla="*/ 50633 w 124"/>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24" h="117">
                  <a:moveTo>
                    <a:pt x="113" y="0"/>
                  </a:moveTo>
                  <a:lnTo>
                    <a:pt x="116" y="15"/>
                  </a:lnTo>
                  <a:lnTo>
                    <a:pt x="122" y="35"/>
                  </a:lnTo>
                  <a:lnTo>
                    <a:pt x="124" y="45"/>
                  </a:lnTo>
                  <a:lnTo>
                    <a:pt x="124" y="54"/>
                  </a:lnTo>
                  <a:lnTo>
                    <a:pt x="124" y="59"/>
                  </a:lnTo>
                  <a:lnTo>
                    <a:pt x="123" y="64"/>
                  </a:lnTo>
                  <a:lnTo>
                    <a:pt x="122" y="69"/>
                  </a:lnTo>
                  <a:lnTo>
                    <a:pt x="119" y="73"/>
                  </a:lnTo>
                  <a:lnTo>
                    <a:pt x="114" y="72"/>
                  </a:lnTo>
                  <a:lnTo>
                    <a:pt x="108" y="71"/>
                  </a:lnTo>
                  <a:lnTo>
                    <a:pt x="103" y="72"/>
                  </a:lnTo>
                  <a:lnTo>
                    <a:pt x="96" y="73"/>
                  </a:lnTo>
                  <a:lnTo>
                    <a:pt x="83" y="78"/>
                  </a:lnTo>
                  <a:lnTo>
                    <a:pt x="71" y="85"/>
                  </a:lnTo>
                  <a:lnTo>
                    <a:pt x="46" y="103"/>
                  </a:lnTo>
                  <a:lnTo>
                    <a:pt x="26" y="117"/>
                  </a:lnTo>
                  <a:lnTo>
                    <a:pt x="23" y="112"/>
                  </a:lnTo>
                  <a:lnTo>
                    <a:pt x="13" y="101"/>
                  </a:lnTo>
                  <a:lnTo>
                    <a:pt x="4" y="89"/>
                  </a:lnTo>
                  <a:lnTo>
                    <a:pt x="0" y="79"/>
                  </a:lnTo>
                  <a:lnTo>
                    <a:pt x="1" y="76"/>
                  </a:lnTo>
                  <a:lnTo>
                    <a:pt x="2" y="72"/>
                  </a:lnTo>
                  <a:lnTo>
                    <a:pt x="5" y="67"/>
                  </a:lnTo>
                  <a:lnTo>
                    <a:pt x="9" y="62"/>
                  </a:lnTo>
                  <a:lnTo>
                    <a:pt x="17" y="52"/>
                  </a:lnTo>
                  <a:lnTo>
                    <a:pt x="27" y="42"/>
                  </a:lnTo>
                  <a:lnTo>
                    <a:pt x="48" y="22"/>
                  </a:lnTo>
                  <a:lnTo>
                    <a:pt x="60" y="12"/>
                  </a:lnTo>
                  <a:lnTo>
                    <a:pt x="73" y="12"/>
                  </a:lnTo>
                  <a:lnTo>
                    <a:pt x="86" y="12"/>
                  </a:lnTo>
                  <a:lnTo>
                    <a:pt x="100" y="6"/>
                  </a:lnTo>
                  <a:lnTo>
                    <a:pt x="1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7" name="Freeform 256">
              <a:extLst>
                <a:ext uri="{FF2B5EF4-FFF2-40B4-BE49-F238E27FC236}">
                  <a16:creationId xmlns:a16="http://schemas.microsoft.com/office/drawing/2014/main" id="{67B7B3C5-76DE-41C4-9077-2C5032699F47}"/>
                </a:ext>
              </a:extLst>
            </p:cNvPr>
            <p:cNvSpPr>
              <a:spLocks/>
            </p:cNvSpPr>
            <p:nvPr>
              <p:custDataLst>
                <p:tags r:id="rId183"/>
              </p:custDataLst>
            </p:nvPr>
          </p:nvSpPr>
          <p:spPr bwMode="auto">
            <a:xfrm>
              <a:off x="5041894" y="2395519"/>
              <a:ext cx="503238" cy="473071"/>
            </a:xfrm>
            <a:custGeom>
              <a:avLst/>
              <a:gdLst>
                <a:gd name="T0" fmla="*/ 403983 w 1156"/>
                <a:gd name="T1" fmla="*/ 100397 h 900"/>
                <a:gd name="T2" fmla="*/ 373946 w 1156"/>
                <a:gd name="T3" fmla="*/ 85154 h 900"/>
                <a:gd name="T4" fmla="*/ 336508 w 1156"/>
                <a:gd name="T5" fmla="*/ 58346 h 900"/>
                <a:gd name="T6" fmla="*/ 268597 w 1156"/>
                <a:gd name="T7" fmla="*/ 54666 h 900"/>
                <a:gd name="T8" fmla="*/ 239865 w 1156"/>
                <a:gd name="T9" fmla="*/ 80948 h 900"/>
                <a:gd name="T10" fmla="*/ 219405 w 1156"/>
                <a:gd name="T11" fmla="*/ 94089 h 900"/>
                <a:gd name="T12" fmla="*/ 185449 w 1156"/>
                <a:gd name="T13" fmla="*/ 103551 h 900"/>
                <a:gd name="T14" fmla="*/ 166730 w 1156"/>
                <a:gd name="T15" fmla="*/ 104602 h 900"/>
                <a:gd name="T16" fmla="*/ 154541 w 1156"/>
                <a:gd name="T17" fmla="*/ 90936 h 900"/>
                <a:gd name="T18" fmla="*/ 113185 w 1156"/>
                <a:gd name="T19" fmla="*/ 71487 h 900"/>
                <a:gd name="T20" fmla="*/ 99255 w 1156"/>
                <a:gd name="T21" fmla="*/ 45205 h 900"/>
                <a:gd name="T22" fmla="*/ 95772 w 1156"/>
                <a:gd name="T23" fmla="*/ 12090 h 900"/>
                <a:gd name="T24" fmla="*/ 81841 w 1156"/>
                <a:gd name="T25" fmla="*/ 526 h 900"/>
                <a:gd name="T26" fmla="*/ 67476 w 1156"/>
                <a:gd name="T27" fmla="*/ 11038 h 900"/>
                <a:gd name="T28" fmla="*/ 59204 w 1156"/>
                <a:gd name="T29" fmla="*/ 35218 h 900"/>
                <a:gd name="T30" fmla="*/ 34391 w 1156"/>
                <a:gd name="T31" fmla="*/ 28385 h 900"/>
                <a:gd name="T32" fmla="*/ 1741 w 1156"/>
                <a:gd name="T33" fmla="*/ 8410 h 900"/>
                <a:gd name="T34" fmla="*/ 2177 w 1156"/>
                <a:gd name="T35" fmla="*/ 37846 h 900"/>
                <a:gd name="T36" fmla="*/ 19590 w 1156"/>
                <a:gd name="T37" fmla="*/ 76743 h 900"/>
                <a:gd name="T38" fmla="*/ 31779 w 1156"/>
                <a:gd name="T39" fmla="*/ 107756 h 900"/>
                <a:gd name="T40" fmla="*/ 58769 w 1156"/>
                <a:gd name="T41" fmla="*/ 149281 h 900"/>
                <a:gd name="T42" fmla="*/ 53110 w 1156"/>
                <a:gd name="T43" fmla="*/ 166102 h 900"/>
                <a:gd name="T44" fmla="*/ 57898 w 1156"/>
                <a:gd name="T45" fmla="*/ 194486 h 900"/>
                <a:gd name="T46" fmla="*/ 81841 w 1156"/>
                <a:gd name="T47" fmla="*/ 224973 h 900"/>
                <a:gd name="T48" fmla="*/ 112750 w 1156"/>
                <a:gd name="T49" fmla="*/ 239691 h 900"/>
                <a:gd name="T50" fmla="*/ 112750 w 1156"/>
                <a:gd name="T51" fmla="*/ 275435 h 900"/>
                <a:gd name="T52" fmla="*/ 145835 w 1156"/>
                <a:gd name="T53" fmla="*/ 305396 h 900"/>
                <a:gd name="T54" fmla="*/ 184143 w 1156"/>
                <a:gd name="T55" fmla="*/ 349024 h 900"/>
                <a:gd name="T56" fmla="*/ 205039 w 1156"/>
                <a:gd name="T57" fmla="*/ 378460 h 900"/>
                <a:gd name="T58" fmla="*/ 219405 w 1156"/>
                <a:gd name="T59" fmla="*/ 385293 h 900"/>
                <a:gd name="T60" fmla="*/ 235947 w 1156"/>
                <a:gd name="T61" fmla="*/ 396857 h 900"/>
                <a:gd name="T62" fmla="*/ 260326 w 1156"/>
                <a:gd name="T63" fmla="*/ 413678 h 900"/>
                <a:gd name="T64" fmla="*/ 298199 w 1156"/>
                <a:gd name="T65" fmla="*/ 417883 h 900"/>
                <a:gd name="T66" fmla="*/ 318659 w 1156"/>
                <a:gd name="T67" fmla="*/ 409998 h 900"/>
                <a:gd name="T68" fmla="*/ 339120 w 1156"/>
                <a:gd name="T69" fmla="*/ 401588 h 900"/>
                <a:gd name="T70" fmla="*/ 348697 w 1156"/>
                <a:gd name="T71" fmla="*/ 418409 h 900"/>
                <a:gd name="T72" fmla="*/ 353921 w 1156"/>
                <a:gd name="T73" fmla="*/ 450473 h 900"/>
                <a:gd name="T74" fmla="*/ 380476 w 1156"/>
                <a:gd name="T75" fmla="*/ 459408 h 900"/>
                <a:gd name="T76" fmla="*/ 440116 w 1156"/>
                <a:gd name="T77" fmla="*/ 468870 h 900"/>
                <a:gd name="T78" fmla="*/ 474942 w 1156"/>
                <a:gd name="T79" fmla="*/ 462037 h 900"/>
                <a:gd name="T80" fmla="*/ 478424 w 1156"/>
                <a:gd name="T81" fmla="*/ 436806 h 900"/>
                <a:gd name="T82" fmla="*/ 503238 w 1156"/>
                <a:gd name="T83" fmla="*/ 404742 h 900"/>
                <a:gd name="T84" fmla="*/ 492790 w 1156"/>
                <a:gd name="T85" fmla="*/ 394229 h 900"/>
                <a:gd name="T86" fmla="*/ 477118 w 1156"/>
                <a:gd name="T87" fmla="*/ 372152 h 900"/>
                <a:gd name="T88" fmla="*/ 448822 w 1156"/>
                <a:gd name="T89" fmla="*/ 337986 h 900"/>
                <a:gd name="T90" fmla="*/ 443163 w 1156"/>
                <a:gd name="T91" fmla="*/ 316960 h 900"/>
                <a:gd name="T92" fmla="*/ 454481 w 1156"/>
                <a:gd name="T93" fmla="*/ 293832 h 900"/>
                <a:gd name="T94" fmla="*/ 456223 w 1156"/>
                <a:gd name="T95" fmla="*/ 276486 h 900"/>
                <a:gd name="T96" fmla="*/ 448387 w 1156"/>
                <a:gd name="T97" fmla="*/ 269127 h 900"/>
                <a:gd name="T98" fmla="*/ 427926 w 1156"/>
                <a:gd name="T99" fmla="*/ 266499 h 900"/>
                <a:gd name="T100" fmla="*/ 415302 w 1156"/>
                <a:gd name="T101" fmla="*/ 238114 h 900"/>
                <a:gd name="T102" fmla="*/ 407901 w 1156"/>
                <a:gd name="T103" fmla="*/ 196063 h 900"/>
                <a:gd name="T104" fmla="*/ 402242 w 1156"/>
                <a:gd name="T105" fmla="*/ 187653 h 900"/>
                <a:gd name="T106" fmla="*/ 409207 w 1156"/>
                <a:gd name="T107" fmla="*/ 175563 h 900"/>
                <a:gd name="T108" fmla="*/ 417914 w 1156"/>
                <a:gd name="T109" fmla="*/ 154012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8" name="Freeform 257">
              <a:extLst>
                <a:ext uri="{FF2B5EF4-FFF2-40B4-BE49-F238E27FC236}">
                  <a16:creationId xmlns:a16="http://schemas.microsoft.com/office/drawing/2014/main" id="{A11C83A5-6147-4B83-B7DA-DD18C7296133}"/>
                </a:ext>
              </a:extLst>
            </p:cNvPr>
            <p:cNvSpPr>
              <a:spLocks/>
            </p:cNvSpPr>
            <p:nvPr>
              <p:custDataLst>
                <p:tags r:id="rId184"/>
              </p:custDataLst>
            </p:nvPr>
          </p:nvSpPr>
          <p:spPr bwMode="auto">
            <a:xfrm>
              <a:off x="5065707" y="3052739"/>
              <a:ext cx="247650" cy="228598"/>
            </a:xfrm>
            <a:custGeom>
              <a:avLst/>
              <a:gdLst>
                <a:gd name="T0" fmla="*/ 11277 w 571"/>
                <a:gd name="T1" fmla="*/ 98045 h 443"/>
                <a:gd name="T2" fmla="*/ 16047 w 571"/>
                <a:gd name="T3" fmla="*/ 91337 h 443"/>
                <a:gd name="T4" fmla="*/ 17782 w 571"/>
                <a:gd name="T5" fmla="*/ 84628 h 443"/>
                <a:gd name="T6" fmla="*/ 16915 w 571"/>
                <a:gd name="T7" fmla="*/ 66567 h 443"/>
                <a:gd name="T8" fmla="*/ 19083 w 571"/>
                <a:gd name="T9" fmla="*/ 61923 h 443"/>
                <a:gd name="T10" fmla="*/ 23854 w 571"/>
                <a:gd name="T11" fmla="*/ 57795 h 443"/>
                <a:gd name="T12" fmla="*/ 29492 w 571"/>
                <a:gd name="T13" fmla="*/ 55215 h 443"/>
                <a:gd name="T14" fmla="*/ 34697 w 571"/>
                <a:gd name="T15" fmla="*/ 53667 h 443"/>
                <a:gd name="T16" fmla="*/ 44672 w 571"/>
                <a:gd name="T17" fmla="*/ 54699 h 443"/>
                <a:gd name="T18" fmla="*/ 53780 w 571"/>
                <a:gd name="T19" fmla="*/ 56247 h 443"/>
                <a:gd name="T20" fmla="*/ 68527 w 571"/>
                <a:gd name="T21" fmla="*/ 61923 h 443"/>
                <a:gd name="T22" fmla="*/ 79803 w 571"/>
                <a:gd name="T23" fmla="*/ 69664 h 443"/>
                <a:gd name="T24" fmla="*/ 89345 w 571"/>
                <a:gd name="T25" fmla="*/ 79468 h 443"/>
                <a:gd name="T26" fmla="*/ 110163 w 571"/>
                <a:gd name="T27" fmla="*/ 47474 h 443"/>
                <a:gd name="T28" fmla="*/ 123608 w 571"/>
                <a:gd name="T29" fmla="*/ 25285 h 443"/>
                <a:gd name="T30" fmla="*/ 233337 w 571"/>
                <a:gd name="T31" fmla="*/ 22189 h 443"/>
                <a:gd name="T32" fmla="*/ 241578 w 571"/>
                <a:gd name="T33" fmla="*/ 40250 h 443"/>
                <a:gd name="T34" fmla="*/ 243747 w 571"/>
                <a:gd name="T35" fmla="*/ 50571 h 443"/>
                <a:gd name="T36" fmla="*/ 244614 w 571"/>
                <a:gd name="T37" fmla="*/ 63471 h 443"/>
                <a:gd name="T38" fmla="*/ 246349 w 571"/>
                <a:gd name="T39" fmla="*/ 77920 h 443"/>
                <a:gd name="T40" fmla="*/ 247650 w 571"/>
                <a:gd name="T41" fmla="*/ 91853 h 443"/>
                <a:gd name="T42" fmla="*/ 244614 w 571"/>
                <a:gd name="T43" fmla="*/ 92885 h 443"/>
                <a:gd name="T44" fmla="*/ 243747 w 571"/>
                <a:gd name="T45" fmla="*/ 92369 h 443"/>
                <a:gd name="T46" fmla="*/ 242012 w 571"/>
                <a:gd name="T47" fmla="*/ 94949 h 443"/>
                <a:gd name="T48" fmla="*/ 237675 w 571"/>
                <a:gd name="T49" fmla="*/ 106818 h 443"/>
                <a:gd name="T50" fmla="*/ 231603 w 571"/>
                <a:gd name="T51" fmla="*/ 116106 h 443"/>
                <a:gd name="T52" fmla="*/ 223362 w 571"/>
                <a:gd name="T53" fmla="*/ 123330 h 443"/>
                <a:gd name="T54" fmla="*/ 214254 w 571"/>
                <a:gd name="T55" fmla="*/ 128491 h 443"/>
                <a:gd name="T56" fmla="*/ 175654 w 571"/>
                <a:gd name="T57" fmla="*/ 146036 h 443"/>
                <a:gd name="T58" fmla="*/ 150498 w 571"/>
                <a:gd name="T59" fmla="*/ 158420 h 443"/>
                <a:gd name="T60" fmla="*/ 127945 w 571"/>
                <a:gd name="T61" fmla="*/ 169257 h 443"/>
                <a:gd name="T62" fmla="*/ 106260 w 571"/>
                <a:gd name="T63" fmla="*/ 178029 h 443"/>
                <a:gd name="T64" fmla="*/ 80671 w 571"/>
                <a:gd name="T65" fmla="*/ 187318 h 443"/>
                <a:gd name="T66" fmla="*/ 72430 w 571"/>
                <a:gd name="T67" fmla="*/ 191446 h 443"/>
                <a:gd name="T68" fmla="*/ 64623 w 571"/>
                <a:gd name="T69" fmla="*/ 196606 h 443"/>
                <a:gd name="T70" fmla="*/ 51612 w 571"/>
                <a:gd name="T71" fmla="*/ 207959 h 443"/>
                <a:gd name="T72" fmla="*/ 39902 w 571"/>
                <a:gd name="T73" fmla="*/ 219828 h 443"/>
                <a:gd name="T74" fmla="*/ 29059 w 571"/>
                <a:gd name="T75" fmla="*/ 228600 h 443"/>
                <a:gd name="T76" fmla="*/ 21686 w 571"/>
                <a:gd name="T77" fmla="*/ 195058 h 443"/>
                <a:gd name="T78" fmla="*/ 14313 w 571"/>
                <a:gd name="T79" fmla="*/ 161516 h 443"/>
                <a:gd name="T80" fmla="*/ 6939 w 571"/>
                <a:gd name="T81" fmla="*/ 129523 h 443"/>
                <a:gd name="T82" fmla="*/ 0 w 571"/>
                <a:gd name="T83" fmla="*/ 101141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89" name="Freeform 258">
              <a:extLst>
                <a:ext uri="{FF2B5EF4-FFF2-40B4-BE49-F238E27FC236}">
                  <a16:creationId xmlns:a16="http://schemas.microsoft.com/office/drawing/2014/main" id="{F9FAB821-FEDC-4466-8657-8FE203C57B82}"/>
                </a:ext>
              </a:extLst>
            </p:cNvPr>
            <p:cNvSpPr>
              <a:spLocks/>
            </p:cNvSpPr>
            <p:nvPr>
              <p:custDataLst>
                <p:tags r:id="rId185"/>
              </p:custDataLst>
            </p:nvPr>
          </p:nvSpPr>
          <p:spPr bwMode="auto">
            <a:xfrm>
              <a:off x="5260969" y="2827316"/>
              <a:ext cx="120650" cy="120649"/>
            </a:xfrm>
            <a:custGeom>
              <a:avLst/>
              <a:gdLst>
                <a:gd name="T0" fmla="*/ 0 w 286"/>
                <a:gd name="T1" fmla="*/ 58737 h 228"/>
                <a:gd name="T2" fmla="*/ 1687 w 286"/>
                <a:gd name="T3" fmla="*/ 57679 h 228"/>
                <a:gd name="T4" fmla="*/ 2953 w 286"/>
                <a:gd name="T5" fmla="*/ 57679 h 228"/>
                <a:gd name="T6" fmla="*/ 4219 w 286"/>
                <a:gd name="T7" fmla="*/ 58208 h 228"/>
                <a:gd name="T8" fmla="*/ 4640 w 286"/>
                <a:gd name="T9" fmla="*/ 58737 h 228"/>
                <a:gd name="T10" fmla="*/ 5062 w 286"/>
                <a:gd name="T11" fmla="*/ 61912 h 228"/>
                <a:gd name="T12" fmla="*/ 5484 w 286"/>
                <a:gd name="T13" fmla="*/ 65087 h 228"/>
                <a:gd name="T14" fmla="*/ 5906 w 286"/>
                <a:gd name="T15" fmla="*/ 67733 h 228"/>
                <a:gd name="T16" fmla="*/ 6750 w 286"/>
                <a:gd name="T17" fmla="*/ 69321 h 228"/>
                <a:gd name="T18" fmla="*/ 8015 w 286"/>
                <a:gd name="T19" fmla="*/ 70908 h 228"/>
                <a:gd name="T20" fmla="*/ 10124 w 286"/>
                <a:gd name="T21" fmla="*/ 71967 h 228"/>
                <a:gd name="T22" fmla="*/ 12234 w 286"/>
                <a:gd name="T23" fmla="*/ 72496 h 228"/>
                <a:gd name="T24" fmla="*/ 15609 w 286"/>
                <a:gd name="T25" fmla="*/ 73025 h 228"/>
                <a:gd name="T26" fmla="*/ 20249 w 286"/>
                <a:gd name="T27" fmla="*/ 73025 h 228"/>
                <a:gd name="T28" fmla="*/ 25311 w 286"/>
                <a:gd name="T29" fmla="*/ 71967 h 228"/>
                <a:gd name="T30" fmla="*/ 41342 w 286"/>
                <a:gd name="T31" fmla="*/ 68792 h 228"/>
                <a:gd name="T32" fmla="*/ 54419 w 286"/>
                <a:gd name="T33" fmla="*/ 64558 h 228"/>
                <a:gd name="T34" fmla="*/ 60325 w 286"/>
                <a:gd name="T35" fmla="*/ 62442 h 228"/>
                <a:gd name="T36" fmla="*/ 65809 w 286"/>
                <a:gd name="T37" fmla="*/ 60325 h 228"/>
                <a:gd name="T38" fmla="*/ 70449 w 286"/>
                <a:gd name="T39" fmla="*/ 57679 h 228"/>
                <a:gd name="T40" fmla="*/ 75090 w 286"/>
                <a:gd name="T41" fmla="*/ 54504 h 228"/>
                <a:gd name="T42" fmla="*/ 79308 w 286"/>
                <a:gd name="T43" fmla="*/ 50800 h 228"/>
                <a:gd name="T44" fmla="*/ 83527 w 286"/>
                <a:gd name="T45" fmla="*/ 46038 h 228"/>
                <a:gd name="T46" fmla="*/ 87745 w 286"/>
                <a:gd name="T47" fmla="*/ 41275 h 228"/>
                <a:gd name="T48" fmla="*/ 92386 w 286"/>
                <a:gd name="T49" fmla="*/ 34396 h 228"/>
                <a:gd name="T50" fmla="*/ 96604 w 286"/>
                <a:gd name="T51" fmla="*/ 27517 h 228"/>
                <a:gd name="T52" fmla="*/ 101667 w 286"/>
                <a:gd name="T53" fmla="*/ 19579 h 228"/>
                <a:gd name="T54" fmla="*/ 106729 w 286"/>
                <a:gd name="T55" fmla="*/ 10583 h 228"/>
                <a:gd name="T56" fmla="*/ 112213 w 286"/>
                <a:gd name="T57" fmla="*/ 0 h 228"/>
                <a:gd name="T58" fmla="*/ 113900 w 286"/>
                <a:gd name="T59" fmla="*/ 3704 h 228"/>
                <a:gd name="T60" fmla="*/ 115588 w 286"/>
                <a:gd name="T61" fmla="*/ 6879 h 228"/>
                <a:gd name="T62" fmla="*/ 116431 w 286"/>
                <a:gd name="T63" fmla="*/ 10583 h 228"/>
                <a:gd name="T64" fmla="*/ 117697 w 286"/>
                <a:gd name="T65" fmla="*/ 14287 h 228"/>
                <a:gd name="T66" fmla="*/ 118963 w 286"/>
                <a:gd name="T67" fmla="*/ 22225 h 228"/>
                <a:gd name="T68" fmla="*/ 120650 w 286"/>
                <a:gd name="T69" fmla="*/ 32808 h 228"/>
                <a:gd name="T70" fmla="*/ 103776 w 286"/>
                <a:gd name="T71" fmla="*/ 104775 h 228"/>
                <a:gd name="T72" fmla="*/ 95339 w 286"/>
                <a:gd name="T73" fmla="*/ 120650 h 228"/>
                <a:gd name="T74" fmla="*/ 22358 w 286"/>
                <a:gd name="T75" fmla="*/ 111125 h 228"/>
                <a:gd name="T76" fmla="*/ 0 w 286"/>
                <a:gd name="T77" fmla="*/ 5873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0" name="Freeform 259">
              <a:extLst>
                <a:ext uri="{FF2B5EF4-FFF2-40B4-BE49-F238E27FC236}">
                  <a16:creationId xmlns:a16="http://schemas.microsoft.com/office/drawing/2014/main" id="{9EF195D0-B231-4B6F-8677-1353EFB82387}"/>
                </a:ext>
              </a:extLst>
            </p:cNvPr>
            <p:cNvSpPr>
              <a:spLocks/>
            </p:cNvSpPr>
            <p:nvPr>
              <p:custDataLst>
                <p:tags r:id="rId186"/>
              </p:custDataLst>
            </p:nvPr>
          </p:nvSpPr>
          <p:spPr bwMode="auto">
            <a:xfrm>
              <a:off x="4948232" y="2479656"/>
              <a:ext cx="222250" cy="263523"/>
            </a:xfrm>
            <a:custGeom>
              <a:avLst/>
              <a:gdLst>
                <a:gd name="T0" fmla="*/ 202740 w 524"/>
                <a:gd name="T1" fmla="*/ 193078 h 505"/>
                <a:gd name="T2" fmla="*/ 205284 w 524"/>
                <a:gd name="T3" fmla="*/ 180554 h 505"/>
                <a:gd name="T4" fmla="*/ 204860 w 524"/>
                <a:gd name="T5" fmla="*/ 171683 h 505"/>
                <a:gd name="T6" fmla="*/ 202740 w 524"/>
                <a:gd name="T7" fmla="*/ 157593 h 505"/>
                <a:gd name="T8" fmla="*/ 192984 w 524"/>
                <a:gd name="T9" fmla="*/ 156028 h 505"/>
                <a:gd name="T10" fmla="*/ 182805 w 524"/>
                <a:gd name="T11" fmla="*/ 150288 h 505"/>
                <a:gd name="T12" fmla="*/ 172625 w 524"/>
                <a:gd name="T13" fmla="*/ 142982 h 505"/>
                <a:gd name="T14" fmla="*/ 163719 w 524"/>
                <a:gd name="T15" fmla="*/ 133589 h 505"/>
                <a:gd name="T16" fmla="*/ 155236 w 524"/>
                <a:gd name="T17" fmla="*/ 123674 h 505"/>
                <a:gd name="T18" fmla="*/ 149298 w 524"/>
                <a:gd name="T19" fmla="*/ 112716 h 505"/>
                <a:gd name="T20" fmla="*/ 145056 w 524"/>
                <a:gd name="T21" fmla="*/ 102279 h 505"/>
                <a:gd name="T22" fmla="*/ 143784 w 524"/>
                <a:gd name="T23" fmla="*/ 92886 h 505"/>
                <a:gd name="T24" fmla="*/ 144632 w 524"/>
                <a:gd name="T25" fmla="*/ 84537 h 505"/>
                <a:gd name="T26" fmla="*/ 148025 w 524"/>
                <a:gd name="T27" fmla="*/ 78275 h 505"/>
                <a:gd name="T28" fmla="*/ 154812 w 524"/>
                <a:gd name="T29" fmla="*/ 70969 h 505"/>
                <a:gd name="T30" fmla="*/ 150146 w 524"/>
                <a:gd name="T31" fmla="*/ 67838 h 505"/>
                <a:gd name="T32" fmla="*/ 144632 w 524"/>
                <a:gd name="T33" fmla="*/ 62098 h 505"/>
                <a:gd name="T34" fmla="*/ 133604 w 524"/>
                <a:gd name="T35" fmla="*/ 45399 h 505"/>
                <a:gd name="T36" fmla="*/ 123849 w 524"/>
                <a:gd name="T37" fmla="*/ 26613 h 505"/>
                <a:gd name="T38" fmla="*/ 118335 w 524"/>
                <a:gd name="T39" fmla="*/ 13046 h 505"/>
                <a:gd name="T40" fmla="*/ 110277 w 524"/>
                <a:gd name="T41" fmla="*/ 12524 h 505"/>
                <a:gd name="T42" fmla="*/ 101370 w 524"/>
                <a:gd name="T43" fmla="*/ 9915 h 505"/>
                <a:gd name="T44" fmla="*/ 92887 w 524"/>
                <a:gd name="T45" fmla="*/ 5740 h 505"/>
                <a:gd name="T46" fmla="*/ 83556 w 524"/>
                <a:gd name="T47" fmla="*/ 3131 h 505"/>
                <a:gd name="T48" fmla="*/ 72104 w 524"/>
                <a:gd name="T49" fmla="*/ 1565 h 505"/>
                <a:gd name="T50" fmla="*/ 63197 w 524"/>
                <a:gd name="T51" fmla="*/ 4175 h 505"/>
                <a:gd name="T52" fmla="*/ 48352 w 524"/>
                <a:gd name="T53" fmla="*/ 21395 h 505"/>
                <a:gd name="T54" fmla="*/ 41566 w 524"/>
                <a:gd name="T55" fmla="*/ 29744 h 505"/>
                <a:gd name="T56" fmla="*/ 39445 w 524"/>
                <a:gd name="T57" fmla="*/ 33397 h 505"/>
                <a:gd name="T58" fmla="*/ 39869 w 524"/>
                <a:gd name="T59" fmla="*/ 49052 h 505"/>
                <a:gd name="T60" fmla="*/ 40293 w 524"/>
                <a:gd name="T61" fmla="*/ 73056 h 505"/>
                <a:gd name="T62" fmla="*/ 39869 w 524"/>
                <a:gd name="T63" fmla="*/ 85580 h 505"/>
                <a:gd name="T64" fmla="*/ 36476 w 524"/>
                <a:gd name="T65" fmla="*/ 93930 h 505"/>
                <a:gd name="T66" fmla="*/ 28417 w 524"/>
                <a:gd name="T67" fmla="*/ 102801 h 505"/>
                <a:gd name="T68" fmla="*/ 16966 w 524"/>
                <a:gd name="T69" fmla="*/ 111672 h 505"/>
                <a:gd name="T70" fmla="*/ 5514 w 524"/>
                <a:gd name="T71" fmla="*/ 118978 h 505"/>
                <a:gd name="T72" fmla="*/ 848 w 524"/>
                <a:gd name="T73" fmla="*/ 128371 h 505"/>
                <a:gd name="T74" fmla="*/ 848 w 524"/>
                <a:gd name="T75" fmla="*/ 137764 h 505"/>
                <a:gd name="T76" fmla="*/ 0 w 524"/>
                <a:gd name="T77" fmla="*/ 145069 h 505"/>
                <a:gd name="T78" fmla="*/ 0 w 524"/>
                <a:gd name="T79" fmla="*/ 150809 h 505"/>
                <a:gd name="T80" fmla="*/ 2969 w 524"/>
                <a:gd name="T81" fmla="*/ 157071 h 505"/>
                <a:gd name="T82" fmla="*/ 11028 w 524"/>
                <a:gd name="T83" fmla="*/ 163855 h 505"/>
                <a:gd name="T84" fmla="*/ 26297 w 524"/>
                <a:gd name="T85" fmla="*/ 172726 h 505"/>
                <a:gd name="T86" fmla="*/ 50897 w 524"/>
                <a:gd name="T87" fmla="*/ 185250 h 505"/>
                <a:gd name="T88" fmla="*/ 76345 w 524"/>
                <a:gd name="T89" fmla="*/ 195165 h 505"/>
                <a:gd name="T90" fmla="*/ 90766 w 524"/>
                <a:gd name="T91" fmla="*/ 200905 h 505"/>
                <a:gd name="T92" fmla="*/ 100521 w 524"/>
                <a:gd name="T93" fmla="*/ 208733 h 505"/>
                <a:gd name="T94" fmla="*/ 106884 w 524"/>
                <a:gd name="T95" fmla="*/ 218126 h 505"/>
                <a:gd name="T96" fmla="*/ 111125 w 524"/>
                <a:gd name="T97" fmla="*/ 226997 h 505"/>
                <a:gd name="T98" fmla="*/ 112822 w 524"/>
                <a:gd name="T99" fmla="*/ 235346 h 505"/>
                <a:gd name="T100" fmla="*/ 114518 w 524"/>
                <a:gd name="T101" fmla="*/ 244739 h 505"/>
                <a:gd name="T102" fmla="*/ 117487 w 524"/>
                <a:gd name="T103" fmla="*/ 251001 h 505"/>
                <a:gd name="T104" fmla="*/ 121729 w 524"/>
                <a:gd name="T105" fmla="*/ 255176 h 505"/>
                <a:gd name="T106" fmla="*/ 130211 w 524"/>
                <a:gd name="T107" fmla="*/ 259350 h 505"/>
                <a:gd name="T108" fmla="*/ 139118 w 524"/>
                <a:gd name="T109" fmla="*/ 262481 h 505"/>
                <a:gd name="T110" fmla="*/ 142087 w 524"/>
                <a:gd name="T111" fmla="*/ 260916 h 505"/>
                <a:gd name="T112" fmla="*/ 146753 w 524"/>
                <a:gd name="T113" fmla="*/ 260394 h 505"/>
                <a:gd name="T114" fmla="*/ 155236 w 524"/>
                <a:gd name="T115" fmla="*/ 262481 h 505"/>
                <a:gd name="T116" fmla="*/ 162446 w 524"/>
                <a:gd name="T117" fmla="*/ 263525 h 505"/>
                <a:gd name="T118" fmla="*/ 185350 w 524"/>
                <a:gd name="T119" fmla="*/ 263525 h 505"/>
                <a:gd name="T120" fmla="*/ 197226 w 524"/>
                <a:gd name="T121" fmla="*/ 234302 h 505"/>
                <a:gd name="T122" fmla="*/ 208677 w 524"/>
                <a:gd name="T123" fmla="*/ 228040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1" name="Freeform 260">
              <a:extLst>
                <a:ext uri="{FF2B5EF4-FFF2-40B4-BE49-F238E27FC236}">
                  <a16:creationId xmlns:a16="http://schemas.microsoft.com/office/drawing/2014/main" id="{E06B0445-9BE1-4282-B632-92ADDC8E28C7}"/>
                </a:ext>
              </a:extLst>
            </p:cNvPr>
            <p:cNvSpPr>
              <a:spLocks/>
            </p:cNvSpPr>
            <p:nvPr>
              <p:custDataLst>
                <p:tags r:id="rId187"/>
              </p:custDataLst>
            </p:nvPr>
          </p:nvSpPr>
          <p:spPr bwMode="auto">
            <a:xfrm>
              <a:off x="5448294" y="2439969"/>
              <a:ext cx="331788" cy="290510"/>
            </a:xfrm>
            <a:custGeom>
              <a:avLst/>
              <a:gdLst>
                <a:gd name="T0" fmla="*/ 26925 w 764"/>
                <a:gd name="T1" fmla="*/ 102595 h 555"/>
                <a:gd name="T2" fmla="*/ 40388 w 764"/>
                <a:gd name="T3" fmla="*/ 99455 h 555"/>
                <a:gd name="T4" fmla="*/ 55588 w 764"/>
                <a:gd name="T5" fmla="*/ 95267 h 555"/>
                <a:gd name="T6" fmla="*/ 75999 w 764"/>
                <a:gd name="T7" fmla="*/ 79040 h 555"/>
                <a:gd name="T8" fmla="*/ 84250 w 764"/>
                <a:gd name="T9" fmla="*/ 65954 h 555"/>
                <a:gd name="T10" fmla="*/ 86421 w 764"/>
                <a:gd name="T11" fmla="*/ 46063 h 555"/>
                <a:gd name="T12" fmla="*/ 90330 w 764"/>
                <a:gd name="T13" fmla="*/ 36118 h 555"/>
                <a:gd name="T14" fmla="*/ 104227 w 764"/>
                <a:gd name="T15" fmla="*/ 31407 h 555"/>
                <a:gd name="T16" fmla="*/ 127678 w 764"/>
                <a:gd name="T17" fmla="*/ 32454 h 555"/>
                <a:gd name="T18" fmla="*/ 142877 w 764"/>
                <a:gd name="T19" fmla="*/ 37165 h 555"/>
                <a:gd name="T20" fmla="*/ 157208 w 764"/>
                <a:gd name="T21" fmla="*/ 47110 h 555"/>
                <a:gd name="T22" fmla="*/ 167631 w 764"/>
                <a:gd name="T23" fmla="*/ 48680 h 555"/>
                <a:gd name="T24" fmla="*/ 181962 w 764"/>
                <a:gd name="T25" fmla="*/ 43969 h 555"/>
                <a:gd name="T26" fmla="*/ 199768 w 764"/>
                <a:gd name="T27" fmla="*/ 31930 h 555"/>
                <a:gd name="T28" fmla="*/ 208019 w 764"/>
                <a:gd name="T29" fmla="*/ 17274 h 555"/>
                <a:gd name="T30" fmla="*/ 220613 w 764"/>
                <a:gd name="T31" fmla="*/ 2094 h 555"/>
                <a:gd name="T32" fmla="*/ 230167 w 764"/>
                <a:gd name="T33" fmla="*/ 9945 h 555"/>
                <a:gd name="T34" fmla="*/ 238853 w 764"/>
                <a:gd name="T35" fmla="*/ 23555 h 555"/>
                <a:gd name="T36" fmla="*/ 243630 w 764"/>
                <a:gd name="T37" fmla="*/ 45540 h 555"/>
                <a:gd name="T38" fmla="*/ 247538 w 764"/>
                <a:gd name="T39" fmla="*/ 52868 h 555"/>
                <a:gd name="T40" fmla="*/ 255789 w 764"/>
                <a:gd name="T41" fmla="*/ 54438 h 555"/>
                <a:gd name="T42" fmla="*/ 270121 w 764"/>
                <a:gd name="T43" fmla="*/ 38211 h 555"/>
                <a:gd name="T44" fmla="*/ 322668 w 764"/>
                <a:gd name="T45" fmla="*/ 34547 h 555"/>
                <a:gd name="T46" fmla="*/ 329617 w 764"/>
                <a:gd name="T47" fmla="*/ 45540 h 555"/>
                <a:gd name="T48" fmla="*/ 294874 w 764"/>
                <a:gd name="T49" fmla="*/ 52345 h 555"/>
                <a:gd name="T50" fmla="*/ 262738 w 764"/>
                <a:gd name="T51" fmla="*/ 58626 h 555"/>
                <a:gd name="T52" fmla="*/ 249275 w 764"/>
                <a:gd name="T53" fmla="*/ 68048 h 555"/>
                <a:gd name="T54" fmla="*/ 247972 w 764"/>
                <a:gd name="T55" fmla="*/ 76946 h 555"/>
                <a:gd name="T56" fmla="*/ 252749 w 764"/>
                <a:gd name="T57" fmla="*/ 85845 h 555"/>
                <a:gd name="T58" fmla="*/ 261001 w 764"/>
                <a:gd name="T59" fmla="*/ 94220 h 555"/>
                <a:gd name="T60" fmla="*/ 262304 w 764"/>
                <a:gd name="T61" fmla="*/ 102072 h 555"/>
                <a:gd name="T62" fmla="*/ 257961 w 764"/>
                <a:gd name="T63" fmla="*/ 111494 h 555"/>
                <a:gd name="T64" fmla="*/ 249275 w 764"/>
                <a:gd name="T65" fmla="*/ 124056 h 555"/>
                <a:gd name="T66" fmla="*/ 245367 w 764"/>
                <a:gd name="T67" fmla="*/ 133478 h 555"/>
                <a:gd name="T68" fmla="*/ 235378 w 764"/>
                <a:gd name="T69" fmla="*/ 140807 h 555"/>
                <a:gd name="T70" fmla="*/ 225390 w 764"/>
                <a:gd name="T71" fmla="*/ 162268 h 555"/>
                <a:gd name="T72" fmla="*/ 220613 w 764"/>
                <a:gd name="T73" fmla="*/ 190011 h 555"/>
                <a:gd name="T74" fmla="*/ 215836 w 764"/>
                <a:gd name="T75" fmla="*/ 222464 h 555"/>
                <a:gd name="T76" fmla="*/ 207150 w 764"/>
                <a:gd name="T77" fmla="*/ 215659 h 555"/>
                <a:gd name="T78" fmla="*/ 199768 w 764"/>
                <a:gd name="T79" fmla="*/ 213042 h 555"/>
                <a:gd name="T80" fmla="*/ 190648 w 764"/>
                <a:gd name="T81" fmla="*/ 218800 h 555"/>
                <a:gd name="T82" fmla="*/ 178488 w 764"/>
                <a:gd name="T83" fmla="*/ 230316 h 555"/>
                <a:gd name="T84" fmla="*/ 170671 w 764"/>
                <a:gd name="T85" fmla="*/ 232410 h 555"/>
                <a:gd name="T86" fmla="*/ 162854 w 764"/>
                <a:gd name="T87" fmla="*/ 242355 h 555"/>
                <a:gd name="T88" fmla="*/ 158511 w 764"/>
                <a:gd name="T89" fmla="*/ 267480 h 555"/>
                <a:gd name="T90" fmla="*/ 151997 w 764"/>
                <a:gd name="T91" fmla="*/ 274809 h 555"/>
                <a:gd name="T92" fmla="*/ 117255 w 764"/>
                <a:gd name="T93" fmla="*/ 285801 h 555"/>
                <a:gd name="T94" fmla="*/ 84250 w 764"/>
                <a:gd name="T95" fmla="*/ 289989 h 555"/>
                <a:gd name="T96" fmla="*/ 49073 w 764"/>
                <a:gd name="T97" fmla="*/ 283707 h 555"/>
                <a:gd name="T98" fmla="*/ 41256 w 764"/>
                <a:gd name="T99" fmla="*/ 271145 h 555"/>
                <a:gd name="T100" fmla="*/ 49942 w 764"/>
                <a:gd name="T101" fmla="*/ 255441 h 555"/>
                <a:gd name="T102" fmla="*/ 54285 w 764"/>
                <a:gd name="T103" fmla="*/ 241832 h 555"/>
                <a:gd name="T104" fmla="*/ 53416 w 764"/>
                <a:gd name="T105" fmla="*/ 231363 h 555"/>
                <a:gd name="T106" fmla="*/ 48205 w 764"/>
                <a:gd name="T107" fmla="*/ 226652 h 555"/>
                <a:gd name="T108" fmla="*/ 29965 w 764"/>
                <a:gd name="T109" fmla="*/ 225605 h 555"/>
                <a:gd name="T110" fmla="*/ 22582 w 764"/>
                <a:gd name="T111" fmla="*/ 220370 h 555"/>
                <a:gd name="T112" fmla="*/ 14765 w 764"/>
                <a:gd name="T113" fmla="*/ 201003 h 555"/>
                <a:gd name="T114" fmla="*/ 8251 w 764"/>
                <a:gd name="T115" fmla="*/ 161745 h 555"/>
                <a:gd name="T116" fmla="*/ 4343 w 764"/>
                <a:gd name="T117" fmla="*/ 152323 h 555"/>
                <a:gd name="T118" fmla="*/ 0 w 764"/>
                <a:gd name="T119" fmla="*/ 146565 h 555"/>
                <a:gd name="T120" fmla="*/ 869 w 764"/>
                <a:gd name="T121" fmla="*/ 140283 h 555"/>
                <a:gd name="T122" fmla="*/ 9554 w 764"/>
                <a:gd name="T123" fmla="*/ 129814 h 555"/>
                <a:gd name="T124" fmla="*/ 14765 w 764"/>
                <a:gd name="T125" fmla="*/ 115681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2" name="Freeform 261">
              <a:extLst>
                <a:ext uri="{FF2B5EF4-FFF2-40B4-BE49-F238E27FC236}">
                  <a16:creationId xmlns:a16="http://schemas.microsoft.com/office/drawing/2014/main" id="{BFF5C1D0-B95D-466E-8B5B-11850F39E66C}"/>
                </a:ext>
              </a:extLst>
            </p:cNvPr>
            <p:cNvSpPr>
              <a:spLocks/>
            </p:cNvSpPr>
            <p:nvPr>
              <p:custDataLst>
                <p:tags r:id="rId188"/>
              </p:custDataLst>
            </p:nvPr>
          </p:nvSpPr>
          <p:spPr bwMode="auto">
            <a:xfrm>
              <a:off x="5480043" y="2489180"/>
              <a:ext cx="365124" cy="423860"/>
            </a:xfrm>
            <a:custGeom>
              <a:avLst/>
              <a:gdLst>
                <a:gd name="T0" fmla="*/ 342277 w 831"/>
                <a:gd name="T1" fmla="*/ 42804 h 812"/>
                <a:gd name="T2" fmla="*/ 310642 w 831"/>
                <a:gd name="T3" fmla="*/ 15138 h 812"/>
                <a:gd name="T4" fmla="*/ 246932 w 831"/>
                <a:gd name="T5" fmla="*/ 5220 h 812"/>
                <a:gd name="T6" fmla="*/ 219251 w 831"/>
                <a:gd name="T7" fmla="*/ 15138 h 812"/>
                <a:gd name="T8" fmla="*/ 213539 w 831"/>
                <a:gd name="T9" fmla="*/ 25578 h 812"/>
                <a:gd name="T10" fmla="*/ 218372 w 831"/>
                <a:gd name="T11" fmla="*/ 37062 h 812"/>
                <a:gd name="T12" fmla="*/ 227160 w 831"/>
                <a:gd name="T13" fmla="*/ 46980 h 812"/>
                <a:gd name="T14" fmla="*/ 226720 w 831"/>
                <a:gd name="T15" fmla="*/ 57942 h 812"/>
                <a:gd name="T16" fmla="*/ 215736 w 831"/>
                <a:gd name="T17" fmla="*/ 73080 h 812"/>
                <a:gd name="T18" fmla="*/ 210903 w 831"/>
                <a:gd name="T19" fmla="*/ 84564 h 812"/>
                <a:gd name="T20" fmla="*/ 197721 w 831"/>
                <a:gd name="T21" fmla="*/ 96048 h 812"/>
                <a:gd name="T22" fmla="*/ 187615 w 831"/>
                <a:gd name="T23" fmla="*/ 126846 h 812"/>
                <a:gd name="T24" fmla="*/ 184540 w 831"/>
                <a:gd name="T25" fmla="*/ 173304 h 812"/>
                <a:gd name="T26" fmla="*/ 172237 w 831"/>
                <a:gd name="T27" fmla="*/ 166518 h 812"/>
                <a:gd name="T28" fmla="*/ 162571 w 831"/>
                <a:gd name="T29" fmla="*/ 164430 h 812"/>
                <a:gd name="T30" fmla="*/ 148511 w 831"/>
                <a:gd name="T31" fmla="*/ 176958 h 812"/>
                <a:gd name="T32" fmla="*/ 137526 w 831"/>
                <a:gd name="T33" fmla="*/ 183222 h 812"/>
                <a:gd name="T34" fmla="*/ 127420 w 831"/>
                <a:gd name="T35" fmla="*/ 193140 h 812"/>
                <a:gd name="T36" fmla="*/ 123026 w 831"/>
                <a:gd name="T37" fmla="*/ 221327 h 812"/>
                <a:gd name="T38" fmla="*/ 103254 w 831"/>
                <a:gd name="T39" fmla="*/ 230723 h 812"/>
                <a:gd name="T40" fmla="*/ 55801 w 831"/>
                <a:gd name="T41" fmla="*/ 241163 h 812"/>
                <a:gd name="T42" fmla="*/ 11424 w 831"/>
                <a:gd name="T43" fmla="*/ 234377 h 812"/>
                <a:gd name="T44" fmla="*/ 22408 w 831"/>
                <a:gd name="T45" fmla="*/ 263609 h 812"/>
                <a:gd name="T46" fmla="*/ 42181 w 831"/>
                <a:gd name="T47" fmla="*/ 281879 h 812"/>
                <a:gd name="T48" fmla="*/ 54044 w 831"/>
                <a:gd name="T49" fmla="*/ 301193 h 812"/>
                <a:gd name="T50" fmla="*/ 62392 w 831"/>
                <a:gd name="T51" fmla="*/ 311111 h 812"/>
                <a:gd name="T52" fmla="*/ 43499 w 831"/>
                <a:gd name="T53" fmla="*/ 337733 h 812"/>
                <a:gd name="T54" fmla="*/ 38226 w 831"/>
                <a:gd name="T55" fmla="*/ 350261 h 812"/>
                <a:gd name="T56" fmla="*/ 47892 w 831"/>
                <a:gd name="T57" fmla="*/ 375839 h 812"/>
                <a:gd name="T58" fmla="*/ 97542 w 831"/>
                <a:gd name="T59" fmla="*/ 370619 h 812"/>
                <a:gd name="T60" fmla="*/ 132693 w 831"/>
                <a:gd name="T61" fmla="*/ 368009 h 812"/>
                <a:gd name="T62" fmla="*/ 144995 w 831"/>
                <a:gd name="T63" fmla="*/ 376361 h 812"/>
                <a:gd name="T64" fmla="*/ 157738 w 831"/>
                <a:gd name="T65" fmla="*/ 394631 h 812"/>
                <a:gd name="T66" fmla="*/ 179267 w 831"/>
                <a:gd name="T67" fmla="*/ 409769 h 812"/>
                <a:gd name="T68" fmla="*/ 197282 w 831"/>
                <a:gd name="T69" fmla="*/ 419165 h 812"/>
                <a:gd name="T70" fmla="*/ 202115 w 831"/>
                <a:gd name="T71" fmla="*/ 412901 h 812"/>
                <a:gd name="T72" fmla="*/ 213978 w 831"/>
                <a:gd name="T73" fmla="*/ 404027 h 812"/>
                <a:gd name="T74" fmla="*/ 243417 w 831"/>
                <a:gd name="T75" fmla="*/ 398807 h 812"/>
                <a:gd name="T76" fmla="*/ 262310 w 831"/>
                <a:gd name="T77" fmla="*/ 391499 h 812"/>
                <a:gd name="T78" fmla="*/ 271537 w 831"/>
                <a:gd name="T79" fmla="*/ 379493 h 812"/>
                <a:gd name="T80" fmla="*/ 256598 w 831"/>
                <a:gd name="T81" fmla="*/ 365399 h 812"/>
                <a:gd name="T82" fmla="*/ 238144 w 831"/>
                <a:gd name="T83" fmla="*/ 334601 h 812"/>
                <a:gd name="T84" fmla="*/ 231114 w 831"/>
                <a:gd name="T85" fmla="*/ 325727 h 812"/>
                <a:gd name="T86" fmla="*/ 231114 w 831"/>
                <a:gd name="T87" fmla="*/ 301715 h 812"/>
                <a:gd name="T88" fmla="*/ 255719 w 831"/>
                <a:gd name="T89" fmla="*/ 293885 h 812"/>
                <a:gd name="T90" fmla="*/ 273295 w 831"/>
                <a:gd name="T91" fmla="*/ 277181 h 812"/>
                <a:gd name="T92" fmla="*/ 302294 w 831"/>
                <a:gd name="T93" fmla="*/ 217673 h 812"/>
                <a:gd name="T94" fmla="*/ 320748 w 831"/>
                <a:gd name="T95" fmla="*/ 192096 h 812"/>
                <a:gd name="T96" fmla="*/ 318551 w 831"/>
                <a:gd name="T97" fmla="*/ 172260 h 812"/>
                <a:gd name="T98" fmla="*/ 320308 w 831"/>
                <a:gd name="T99" fmla="*/ 159210 h 812"/>
                <a:gd name="T100" fmla="*/ 329975 w 831"/>
                <a:gd name="T101" fmla="*/ 150858 h 812"/>
                <a:gd name="T102" fmla="*/ 294385 w 831"/>
                <a:gd name="T103" fmla="*/ 108054 h 812"/>
                <a:gd name="T104" fmla="*/ 333050 w 831"/>
                <a:gd name="T105" fmla="*/ 73080 h 812"/>
                <a:gd name="T106" fmla="*/ 353701 w 831"/>
                <a:gd name="T107" fmla="*/ 64206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3" name="Freeform 262">
              <a:extLst>
                <a:ext uri="{FF2B5EF4-FFF2-40B4-BE49-F238E27FC236}">
                  <a16:creationId xmlns:a16="http://schemas.microsoft.com/office/drawing/2014/main" id="{7FB1D826-9CDE-462E-95CE-2FF4BB535C9E}"/>
                </a:ext>
              </a:extLst>
            </p:cNvPr>
            <p:cNvSpPr>
              <a:spLocks/>
            </p:cNvSpPr>
            <p:nvPr>
              <p:custDataLst>
                <p:tags r:id="rId189"/>
              </p:custDataLst>
            </p:nvPr>
          </p:nvSpPr>
          <p:spPr bwMode="auto">
            <a:xfrm>
              <a:off x="6270617" y="2757466"/>
              <a:ext cx="220663" cy="585782"/>
            </a:xfrm>
            <a:custGeom>
              <a:avLst/>
              <a:gdLst>
                <a:gd name="T0" fmla="*/ 191387 w 505"/>
                <a:gd name="T1" fmla="*/ 557569 h 1121"/>
                <a:gd name="T2" fmla="*/ 193572 w 505"/>
                <a:gd name="T3" fmla="*/ 537189 h 1121"/>
                <a:gd name="T4" fmla="*/ 174346 w 505"/>
                <a:gd name="T5" fmla="*/ 534054 h 1121"/>
                <a:gd name="T6" fmla="*/ 176967 w 505"/>
                <a:gd name="T7" fmla="*/ 500088 h 1121"/>
                <a:gd name="T8" fmla="*/ 183085 w 505"/>
                <a:gd name="T9" fmla="*/ 486501 h 1121"/>
                <a:gd name="T10" fmla="*/ 180463 w 505"/>
                <a:gd name="T11" fmla="*/ 469779 h 1121"/>
                <a:gd name="T12" fmla="*/ 173909 w 505"/>
                <a:gd name="T13" fmla="*/ 466644 h 1121"/>
                <a:gd name="T14" fmla="*/ 166917 w 505"/>
                <a:gd name="T15" fmla="*/ 437903 h 1121"/>
                <a:gd name="T16" fmla="*/ 141574 w 505"/>
                <a:gd name="T17" fmla="*/ 375719 h 1121"/>
                <a:gd name="T18" fmla="*/ 129339 w 505"/>
                <a:gd name="T19" fmla="*/ 367358 h 1121"/>
                <a:gd name="T20" fmla="*/ 123222 w 505"/>
                <a:gd name="T21" fmla="*/ 375196 h 1121"/>
                <a:gd name="T22" fmla="*/ 98752 w 505"/>
                <a:gd name="T23" fmla="*/ 387738 h 1121"/>
                <a:gd name="T24" fmla="*/ 73846 w 505"/>
                <a:gd name="T25" fmla="*/ 384602 h 1121"/>
                <a:gd name="T26" fmla="*/ 58115 w 505"/>
                <a:gd name="T27" fmla="*/ 296290 h 1121"/>
                <a:gd name="T28" fmla="*/ 44133 w 505"/>
                <a:gd name="T29" fmla="*/ 271730 h 1121"/>
                <a:gd name="T30" fmla="*/ 22285 w 505"/>
                <a:gd name="T31" fmla="*/ 262324 h 1121"/>
                <a:gd name="T32" fmla="*/ 3496 w 505"/>
                <a:gd name="T33" fmla="*/ 246125 h 1121"/>
                <a:gd name="T34" fmla="*/ 10050 w 505"/>
                <a:gd name="T35" fmla="*/ 232538 h 1121"/>
                <a:gd name="T36" fmla="*/ 25343 w 505"/>
                <a:gd name="T37" fmla="*/ 188643 h 1121"/>
                <a:gd name="T38" fmla="*/ 29276 w 505"/>
                <a:gd name="T39" fmla="*/ 144748 h 1121"/>
                <a:gd name="T40" fmla="*/ 34957 w 505"/>
                <a:gd name="T41" fmla="*/ 138478 h 1121"/>
                <a:gd name="T42" fmla="*/ 49376 w 505"/>
                <a:gd name="T43" fmla="*/ 134820 h 1121"/>
                <a:gd name="T44" fmla="*/ 58552 w 505"/>
                <a:gd name="T45" fmla="*/ 116008 h 1121"/>
                <a:gd name="T46" fmla="*/ 61174 w 505"/>
                <a:gd name="T47" fmla="*/ 61139 h 1121"/>
                <a:gd name="T48" fmla="*/ 69476 w 505"/>
                <a:gd name="T49" fmla="*/ 51211 h 1121"/>
                <a:gd name="T50" fmla="*/ 93072 w 505"/>
                <a:gd name="T51" fmla="*/ 38669 h 1121"/>
                <a:gd name="T52" fmla="*/ 102248 w 505"/>
                <a:gd name="T53" fmla="*/ 10974 h 1121"/>
                <a:gd name="T54" fmla="*/ 121037 w 505"/>
                <a:gd name="T55" fmla="*/ 16199 h 1121"/>
                <a:gd name="T56" fmla="*/ 136330 w 505"/>
                <a:gd name="T57" fmla="*/ 25605 h 1121"/>
                <a:gd name="T58" fmla="*/ 147254 w 505"/>
                <a:gd name="T59" fmla="*/ 63752 h 1121"/>
                <a:gd name="T60" fmla="*/ 146380 w 505"/>
                <a:gd name="T61" fmla="*/ 87267 h 1121"/>
                <a:gd name="T62" fmla="*/ 131087 w 505"/>
                <a:gd name="T63" fmla="*/ 112872 h 1121"/>
                <a:gd name="T64" fmla="*/ 128028 w 505"/>
                <a:gd name="T65" fmla="*/ 128027 h 1121"/>
                <a:gd name="T66" fmla="*/ 135020 w 505"/>
                <a:gd name="T67" fmla="*/ 136388 h 1121"/>
                <a:gd name="T68" fmla="*/ 151187 w 505"/>
                <a:gd name="T69" fmla="*/ 141091 h 1121"/>
                <a:gd name="T70" fmla="*/ 162111 w 505"/>
                <a:gd name="T71" fmla="*/ 152064 h 1121"/>
                <a:gd name="T72" fmla="*/ 173909 w 505"/>
                <a:gd name="T73" fmla="*/ 180282 h 1121"/>
                <a:gd name="T74" fmla="*/ 187891 w 505"/>
                <a:gd name="T75" fmla="*/ 209023 h 1121"/>
                <a:gd name="T76" fmla="*/ 202748 w 505"/>
                <a:gd name="T77" fmla="*/ 218429 h 1121"/>
                <a:gd name="T78" fmla="*/ 220663 w 505"/>
                <a:gd name="T79" fmla="*/ 218429 h 1121"/>
                <a:gd name="T80" fmla="*/ 207991 w 505"/>
                <a:gd name="T81" fmla="*/ 258143 h 1121"/>
                <a:gd name="T82" fmla="*/ 186580 w 505"/>
                <a:gd name="T83" fmla="*/ 266504 h 1121"/>
                <a:gd name="T84" fmla="*/ 167354 w 505"/>
                <a:gd name="T85" fmla="*/ 275910 h 1121"/>
                <a:gd name="T86" fmla="*/ 157304 w 505"/>
                <a:gd name="T87" fmla="*/ 298903 h 1121"/>
                <a:gd name="T88" fmla="*/ 161674 w 505"/>
                <a:gd name="T89" fmla="*/ 332869 h 1121"/>
                <a:gd name="T90" fmla="*/ 175656 w 505"/>
                <a:gd name="T91" fmla="*/ 356907 h 1121"/>
                <a:gd name="T92" fmla="*/ 187891 w 505"/>
                <a:gd name="T93" fmla="*/ 384080 h 1121"/>
                <a:gd name="T94" fmla="*/ 187017 w 505"/>
                <a:gd name="T95" fmla="*/ 405505 h 1121"/>
                <a:gd name="T96" fmla="*/ 183085 w 505"/>
                <a:gd name="T97" fmla="*/ 418569 h 1121"/>
                <a:gd name="T98" fmla="*/ 190076 w 505"/>
                <a:gd name="T99" fmla="*/ 444696 h 1121"/>
                <a:gd name="T100" fmla="*/ 211050 w 505"/>
                <a:gd name="T101" fmla="*/ 504268 h 1121"/>
                <a:gd name="T102" fmla="*/ 200126 w 505"/>
                <a:gd name="T103" fmla="*/ 56540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4" name="Freeform 263">
              <a:extLst>
                <a:ext uri="{FF2B5EF4-FFF2-40B4-BE49-F238E27FC236}">
                  <a16:creationId xmlns:a16="http://schemas.microsoft.com/office/drawing/2014/main" id="{70FF637A-CF9C-4B1A-BC3F-1CEC96E51FD3}"/>
                </a:ext>
              </a:extLst>
            </p:cNvPr>
            <p:cNvSpPr>
              <a:spLocks/>
            </p:cNvSpPr>
            <p:nvPr>
              <p:custDataLst>
                <p:tags r:id="rId190"/>
              </p:custDataLst>
            </p:nvPr>
          </p:nvSpPr>
          <p:spPr bwMode="auto">
            <a:xfrm>
              <a:off x="3594096" y="3267049"/>
              <a:ext cx="80963" cy="58738"/>
            </a:xfrm>
            <a:custGeom>
              <a:avLst/>
              <a:gdLst>
                <a:gd name="T0" fmla="*/ 80963 w 180"/>
                <a:gd name="T1" fmla="*/ 3671 h 112"/>
                <a:gd name="T2" fmla="*/ 76915 w 180"/>
                <a:gd name="T3" fmla="*/ 12587 h 112"/>
                <a:gd name="T4" fmla="*/ 73316 w 180"/>
                <a:gd name="T5" fmla="*/ 20453 h 112"/>
                <a:gd name="T6" fmla="*/ 68369 w 180"/>
                <a:gd name="T7" fmla="*/ 27796 h 112"/>
                <a:gd name="T8" fmla="*/ 63421 w 180"/>
                <a:gd name="T9" fmla="*/ 34613 h 112"/>
                <a:gd name="T10" fmla="*/ 58023 w 180"/>
                <a:gd name="T11" fmla="*/ 41956 h 112"/>
                <a:gd name="T12" fmla="*/ 51726 w 180"/>
                <a:gd name="T13" fmla="*/ 48249 h 112"/>
                <a:gd name="T14" fmla="*/ 45429 w 180"/>
                <a:gd name="T15" fmla="*/ 53494 h 112"/>
                <a:gd name="T16" fmla="*/ 39132 w 180"/>
                <a:gd name="T17" fmla="*/ 58738 h 112"/>
                <a:gd name="T18" fmla="*/ 36883 w 180"/>
                <a:gd name="T19" fmla="*/ 56116 h 112"/>
                <a:gd name="T20" fmla="*/ 35534 w 180"/>
                <a:gd name="T21" fmla="*/ 52969 h 112"/>
                <a:gd name="T22" fmla="*/ 34184 w 180"/>
                <a:gd name="T23" fmla="*/ 49822 h 112"/>
                <a:gd name="T24" fmla="*/ 33285 w 180"/>
                <a:gd name="T25" fmla="*/ 46151 h 112"/>
                <a:gd name="T26" fmla="*/ 31486 w 180"/>
                <a:gd name="T27" fmla="*/ 42480 h 112"/>
                <a:gd name="T28" fmla="*/ 30586 w 180"/>
                <a:gd name="T29" fmla="*/ 38809 h 112"/>
                <a:gd name="T30" fmla="*/ 29237 w 180"/>
                <a:gd name="T31" fmla="*/ 36187 h 112"/>
                <a:gd name="T32" fmla="*/ 26988 w 180"/>
                <a:gd name="T33" fmla="*/ 33040 h 112"/>
                <a:gd name="T34" fmla="*/ 20241 w 180"/>
                <a:gd name="T35" fmla="*/ 25173 h 112"/>
                <a:gd name="T36" fmla="*/ 16193 w 180"/>
                <a:gd name="T37" fmla="*/ 19929 h 112"/>
                <a:gd name="T38" fmla="*/ 13494 w 180"/>
                <a:gd name="T39" fmla="*/ 17307 h 112"/>
                <a:gd name="T40" fmla="*/ 11245 w 180"/>
                <a:gd name="T41" fmla="*/ 16258 h 112"/>
                <a:gd name="T42" fmla="*/ 8096 w 180"/>
                <a:gd name="T43" fmla="*/ 15733 h 112"/>
                <a:gd name="T44" fmla="*/ 0 w 180"/>
                <a:gd name="T45" fmla="*/ 13636 h 112"/>
                <a:gd name="T46" fmla="*/ 11695 w 180"/>
                <a:gd name="T47" fmla="*/ 7342 h 112"/>
                <a:gd name="T48" fmla="*/ 18442 w 180"/>
                <a:gd name="T49" fmla="*/ 4720 h 112"/>
                <a:gd name="T50" fmla="*/ 25188 w 180"/>
                <a:gd name="T51" fmla="*/ 2622 h 112"/>
                <a:gd name="T52" fmla="*/ 33285 w 180"/>
                <a:gd name="T53" fmla="*/ 1573 h 112"/>
                <a:gd name="T54" fmla="*/ 41831 w 180"/>
                <a:gd name="T55" fmla="*/ 524 h 112"/>
                <a:gd name="T56" fmla="*/ 51277 w 180"/>
                <a:gd name="T57" fmla="*/ 0 h 112"/>
                <a:gd name="T58" fmla="*/ 60722 w 180"/>
                <a:gd name="T59" fmla="*/ 524 h 112"/>
                <a:gd name="T60" fmla="*/ 70618 w 180"/>
                <a:gd name="T61" fmla="*/ 1573 h 112"/>
                <a:gd name="T62" fmla="*/ 80963 w 180"/>
                <a:gd name="T63" fmla="*/ 3671 h 11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80" h="112">
                  <a:moveTo>
                    <a:pt x="180" y="7"/>
                  </a:moveTo>
                  <a:lnTo>
                    <a:pt x="171" y="24"/>
                  </a:lnTo>
                  <a:lnTo>
                    <a:pt x="163" y="39"/>
                  </a:lnTo>
                  <a:lnTo>
                    <a:pt x="152" y="53"/>
                  </a:lnTo>
                  <a:lnTo>
                    <a:pt x="141" y="66"/>
                  </a:lnTo>
                  <a:lnTo>
                    <a:pt x="129" y="80"/>
                  </a:lnTo>
                  <a:lnTo>
                    <a:pt x="115" y="92"/>
                  </a:lnTo>
                  <a:lnTo>
                    <a:pt x="101" y="102"/>
                  </a:lnTo>
                  <a:lnTo>
                    <a:pt x="87" y="112"/>
                  </a:lnTo>
                  <a:lnTo>
                    <a:pt x="82" y="107"/>
                  </a:lnTo>
                  <a:lnTo>
                    <a:pt x="79" y="101"/>
                  </a:lnTo>
                  <a:lnTo>
                    <a:pt x="76" y="95"/>
                  </a:lnTo>
                  <a:lnTo>
                    <a:pt x="74" y="88"/>
                  </a:lnTo>
                  <a:lnTo>
                    <a:pt x="70" y="81"/>
                  </a:lnTo>
                  <a:lnTo>
                    <a:pt x="68" y="74"/>
                  </a:lnTo>
                  <a:lnTo>
                    <a:pt x="65" y="69"/>
                  </a:lnTo>
                  <a:lnTo>
                    <a:pt x="60" y="63"/>
                  </a:lnTo>
                  <a:lnTo>
                    <a:pt x="45" y="48"/>
                  </a:lnTo>
                  <a:lnTo>
                    <a:pt x="36" y="38"/>
                  </a:lnTo>
                  <a:lnTo>
                    <a:pt x="30" y="33"/>
                  </a:lnTo>
                  <a:lnTo>
                    <a:pt x="25" y="31"/>
                  </a:lnTo>
                  <a:lnTo>
                    <a:pt x="18" y="30"/>
                  </a:lnTo>
                  <a:lnTo>
                    <a:pt x="0" y="26"/>
                  </a:lnTo>
                  <a:lnTo>
                    <a:pt x="26" y="14"/>
                  </a:lnTo>
                  <a:lnTo>
                    <a:pt x="41" y="9"/>
                  </a:lnTo>
                  <a:lnTo>
                    <a:pt x="56" y="5"/>
                  </a:lnTo>
                  <a:lnTo>
                    <a:pt x="74" y="3"/>
                  </a:lnTo>
                  <a:lnTo>
                    <a:pt x="93" y="1"/>
                  </a:lnTo>
                  <a:lnTo>
                    <a:pt x="114" y="0"/>
                  </a:lnTo>
                  <a:lnTo>
                    <a:pt x="135" y="1"/>
                  </a:lnTo>
                  <a:lnTo>
                    <a:pt x="157" y="3"/>
                  </a:lnTo>
                  <a:lnTo>
                    <a:pt x="180" y="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5" name="Freeform 264">
              <a:extLst>
                <a:ext uri="{FF2B5EF4-FFF2-40B4-BE49-F238E27FC236}">
                  <a16:creationId xmlns:a16="http://schemas.microsoft.com/office/drawing/2014/main" id="{55C0770B-F0A4-4A61-BB82-8FFACF943373}"/>
                </a:ext>
              </a:extLst>
            </p:cNvPr>
            <p:cNvSpPr>
              <a:spLocks/>
            </p:cNvSpPr>
            <p:nvPr>
              <p:custDataLst>
                <p:tags r:id="rId191"/>
              </p:custDataLst>
            </p:nvPr>
          </p:nvSpPr>
          <p:spPr bwMode="auto">
            <a:xfrm>
              <a:off x="3678233" y="3349599"/>
              <a:ext cx="74612" cy="100012"/>
            </a:xfrm>
            <a:custGeom>
              <a:avLst/>
              <a:gdLst>
                <a:gd name="T0" fmla="*/ 0 w 173"/>
                <a:gd name="T1" fmla="*/ 35421 h 192"/>
                <a:gd name="T2" fmla="*/ 11645 w 173"/>
                <a:gd name="T3" fmla="*/ 21878 h 192"/>
                <a:gd name="T4" fmla="*/ 21995 w 173"/>
                <a:gd name="T5" fmla="*/ 10939 h 192"/>
                <a:gd name="T6" fmla="*/ 24152 w 173"/>
                <a:gd name="T7" fmla="*/ 8334 h 192"/>
                <a:gd name="T8" fmla="*/ 27171 w 173"/>
                <a:gd name="T9" fmla="*/ 6251 h 192"/>
                <a:gd name="T10" fmla="*/ 30190 w 173"/>
                <a:gd name="T11" fmla="*/ 4167 h 192"/>
                <a:gd name="T12" fmla="*/ 32778 w 173"/>
                <a:gd name="T13" fmla="*/ 3125 h 192"/>
                <a:gd name="T14" fmla="*/ 35797 w 173"/>
                <a:gd name="T15" fmla="*/ 1563 h 192"/>
                <a:gd name="T16" fmla="*/ 38815 w 173"/>
                <a:gd name="T17" fmla="*/ 1042 h 192"/>
                <a:gd name="T18" fmla="*/ 42266 w 173"/>
                <a:gd name="T19" fmla="*/ 521 h 192"/>
                <a:gd name="T20" fmla="*/ 46147 w 173"/>
                <a:gd name="T21" fmla="*/ 0 h 192"/>
                <a:gd name="T22" fmla="*/ 50029 w 173"/>
                <a:gd name="T23" fmla="*/ 521 h 192"/>
                <a:gd name="T24" fmla="*/ 53479 w 173"/>
                <a:gd name="T25" fmla="*/ 1042 h 192"/>
                <a:gd name="T26" fmla="*/ 56929 w 173"/>
                <a:gd name="T27" fmla="*/ 2605 h 192"/>
                <a:gd name="T28" fmla="*/ 59948 w 173"/>
                <a:gd name="T29" fmla="*/ 4167 h 192"/>
                <a:gd name="T30" fmla="*/ 62536 w 173"/>
                <a:gd name="T31" fmla="*/ 6772 h 192"/>
                <a:gd name="T32" fmla="*/ 65124 w 173"/>
                <a:gd name="T33" fmla="*/ 9897 h 192"/>
                <a:gd name="T34" fmla="*/ 66849 w 173"/>
                <a:gd name="T35" fmla="*/ 12502 h 192"/>
                <a:gd name="T36" fmla="*/ 69005 w 173"/>
                <a:gd name="T37" fmla="*/ 15627 h 192"/>
                <a:gd name="T38" fmla="*/ 70299 w 173"/>
                <a:gd name="T39" fmla="*/ 19273 h 192"/>
                <a:gd name="T40" fmla="*/ 71593 w 173"/>
                <a:gd name="T41" fmla="*/ 22399 h 192"/>
                <a:gd name="T42" fmla="*/ 72456 w 173"/>
                <a:gd name="T43" fmla="*/ 26045 h 192"/>
                <a:gd name="T44" fmla="*/ 72887 w 173"/>
                <a:gd name="T45" fmla="*/ 29691 h 192"/>
                <a:gd name="T46" fmla="*/ 74181 w 173"/>
                <a:gd name="T47" fmla="*/ 37505 h 192"/>
                <a:gd name="T48" fmla="*/ 74612 w 173"/>
                <a:gd name="T49" fmla="*/ 45318 h 192"/>
                <a:gd name="T50" fmla="*/ 67711 w 173"/>
                <a:gd name="T51" fmla="*/ 59383 h 192"/>
                <a:gd name="T52" fmla="*/ 62967 w 173"/>
                <a:gd name="T53" fmla="*/ 71363 h 192"/>
                <a:gd name="T54" fmla="*/ 59948 w 173"/>
                <a:gd name="T55" fmla="*/ 77093 h 192"/>
                <a:gd name="T56" fmla="*/ 56067 w 173"/>
                <a:gd name="T57" fmla="*/ 83344 h 192"/>
                <a:gd name="T58" fmla="*/ 50460 w 173"/>
                <a:gd name="T59" fmla="*/ 90637 h 192"/>
                <a:gd name="T60" fmla="*/ 42697 w 173"/>
                <a:gd name="T61" fmla="*/ 100013 h 192"/>
                <a:gd name="T62" fmla="*/ 37090 w 173"/>
                <a:gd name="T63" fmla="*/ 95325 h 192"/>
                <a:gd name="T64" fmla="*/ 31915 w 173"/>
                <a:gd name="T65" fmla="*/ 91679 h 192"/>
                <a:gd name="T66" fmla="*/ 27171 w 173"/>
                <a:gd name="T67" fmla="*/ 88032 h 192"/>
                <a:gd name="T68" fmla="*/ 23289 w 173"/>
                <a:gd name="T69" fmla="*/ 84907 h 192"/>
                <a:gd name="T70" fmla="*/ 19839 w 173"/>
                <a:gd name="T71" fmla="*/ 81261 h 192"/>
                <a:gd name="T72" fmla="*/ 17251 w 173"/>
                <a:gd name="T73" fmla="*/ 78135 h 192"/>
                <a:gd name="T74" fmla="*/ 14664 w 173"/>
                <a:gd name="T75" fmla="*/ 75010 h 192"/>
                <a:gd name="T76" fmla="*/ 12938 w 173"/>
                <a:gd name="T77" fmla="*/ 71363 h 192"/>
                <a:gd name="T78" fmla="*/ 9488 w 173"/>
                <a:gd name="T79" fmla="*/ 64071 h 192"/>
                <a:gd name="T80" fmla="*/ 6901 w 173"/>
                <a:gd name="T81" fmla="*/ 55736 h 192"/>
                <a:gd name="T82" fmla="*/ 3882 w 173"/>
                <a:gd name="T83" fmla="*/ 46881 h 192"/>
                <a:gd name="T84" fmla="*/ 0 w 173"/>
                <a:gd name="T85" fmla="*/ 35421 h 192"/>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73" h="192">
                  <a:moveTo>
                    <a:pt x="0" y="68"/>
                  </a:moveTo>
                  <a:lnTo>
                    <a:pt x="27" y="42"/>
                  </a:lnTo>
                  <a:lnTo>
                    <a:pt x="51" y="21"/>
                  </a:lnTo>
                  <a:lnTo>
                    <a:pt x="56" y="16"/>
                  </a:lnTo>
                  <a:lnTo>
                    <a:pt x="63" y="12"/>
                  </a:lnTo>
                  <a:lnTo>
                    <a:pt x="70" y="8"/>
                  </a:lnTo>
                  <a:lnTo>
                    <a:pt x="76" y="6"/>
                  </a:lnTo>
                  <a:lnTo>
                    <a:pt x="83" y="3"/>
                  </a:lnTo>
                  <a:lnTo>
                    <a:pt x="90" y="2"/>
                  </a:lnTo>
                  <a:lnTo>
                    <a:pt x="98" y="1"/>
                  </a:lnTo>
                  <a:lnTo>
                    <a:pt x="107" y="0"/>
                  </a:lnTo>
                  <a:lnTo>
                    <a:pt x="116" y="1"/>
                  </a:lnTo>
                  <a:lnTo>
                    <a:pt x="124" y="2"/>
                  </a:lnTo>
                  <a:lnTo>
                    <a:pt x="132" y="5"/>
                  </a:lnTo>
                  <a:lnTo>
                    <a:pt x="139" y="8"/>
                  </a:lnTo>
                  <a:lnTo>
                    <a:pt x="145" y="13"/>
                  </a:lnTo>
                  <a:lnTo>
                    <a:pt x="151" y="19"/>
                  </a:lnTo>
                  <a:lnTo>
                    <a:pt x="155" y="24"/>
                  </a:lnTo>
                  <a:lnTo>
                    <a:pt x="160" y="30"/>
                  </a:lnTo>
                  <a:lnTo>
                    <a:pt x="163" y="37"/>
                  </a:lnTo>
                  <a:lnTo>
                    <a:pt x="166" y="43"/>
                  </a:lnTo>
                  <a:lnTo>
                    <a:pt x="168" y="50"/>
                  </a:lnTo>
                  <a:lnTo>
                    <a:pt x="169" y="57"/>
                  </a:lnTo>
                  <a:lnTo>
                    <a:pt x="172" y="72"/>
                  </a:lnTo>
                  <a:lnTo>
                    <a:pt x="173" y="87"/>
                  </a:lnTo>
                  <a:lnTo>
                    <a:pt x="157" y="114"/>
                  </a:lnTo>
                  <a:lnTo>
                    <a:pt x="146" y="137"/>
                  </a:lnTo>
                  <a:lnTo>
                    <a:pt x="139" y="148"/>
                  </a:lnTo>
                  <a:lnTo>
                    <a:pt x="130" y="160"/>
                  </a:lnTo>
                  <a:lnTo>
                    <a:pt x="117" y="174"/>
                  </a:lnTo>
                  <a:lnTo>
                    <a:pt x="99" y="192"/>
                  </a:lnTo>
                  <a:lnTo>
                    <a:pt x="86" y="183"/>
                  </a:lnTo>
                  <a:lnTo>
                    <a:pt x="74" y="176"/>
                  </a:lnTo>
                  <a:lnTo>
                    <a:pt x="63" y="169"/>
                  </a:lnTo>
                  <a:lnTo>
                    <a:pt x="54" y="163"/>
                  </a:lnTo>
                  <a:lnTo>
                    <a:pt x="46" y="156"/>
                  </a:lnTo>
                  <a:lnTo>
                    <a:pt x="40" y="150"/>
                  </a:lnTo>
                  <a:lnTo>
                    <a:pt x="34" y="144"/>
                  </a:lnTo>
                  <a:lnTo>
                    <a:pt x="30" y="137"/>
                  </a:lnTo>
                  <a:lnTo>
                    <a:pt x="22" y="123"/>
                  </a:lnTo>
                  <a:lnTo>
                    <a:pt x="16" y="107"/>
                  </a:lnTo>
                  <a:lnTo>
                    <a:pt x="9" y="90"/>
                  </a:lnTo>
                  <a:lnTo>
                    <a:pt x="0" y="6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6" name="Freeform 265">
              <a:extLst>
                <a:ext uri="{FF2B5EF4-FFF2-40B4-BE49-F238E27FC236}">
                  <a16:creationId xmlns:a16="http://schemas.microsoft.com/office/drawing/2014/main" id="{4135B013-8D3F-4666-8E79-30643454D518}"/>
                </a:ext>
              </a:extLst>
            </p:cNvPr>
            <p:cNvSpPr>
              <a:spLocks/>
            </p:cNvSpPr>
            <p:nvPr>
              <p:custDataLst>
                <p:tags r:id="rId192"/>
              </p:custDataLst>
            </p:nvPr>
          </p:nvSpPr>
          <p:spPr bwMode="auto">
            <a:xfrm>
              <a:off x="3721095" y="3400398"/>
              <a:ext cx="104775" cy="131762"/>
            </a:xfrm>
            <a:custGeom>
              <a:avLst/>
              <a:gdLst>
                <a:gd name="T0" fmla="*/ 33276 w 233"/>
                <a:gd name="T1" fmla="*/ 0 h 252"/>
                <a:gd name="T2" fmla="*/ 37323 w 233"/>
                <a:gd name="T3" fmla="*/ 1046 h 252"/>
                <a:gd name="T4" fmla="*/ 40021 w 233"/>
                <a:gd name="T5" fmla="*/ 1569 h 252"/>
                <a:gd name="T6" fmla="*/ 42719 w 233"/>
                <a:gd name="T7" fmla="*/ 1569 h 252"/>
                <a:gd name="T8" fmla="*/ 44518 w 233"/>
                <a:gd name="T9" fmla="*/ 1046 h 252"/>
                <a:gd name="T10" fmla="*/ 47666 w 233"/>
                <a:gd name="T11" fmla="*/ 523 h 252"/>
                <a:gd name="T12" fmla="*/ 50814 w 233"/>
                <a:gd name="T13" fmla="*/ 0 h 252"/>
                <a:gd name="T14" fmla="*/ 56210 w 233"/>
                <a:gd name="T15" fmla="*/ 8889 h 252"/>
                <a:gd name="T16" fmla="*/ 62955 w 233"/>
                <a:gd name="T17" fmla="*/ 19346 h 252"/>
                <a:gd name="T18" fmla="*/ 64754 w 233"/>
                <a:gd name="T19" fmla="*/ 21961 h 252"/>
                <a:gd name="T20" fmla="*/ 66552 w 233"/>
                <a:gd name="T21" fmla="*/ 24052 h 252"/>
                <a:gd name="T22" fmla="*/ 68801 w 233"/>
                <a:gd name="T23" fmla="*/ 25621 h 252"/>
                <a:gd name="T24" fmla="*/ 70599 w 233"/>
                <a:gd name="T25" fmla="*/ 27189 h 252"/>
                <a:gd name="T26" fmla="*/ 73298 w 233"/>
                <a:gd name="T27" fmla="*/ 28235 h 252"/>
                <a:gd name="T28" fmla="*/ 75546 w 233"/>
                <a:gd name="T29" fmla="*/ 29281 h 252"/>
                <a:gd name="T30" fmla="*/ 78244 w 233"/>
                <a:gd name="T31" fmla="*/ 29281 h 252"/>
                <a:gd name="T32" fmla="*/ 80942 w 233"/>
                <a:gd name="T33" fmla="*/ 29281 h 252"/>
                <a:gd name="T34" fmla="*/ 80942 w 233"/>
                <a:gd name="T35" fmla="*/ 41830 h 252"/>
                <a:gd name="T36" fmla="*/ 86788 w 233"/>
                <a:gd name="T37" fmla="*/ 53856 h 252"/>
                <a:gd name="T38" fmla="*/ 95332 w 233"/>
                <a:gd name="T39" fmla="*/ 66927 h 252"/>
                <a:gd name="T40" fmla="*/ 96681 w 233"/>
                <a:gd name="T41" fmla="*/ 70587 h 252"/>
                <a:gd name="T42" fmla="*/ 98929 w 233"/>
                <a:gd name="T43" fmla="*/ 74247 h 252"/>
                <a:gd name="T44" fmla="*/ 100278 w 233"/>
                <a:gd name="T45" fmla="*/ 78953 h 252"/>
                <a:gd name="T46" fmla="*/ 101627 w 233"/>
                <a:gd name="T47" fmla="*/ 83659 h 252"/>
                <a:gd name="T48" fmla="*/ 103426 w 233"/>
                <a:gd name="T49" fmla="*/ 88888 h 252"/>
                <a:gd name="T50" fmla="*/ 104325 w 233"/>
                <a:gd name="T51" fmla="*/ 94116 h 252"/>
                <a:gd name="T52" fmla="*/ 104775 w 233"/>
                <a:gd name="T53" fmla="*/ 99868 h 252"/>
                <a:gd name="T54" fmla="*/ 104775 w 233"/>
                <a:gd name="T55" fmla="*/ 106665 h 252"/>
                <a:gd name="T56" fmla="*/ 104325 w 233"/>
                <a:gd name="T57" fmla="*/ 112940 h 252"/>
                <a:gd name="T58" fmla="*/ 103426 w 233"/>
                <a:gd name="T59" fmla="*/ 119214 h 252"/>
                <a:gd name="T60" fmla="*/ 102077 w 233"/>
                <a:gd name="T61" fmla="*/ 125489 h 252"/>
                <a:gd name="T62" fmla="*/ 101627 w 233"/>
                <a:gd name="T63" fmla="*/ 131763 h 252"/>
                <a:gd name="T64" fmla="*/ 99829 w 233"/>
                <a:gd name="T65" fmla="*/ 131763 h 252"/>
                <a:gd name="T66" fmla="*/ 96681 w 233"/>
                <a:gd name="T67" fmla="*/ 130717 h 252"/>
                <a:gd name="T68" fmla="*/ 93533 w 233"/>
                <a:gd name="T69" fmla="*/ 128626 h 252"/>
                <a:gd name="T70" fmla="*/ 89036 w 233"/>
                <a:gd name="T71" fmla="*/ 126011 h 252"/>
                <a:gd name="T72" fmla="*/ 79143 w 233"/>
                <a:gd name="T73" fmla="*/ 118168 h 252"/>
                <a:gd name="T74" fmla="*/ 67901 w 233"/>
                <a:gd name="T75" fmla="*/ 108757 h 252"/>
                <a:gd name="T76" fmla="*/ 56210 w 233"/>
                <a:gd name="T77" fmla="*/ 97254 h 252"/>
                <a:gd name="T78" fmla="*/ 44968 w 233"/>
                <a:gd name="T79" fmla="*/ 86273 h 252"/>
                <a:gd name="T80" fmla="*/ 35075 w 233"/>
                <a:gd name="T81" fmla="*/ 75816 h 252"/>
                <a:gd name="T82" fmla="*/ 27430 w 233"/>
                <a:gd name="T83" fmla="*/ 67450 h 252"/>
                <a:gd name="T84" fmla="*/ 24732 w 233"/>
                <a:gd name="T85" fmla="*/ 65359 h 252"/>
                <a:gd name="T86" fmla="*/ 21585 w 233"/>
                <a:gd name="T87" fmla="*/ 62744 h 252"/>
                <a:gd name="T88" fmla="*/ 18437 w 233"/>
                <a:gd name="T89" fmla="*/ 60653 h 252"/>
                <a:gd name="T90" fmla="*/ 14839 w 233"/>
                <a:gd name="T91" fmla="*/ 58561 h 252"/>
                <a:gd name="T92" fmla="*/ 7645 w 233"/>
                <a:gd name="T93" fmla="*/ 54378 h 252"/>
                <a:gd name="T94" fmla="*/ 0 w 233"/>
                <a:gd name="T95" fmla="*/ 51764 h 252"/>
                <a:gd name="T96" fmla="*/ 17987 w 233"/>
                <a:gd name="T97" fmla="*/ 32941 h 252"/>
                <a:gd name="T98" fmla="*/ 26531 w 233"/>
                <a:gd name="T99" fmla="*/ 22483 h 252"/>
                <a:gd name="T100" fmla="*/ 29229 w 233"/>
                <a:gd name="T101" fmla="*/ 17255 h 252"/>
                <a:gd name="T102" fmla="*/ 31028 w 233"/>
                <a:gd name="T103" fmla="*/ 13072 h 252"/>
                <a:gd name="T104" fmla="*/ 32377 w 233"/>
                <a:gd name="T105" fmla="*/ 7320 h 252"/>
                <a:gd name="T106" fmla="*/ 33276 w 233"/>
                <a:gd name="T107" fmla="*/ 0 h 25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3" h="252">
                  <a:moveTo>
                    <a:pt x="74" y="0"/>
                  </a:moveTo>
                  <a:lnTo>
                    <a:pt x="83" y="2"/>
                  </a:lnTo>
                  <a:lnTo>
                    <a:pt x="89" y="3"/>
                  </a:lnTo>
                  <a:lnTo>
                    <a:pt x="95" y="3"/>
                  </a:lnTo>
                  <a:lnTo>
                    <a:pt x="99" y="2"/>
                  </a:lnTo>
                  <a:lnTo>
                    <a:pt x="106" y="1"/>
                  </a:lnTo>
                  <a:lnTo>
                    <a:pt x="113" y="0"/>
                  </a:lnTo>
                  <a:lnTo>
                    <a:pt x="125" y="17"/>
                  </a:lnTo>
                  <a:lnTo>
                    <a:pt x="140" y="37"/>
                  </a:lnTo>
                  <a:lnTo>
                    <a:pt x="144" y="42"/>
                  </a:lnTo>
                  <a:lnTo>
                    <a:pt x="148" y="46"/>
                  </a:lnTo>
                  <a:lnTo>
                    <a:pt x="153" y="49"/>
                  </a:lnTo>
                  <a:lnTo>
                    <a:pt x="157" y="52"/>
                  </a:lnTo>
                  <a:lnTo>
                    <a:pt x="163" y="54"/>
                  </a:lnTo>
                  <a:lnTo>
                    <a:pt x="168" y="56"/>
                  </a:lnTo>
                  <a:lnTo>
                    <a:pt x="174" y="56"/>
                  </a:lnTo>
                  <a:lnTo>
                    <a:pt x="180" y="56"/>
                  </a:lnTo>
                  <a:lnTo>
                    <a:pt x="180" y="80"/>
                  </a:lnTo>
                  <a:lnTo>
                    <a:pt x="193" y="103"/>
                  </a:lnTo>
                  <a:lnTo>
                    <a:pt x="212" y="128"/>
                  </a:lnTo>
                  <a:lnTo>
                    <a:pt x="215" y="135"/>
                  </a:lnTo>
                  <a:lnTo>
                    <a:pt x="220" y="142"/>
                  </a:lnTo>
                  <a:lnTo>
                    <a:pt x="223" y="151"/>
                  </a:lnTo>
                  <a:lnTo>
                    <a:pt x="226" y="160"/>
                  </a:lnTo>
                  <a:lnTo>
                    <a:pt x="230" y="170"/>
                  </a:lnTo>
                  <a:lnTo>
                    <a:pt x="232" y="180"/>
                  </a:lnTo>
                  <a:lnTo>
                    <a:pt x="233" y="191"/>
                  </a:lnTo>
                  <a:lnTo>
                    <a:pt x="233" y="204"/>
                  </a:lnTo>
                  <a:lnTo>
                    <a:pt x="232" y="216"/>
                  </a:lnTo>
                  <a:lnTo>
                    <a:pt x="230" y="228"/>
                  </a:lnTo>
                  <a:lnTo>
                    <a:pt x="227" y="240"/>
                  </a:lnTo>
                  <a:lnTo>
                    <a:pt x="226" y="252"/>
                  </a:lnTo>
                  <a:lnTo>
                    <a:pt x="222" y="252"/>
                  </a:lnTo>
                  <a:lnTo>
                    <a:pt x="215" y="250"/>
                  </a:lnTo>
                  <a:lnTo>
                    <a:pt x="208" y="246"/>
                  </a:lnTo>
                  <a:lnTo>
                    <a:pt x="198" y="241"/>
                  </a:lnTo>
                  <a:lnTo>
                    <a:pt x="176" y="226"/>
                  </a:lnTo>
                  <a:lnTo>
                    <a:pt x="151" y="208"/>
                  </a:lnTo>
                  <a:lnTo>
                    <a:pt x="125" y="186"/>
                  </a:lnTo>
                  <a:lnTo>
                    <a:pt x="100" y="165"/>
                  </a:lnTo>
                  <a:lnTo>
                    <a:pt x="78" y="145"/>
                  </a:lnTo>
                  <a:lnTo>
                    <a:pt x="61" y="129"/>
                  </a:lnTo>
                  <a:lnTo>
                    <a:pt x="55" y="125"/>
                  </a:lnTo>
                  <a:lnTo>
                    <a:pt x="48" y="120"/>
                  </a:lnTo>
                  <a:lnTo>
                    <a:pt x="41" y="116"/>
                  </a:lnTo>
                  <a:lnTo>
                    <a:pt x="33" y="112"/>
                  </a:lnTo>
                  <a:lnTo>
                    <a:pt x="17" y="104"/>
                  </a:lnTo>
                  <a:lnTo>
                    <a:pt x="0" y="99"/>
                  </a:lnTo>
                  <a:lnTo>
                    <a:pt x="40" y="63"/>
                  </a:lnTo>
                  <a:lnTo>
                    <a:pt x="59" y="43"/>
                  </a:lnTo>
                  <a:lnTo>
                    <a:pt x="65" y="33"/>
                  </a:lnTo>
                  <a:lnTo>
                    <a:pt x="69" y="25"/>
                  </a:lnTo>
                  <a:lnTo>
                    <a:pt x="72" y="14"/>
                  </a:lnTo>
                  <a:lnTo>
                    <a:pt x="74"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7" name="Freeform 266">
              <a:extLst>
                <a:ext uri="{FF2B5EF4-FFF2-40B4-BE49-F238E27FC236}">
                  <a16:creationId xmlns:a16="http://schemas.microsoft.com/office/drawing/2014/main" id="{4B75F8CD-BB3F-468C-8D57-132C432CD939}"/>
                </a:ext>
              </a:extLst>
            </p:cNvPr>
            <p:cNvSpPr>
              <a:spLocks/>
            </p:cNvSpPr>
            <p:nvPr>
              <p:custDataLst>
                <p:tags r:id="rId193"/>
              </p:custDataLst>
            </p:nvPr>
          </p:nvSpPr>
          <p:spPr bwMode="auto">
            <a:xfrm>
              <a:off x="3935408" y="3319437"/>
              <a:ext cx="104775" cy="201610"/>
            </a:xfrm>
            <a:custGeom>
              <a:avLst/>
              <a:gdLst>
                <a:gd name="T0" fmla="*/ 5537 w 246"/>
                <a:gd name="T1" fmla="*/ 199490 h 380"/>
                <a:gd name="T2" fmla="*/ 5963 w 246"/>
                <a:gd name="T3" fmla="*/ 194715 h 380"/>
                <a:gd name="T4" fmla="*/ 6389 w 246"/>
                <a:gd name="T5" fmla="*/ 190470 h 380"/>
                <a:gd name="T6" fmla="*/ 7666 w 246"/>
                <a:gd name="T7" fmla="*/ 186226 h 380"/>
                <a:gd name="T8" fmla="*/ 8518 w 246"/>
                <a:gd name="T9" fmla="*/ 182512 h 380"/>
                <a:gd name="T10" fmla="*/ 10648 w 246"/>
                <a:gd name="T11" fmla="*/ 176676 h 380"/>
                <a:gd name="T12" fmla="*/ 11074 w 246"/>
                <a:gd name="T13" fmla="*/ 173492 h 380"/>
                <a:gd name="T14" fmla="*/ 10648 w 246"/>
                <a:gd name="T15" fmla="*/ 170309 h 380"/>
                <a:gd name="T16" fmla="*/ 9796 w 246"/>
                <a:gd name="T17" fmla="*/ 166595 h 380"/>
                <a:gd name="T18" fmla="*/ 8092 w 246"/>
                <a:gd name="T19" fmla="*/ 161820 h 380"/>
                <a:gd name="T20" fmla="*/ 5537 w 246"/>
                <a:gd name="T21" fmla="*/ 156515 h 380"/>
                <a:gd name="T22" fmla="*/ 3833 w 246"/>
                <a:gd name="T23" fmla="*/ 151209 h 380"/>
                <a:gd name="T24" fmla="*/ 1704 w 246"/>
                <a:gd name="T25" fmla="*/ 145903 h 380"/>
                <a:gd name="T26" fmla="*/ 426 w 246"/>
                <a:gd name="T27" fmla="*/ 141659 h 380"/>
                <a:gd name="T28" fmla="*/ 0 w 246"/>
                <a:gd name="T29" fmla="*/ 137414 h 380"/>
                <a:gd name="T30" fmla="*/ 426 w 246"/>
                <a:gd name="T31" fmla="*/ 133170 h 380"/>
                <a:gd name="T32" fmla="*/ 852 w 246"/>
                <a:gd name="T33" fmla="*/ 128926 h 380"/>
                <a:gd name="T34" fmla="*/ 1278 w 246"/>
                <a:gd name="T35" fmla="*/ 125212 h 380"/>
                <a:gd name="T36" fmla="*/ 2555 w 246"/>
                <a:gd name="T37" fmla="*/ 122028 h 380"/>
                <a:gd name="T38" fmla="*/ 4685 w 246"/>
                <a:gd name="T39" fmla="*/ 115662 h 380"/>
                <a:gd name="T40" fmla="*/ 8092 w 246"/>
                <a:gd name="T41" fmla="*/ 109825 h 380"/>
                <a:gd name="T42" fmla="*/ 11074 w 246"/>
                <a:gd name="T43" fmla="*/ 104520 h 380"/>
                <a:gd name="T44" fmla="*/ 14481 w 246"/>
                <a:gd name="T45" fmla="*/ 98153 h 380"/>
                <a:gd name="T46" fmla="*/ 17463 w 246"/>
                <a:gd name="T47" fmla="*/ 91787 h 380"/>
                <a:gd name="T48" fmla="*/ 20018 w 246"/>
                <a:gd name="T49" fmla="*/ 84889 h 380"/>
                <a:gd name="T50" fmla="*/ 11074 w 246"/>
                <a:gd name="T51" fmla="*/ 38731 h 380"/>
                <a:gd name="T52" fmla="*/ 11074 w 246"/>
                <a:gd name="T53" fmla="*/ 26528 h 380"/>
                <a:gd name="T54" fmla="*/ 10222 w 246"/>
                <a:gd name="T55" fmla="*/ 17508 h 380"/>
                <a:gd name="T56" fmla="*/ 10222 w 246"/>
                <a:gd name="T57" fmla="*/ 13264 h 380"/>
                <a:gd name="T58" fmla="*/ 10222 w 246"/>
                <a:gd name="T59" fmla="*/ 8489 h 380"/>
                <a:gd name="T60" fmla="*/ 10648 w 246"/>
                <a:gd name="T61" fmla="*/ 4244 h 380"/>
                <a:gd name="T62" fmla="*/ 11074 w 246"/>
                <a:gd name="T63" fmla="*/ 0 h 380"/>
                <a:gd name="T64" fmla="*/ 76665 w 246"/>
                <a:gd name="T65" fmla="*/ 0 h 380"/>
                <a:gd name="T66" fmla="*/ 93701 w 246"/>
                <a:gd name="T67" fmla="*/ 68442 h 380"/>
                <a:gd name="T68" fmla="*/ 93701 w 246"/>
                <a:gd name="T69" fmla="*/ 111417 h 380"/>
                <a:gd name="T70" fmla="*/ 93701 w 246"/>
                <a:gd name="T71" fmla="*/ 116723 h 380"/>
                <a:gd name="T72" fmla="*/ 94127 w 246"/>
                <a:gd name="T73" fmla="*/ 122028 h 380"/>
                <a:gd name="T74" fmla="*/ 94979 w 246"/>
                <a:gd name="T75" fmla="*/ 127334 h 380"/>
                <a:gd name="T76" fmla="*/ 95831 w 246"/>
                <a:gd name="T77" fmla="*/ 132639 h 380"/>
                <a:gd name="T78" fmla="*/ 97109 w 246"/>
                <a:gd name="T79" fmla="*/ 137414 h 380"/>
                <a:gd name="T80" fmla="*/ 99664 w 246"/>
                <a:gd name="T81" fmla="*/ 142190 h 380"/>
                <a:gd name="T82" fmla="*/ 101794 w 246"/>
                <a:gd name="T83" fmla="*/ 147495 h 380"/>
                <a:gd name="T84" fmla="*/ 104775 w 246"/>
                <a:gd name="T85" fmla="*/ 153331 h 380"/>
                <a:gd name="T86" fmla="*/ 95405 w 246"/>
                <a:gd name="T87" fmla="*/ 156515 h 380"/>
                <a:gd name="T88" fmla="*/ 86035 w 246"/>
                <a:gd name="T89" fmla="*/ 160228 h 380"/>
                <a:gd name="T90" fmla="*/ 77091 w 246"/>
                <a:gd name="T91" fmla="*/ 164473 h 380"/>
                <a:gd name="T92" fmla="*/ 68146 w 246"/>
                <a:gd name="T93" fmla="*/ 169248 h 380"/>
                <a:gd name="T94" fmla="*/ 60054 w 246"/>
                <a:gd name="T95" fmla="*/ 174023 h 380"/>
                <a:gd name="T96" fmla="*/ 51110 w 246"/>
                <a:gd name="T97" fmla="*/ 179329 h 380"/>
                <a:gd name="T98" fmla="*/ 42591 w 246"/>
                <a:gd name="T99" fmla="*/ 184104 h 380"/>
                <a:gd name="T100" fmla="*/ 34073 w 246"/>
                <a:gd name="T101" fmla="*/ 189940 h 380"/>
                <a:gd name="T102" fmla="*/ 31944 w 246"/>
                <a:gd name="T103" fmla="*/ 192593 h 380"/>
                <a:gd name="T104" fmla="*/ 29388 w 246"/>
                <a:gd name="T105" fmla="*/ 194715 h 380"/>
                <a:gd name="T106" fmla="*/ 26407 w 246"/>
                <a:gd name="T107" fmla="*/ 197368 h 380"/>
                <a:gd name="T108" fmla="*/ 22999 w 246"/>
                <a:gd name="T109" fmla="*/ 199490 h 380"/>
                <a:gd name="T110" fmla="*/ 19592 w 246"/>
                <a:gd name="T111" fmla="*/ 201081 h 380"/>
                <a:gd name="T112" fmla="*/ 15333 w 246"/>
                <a:gd name="T113" fmla="*/ 201612 h 380"/>
                <a:gd name="T114" fmla="*/ 13203 w 246"/>
                <a:gd name="T115" fmla="*/ 201612 h 380"/>
                <a:gd name="T116" fmla="*/ 10648 w 246"/>
                <a:gd name="T117" fmla="*/ 201081 h 380"/>
                <a:gd name="T118" fmla="*/ 8518 w 246"/>
                <a:gd name="T119" fmla="*/ 200551 h 380"/>
                <a:gd name="T120" fmla="*/ 5537 w 246"/>
                <a:gd name="T121" fmla="*/ 199490 h 38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46" h="380">
                  <a:moveTo>
                    <a:pt x="13" y="376"/>
                  </a:moveTo>
                  <a:lnTo>
                    <a:pt x="14" y="367"/>
                  </a:lnTo>
                  <a:lnTo>
                    <a:pt x="15" y="359"/>
                  </a:lnTo>
                  <a:lnTo>
                    <a:pt x="18" y="351"/>
                  </a:lnTo>
                  <a:lnTo>
                    <a:pt x="20" y="344"/>
                  </a:lnTo>
                  <a:lnTo>
                    <a:pt x="25" y="333"/>
                  </a:lnTo>
                  <a:lnTo>
                    <a:pt x="26" y="327"/>
                  </a:lnTo>
                  <a:lnTo>
                    <a:pt x="25" y="321"/>
                  </a:lnTo>
                  <a:lnTo>
                    <a:pt x="23" y="314"/>
                  </a:lnTo>
                  <a:lnTo>
                    <a:pt x="19" y="305"/>
                  </a:lnTo>
                  <a:lnTo>
                    <a:pt x="13" y="295"/>
                  </a:lnTo>
                  <a:lnTo>
                    <a:pt x="9" y="285"/>
                  </a:lnTo>
                  <a:lnTo>
                    <a:pt x="4" y="275"/>
                  </a:lnTo>
                  <a:lnTo>
                    <a:pt x="1" y="267"/>
                  </a:lnTo>
                  <a:lnTo>
                    <a:pt x="0" y="259"/>
                  </a:lnTo>
                  <a:lnTo>
                    <a:pt x="1" y="251"/>
                  </a:lnTo>
                  <a:lnTo>
                    <a:pt x="2" y="243"/>
                  </a:lnTo>
                  <a:lnTo>
                    <a:pt x="3" y="236"/>
                  </a:lnTo>
                  <a:lnTo>
                    <a:pt x="6" y="230"/>
                  </a:lnTo>
                  <a:lnTo>
                    <a:pt x="11" y="218"/>
                  </a:lnTo>
                  <a:lnTo>
                    <a:pt x="19" y="207"/>
                  </a:lnTo>
                  <a:lnTo>
                    <a:pt x="26" y="197"/>
                  </a:lnTo>
                  <a:lnTo>
                    <a:pt x="34" y="185"/>
                  </a:lnTo>
                  <a:lnTo>
                    <a:pt x="41" y="173"/>
                  </a:lnTo>
                  <a:lnTo>
                    <a:pt x="47" y="160"/>
                  </a:lnTo>
                  <a:lnTo>
                    <a:pt x="26" y="73"/>
                  </a:lnTo>
                  <a:lnTo>
                    <a:pt x="26" y="50"/>
                  </a:lnTo>
                  <a:lnTo>
                    <a:pt x="24" y="33"/>
                  </a:lnTo>
                  <a:lnTo>
                    <a:pt x="24" y="25"/>
                  </a:lnTo>
                  <a:lnTo>
                    <a:pt x="24" y="16"/>
                  </a:lnTo>
                  <a:lnTo>
                    <a:pt x="25" y="8"/>
                  </a:lnTo>
                  <a:lnTo>
                    <a:pt x="26" y="0"/>
                  </a:lnTo>
                  <a:lnTo>
                    <a:pt x="180" y="0"/>
                  </a:lnTo>
                  <a:lnTo>
                    <a:pt x="220" y="129"/>
                  </a:lnTo>
                  <a:lnTo>
                    <a:pt x="220" y="210"/>
                  </a:lnTo>
                  <a:lnTo>
                    <a:pt x="220" y="220"/>
                  </a:lnTo>
                  <a:lnTo>
                    <a:pt x="221" y="230"/>
                  </a:lnTo>
                  <a:lnTo>
                    <a:pt x="223" y="240"/>
                  </a:lnTo>
                  <a:lnTo>
                    <a:pt x="225" y="250"/>
                  </a:lnTo>
                  <a:lnTo>
                    <a:pt x="228" y="259"/>
                  </a:lnTo>
                  <a:lnTo>
                    <a:pt x="234" y="268"/>
                  </a:lnTo>
                  <a:lnTo>
                    <a:pt x="239" y="278"/>
                  </a:lnTo>
                  <a:lnTo>
                    <a:pt x="246" y="289"/>
                  </a:lnTo>
                  <a:lnTo>
                    <a:pt x="224" y="295"/>
                  </a:lnTo>
                  <a:lnTo>
                    <a:pt x="202" y="302"/>
                  </a:lnTo>
                  <a:lnTo>
                    <a:pt x="181" y="310"/>
                  </a:lnTo>
                  <a:lnTo>
                    <a:pt x="160" y="319"/>
                  </a:lnTo>
                  <a:lnTo>
                    <a:pt x="141" y="328"/>
                  </a:lnTo>
                  <a:lnTo>
                    <a:pt x="120" y="338"/>
                  </a:lnTo>
                  <a:lnTo>
                    <a:pt x="100" y="347"/>
                  </a:lnTo>
                  <a:lnTo>
                    <a:pt x="80" y="358"/>
                  </a:lnTo>
                  <a:lnTo>
                    <a:pt x="75" y="363"/>
                  </a:lnTo>
                  <a:lnTo>
                    <a:pt x="69" y="367"/>
                  </a:lnTo>
                  <a:lnTo>
                    <a:pt x="62" y="372"/>
                  </a:lnTo>
                  <a:lnTo>
                    <a:pt x="54" y="376"/>
                  </a:lnTo>
                  <a:lnTo>
                    <a:pt x="46" y="379"/>
                  </a:lnTo>
                  <a:lnTo>
                    <a:pt x="36" y="380"/>
                  </a:lnTo>
                  <a:lnTo>
                    <a:pt x="31" y="380"/>
                  </a:lnTo>
                  <a:lnTo>
                    <a:pt x="25" y="379"/>
                  </a:lnTo>
                  <a:lnTo>
                    <a:pt x="20" y="378"/>
                  </a:lnTo>
                  <a:lnTo>
                    <a:pt x="13" y="37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8" name="Freeform 267">
              <a:extLst>
                <a:ext uri="{FF2B5EF4-FFF2-40B4-BE49-F238E27FC236}">
                  <a16:creationId xmlns:a16="http://schemas.microsoft.com/office/drawing/2014/main" id="{D586807C-0929-4DA9-953B-F4E4833CC8FE}"/>
                </a:ext>
              </a:extLst>
            </p:cNvPr>
            <p:cNvSpPr>
              <a:spLocks/>
            </p:cNvSpPr>
            <p:nvPr>
              <p:custDataLst>
                <p:tags r:id="rId194"/>
              </p:custDataLst>
            </p:nvPr>
          </p:nvSpPr>
          <p:spPr bwMode="auto">
            <a:xfrm>
              <a:off x="3587745" y="3235300"/>
              <a:ext cx="87313" cy="58738"/>
            </a:xfrm>
            <a:custGeom>
              <a:avLst/>
              <a:gdLst>
                <a:gd name="T0" fmla="*/ 3167 w 193"/>
                <a:gd name="T1" fmla="*/ 30915 h 38"/>
                <a:gd name="T2" fmla="*/ 17191 w 193"/>
                <a:gd name="T3" fmla="*/ 17003 h 38"/>
                <a:gd name="T4" fmla="*/ 30311 w 193"/>
                <a:gd name="T5" fmla="*/ 7729 h 38"/>
                <a:gd name="T6" fmla="*/ 36192 w 193"/>
                <a:gd name="T7" fmla="*/ 4637 h 38"/>
                <a:gd name="T8" fmla="*/ 42526 w 193"/>
                <a:gd name="T9" fmla="*/ 3091 h 38"/>
                <a:gd name="T10" fmla="*/ 49764 w 193"/>
                <a:gd name="T11" fmla="*/ 1546 h 38"/>
                <a:gd name="T12" fmla="*/ 57002 w 193"/>
                <a:gd name="T13" fmla="*/ 0 h 38"/>
                <a:gd name="T14" fmla="*/ 62431 w 193"/>
                <a:gd name="T15" fmla="*/ 1546 h 38"/>
                <a:gd name="T16" fmla="*/ 67407 w 193"/>
                <a:gd name="T17" fmla="*/ 1546 h 38"/>
                <a:gd name="T18" fmla="*/ 72384 w 193"/>
                <a:gd name="T19" fmla="*/ 3091 h 38"/>
                <a:gd name="T20" fmla="*/ 76455 w 193"/>
                <a:gd name="T21" fmla="*/ 6183 h 38"/>
                <a:gd name="T22" fmla="*/ 80527 w 193"/>
                <a:gd name="T23" fmla="*/ 9274 h 38"/>
                <a:gd name="T24" fmla="*/ 83241 w 193"/>
                <a:gd name="T25" fmla="*/ 17003 h 38"/>
                <a:gd name="T26" fmla="*/ 84599 w 193"/>
                <a:gd name="T27" fmla="*/ 20095 h 38"/>
                <a:gd name="T28" fmla="*/ 85503 w 193"/>
                <a:gd name="T29" fmla="*/ 27823 h 38"/>
                <a:gd name="T30" fmla="*/ 86408 w 193"/>
                <a:gd name="T31" fmla="*/ 32460 h 38"/>
                <a:gd name="T32" fmla="*/ 87313 w 193"/>
                <a:gd name="T33" fmla="*/ 40189 h 38"/>
                <a:gd name="T34" fmla="*/ 82789 w 193"/>
                <a:gd name="T35" fmla="*/ 41735 h 38"/>
                <a:gd name="T36" fmla="*/ 78265 w 193"/>
                <a:gd name="T37" fmla="*/ 43281 h 38"/>
                <a:gd name="T38" fmla="*/ 74646 w 193"/>
                <a:gd name="T39" fmla="*/ 43281 h 38"/>
                <a:gd name="T40" fmla="*/ 70574 w 193"/>
                <a:gd name="T41" fmla="*/ 43281 h 38"/>
                <a:gd name="T42" fmla="*/ 62431 w 193"/>
                <a:gd name="T43" fmla="*/ 41735 h 38"/>
                <a:gd name="T44" fmla="*/ 54288 w 193"/>
                <a:gd name="T45" fmla="*/ 40189 h 38"/>
                <a:gd name="T46" fmla="*/ 46597 w 193"/>
                <a:gd name="T47" fmla="*/ 40189 h 38"/>
                <a:gd name="T48" fmla="*/ 40264 w 193"/>
                <a:gd name="T49" fmla="*/ 43281 h 38"/>
                <a:gd name="T50" fmla="*/ 34382 w 193"/>
                <a:gd name="T51" fmla="*/ 46372 h 38"/>
                <a:gd name="T52" fmla="*/ 28501 w 193"/>
                <a:gd name="T53" fmla="*/ 49464 h 38"/>
                <a:gd name="T54" fmla="*/ 22168 w 193"/>
                <a:gd name="T55" fmla="*/ 52555 h 38"/>
                <a:gd name="T56" fmla="*/ 15834 w 193"/>
                <a:gd name="T57" fmla="*/ 55647 h 38"/>
                <a:gd name="T58" fmla="*/ 8596 w 193"/>
                <a:gd name="T59" fmla="*/ 57192 h 38"/>
                <a:gd name="T60" fmla="*/ 0 w 193"/>
                <a:gd name="T61" fmla="*/ 58738 h 38"/>
                <a:gd name="T62" fmla="*/ 0 w 193"/>
                <a:gd name="T63" fmla="*/ 51009 h 38"/>
                <a:gd name="T64" fmla="*/ 452 w 193"/>
                <a:gd name="T65" fmla="*/ 44826 h 38"/>
                <a:gd name="T66" fmla="*/ 1357 w 193"/>
                <a:gd name="T67" fmla="*/ 37098 h 38"/>
                <a:gd name="T68" fmla="*/ 3167 w 193"/>
                <a:gd name="T69" fmla="*/ 30915 h 3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3" h="38">
                  <a:moveTo>
                    <a:pt x="7" y="20"/>
                  </a:moveTo>
                  <a:lnTo>
                    <a:pt x="38" y="11"/>
                  </a:lnTo>
                  <a:lnTo>
                    <a:pt x="67" y="5"/>
                  </a:lnTo>
                  <a:lnTo>
                    <a:pt x="80" y="3"/>
                  </a:lnTo>
                  <a:lnTo>
                    <a:pt x="94" y="2"/>
                  </a:lnTo>
                  <a:lnTo>
                    <a:pt x="110" y="1"/>
                  </a:lnTo>
                  <a:lnTo>
                    <a:pt x="126" y="0"/>
                  </a:lnTo>
                  <a:lnTo>
                    <a:pt x="138" y="1"/>
                  </a:lnTo>
                  <a:lnTo>
                    <a:pt x="149" y="1"/>
                  </a:lnTo>
                  <a:lnTo>
                    <a:pt x="160" y="2"/>
                  </a:lnTo>
                  <a:lnTo>
                    <a:pt x="169" y="4"/>
                  </a:lnTo>
                  <a:lnTo>
                    <a:pt x="178" y="6"/>
                  </a:lnTo>
                  <a:lnTo>
                    <a:pt x="184" y="11"/>
                  </a:lnTo>
                  <a:lnTo>
                    <a:pt x="187" y="13"/>
                  </a:lnTo>
                  <a:lnTo>
                    <a:pt x="189" y="18"/>
                  </a:lnTo>
                  <a:lnTo>
                    <a:pt x="191" y="21"/>
                  </a:lnTo>
                  <a:lnTo>
                    <a:pt x="193" y="26"/>
                  </a:lnTo>
                  <a:lnTo>
                    <a:pt x="183" y="27"/>
                  </a:lnTo>
                  <a:lnTo>
                    <a:pt x="173" y="28"/>
                  </a:lnTo>
                  <a:lnTo>
                    <a:pt x="165" y="28"/>
                  </a:lnTo>
                  <a:lnTo>
                    <a:pt x="156" y="28"/>
                  </a:lnTo>
                  <a:lnTo>
                    <a:pt x="138" y="27"/>
                  </a:lnTo>
                  <a:lnTo>
                    <a:pt x="120" y="26"/>
                  </a:lnTo>
                  <a:lnTo>
                    <a:pt x="103" y="26"/>
                  </a:lnTo>
                  <a:lnTo>
                    <a:pt x="89" y="28"/>
                  </a:lnTo>
                  <a:lnTo>
                    <a:pt x="76" y="30"/>
                  </a:lnTo>
                  <a:lnTo>
                    <a:pt x="63" y="32"/>
                  </a:lnTo>
                  <a:lnTo>
                    <a:pt x="49" y="34"/>
                  </a:lnTo>
                  <a:lnTo>
                    <a:pt x="35" y="36"/>
                  </a:lnTo>
                  <a:lnTo>
                    <a:pt x="19" y="37"/>
                  </a:lnTo>
                  <a:lnTo>
                    <a:pt x="0" y="38"/>
                  </a:lnTo>
                  <a:lnTo>
                    <a:pt x="0" y="33"/>
                  </a:lnTo>
                  <a:lnTo>
                    <a:pt x="1" y="29"/>
                  </a:lnTo>
                  <a:lnTo>
                    <a:pt x="3" y="24"/>
                  </a:lnTo>
                  <a:lnTo>
                    <a:pt x="7" y="2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199" name="Freeform 268">
              <a:extLst>
                <a:ext uri="{FF2B5EF4-FFF2-40B4-BE49-F238E27FC236}">
                  <a16:creationId xmlns:a16="http://schemas.microsoft.com/office/drawing/2014/main" id="{6A34930D-DD95-4DE9-81E3-379171A87F47}"/>
                </a:ext>
              </a:extLst>
            </p:cNvPr>
            <p:cNvSpPr>
              <a:spLocks/>
            </p:cNvSpPr>
            <p:nvPr>
              <p:custDataLst>
                <p:tags r:id="rId195"/>
              </p:custDataLst>
            </p:nvPr>
          </p:nvSpPr>
          <p:spPr bwMode="auto">
            <a:xfrm>
              <a:off x="4013195" y="3313087"/>
              <a:ext cx="42863" cy="155574"/>
            </a:xfrm>
            <a:custGeom>
              <a:avLst/>
              <a:gdLst>
                <a:gd name="T0" fmla="*/ 22947 w 99"/>
                <a:gd name="T1" fmla="*/ 6202 h 301"/>
                <a:gd name="T2" fmla="*/ 25545 w 99"/>
                <a:gd name="T3" fmla="*/ 6202 h 301"/>
                <a:gd name="T4" fmla="*/ 25545 w 99"/>
                <a:gd name="T5" fmla="*/ 9820 h 301"/>
                <a:gd name="T6" fmla="*/ 26843 w 99"/>
                <a:gd name="T7" fmla="*/ 13438 h 301"/>
                <a:gd name="T8" fmla="*/ 27276 w 99"/>
                <a:gd name="T9" fmla="*/ 17056 h 301"/>
                <a:gd name="T10" fmla="*/ 28575 w 99"/>
                <a:gd name="T11" fmla="*/ 21708 h 301"/>
                <a:gd name="T12" fmla="*/ 31173 w 99"/>
                <a:gd name="T13" fmla="*/ 29978 h 301"/>
                <a:gd name="T14" fmla="*/ 34204 w 99"/>
                <a:gd name="T15" fmla="*/ 38765 h 301"/>
                <a:gd name="T16" fmla="*/ 37667 w 99"/>
                <a:gd name="T17" fmla="*/ 48068 h 301"/>
                <a:gd name="T18" fmla="*/ 40265 w 99"/>
                <a:gd name="T19" fmla="*/ 57372 h 301"/>
                <a:gd name="T20" fmla="*/ 41564 w 99"/>
                <a:gd name="T21" fmla="*/ 62023 h 301"/>
                <a:gd name="T22" fmla="*/ 42430 w 99"/>
                <a:gd name="T23" fmla="*/ 66675 h 301"/>
                <a:gd name="T24" fmla="*/ 42863 w 99"/>
                <a:gd name="T25" fmla="*/ 71327 h 301"/>
                <a:gd name="T26" fmla="*/ 42863 w 99"/>
                <a:gd name="T27" fmla="*/ 76495 h 301"/>
                <a:gd name="T28" fmla="*/ 42863 w 99"/>
                <a:gd name="T29" fmla="*/ 149373 h 301"/>
                <a:gd name="T30" fmla="*/ 38533 w 99"/>
                <a:gd name="T31" fmla="*/ 149890 h 301"/>
                <a:gd name="T32" fmla="*/ 34637 w 99"/>
                <a:gd name="T33" fmla="*/ 151440 h 301"/>
                <a:gd name="T34" fmla="*/ 31606 w 99"/>
                <a:gd name="T35" fmla="*/ 153508 h 301"/>
                <a:gd name="T36" fmla="*/ 28575 w 99"/>
                <a:gd name="T37" fmla="*/ 155575 h 301"/>
                <a:gd name="T38" fmla="*/ 25545 w 99"/>
                <a:gd name="T39" fmla="*/ 149890 h 301"/>
                <a:gd name="T40" fmla="*/ 23380 w 99"/>
                <a:gd name="T41" fmla="*/ 144721 h 301"/>
                <a:gd name="T42" fmla="*/ 20782 w 99"/>
                <a:gd name="T43" fmla="*/ 140069 h 301"/>
                <a:gd name="T44" fmla="*/ 19483 w 99"/>
                <a:gd name="T45" fmla="*/ 135417 h 301"/>
                <a:gd name="T46" fmla="*/ 18617 w 99"/>
                <a:gd name="T47" fmla="*/ 130249 h 301"/>
                <a:gd name="T48" fmla="*/ 17751 w 99"/>
                <a:gd name="T49" fmla="*/ 125080 h 301"/>
                <a:gd name="T50" fmla="*/ 17318 w 99"/>
                <a:gd name="T51" fmla="*/ 119912 h 301"/>
                <a:gd name="T52" fmla="*/ 17318 w 99"/>
                <a:gd name="T53" fmla="*/ 114743 h 301"/>
                <a:gd name="T54" fmla="*/ 17318 w 99"/>
                <a:gd name="T55" fmla="*/ 72877 h 301"/>
                <a:gd name="T56" fmla="*/ 0 w 99"/>
                <a:gd name="T57" fmla="*/ 3101 h 301"/>
                <a:gd name="T58" fmla="*/ 2165 w 99"/>
                <a:gd name="T59" fmla="*/ 1034 h 301"/>
                <a:gd name="T60" fmla="*/ 4330 w 99"/>
                <a:gd name="T61" fmla="*/ 0 h 301"/>
                <a:gd name="T62" fmla="*/ 6061 w 99"/>
                <a:gd name="T63" fmla="*/ 0 h 301"/>
                <a:gd name="T64" fmla="*/ 8659 w 99"/>
                <a:gd name="T65" fmla="*/ 0 h 301"/>
                <a:gd name="T66" fmla="*/ 11257 w 99"/>
                <a:gd name="T67" fmla="*/ 0 h 301"/>
                <a:gd name="T68" fmla="*/ 13855 w 99"/>
                <a:gd name="T69" fmla="*/ 1034 h 301"/>
                <a:gd name="T70" fmla="*/ 16020 w 99"/>
                <a:gd name="T71" fmla="*/ 2067 h 301"/>
                <a:gd name="T72" fmla="*/ 17751 w 99"/>
                <a:gd name="T73" fmla="*/ 3101 h 301"/>
                <a:gd name="T74" fmla="*/ 20349 w 99"/>
                <a:gd name="T75" fmla="*/ 5169 h 301"/>
                <a:gd name="T76" fmla="*/ 22947 w 99"/>
                <a:gd name="T77" fmla="*/ 6202 h 30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301">
                  <a:moveTo>
                    <a:pt x="53" y="12"/>
                  </a:moveTo>
                  <a:lnTo>
                    <a:pt x="59" y="12"/>
                  </a:lnTo>
                  <a:lnTo>
                    <a:pt x="59" y="19"/>
                  </a:lnTo>
                  <a:lnTo>
                    <a:pt x="62" y="26"/>
                  </a:lnTo>
                  <a:lnTo>
                    <a:pt x="63" y="33"/>
                  </a:lnTo>
                  <a:lnTo>
                    <a:pt x="66" y="42"/>
                  </a:lnTo>
                  <a:lnTo>
                    <a:pt x="72" y="58"/>
                  </a:lnTo>
                  <a:lnTo>
                    <a:pt x="79" y="75"/>
                  </a:lnTo>
                  <a:lnTo>
                    <a:pt x="87" y="93"/>
                  </a:lnTo>
                  <a:lnTo>
                    <a:pt x="93" y="111"/>
                  </a:lnTo>
                  <a:lnTo>
                    <a:pt x="96" y="120"/>
                  </a:lnTo>
                  <a:lnTo>
                    <a:pt x="98" y="129"/>
                  </a:lnTo>
                  <a:lnTo>
                    <a:pt x="99" y="138"/>
                  </a:lnTo>
                  <a:lnTo>
                    <a:pt x="99" y="148"/>
                  </a:lnTo>
                  <a:lnTo>
                    <a:pt x="99" y="289"/>
                  </a:lnTo>
                  <a:lnTo>
                    <a:pt x="89" y="290"/>
                  </a:lnTo>
                  <a:lnTo>
                    <a:pt x="80" y="293"/>
                  </a:lnTo>
                  <a:lnTo>
                    <a:pt x="73" y="297"/>
                  </a:lnTo>
                  <a:lnTo>
                    <a:pt x="66" y="301"/>
                  </a:lnTo>
                  <a:lnTo>
                    <a:pt x="59" y="290"/>
                  </a:lnTo>
                  <a:lnTo>
                    <a:pt x="54" y="280"/>
                  </a:lnTo>
                  <a:lnTo>
                    <a:pt x="48" y="271"/>
                  </a:lnTo>
                  <a:lnTo>
                    <a:pt x="45" y="262"/>
                  </a:lnTo>
                  <a:lnTo>
                    <a:pt x="43" y="252"/>
                  </a:lnTo>
                  <a:lnTo>
                    <a:pt x="41" y="242"/>
                  </a:lnTo>
                  <a:lnTo>
                    <a:pt x="40" y="232"/>
                  </a:lnTo>
                  <a:lnTo>
                    <a:pt x="40" y="222"/>
                  </a:lnTo>
                  <a:lnTo>
                    <a:pt x="40" y="141"/>
                  </a:lnTo>
                  <a:lnTo>
                    <a:pt x="0" y="6"/>
                  </a:lnTo>
                  <a:lnTo>
                    <a:pt x="5" y="2"/>
                  </a:lnTo>
                  <a:lnTo>
                    <a:pt x="10" y="0"/>
                  </a:lnTo>
                  <a:lnTo>
                    <a:pt x="14" y="0"/>
                  </a:lnTo>
                  <a:lnTo>
                    <a:pt x="20" y="0"/>
                  </a:lnTo>
                  <a:lnTo>
                    <a:pt x="26" y="0"/>
                  </a:lnTo>
                  <a:lnTo>
                    <a:pt x="32" y="2"/>
                  </a:lnTo>
                  <a:lnTo>
                    <a:pt x="37" y="4"/>
                  </a:lnTo>
                  <a:lnTo>
                    <a:pt x="41" y="6"/>
                  </a:lnTo>
                  <a:lnTo>
                    <a:pt x="47" y="10"/>
                  </a:lnTo>
                  <a:lnTo>
                    <a:pt x="5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0" name="Freeform 269">
              <a:extLst>
                <a:ext uri="{FF2B5EF4-FFF2-40B4-BE49-F238E27FC236}">
                  <a16:creationId xmlns:a16="http://schemas.microsoft.com/office/drawing/2014/main" id="{BD19ABDA-F15C-43E6-91D2-064A31B7F70D}"/>
                </a:ext>
              </a:extLst>
            </p:cNvPr>
            <p:cNvSpPr>
              <a:spLocks/>
            </p:cNvSpPr>
            <p:nvPr>
              <p:custDataLst>
                <p:tags r:id="rId196"/>
              </p:custDataLst>
            </p:nvPr>
          </p:nvSpPr>
          <p:spPr bwMode="auto">
            <a:xfrm>
              <a:off x="4038595" y="3274987"/>
              <a:ext cx="76200" cy="188910"/>
            </a:xfrm>
            <a:custGeom>
              <a:avLst/>
              <a:gdLst>
                <a:gd name="T0" fmla="*/ 0 w 173"/>
                <a:gd name="T1" fmla="*/ 42333 h 357"/>
                <a:gd name="T2" fmla="*/ 3964 w 173"/>
                <a:gd name="T3" fmla="*/ 38100 h 357"/>
                <a:gd name="T4" fmla="*/ 7488 w 173"/>
                <a:gd name="T5" fmla="*/ 34396 h 357"/>
                <a:gd name="T6" fmla="*/ 11012 w 173"/>
                <a:gd name="T7" fmla="*/ 31750 h 357"/>
                <a:gd name="T8" fmla="*/ 14535 w 173"/>
                <a:gd name="T9" fmla="*/ 29633 h 357"/>
                <a:gd name="T10" fmla="*/ 17618 w 173"/>
                <a:gd name="T11" fmla="*/ 26458 h 357"/>
                <a:gd name="T12" fmla="*/ 29511 w 173"/>
                <a:gd name="T13" fmla="*/ 26458 h 357"/>
                <a:gd name="T14" fmla="*/ 41403 w 173"/>
                <a:gd name="T15" fmla="*/ 0 h 357"/>
                <a:gd name="T16" fmla="*/ 44487 w 173"/>
                <a:gd name="T17" fmla="*/ 1587 h 357"/>
                <a:gd name="T18" fmla="*/ 47570 w 173"/>
                <a:gd name="T19" fmla="*/ 3704 h 357"/>
                <a:gd name="T20" fmla="*/ 51094 w 173"/>
                <a:gd name="T21" fmla="*/ 6350 h 357"/>
                <a:gd name="T22" fmla="*/ 54177 w 173"/>
                <a:gd name="T23" fmla="*/ 9525 h 357"/>
                <a:gd name="T24" fmla="*/ 57701 w 173"/>
                <a:gd name="T25" fmla="*/ 11642 h 357"/>
                <a:gd name="T26" fmla="*/ 61224 w 173"/>
                <a:gd name="T27" fmla="*/ 14287 h 357"/>
                <a:gd name="T28" fmla="*/ 63867 w 173"/>
                <a:gd name="T29" fmla="*/ 15346 h 357"/>
                <a:gd name="T30" fmla="*/ 67391 w 173"/>
                <a:gd name="T31" fmla="*/ 15875 h 357"/>
                <a:gd name="T32" fmla="*/ 71795 w 173"/>
                <a:gd name="T33" fmla="*/ 20637 h 357"/>
                <a:gd name="T34" fmla="*/ 76200 w 173"/>
                <a:gd name="T35" fmla="*/ 26458 h 357"/>
                <a:gd name="T36" fmla="*/ 76200 w 173"/>
                <a:gd name="T37" fmla="*/ 32279 h 357"/>
                <a:gd name="T38" fmla="*/ 76200 w 173"/>
                <a:gd name="T39" fmla="*/ 36512 h 357"/>
                <a:gd name="T40" fmla="*/ 76200 w 173"/>
                <a:gd name="T41" fmla="*/ 42333 h 357"/>
                <a:gd name="T42" fmla="*/ 76200 w 173"/>
                <a:gd name="T43" fmla="*/ 51858 h 357"/>
                <a:gd name="T44" fmla="*/ 76200 w 173"/>
                <a:gd name="T45" fmla="*/ 57679 h 357"/>
                <a:gd name="T46" fmla="*/ 75319 w 173"/>
                <a:gd name="T47" fmla="*/ 62442 h 357"/>
                <a:gd name="T48" fmla="*/ 73557 w 173"/>
                <a:gd name="T49" fmla="*/ 67204 h 357"/>
                <a:gd name="T50" fmla="*/ 71795 w 173"/>
                <a:gd name="T51" fmla="*/ 71437 h 357"/>
                <a:gd name="T52" fmla="*/ 66950 w 173"/>
                <a:gd name="T53" fmla="*/ 79904 h 357"/>
                <a:gd name="T54" fmla="*/ 61665 w 173"/>
                <a:gd name="T55" fmla="*/ 88371 h 357"/>
                <a:gd name="T56" fmla="*/ 56379 w 173"/>
                <a:gd name="T57" fmla="*/ 96837 h 357"/>
                <a:gd name="T58" fmla="*/ 51534 w 173"/>
                <a:gd name="T59" fmla="*/ 105833 h 357"/>
                <a:gd name="T60" fmla="*/ 49332 w 173"/>
                <a:gd name="T61" fmla="*/ 110596 h 357"/>
                <a:gd name="T62" fmla="*/ 48010 w 173"/>
                <a:gd name="T63" fmla="*/ 115887 h 357"/>
                <a:gd name="T64" fmla="*/ 47570 w 173"/>
                <a:gd name="T65" fmla="*/ 121179 h 357"/>
                <a:gd name="T66" fmla="*/ 47129 w 173"/>
                <a:gd name="T67" fmla="*/ 127000 h 357"/>
                <a:gd name="T68" fmla="*/ 47570 w 173"/>
                <a:gd name="T69" fmla="*/ 144462 h 357"/>
                <a:gd name="T70" fmla="*/ 48010 w 173"/>
                <a:gd name="T71" fmla="*/ 155045 h 357"/>
                <a:gd name="T72" fmla="*/ 48451 w 173"/>
                <a:gd name="T73" fmla="*/ 159808 h 357"/>
                <a:gd name="T74" fmla="*/ 48010 w 173"/>
                <a:gd name="T75" fmla="*/ 165629 h 357"/>
                <a:gd name="T76" fmla="*/ 48010 w 173"/>
                <a:gd name="T77" fmla="*/ 173037 h 357"/>
                <a:gd name="T78" fmla="*/ 47129 w 173"/>
                <a:gd name="T79" fmla="*/ 182562 h 357"/>
                <a:gd name="T80" fmla="*/ 42725 w 173"/>
                <a:gd name="T81" fmla="*/ 183091 h 357"/>
                <a:gd name="T82" fmla="*/ 38761 w 173"/>
                <a:gd name="T83" fmla="*/ 183620 h 357"/>
                <a:gd name="T84" fmla="*/ 34797 w 173"/>
                <a:gd name="T85" fmla="*/ 184679 h 357"/>
                <a:gd name="T86" fmla="*/ 31273 w 173"/>
                <a:gd name="T87" fmla="*/ 185737 h 357"/>
                <a:gd name="T88" fmla="*/ 27749 w 173"/>
                <a:gd name="T89" fmla="*/ 186795 h 357"/>
                <a:gd name="T90" fmla="*/ 24225 w 173"/>
                <a:gd name="T91" fmla="*/ 187854 h 357"/>
                <a:gd name="T92" fmla="*/ 21142 w 173"/>
                <a:gd name="T93" fmla="*/ 188912 h 357"/>
                <a:gd name="T94" fmla="*/ 17618 w 173"/>
                <a:gd name="T95" fmla="*/ 188912 h 357"/>
                <a:gd name="T96" fmla="*/ 17618 w 173"/>
                <a:gd name="T97" fmla="*/ 114300 h 357"/>
                <a:gd name="T98" fmla="*/ 17618 w 173"/>
                <a:gd name="T99" fmla="*/ 109008 h 357"/>
                <a:gd name="T100" fmla="*/ 17178 w 173"/>
                <a:gd name="T101" fmla="*/ 104246 h 357"/>
                <a:gd name="T102" fmla="*/ 16297 w 173"/>
                <a:gd name="T103" fmla="*/ 99483 h 357"/>
                <a:gd name="T104" fmla="*/ 14976 w 173"/>
                <a:gd name="T105" fmla="*/ 94721 h 357"/>
                <a:gd name="T106" fmla="*/ 12333 w 173"/>
                <a:gd name="T107" fmla="*/ 85196 h 357"/>
                <a:gd name="T108" fmla="*/ 8809 w 173"/>
                <a:gd name="T109" fmla="*/ 75671 h 357"/>
                <a:gd name="T110" fmla="*/ 5726 w 173"/>
                <a:gd name="T111" fmla="*/ 66675 h 357"/>
                <a:gd name="T112" fmla="*/ 3083 w 173"/>
                <a:gd name="T113" fmla="*/ 58208 h 357"/>
                <a:gd name="T114" fmla="*/ 1762 w 173"/>
                <a:gd name="T115" fmla="*/ 53446 h 357"/>
                <a:gd name="T116" fmla="*/ 1321 w 173"/>
                <a:gd name="T117" fmla="*/ 49742 h 357"/>
                <a:gd name="T118" fmla="*/ 0 w 173"/>
                <a:gd name="T119" fmla="*/ 46037 h 357"/>
                <a:gd name="T120" fmla="*/ 0 w 173"/>
                <a:gd name="T121" fmla="*/ 42333 h 35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73" h="357">
                  <a:moveTo>
                    <a:pt x="0" y="80"/>
                  </a:moveTo>
                  <a:lnTo>
                    <a:pt x="9" y="72"/>
                  </a:lnTo>
                  <a:lnTo>
                    <a:pt x="17" y="65"/>
                  </a:lnTo>
                  <a:lnTo>
                    <a:pt x="25" y="60"/>
                  </a:lnTo>
                  <a:lnTo>
                    <a:pt x="33" y="56"/>
                  </a:lnTo>
                  <a:lnTo>
                    <a:pt x="40" y="50"/>
                  </a:lnTo>
                  <a:lnTo>
                    <a:pt x="67" y="50"/>
                  </a:lnTo>
                  <a:lnTo>
                    <a:pt x="94" y="0"/>
                  </a:lnTo>
                  <a:lnTo>
                    <a:pt x="101" y="3"/>
                  </a:lnTo>
                  <a:lnTo>
                    <a:pt x="108" y="7"/>
                  </a:lnTo>
                  <a:lnTo>
                    <a:pt x="116" y="12"/>
                  </a:lnTo>
                  <a:lnTo>
                    <a:pt x="123" y="18"/>
                  </a:lnTo>
                  <a:lnTo>
                    <a:pt x="131" y="22"/>
                  </a:lnTo>
                  <a:lnTo>
                    <a:pt x="139" y="27"/>
                  </a:lnTo>
                  <a:lnTo>
                    <a:pt x="145" y="29"/>
                  </a:lnTo>
                  <a:lnTo>
                    <a:pt x="153" y="30"/>
                  </a:lnTo>
                  <a:lnTo>
                    <a:pt x="163" y="39"/>
                  </a:lnTo>
                  <a:lnTo>
                    <a:pt x="173" y="50"/>
                  </a:lnTo>
                  <a:lnTo>
                    <a:pt x="173" y="61"/>
                  </a:lnTo>
                  <a:lnTo>
                    <a:pt x="173" y="69"/>
                  </a:lnTo>
                  <a:lnTo>
                    <a:pt x="173" y="80"/>
                  </a:lnTo>
                  <a:lnTo>
                    <a:pt x="173" y="98"/>
                  </a:lnTo>
                  <a:lnTo>
                    <a:pt x="173" y="109"/>
                  </a:lnTo>
                  <a:lnTo>
                    <a:pt x="171" y="118"/>
                  </a:lnTo>
                  <a:lnTo>
                    <a:pt x="167" y="127"/>
                  </a:lnTo>
                  <a:lnTo>
                    <a:pt x="163" y="135"/>
                  </a:lnTo>
                  <a:lnTo>
                    <a:pt x="152" y="151"/>
                  </a:lnTo>
                  <a:lnTo>
                    <a:pt x="140" y="167"/>
                  </a:lnTo>
                  <a:lnTo>
                    <a:pt x="128" y="183"/>
                  </a:lnTo>
                  <a:lnTo>
                    <a:pt x="117" y="200"/>
                  </a:lnTo>
                  <a:lnTo>
                    <a:pt x="112" y="209"/>
                  </a:lnTo>
                  <a:lnTo>
                    <a:pt x="109" y="219"/>
                  </a:lnTo>
                  <a:lnTo>
                    <a:pt x="108" y="229"/>
                  </a:lnTo>
                  <a:lnTo>
                    <a:pt x="107" y="240"/>
                  </a:lnTo>
                  <a:lnTo>
                    <a:pt x="108" y="273"/>
                  </a:lnTo>
                  <a:lnTo>
                    <a:pt x="109" y="293"/>
                  </a:lnTo>
                  <a:lnTo>
                    <a:pt x="110" y="302"/>
                  </a:lnTo>
                  <a:lnTo>
                    <a:pt x="109" y="313"/>
                  </a:lnTo>
                  <a:lnTo>
                    <a:pt x="109" y="327"/>
                  </a:lnTo>
                  <a:lnTo>
                    <a:pt x="107" y="345"/>
                  </a:lnTo>
                  <a:lnTo>
                    <a:pt x="97" y="346"/>
                  </a:lnTo>
                  <a:lnTo>
                    <a:pt x="88" y="347"/>
                  </a:lnTo>
                  <a:lnTo>
                    <a:pt x="79" y="349"/>
                  </a:lnTo>
                  <a:lnTo>
                    <a:pt x="71" y="351"/>
                  </a:lnTo>
                  <a:lnTo>
                    <a:pt x="63" y="353"/>
                  </a:lnTo>
                  <a:lnTo>
                    <a:pt x="55" y="355"/>
                  </a:lnTo>
                  <a:lnTo>
                    <a:pt x="48" y="357"/>
                  </a:lnTo>
                  <a:lnTo>
                    <a:pt x="40" y="357"/>
                  </a:lnTo>
                  <a:lnTo>
                    <a:pt x="40" y="216"/>
                  </a:lnTo>
                  <a:lnTo>
                    <a:pt x="40" y="206"/>
                  </a:lnTo>
                  <a:lnTo>
                    <a:pt x="39" y="197"/>
                  </a:lnTo>
                  <a:lnTo>
                    <a:pt x="37" y="188"/>
                  </a:lnTo>
                  <a:lnTo>
                    <a:pt x="34" y="179"/>
                  </a:lnTo>
                  <a:lnTo>
                    <a:pt x="28" y="161"/>
                  </a:lnTo>
                  <a:lnTo>
                    <a:pt x="20" y="143"/>
                  </a:lnTo>
                  <a:lnTo>
                    <a:pt x="13" y="126"/>
                  </a:lnTo>
                  <a:lnTo>
                    <a:pt x="7" y="110"/>
                  </a:lnTo>
                  <a:lnTo>
                    <a:pt x="4" y="101"/>
                  </a:lnTo>
                  <a:lnTo>
                    <a:pt x="3" y="94"/>
                  </a:lnTo>
                  <a:lnTo>
                    <a:pt x="0" y="87"/>
                  </a:lnTo>
                  <a:lnTo>
                    <a:pt x="0" y="8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1" name="Freeform 270">
              <a:extLst>
                <a:ext uri="{FF2B5EF4-FFF2-40B4-BE49-F238E27FC236}">
                  <a16:creationId xmlns:a16="http://schemas.microsoft.com/office/drawing/2014/main" id="{2F6E26AB-ADC5-48BA-A662-5720C8C0EED2}"/>
                </a:ext>
              </a:extLst>
            </p:cNvPr>
            <p:cNvSpPr>
              <a:spLocks/>
            </p:cNvSpPr>
            <p:nvPr>
              <p:custDataLst>
                <p:tags r:id="rId197"/>
              </p:custDataLst>
            </p:nvPr>
          </p:nvSpPr>
          <p:spPr bwMode="auto">
            <a:xfrm>
              <a:off x="4767257" y="4479890"/>
              <a:ext cx="25400" cy="60325"/>
            </a:xfrm>
            <a:custGeom>
              <a:avLst/>
              <a:gdLst>
                <a:gd name="T0" fmla="*/ 5080 w 50"/>
                <a:gd name="T1" fmla="*/ 0 h 74"/>
                <a:gd name="T2" fmla="*/ 3048 w 50"/>
                <a:gd name="T3" fmla="*/ 11413 h 74"/>
                <a:gd name="T4" fmla="*/ 1016 w 50"/>
                <a:gd name="T5" fmla="*/ 21195 h 74"/>
                <a:gd name="T6" fmla="*/ 0 w 50"/>
                <a:gd name="T7" fmla="*/ 29347 h 74"/>
                <a:gd name="T8" fmla="*/ 0 w 50"/>
                <a:gd name="T9" fmla="*/ 35054 h 74"/>
                <a:gd name="T10" fmla="*/ 0 w 50"/>
                <a:gd name="T11" fmla="*/ 40760 h 74"/>
                <a:gd name="T12" fmla="*/ 1016 w 50"/>
                <a:gd name="T13" fmla="*/ 45651 h 74"/>
                <a:gd name="T14" fmla="*/ 3048 w 50"/>
                <a:gd name="T15" fmla="*/ 49727 h 74"/>
                <a:gd name="T16" fmla="*/ 5080 w 50"/>
                <a:gd name="T17" fmla="*/ 55434 h 74"/>
                <a:gd name="T18" fmla="*/ 25400 w 50"/>
                <a:gd name="T19" fmla="*/ 60325 h 74"/>
                <a:gd name="T20" fmla="*/ 25400 w 50"/>
                <a:gd name="T21" fmla="*/ 41575 h 74"/>
                <a:gd name="T22" fmla="*/ 25400 w 50"/>
                <a:gd name="T23" fmla="*/ 27717 h 74"/>
                <a:gd name="T24" fmla="*/ 25400 w 50"/>
                <a:gd name="T25" fmla="*/ 15489 h 74"/>
                <a:gd name="T26" fmla="*/ 25400 w 50"/>
                <a:gd name="T27" fmla="*/ 0 h 74"/>
                <a:gd name="T28" fmla="*/ 19304 w 50"/>
                <a:gd name="T29" fmla="*/ 0 h 74"/>
                <a:gd name="T30" fmla="*/ 12700 w 50"/>
                <a:gd name="T31" fmla="*/ 0 h 74"/>
                <a:gd name="T32" fmla="*/ 7112 w 50"/>
                <a:gd name="T33" fmla="*/ 0 h 74"/>
                <a:gd name="T34" fmla="*/ 5080 w 50"/>
                <a:gd name="T35" fmla="*/ 0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50" h="74">
                  <a:moveTo>
                    <a:pt x="10" y="0"/>
                  </a:moveTo>
                  <a:lnTo>
                    <a:pt x="6" y="14"/>
                  </a:lnTo>
                  <a:lnTo>
                    <a:pt x="2" y="26"/>
                  </a:lnTo>
                  <a:lnTo>
                    <a:pt x="0" y="36"/>
                  </a:lnTo>
                  <a:lnTo>
                    <a:pt x="0" y="43"/>
                  </a:lnTo>
                  <a:lnTo>
                    <a:pt x="0" y="50"/>
                  </a:lnTo>
                  <a:lnTo>
                    <a:pt x="2" y="56"/>
                  </a:lnTo>
                  <a:lnTo>
                    <a:pt x="6" y="61"/>
                  </a:lnTo>
                  <a:lnTo>
                    <a:pt x="10" y="68"/>
                  </a:lnTo>
                  <a:lnTo>
                    <a:pt x="50" y="74"/>
                  </a:lnTo>
                  <a:lnTo>
                    <a:pt x="50" y="51"/>
                  </a:lnTo>
                  <a:lnTo>
                    <a:pt x="50" y="34"/>
                  </a:lnTo>
                  <a:lnTo>
                    <a:pt x="50" y="19"/>
                  </a:lnTo>
                  <a:lnTo>
                    <a:pt x="50" y="0"/>
                  </a:lnTo>
                  <a:lnTo>
                    <a:pt x="38" y="0"/>
                  </a:lnTo>
                  <a:lnTo>
                    <a:pt x="25" y="0"/>
                  </a:lnTo>
                  <a:lnTo>
                    <a:pt x="14" y="0"/>
                  </a:lnTo>
                  <a:lnTo>
                    <a:pt x="1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2" name="Freeform 271">
              <a:extLst>
                <a:ext uri="{FF2B5EF4-FFF2-40B4-BE49-F238E27FC236}">
                  <a16:creationId xmlns:a16="http://schemas.microsoft.com/office/drawing/2014/main" id="{54165D87-CA84-48D4-B9E0-1B8D7289108A}"/>
                </a:ext>
              </a:extLst>
            </p:cNvPr>
            <p:cNvSpPr>
              <a:spLocks/>
            </p:cNvSpPr>
            <p:nvPr>
              <p:custDataLst>
                <p:tags r:id="rId198"/>
              </p:custDataLst>
            </p:nvPr>
          </p:nvSpPr>
          <p:spPr bwMode="auto">
            <a:xfrm>
              <a:off x="4662482" y="4576726"/>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3" name="Freeform 272">
              <a:extLst>
                <a:ext uri="{FF2B5EF4-FFF2-40B4-BE49-F238E27FC236}">
                  <a16:creationId xmlns:a16="http://schemas.microsoft.com/office/drawing/2014/main" id="{F7963B7F-856A-4167-BB2E-25DBBD000CC9}"/>
                </a:ext>
              </a:extLst>
            </p:cNvPr>
            <p:cNvSpPr>
              <a:spLocks/>
            </p:cNvSpPr>
            <p:nvPr>
              <p:custDataLst>
                <p:tags r:id="rId199"/>
              </p:custDataLst>
            </p:nvPr>
          </p:nvSpPr>
          <p:spPr bwMode="auto">
            <a:xfrm>
              <a:off x="6880217" y="2290745"/>
              <a:ext cx="120650" cy="171449"/>
            </a:xfrm>
            <a:custGeom>
              <a:avLst/>
              <a:gdLst>
                <a:gd name="T0" fmla="*/ 108857 w 266"/>
                <a:gd name="T1" fmla="*/ 4733 h 326"/>
                <a:gd name="T2" fmla="*/ 108857 w 266"/>
                <a:gd name="T3" fmla="*/ 14726 h 326"/>
                <a:gd name="T4" fmla="*/ 112939 w 266"/>
                <a:gd name="T5" fmla="*/ 22089 h 326"/>
                <a:gd name="T6" fmla="*/ 111125 w 266"/>
                <a:gd name="T7" fmla="*/ 28926 h 326"/>
                <a:gd name="T8" fmla="*/ 102054 w 266"/>
                <a:gd name="T9" fmla="*/ 26296 h 326"/>
                <a:gd name="T10" fmla="*/ 95250 w 266"/>
                <a:gd name="T11" fmla="*/ 26822 h 326"/>
                <a:gd name="T12" fmla="*/ 88446 w 266"/>
                <a:gd name="T13" fmla="*/ 34185 h 326"/>
                <a:gd name="T14" fmla="*/ 87539 w 266"/>
                <a:gd name="T15" fmla="*/ 41022 h 326"/>
                <a:gd name="T16" fmla="*/ 89807 w 266"/>
                <a:gd name="T17" fmla="*/ 46807 h 326"/>
                <a:gd name="T18" fmla="*/ 97518 w 266"/>
                <a:gd name="T19" fmla="*/ 57851 h 326"/>
                <a:gd name="T20" fmla="*/ 101600 w 266"/>
                <a:gd name="T21" fmla="*/ 64162 h 326"/>
                <a:gd name="T22" fmla="*/ 102054 w 266"/>
                <a:gd name="T23" fmla="*/ 69947 h 326"/>
                <a:gd name="T24" fmla="*/ 100693 w 266"/>
                <a:gd name="T25" fmla="*/ 75207 h 326"/>
                <a:gd name="T26" fmla="*/ 93889 w 266"/>
                <a:gd name="T27" fmla="*/ 80992 h 326"/>
                <a:gd name="T28" fmla="*/ 90714 w 266"/>
                <a:gd name="T29" fmla="*/ 84147 h 326"/>
                <a:gd name="T30" fmla="*/ 82096 w 266"/>
                <a:gd name="T31" fmla="*/ 87303 h 326"/>
                <a:gd name="T32" fmla="*/ 74386 w 266"/>
                <a:gd name="T33" fmla="*/ 93614 h 326"/>
                <a:gd name="T34" fmla="*/ 72571 w 266"/>
                <a:gd name="T35" fmla="*/ 100451 h 326"/>
                <a:gd name="T36" fmla="*/ 78468 w 266"/>
                <a:gd name="T37" fmla="*/ 108865 h 326"/>
                <a:gd name="T38" fmla="*/ 85725 w 266"/>
                <a:gd name="T39" fmla="*/ 113073 h 326"/>
                <a:gd name="T40" fmla="*/ 97064 w 266"/>
                <a:gd name="T41" fmla="*/ 119384 h 326"/>
                <a:gd name="T42" fmla="*/ 111125 w 266"/>
                <a:gd name="T43" fmla="*/ 136213 h 326"/>
                <a:gd name="T44" fmla="*/ 113846 w 266"/>
                <a:gd name="T45" fmla="*/ 149887 h 326"/>
                <a:gd name="T46" fmla="*/ 99786 w 266"/>
                <a:gd name="T47" fmla="*/ 153043 h 326"/>
                <a:gd name="T48" fmla="*/ 93889 w 266"/>
                <a:gd name="T49" fmla="*/ 156724 h 326"/>
                <a:gd name="T50" fmla="*/ 89807 w 266"/>
                <a:gd name="T51" fmla="*/ 164087 h 326"/>
                <a:gd name="T52" fmla="*/ 85725 w 266"/>
                <a:gd name="T53" fmla="*/ 171450 h 326"/>
                <a:gd name="T54" fmla="*/ 77107 w 266"/>
                <a:gd name="T55" fmla="*/ 168820 h 326"/>
                <a:gd name="T56" fmla="*/ 75746 w 266"/>
                <a:gd name="T57" fmla="*/ 166191 h 326"/>
                <a:gd name="T58" fmla="*/ 69850 w 266"/>
                <a:gd name="T59" fmla="*/ 163035 h 326"/>
                <a:gd name="T60" fmla="*/ 63046 w 266"/>
                <a:gd name="T61" fmla="*/ 158302 h 326"/>
                <a:gd name="T62" fmla="*/ 57150 w 266"/>
                <a:gd name="T63" fmla="*/ 155146 h 326"/>
                <a:gd name="T64" fmla="*/ 44450 w 266"/>
                <a:gd name="T65" fmla="*/ 152517 h 326"/>
                <a:gd name="T66" fmla="*/ 28575 w 266"/>
                <a:gd name="T67" fmla="*/ 145680 h 326"/>
                <a:gd name="T68" fmla="*/ 24493 w 266"/>
                <a:gd name="T69" fmla="*/ 140947 h 326"/>
                <a:gd name="T70" fmla="*/ 24946 w 266"/>
                <a:gd name="T71" fmla="*/ 134636 h 326"/>
                <a:gd name="T72" fmla="*/ 31750 w 266"/>
                <a:gd name="T73" fmla="*/ 128325 h 326"/>
                <a:gd name="T74" fmla="*/ 26761 w 266"/>
                <a:gd name="T75" fmla="*/ 116228 h 326"/>
                <a:gd name="T76" fmla="*/ 15421 w 266"/>
                <a:gd name="T77" fmla="*/ 102029 h 326"/>
                <a:gd name="T78" fmla="*/ 5896 w 266"/>
                <a:gd name="T79" fmla="*/ 95717 h 326"/>
                <a:gd name="T80" fmla="*/ 1814 w 266"/>
                <a:gd name="T81" fmla="*/ 89932 h 326"/>
                <a:gd name="T82" fmla="*/ 8618 w 266"/>
                <a:gd name="T83" fmla="*/ 79940 h 326"/>
                <a:gd name="T84" fmla="*/ 24493 w 266"/>
                <a:gd name="T85" fmla="*/ 65214 h 326"/>
                <a:gd name="T86" fmla="*/ 33111 w 266"/>
                <a:gd name="T87" fmla="*/ 55222 h 326"/>
                <a:gd name="T88" fmla="*/ 39914 w 266"/>
                <a:gd name="T89" fmla="*/ 48385 h 326"/>
                <a:gd name="T90" fmla="*/ 49893 w 266"/>
                <a:gd name="T91" fmla="*/ 46281 h 326"/>
                <a:gd name="T92" fmla="*/ 65314 w 266"/>
                <a:gd name="T93" fmla="*/ 36814 h 326"/>
                <a:gd name="T94" fmla="*/ 76200 w 266"/>
                <a:gd name="T95" fmla="*/ 24192 h 326"/>
                <a:gd name="T96" fmla="*/ 86632 w 266"/>
                <a:gd name="T97" fmla="*/ 11044 h 326"/>
                <a:gd name="T98" fmla="*/ 99786 w 266"/>
                <a:gd name="T99" fmla="*/ 2104 h 326"/>
                <a:gd name="T100" fmla="*/ 107950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4" name="Freeform 273">
              <a:extLst>
                <a:ext uri="{FF2B5EF4-FFF2-40B4-BE49-F238E27FC236}">
                  <a16:creationId xmlns:a16="http://schemas.microsoft.com/office/drawing/2014/main" id="{6604B168-0749-4183-809F-6935D6156DC5}"/>
                </a:ext>
              </a:extLst>
            </p:cNvPr>
            <p:cNvSpPr>
              <a:spLocks/>
            </p:cNvSpPr>
            <p:nvPr>
              <p:custDataLst>
                <p:tags r:id="rId200"/>
              </p:custDataLst>
            </p:nvPr>
          </p:nvSpPr>
          <p:spPr bwMode="auto">
            <a:xfrm>
              <a:off x="5951531" y="2705079"/>
              <a:ext cx="206374" cy="123824"/>
            </a:xfrm>
            <a:custGeom>
              <a:avLst/>
              <a:gdLst>
                <a:gd name="T0" fmla="*/ 37682 w 471"/>
                <a:gd name="T1" fmla="*/ 0 h 237"/>
                <a:gd name="T2" fmla="*/ 40311 w 471"/>
                <a:gd name="T3" fmla="*/ 3657 h 237"/>
                <a:gd name="T4" fmla="*/ 44693 w 471"/>
                <a:gd name="T5" fmla="*/ 6792 h 237"/>
                <a:gd name="T6" fmla="*/ 54770 w 471"/>
                <a:gd name="T7" fmla="*/ 12017 h 237"/>
                <a:gd name="T8" fmla="*/ 69668 w 471"/>
                <a:gd name="T9" fmla="*/ 19331 h 237"/>
                <a:gd name="T10" fmla="*/ 97710 w 471"/>
                <a:gd name="T11" fmla="*/ 40230 h 237"/>
                <a:gd name="T12" fmla="*/ 110855 w 471"/>
                <a:gd name="T13" fmla="*/ 50679 h 237"/>
                <a:gd name="T14" fmla="*/ 124000 w 471"/>
                <a:gd name="T15" fmla="*/ 59039 h 237"/>
                <a:gd name="T16" fmla="*/ 138460 w 471"/>
                <a:gd name="T17" fmla="*/ 66353 h 237"/>
                <a:gd name="T18" fmla="*/ 155548 w 471"/>
                <a:gd name="T19" fmla="*/ 72623 h 237"/>
                <a:gd name="T20" fmla="*/ 174827 w 471"/>
                <a:gd name="T21" fmla="*/ 76280 h 237"/>
                <a:gd name="T22" fmla="*/ 197612 w 471"/>
                <a:gd name="T23" fmla="*/ 77325 h 237"/>
                <a:gd name="T24" fmla="*/ 198050 w 471"/>
                <a:gd name="T25" fmla="*/ 97702 h 237"/>
                <a:gd name="T26" fmla="*/ 201117 w 471"/>
                <a:gd name="T27" fmla="*/ 110241 h 237"/>
                <a:gd name="T28" fmla="*/ 204622 w 471"/>
                <a:gd name="T29" fmla="*/ 118600 h 237"/>
                <a:gd name="T30" fmla="*/ 204622 w 471"/>
                <a:gd name="T31" fmla="*/ 123303 h 237"/>
                <a:gd name="T32" fmla="*/ 197612 w 471"/>
                <a:gd name="T33" fmla="*/ 123303 h 237"/>
                <a:gd name="T34" fmla="*/ 182276 w 471"/>
                <a:gd name="T35" fmla="*/ 120690 h 237"/>
                <a:gd name="T36" fmla="*/ 158615 w 471"/>
                <a:gd name="T37" fmla="*/ 114421 h 237"/>
                <a:gd name="T38" fmla="*/ 138021 w 471"/>
                <a:gd name="T39" fmla="*/ 108151 h 237"/>
                <a:gd name="T40" fmla="*/ 128820 w 471"/>
                <a:gd name="T41" fmla="*/ 106061 h 237"/>
                <a:gd name="T42" fmla="*/ 125753 w 471"/>
                <a:gd name="T43" fmla="*/ 103971 h 237"/>
                <a:gd name="T44" fmla="*/ 121371 w 471"/>
                <a:gd name="T45" fmla="*/ 99269 h 237"/>
                <a:gd name="T46" fmla="*/ 116990 w 471"/>
                <a:gd name="T47" fmla="*/ 92999 h 237"/>
                <a:gd name="T48" fmla="*/ 111732 w 471"/>
                <a:gd name="T49" fmla="*/ 86730 h 237"/>
                <a:gd name="T50" fmla="*/ 105159 w 471"/>
                <a:gd name="T51" fmla="*/ 83072 h 237"/>
                <a:gd name="T52" fmla="*/ 99463 w 471"/>
                <a:gd name="T53" fmla="*/ 83072 h 237"/>
                <a:gd name="T54" fmla="*/ 89824 w 471"/>
                <a:gd name="T55" fmla="*/ 85162 h 237"/>
                <a:gd name="T56" fmla="*/ 80184 w 471"/>
                <a:gd name="T57" fmla="*/ 87252 h 237"/>
                <a:gd name="T58" fmla="*/ 74050 w 471"/>
                <a:gd name="T59" fmla="*/ 87775 h 237"/>
                <a:gd name="T60" fmla="*/ 69230 w 471"/>
                <a:gd name="T61" fmla="*/ 85685 h 237"/>
                <a:gd name="T62" fmla="*/ 64848 w 471"/>
                <a:gd name="T63" fmla="*/ 80983 h 237"/>
                <a:gd name="T64" fmla="*/ 60905 w 471"/>
                <a:gd name="T65" fmla="*/ 77325 h 237"/>
                <a:gd name="T66" fmla="*/ 53456 w 471"/>
                <a:gd name="T67" fmla="*/ 75758 h 237"/>
                <a:gd name="T68" fmla="*/ 40311 w 471"/>
                <a:gd name="T69" fmla="*/ 70533 h 237"/>
                <a:gd name="T70" fmla="*/ 21032 w 471"/>
                <a:gd name="T71" fmla="*/ 61129 h 237"/>
                <a:gd name="T72" fmla="*/ 5258 w 471"/>
                <a:gd name="T73" fmla="*/ 50157 h 237"/>
                <a:gd name="T74" fmla="*/ 306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5" name="Freeform 274">
              <a:extLst>
                <a:ext uri="{FF2B5EF4-FFF2-40B4-BE49-F238E27FC236}">
                  <a16:creationId xmlns:a16="http://schemas.microsoft.com/office/drawing/2014/main" id="{24BB3CE8-2BEB-4179-898A-83680B036984}"/>
                </a:ext>
              </a:extLst>
            </p:cNvPr>
            <p:cNvSpPr>
              <a:spLocks/>
            </p:cNvSpPr>
            <p:nvPr>
              <p:custDataLst>
                <p:tags r:id="rId201"/>
              </p:custDataLst>
            </p:nvPr>
          </p:nvSpPr>
          <p:spPr bwMode="auto">
            <a:xfrm>
              <a:off x="6167430" y="2760641"/>
              <a:ext cx="73025" cy="65087"/>
            </a:xfrm>
            <a:custGeom>
              <a:avLst/>
              <a:gdLst>
                <a:gd name="T0" fmla="*/ 73025 w 167"/>
                <a:gd name="T1" fmla="*/ 22754 h 123"/>
                <a:gd name="T2" fmla="*/ 71713 w 167"/>
                <a:gd name="T3" fmla="*/ 28575 h 123"/>
                <a:gd name="T4" fmla="*/ 70401 w 167"/>
                <a:gd name="T5" fmla="*/ 34925 h 123"/>
                <a:gd name="T6" fmla="*/ 67778 w 167"/>
                <a:gd name="T7" fmla="*/ 41804 h 123"/>
                <a:gd name="T8" fmla="*/ 65591 w 167"/>
                <a:gd name="T9" fmla="*/ 49212 h 123"/>
                <a:gd name="T10" fmla="*/ 63842 w 167"/>
                <a:gd name="T11" fmla="*/ 52387 h 123"/>
                <a:gd name="T12" fmla="*/ 62093 w 167"/>
                <a:gd name="T13" fmla="*/ 55562 h 123"/>
                <a:gd name="T14" fmla="*/ 60344 w 167"/>
                <a:gd name="T15" fmla="*/ 58208 h 123"/>
                <a:gd name="T16" fmla="*/ 57720 w 167"/>
                <a:gd name="T17" fmla="*/ 60325 h 123"/>
                <a:gd name="T18" fmla="*/ 55534 w 167"/>
                <a:gd name="T19" fmla="*/ 62441 h 123"/>
                <a:gd name="T20" fmla="*/ 52910 w 167"/>
                <a:gd name="T21" fmla="*/ 64029 h 123"/>
                <a:gd name="T22" fmla="*/ 50287 w 167"/>
                <a:gd name="T23" fmla="*/ 64558 h 123"/>
                <a:gd name="T24" fmla="*/ 46788 w 167"/>
                <a:gd name="T25" fmla="*/ 65087 h 123"/>
                <a:gd name="T26" fmla="*/ 43728 w 167"/>
                <a:gd name="T27" fmla="*/ 64558 h 123"/>
                <a:gd name="T28" fmla="*/ 40229 w 167"/>
                <a:gd name="T29" fmla="*/ 62970 h 123"/>
                <a:gd name="T30" fmla="*/ 38043 w 167"/>
                <a:gd name="T31" fmla="*/ 61383 h 123"/>
                <a:gd name="T32" fmla="*/ 36731 w 167"/>
                <a:gd name="T33" fmla="*/ 59795 h 123"/>
                <a:gd name="T34" fmla="*/ 35857 w 167"/>
                <a:gd name="T35" fmla="*/ 57679 h 123"/>
                <a:gd name="T36" fmla="*/ 35419 w 167"/>
                <a:gd name="T37" fmla="*/ 55562 h 123"/>
                <a:gd name="T38" fmla="*/ 31047 w 167"/>
                <a:gd name="T39" fmla="*/ 55033 h 123"/>
                <a:gd name="T40" fmla="*/ 26674 w 167"/>
                <a:gd name="T41" fmla="*/ 54504 h 123"/>
                <a:gd name="T42" fmla="*/ 22301 w 167"/>
                <a:gd name="T43" fmla="*/ 53445 h 123"/>
                <a:gd name="T44" fmla="*/ 17928 w 167"/>
                <a:gd name="T45" fmla="*/ 51858 h 123"/>
                <a:gd name="T46" fmla="*/ 9183 w 167"/>
                <a:gd name="T47" fmla="*/ 48683 h 123"/>
                <a:gd name="T48" fmla="*/ 0 w 167"/>
                <a:gd name="T49" fmla="*/ 45508 h 123"/>
                <a:gd name="T50" fmla="*/ 875 w 167"/>
                <a:gd name="T51" fmla="*/ 40746 h 123"/>
                <a:gd name="T52" fmla="*/ 2186 w 167"/>
                <a:gd name="T53" fmla="*/ 35454 h 123"/>
                <a:gd name="T54" fmla="*/ 3935 w 167"/>
                <a:gd name="T55" fmla="*/ 29633 h 123"/>
                <a:gd name="T56" fmla="*/ 6559 w 167"/>
                <a:gd name="T57" fmla="*/ 22754 h 123"/>
                <a:gd name="T58" fmla="*/ 8746 w 167"/>
                <a:gd name="T59" fmla="*/ 22754 h 123"/>
                <a:gd name="T60" fmla="*/ 11369 w 167"/>
                <a:gd name="T61" fmla="*/ 22225 h 123"/>
                <a:gd name="T62" fmla="*/ 13118 w 167"/>
                <a:gd name="T63" fmla="*/ 21696 h 123"/>
                <a:gd name="T64" fmla="*/ 14430 w 167"/>
                <a:gd name="T65" fmla="*/ 20108 h 123"/>
                <a:gd name="T66" fmla="*/ 17491 w 167"/>
                <a:gd name="T67" fmla="*/ 17462 h 123"/>
                <a:gd name="T68" fmla="*/ 19677 w 167"/>
                <a:gd name="T69" fmla="*/ 13758 h 123"/>
                <a:gd name="T70" fmla="*/ 22738 w 167"/>
                <a:gd name="T71" fmla="*/ 6350 h 123"/>
                <a:gd name="T72" fmla="*/ 26674 w 167"/>
                <a:gd name="T73" fmla="*/ 0 h 123"/>
                <a:gd name="T74" fmla="*/ 27986 w 167"/>
                <a:gd name="T75" fmla="*/ 2117 h 123"/>
                <a:gd name="T76" fmla="*/ 29297 w 167"/>
                <a:gd name="T77" fmla="*/ 3704 h 123"/>
                <a:gd name="T78" fmla="*/ 31921 w 167"/>
                <a:gd name="T79" fmla="*/ 5821 h 123"/>
                <a:gd name="T80" fmla="*/ 34107 w 167"/>
                <a:gd name="T81" fmla="*/ 7408 h 123"/>
                <a:gd name="T82" fmla="*/ 40229 w 167"/>
                <a:gd name="T83" fmla="*/ 11112 h 123"/>
                <a:gd name="T84" fmla="*/ 46788 w 167"/>
                <a:gd name="T85" fmla="*/ 14817 h 123"/>
                <a:gd name="T86" fmla="*/ 53348 w 167"/>
                <a:gd name="T87" fmla="*/ 18521 h 123"/>
                <a:gd name="T88" fmla="*/ 60781 w 167"/>
                <a:gd name="T89" fmla="*/ 20637 h 123"/>
                <a:gd name="T90" fmla="*/ 66903 w 167"/>
                <a:gd name="T91" fmla="*/ 22225 h 123"/>
                <a:gd name="T92" fmla="*/ 73025 w 167"/>
                <a:gd name="T93" fmla="*/ 22754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6" name="Freeform 275">
              <a:extLst>
                <a:ext uri="{FF2B5EF4-FFF2-40B4-BE49-F238E27FC236}">
                  <a16:creationId xmlns:a16="http://schemas.microsoft.com/office/drawing/2014/main" id="{AED53C84-7F9E-4D47-9DAB-4633280972DA}"/>
                </a:ext>
              </a:extLst>
            </p:cNvPr>
            <p:cNvSpPr>
              <a:spLocks/>
            </p:cNvSpPr>
            <p:nvPr>
              <p:custDataLst>
                <p:tags r:id="rId202"/>
              </p:custDataLst>
            </p:nvPr>
          </p:nvSpPr>
          <p:spPr bwMode="auto">
            <a:xfrm>
              <a:off x="6157906" y="2832077"/>
              <a:ext cx="133350" cy="166687"/>
            </a:xfrm>
            <a:custGeom>
              <a:avLst/>
              <a:gdLst>
                <a:gd name="T0" fmla="*/ 112868 w 306"/>
                <a:gd name="T1" fmla="*/ 83084 h 321"/>
                <a:gd name="T2" fmla="*/ 109818 w 306"/>
                <a:gd name="T3" fmla="*/ 89835 h 321"/>
                <a:gd name="T4" fmla="*/ 105896 w 306"/>
                <a:gd name="T5" fmla="*/ 94508 h 321"/>
                <a:gd name="T6" fmla="*/ 101538 w 306"/>
                <a:gd name="T7" fmla="*/ 96586 h 321"/>
                <a:gd name="T8" fmla="*/ 97180 w 306"/>
                <a:gd name="T9" fmla="*/ 95547 h 321"/>
                <a:gd name="T10" fmla="*/ 93258 w 306"/>
                <a:gd name="T11" fmla="*/ 92431 h 321"/>
                <a:gd name="T12" fmla="*/ 91079 w 306"/>
                <a:gd name="T13" fmla="*/ 87758 h 321"/>
                <a:gd name="T14" fmla="*/ 89772 w 306"/>
                <a:gd name="T15" fmla="*/ 83084 h 321"/>
                <a:gd name="T16" fmla="*/ 91079 w 306"/>
                <a:gd name="T17" fmla="*/ 76853 h 321"/>
                <a:gd name="T18" fmla="*/ 92822 w 306"/>
                <a:gd name="T19" fmla="*/ 70622 h 321"/>
                <a:gd name="T20" fmla="*/ 100230 w 306"/>
                <a:gd name="T21" fmla="*/ 59198 h 321"/>
                <a:gd name="T22" fmla="*/ 107203 w 306"/>
                <a:gd name="T23" fmla="*/ 48293 h 321"/>
                <a:gd name="T24" fmla="*/ 108946 w 306"/>
                <a:gd name="T25" fmla="*/ 42581 h 321"/>
                <a:gd name="T26" fmla="*/ 110253 w 306"/>
                <a:gd name="T27" fmla="*/ 35830 h 321"/>
                <a:gd name="T28" fmla="*/ 56216 w 306"/>
                <a:gd name="T29" fmla="*/ 35311 h 321"/>
                <a:gd name="T30" fmla="*/ 51858 w 306"/>
                <a:gd name="T31" fmla="*/ 30637 h 321"/>
                <a:gd name="T32" fmla="*/ 48808 w 306"/>
                <a:gd name="T33" fmla="*/ 23367 h 321"/>
                <a:gd name="T34" fmla="*/ 47065 w 306"/>
                <a:gd name="T35" fmla="*/ 14540 h 321"/>
                <a:gd name="T36" fmla="*/ 44014 w 306"/>
                <a:gd name="T37" fmla="*/ 9866 h 321"/>
                <a:gd name="T38" fmla="*/ 39221 w 306"/>
                <a:gd name="T39" fmla="*/ 8828 h 321"/>
                <a:gd name="T40" fmla="*/ 34863 w 306"/>
                <a:gd name="T41" fmla="*/ 6231 h 321"/>
                <a:gd name="T42" fmla="*/ 32684 w 306"/>
                <a:gd name="T43" fmla="*/ 2077 h 321"/>
                <a:gd name="T44" fmla="*/ 28326 w 306"/>
                <a:gd name="T45" fmla="*/ 0 h 321"/>
                <a:gd name="T46" fmla="*/ 21353 w 306"/>
                <a:gd name="T47" fmla="*/ 0 h 321"/>
                <a:gd name="T48" fmla="*/ 14817 w 306"/>
                <a:gd name="T49" fmla="*/ 519 h 321"/>
                <a:gd name="T50" fmla="*/ 9587 w 306"/>
                <a:gd name="T51" fmla="*/ 2596 h 321"/>
                <a:gd name="T52" fmla="*/ 4358 w 306"/>
                <a:gd name="T53" fmla="*/ 7270 h 321"/>
                <a:gd name="T54" fmla="*/ 436 w 306"/>
                <a:gd name="T55" fmla="*/ 12982 h 321"/>
                <a:gd name="T56" fmla="*/ 872 w 306"/>
                <a:gd name="T57" fmla="*/ 18175 h 321"/>
                <a:gd name="T58" fmla="*/ 6537 w 306"/>
                <a:gd name="T59" fmla="*/ 23887 h 321"/>
                <a:gd name="T60" fmla="*/ 15252 w 306"/>
                <a:gd name="T61" fmla="*/ 30118 h 321"/>
                <a:gd name="T62" fmla="*/ 23532 w 306"/>
                <a:gd name="T63" fmla="*/ 34792 h 321"/>
                <a:gd name="T64" fmla="*/ 20482 w 306"/>
                <a:gd name="T65" fmla="*/ 41023 h 321"/>
                <a:gd name="T66" fmla="*/ 10895 w 306"/>
                <a:gd name="T67" fmla="*/ 50370 h 321"/>
                <a:gd name="T68" fmla="*/ 7408 w 306"/>
                <a:gd name="T69" fmla="*/ 55563 h 321"/>
                <a:gd name="T70" fmla="*/ 6101 w 306"/>
                <a:gd name="T71" fmla="*/ 59198 h 321"/>
                <a:gd name="T72" fmla="*/ 6101 w 306"/>
                <a:gd name="T73" fmla="*/ 63352 h 321"/>
                <a:gd name="T74" fmla="*/ 7844 w 306"/>
                <a:gd name="T75" fmla="*/ 66987 h 321"/>
                <a:gd name="T76" fmla="*/ 12202 w 306"/>
                <a:gd name="T77" fmla="*/ 73218 h 321"/>
                <a:gd name="T78" fmla="*/ 20482 w 306"/>
                <a:gd name="T79" fmla="*/ 81007 h 321"/>
                <a:gd name="T80" fmla="*/ 27890 w 306"/>
                <a:gd name="T81" fmla="*/ 85161 h 321"/>
                <a:gd name="T82" fmla="*/ 32684 w 306"/>
                <a:gd name="T83" fmla="*/ 86200 h 321"/>
                <a:gd name="T84" fmla="*/ 46629 w 306"/>
                <a:gd name="T85" fmla="*/ 140724 h 321"/>
                <a:gd name="T86" fmla="*/ 47065 w 306"/>
                <a:gd name="T87" fmla="*/ 136570 h 321"/>
                <a:gd name="T88" fmla="*/ 48808 w 306"/>
                <a:gd name="T89" fmla="*/ 132935 h 321"/>
                <a:gd name="T90" fmla="*/ 55345 w 306"/>
                <a:gd name="T91" fmla="*/ 127742 h 321"/>
                <a:gd name="T92" fmla="*/ 64496 w 306"/>
                <a:gd name="T93" fmla="*/ 124627 h 321"/>
                <a:gd name="T94" fmla="*/ 75826 w 306"/>
                <a:gd name="T95" fmla="*/ 122030 h 321"/>
                <a:gd name="T96" fmla="*/ 75826 w 306"/>
                <a:gd name="T97" fmla="*/ 109048 h 321"/>
                <a:gd name="T98" fmla="*/ 79749 w 306"/>
                <a:gd name="T99" fmla="*/ 110087 h 321"/>
                <a:gd name="T100" fmla="*/ 84106 w 306"/>
                <a:gd name="T101" fmla="*/ 110087 h 321"/>
                <a:gd name="T102" fmla="*/ 92822 w 306"/>
                <a:gd name="T103" fmla="*/ 109048 h 321"/>
                <a:gd name="T104" fmla="*/ 101102 w 306"/>
                <a:gd name="T105" fmla="*/ 135531 h 321"/>
                <a:gd name="T106" fmla="*/ 112868 w 306"/>
                <a:gd name="T107" fmla="*/ 166688 h 321"/>
                <a:gd name="T108" fmla="*/ 118533 w 306"/>
                <a:gd name="T109" fmla="*/ 161495 h 321"/>
                <a:gd name="T110" fmla="*/ 122891 w 306"/>
                <a:gd name="T111" fmla="*/ 156822 h 321"/>
                <a:gd name="T112" fmla="*/ 128556 w 306"/>
                <a:gd name="T113" fmla="*/ 145398 h 321"/>
                <a:gd name="T114" fmla="*/ 133350 w 306"/>
                <a:gd name="T115" fmla="*/ 122030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7" name="Freeform 276">
              <a:extLst>
                <a:ext uri="{FF2B5EF4-FFF2-40B4-BE49-F238E27FC236}">
                  <a16:creationId xmlns:a16="http://schemas.microsoft.com/office/drawing/2014/main" id="{B40E5D41-08D0-486E-8075-AC7461E05A8E}"/>
                </a:ext>
              </a:extLst>
            </p:cNvPr>
            <p:cNvSpPr>
              <a:spLocks/>
            </p:cNvSpPr>
            <p:nvPr>
              <p:custDataLst>
                <p:tags r:id="rId203"/>
              </p:custDataLst>
            </p:nvPr>
          </p:nvSpPr>
          <p:spPr bwMode="auto">
            <a:xfrm>
              <a:off x="6475405" y="2947965"/>
              <a:ext cx="201612" cy="269873"/>
            </a:xfrm>
            <a:custGeom>
              <a:avLst/>
              <a:gdLst>
                <a:gd name="T0" fmla="*/ 40237 w 471"/>
                <a:gd name="T1" fmla="*/ 6252 h 518"/>
                <a:gd name="T2" fmla="*/ 28679 w 471"/>
                <a:gd name="T3" fmla="*/ 16672 h 518"/>
                <a:gd name="T4" fmla="*/ 17122 w 471"/>
                <a:gd name="T5" fmla="*/ 25529 h 518"/>
                <a:gd name="T6" fmla="*/ 11557 w 471"/>
                <a:gd name="T7" fmla="*/ 42722 h 518"/>
                <a:gd name="T8" fmla="*/ 3424 w 471"/>
                <a:gd name="T9" fmla="*/ 61477 h 518"/>
                <a:gd name="T10" fmla="*/ 2996 w 471"/>
                <a:gd name="T11" fmla="*/ 70855 h 518"/>
                <a:gd name="T12" fmla="*/ 12842 w 471"/>
                <a:gd name="T13" fmla="*/ 79712 h 518"/>
                <a:gd name="T14" fmla="*/ 21403 w 471"/>
                <a:gd name="T15" fmla="*/ 87527 h 518"/>
                <a:gd name="T16" fmla="*/ 26539 w 471"/>
                <a:gd name="T17" fmla="*/ 89611 h 518"/>
                <a:gd name="T18" fmla="*/ 32104 w 471"/>
                <a:gd name="T19" fmla="*/ 109930 h 518"/>
                <a:gd name="T20" fmla="*/ 35956 w 471"/>
                <a:gd name="T21" fmla="*/ 141710 h 518"/>
                <a:gd name="T22" fmla="*/ 40237 w 471"/>
                <a:gd name="T23" fmla="*/ 155777 h 518"/>
                <a:gd name="T24" fmla="*/ 44517 w 471"/>
                <a:gd name="T25" fmla="*/ 157340 h 518"/>
                <a:gd name="T26" fmla="*/ 47942 w 471"/>
                <a:gd name="T27" fmla="*/ 154735 h 518"/>
                <a:gd name="T28" fmla="*/ 54791 w 471"/>
                <a:gd name="T29" fmla="*/ 139626 h 518"/>
                <a:gd name="T30" fmla="*/ 62067 w 471"/>
                <a:gd name="T31" fmla="*/ 136500 h 518"/>
                <a:gd name="T32" fmla="*/ 68488 w 471"/>
                <a:gd name="T33" fmla="*/ 141710 h 518"/>
                <a:gd name="T34" fmla="*/ 74053 w 471"/>
                <a:gd name="T35" fmla="*/ 144315 h 518"/>
                <a:gd name="T36" fmla="*/ 78333 w 471"/>
                <a:gd name="T37" fmla="*/ 142752 h 518"/>
                <a:gd name="T38" fmla="*/ 82186 w 471"/>
                <a:gd name="T39" fmla="*/ 134938 h 518"/>
                <a:gd name="T40" fmla="*/ 86894 w 471"/>
                <a:gd name="T41" fmla="*/ 127123 h 518"/>
                <a:gd name="T42" fmla="*/ 90747 w 471"/>
                <a:gd name="T43" fmla="*/ 125560 h 518"/>
                <a:gd name="T44" fmla="*/ 103160 w 471"/>
                <a:gd name="T45" fmla="*/ 128686 h 518"/>
                <a:gd name="T46" fmla="*/ 110865 w 471"/>
                <a:gd name="T47" fmla="*/ 141189 h 518"/>
                <a:gd name="T48" fmla="*/ 131840 w 471"/>
                <a:gd name="T49" fmla="*/ 175054 h 518"/>
                <a:gd name="T50" fmla="*/ 145965 w 471"/>
                <a:gd name="T51" fmla="*/ 199020 h 518"/>
                <a:gd name="T52" fmla="*/ 153242 w 471"/>
                <a:gd name="T53" fmla="*/ 218297 h 518"/>
                <a:gd name="T54" fmla="*/ 156667 w 471"/>
                <a:gd name="T55" fmla="*/ 238094 h 518"/>
                <a:gd name="T56" fmla="*/ 153670 w 471"/>
                <a:gd name="T57" fmla="*/ 244867 h 518"/>
                <a:gd name="T58" fmla="*/ 145109 w 471"/>
                <a:gd name="T59" fmla="*/ 253724 h 518"/>
                <a:gd name="T60" fmla="*/ 155382 w 471"/>
                <a:gd name="T61" fmla="*/ 258413 h 518"/>
                <a:gd name="T62" fmla="*/ 167796 w 471"/>
                <a:gd name="T63" fmla="*/ 269875 h 518"/>
                <a:gd name="T64" fmla="*/ 171648 w 471"/>
                <a:gd name="T65" fmla="*/ 259976 h 518"/>
                <a:gd name="T66" fmla="*/ 176785 w 471"/>
                <a:gd name="T67" fmla="*/ 254766 h 518"/>
                <a:gd name="T68" fmla="*/ 190055 w 471"/>
                <a:gd name="T69" fmla="*/ 251640 h 518"/>
                <a:gd name="T70" fmla="*/ 200328 w 471"/>
                <a:gd name="T71" fmla="*/ 228195 h 518"/>
                <a:gd name="T72" fmla="*/ 192195 w 471"/>
                <a:gd name="T73" fmla="*/ 201625 h 518"/>
                <a:gd name="T74" fmla="*/ 180209 w 471"/>
                <a:gd name="T75" fmla="*/ 180785 h 518"/>
                <a:gd name="T76" fmla="*/ 147678 w 471"/>
                <a:gd name="T77" fmla="*/ 144315 h 518"/>
                <a:gd name="T78" fmla="*/ 119426 w 471"/>
                <a:gd name="T79" fmla="*/ 113577 h 518"/>
                <a:gd name="T80" fmla="*/ 95883 w 471"/>
                <a:gd name="T81" fmla="*/ 84401 h 518"/>
                <a:gd name="T82" fmla="*/ 76621 w 471"/>
                <a:gd name="T83" fmla="*/ 54704 h 518"/>
                <a:gd name="T84" fmla="*/ 54362 w 471"/>
                <a:gd name="T85" fmla="*/ 20840 h 518"/>
                <a:gd name="T86" fmla="*/ 49226 w 471"/>
                <a:gd name="T87" fmla="*/ 7294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8" name="Freeform 277">
              <a:extLst>
                <a:ext uri="{FF2B5EF4-FFF2-40B4-BE49-F238E27FC236}">
                  <a16:creationId xmlns:a16="http://schemas.microsoft.com/office/drawing/2014/main" id="{2AA9DCCD-776E-4C9F-BC96-B18B8ACACFC9}"/>
                </a:ext>
              </a:extLst>
            </p:cNvPr>
            <p:cNvSpPr>
              <a:spLocks/>
            </p:cNvSpPr>
            <p:nvPr>
              <p:custDataLst>
                <p:tags r:id="rId204"/>
              </p:custDataLst>
            </p:nvPr>
          </p:nvSpPr>
          <p:spPr bwMode="auto">
            <a:xfrm>
              <a:off x="6557955" y="3198788"/>
              <a:ext cx="133350" cy="130174"/>
            </a:xfrm>
            <a:custGeom>
              <a:avLst/>
              <a:gdLst>
                <a:gd name="T0" fmla="*/ 69178 w 293"/>
                <a:gd name="T1" fmla="*/ 10054 h 246"/>
                <a:gd name="T2" fmla="*/ 81466 w 293"/>
                <a:gd name="T3" fmla="*/ 15875 h 246"/>
                <a:gd name="T4" fmla="*/ 89203 w 293"/>
                <a:gd name="T5" fmla="*/ 15875 h 246"/>
                <a:gd name="T6" fmla="*/ 91934 w 293"/>
                <a:gd name="T7" fmla="*/ 9525 h 246"/>
                <a:gd name="T8" fmla="*/ 95575 w 293"/>
                <a:gd name="T9" fmla="*/ 5292 h 246"/>
                <a:gd name="T10" fmla="*/ 99671 w 293"/>
                <a:gd name="T11" fmla="*/ 3175 h 246"/>
                <a:gd name="T12" fmla="*/ 111504 w 293"/>
                <a:gd name="T13" fmla="*/ 1058 h 246"/>
                <a:gd name="T14" fmla="*/ 133350 w 293"/>
                <a:gd name="T15" fmla="*/ 42333 h 246"/>
                <a:gd name="T16" fmla="*/ 121062 w 293"/>
                <a:gd name="T17" fmla="*/ 56621 h 246"/>
                <a:gd name="T18" fmla="*/ 107863 w 293"/>
                <a:gd name="T19" fmla="*/ 74613 h 246"/>
                <a:gd name="T20" fmla="*/ 102402 w 293"/>
                <a:gd name="T21" fmla="*/ 84138 h 246"/>
                <a:gd name="T22" fmla="*/ 97851 w 293"/>
                <a:gd name="T23" fmla="*/ 94192 h 246"/>
                <a:gd name="T24" fmla="*/ 95120 w 293"/>
                <a:gd name="T25" fmla="*/ 104246 h 246"/>
                <a:gd name="T26" fmla="*/ 93755 w 293"/>
                <a:gd name="T27" fmla="*/ 114300 h 246"/>
                <a:gd name="T28" fmla="*/ 89203 w 293"/>
                <a:gd name="T29" fmla="*/ 114829 h 246"/>
                <a:gd name="T30" fmla="*/ 84652 w 293"/>
                <a:gd name="T31" fmla="*/ 116417 h 246"/>
                <a:gd name="T32" fmla="*/ 77370 w 293"/>
                <a:gd name="T33" fmla="*/ 121179 h 246"/>
                <a:gd name="T34" fmla="*/ 70088 w 293"/>
                <a:gd name="T35" fmla="*/ 126471 h 246"/>
                <a:gd name="T36" fmla="*/ 60531 w 293"/>
                <a:gd name="T37" fmla="*/ 130175 h 246"/>
                <a:gd name="T38" fmla="*/ 46422 w 293"/>
                <a:gd name="T39" fmla="*/ 127000 h 246"/>
                <a:gd name="T40" fmla="*/ 32313 w 293"/>
                <a:gd name="T41" fmla="*/ 122767 h 246"/>
                <a:gd name="T42" fmla="*/ 26852 w 293"/>
                <a:gd name="T43" fmla="*/ 119592 h 246"/>
                <a:gd name="T44" fmla="*/ 22301 w 293"/>
                <a:gd name="T45" fmla="*/ 116417 h 246"/>
                <a:gd name="T46" fmla="*/ 19570 w 293"/>
                <a:gd name="T47" fmla="*/ 112183 h 246"/>
                <a:gd name="T48" fmla="*/ 18660 w 293"/>
                <a:gd name="T49" fmla="*/ 107950 h 246"/>
                <a:gd name="T50" fmla="*/ 21391 w 293"/>
                <a:gd name="T51" fmla="*/ 94192 h 246"/>
                <a:gd name="T52" fmla="*/ 20480 w 293"/>
                <a:gd name="T53" fmla="*/ 85725 h 246"/>
                <a:gd name="T54" fmla="*/ 18205 w 293"/>
                <a:gd name="T55" fmla="*/ 77788 h 246"/>
                <a:gd name="T56" fmla="*/ 10923 w 293"/>
                <a:gd name="T57" fmla="*/ 62971 h 246"/>
                <a:gd name="T58" fmla="*/ 3641 w 293"/>
                <a:gd name="T59" fmla="*/ 48154 h 246"/>
                <a:gd name="T60" fmla="*/ 910 w 293"/>
                <a:gd name="T61" fmla="*/ 39158 h 246"/>
                <a:gd name="T62" fmla="*/ 0 w 293"/>
                <a:gd name="T63" fmla="*/ 29104 h 246"/>
                <a:gd name="T64" fmla="*/ 910 w 293"/>
                <a:gd name="T65" fmla="*/ 23813 h 246"/>
                <a:gd name="T66" fmla="*/ 3641 w 293"/>
                <a:gd name="T67" fmla="*/ 19050 h 246"/>
                <a:gd name="T68" fmla="*/ 7737 w 293"/>
                <a:gd name="T69" fmla="*/ 15346 h 246"/>
                <a:gd name="T70" fmla="*/ 11833 w 293"/>
                <a:gd name="T71" fmla="*/ 11642 h 246"/>
                <a:gd name="T72" fmla="*/ 21846 w 293"/>
                <a:gd name="T73" fmla="*/ 7408 h 246"/>
                <a:gd name="T74" fmla="*/ 30493 w 293"/>
                <a:gd name="T75" fmla="*/ 6350 h 246"/>
                <a:gd name="T76" fmla="*/ 43691 w 293"/>
                <a:gd name="T77" fmla="*/ 6350 h 246"/>
                <a:gd name="T78" fmla="*/ 60531 w 293"/>
                <a:gd name="T79" fmla="*/ 6350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09" name="Freeform 278">
              <a:extLst>
                <a:ext uri="{FF2B5EF4-FFF2-40B4-BE49-F238E27FC236}">
                  <a16:creationId xmlns:a16="http://schemas.microsoft.com/office/drawing/2014/main" id="{4E354CCD-A52B-49C6-BB0F-C1A008814DB7}"/>
                </a:ext>
              </a:extLst>
            </p:cNvPr>
            <p:cNvSpPr>
              <a:spLocks/>
            </p:cNvSpPr>
            <p:nvPr>
              <p:custDataLst>
                <p:tags r:id="rId205"/>
              </p:custDataLst>
            </p:nvPr>
          </p:nvSpPr>
          <p:spPr bwMode="auto">
            <a:xfrm>
              <a:off x="6959591" y="2435206"/>
              <a:ext cx="85725" cy="130174"/>
            </a:xfrm>
            <a:custGeom>
              <a:avLst/>
              <a:gdLst>
                <a:gd name="T0" fmla="*/ 7715 w 200"/>
                <a:gd name="T1" fmla="*/ 21696 h 246"/>
                <a:gd name="T2" fmla="*/ 12002 w 200"/>
                <a:gd name="T3" fmla="*/ 13758 h 246"/>
                <a:gd name="T4" fmla="*/ 16288 w 200"/>
                <a:gd name="T5" fmla="*/ 8467 h 246"/>
                <a:gd name="T6" fmla="*/ 21431 w 200"/>
                <a:gd name="T7" fmla="*/ 4763 h 246"/>
                <a:gd name="T8" fmla="*/ 31290 w 200"/>
                <a:gd name="T9" fmla="*/ 529 h 246"/>
                <a:gd name="T10" fmla="*/ 37719 w 200"/>
                <a:gd name="T11" fmla="*/ 6350 h 246"/>
                <a:gd name="T12" fmla="*/ 46292 w 200"/>
                <a:gd name="T13" fmla="*/ 17992 h 246"/>
                <a:gd name="T14" fmla="*/ 53578 w 200"/>
                <a:gd name="T15" fmla="*/ 26458 h 246"/>
                <a:gd name="T16" fmla="*/ 59579 w 200"/>
                <a:gd name="T17" fmla="*/ 30692 h 246"/>
                <a:gd name="T18" fmla="*/ 65151 w 200"/>
                <a:gd name="T19" fmla="*/ 33867 h 246"/>
                <a:gd name="T20" fmla="*/ 71152 w 200"/>
                <a:gd name="T21" fmla="*/ 35454 h 246"/>
                <a:gd name="T22" fmla="*/ 78867 w 200"/>
                <a:gd name="T23" fmla="*/ 50800 h 246"/>
                <a:gd name="T24" fmla="*/ 83582 w 200"/>
                <a:gd name="T25" fmla="*/ 72496 h 246"/>
                <a:gd name="T26" fmla="*/ 85296 w 200"/>
                <a:gd name="T27" fmla="*/ 87313 h 246"/>
                <a:gd name="T28" fmla="*/ 85725 w 200"/>
                <a:gd name="T29" fmla="*/ 97896 h 246"/>
                <a:gd name="T30" fmla="*/ 84868 w 200"/>
                <a:gd name="T31" fmla="*/ 104246 h 246"/>
                <a:gd name="T32" fmla="*/ 83582 w 200"/>
                <a:gd name="T33" fmla="*/ 109537 h 246"/>
                <a:gd name="T34" fmla="*/ 81010 w 200"/>
                <a:gd name="T35" fmla="*/ 113242 h 246"/>
                <a:gd name="T36" fmla="*/ 76724 w 200"/>
                <a:gd name="T37" fmla="*/ 116417 h 246"/>
                <a:gd name="T38" fmla="*/ 70295 w 200"/>
                <a:gd name="T39" fmla="*/ 118533 h 246"/>
                <a:gd name="T40" fmla="*/ 60008 w 200"/>
                <a:gd name="T41" fmla="*/ 118533 h 246"/>
                <a:gd name="T42" fmla="*/ 50578 w 200"/>
                <a:gd name="T43" fmla="*/ 121179 h 246"/>
                <a:gd name="T44" fmla="*/ 47577 w 200"/>
                <a:gd name="T45" fmla="*/ 124354 h 246"/>
                <a:gd name="T46" fmla="*/ 46292 w 200"/>
                <a:gd name="T47" fmla="*/ 128058 h 246"/>
                <a:gd name="T48" fmla="*/ 42005 w 200"/>
                <a:gd name="T49" fmla="*/ 129646 h 246"/>
                <a:gd name="T50" fmla="*/ 36433 w 200"/>
                <a:gd name="T51" fmla="*/ 127000 h 246"/>
                <a:gd name="T52" fmla="*/ 33004 w 200"/>
                <a:gd name="T53" fmla="*/ 121708 h 246"/>
                <a:gd name="T54" fmla="*/ 31290 w 200"/>
                <a:gd name="T55" fmla="*/ 114300 h 246"/>
                <a:gd name="T56" fmla="*/ 30861 w 200"/>
                <a:gd name="T57" fmla="*/ 101600 h 246"/>
                <a:gd name="T58" fmla="*/ 30432 w 200"/>
                <a:gd name="T59" fmla="*/ 88900 h 246"/>
                <a:gd name="T60" fmla="*/ 29575 w 200"/>
                <a:gd name="T61" fmla="*/ 81492 h 246"/>
                <a:gd name="T62" fmla="*/ 27432 w 200"/>
                <a:gd name="T63" fmla="*/ 75142 h 246"/>
                <a:gd name="T64" fmla="*/ 24003 w 200"/>
                <a:gd name="T65" fmla="*/ 70908 h 246"/>
                <a:gd name="T66" fmla="*/ 17145 w 200"/>
                <a:gd name="T67" fmla="*/ 66146 h 246"/>
                <a:gd name="T68" fmla="*/ 7715 w 200"/>
                <a:gd name="T69" fmla="*/ 60854 h 246"/>
                <a:gd name="T70" fmla="*/ 2572 w 200"/>
                <a:gd name="T71" fmla="*/ 56092 h 246"/>
                <a:gd name="T72" fmla="*/ 429 w 200"/>
                <a:gd name="T73" fmla="*/ 51858 h 246"/>
                <a:gd name="T74" fmla="*/ 429 w 200"/>
                <a:gd name="T75" fmla="*/ 46038 h 246"/>
                <a:gd name="T76" fmla="*/ 2143 w 200"/>
                <a:gd name="T77" fmla="*/ 41275 h 246"/>
                <a:gd name="T78" fmla="*/ 4286 w 200"/>
                <a:gd name="T79" fmla="*/ 35983 h 246"/>
                <a:gd name="T80" fmla="*/ 5572 w 200"/>
                <a:gd name="T81" fmla="*/ 29633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0" name="Freeform 279">
              <a:extLst>
                <a:ext uri="{FF2B5EF4-FFF2-40B4-BE49-F238E27FC236}">
                  <a16:creationId xmlns:a16="http://schemas.microsoft.com/office/drawing/2014/main" id="{0D0CF535-41EB-4E91-AA2B-D2D1929CAB6C}"/>
                </a:ext>
              </a:extLst>
            </p:cNvPr>
            <p:cNvSpPr>
              <a:spLocks/>
            </p:cNvSpPr>
            <p:nvPr>
              <p:custDataLst>
                <p:tags r:id="rId206"/>
              </p:custDataLst>
            </p:nvPr>
          </p:nvSpPr>
          <p:spPr bwMode="auto">
            <a:xfrm>
              <a:off x="7527916" y="3732183"/>
              <a:ext cx="231775" cy="253998"/>
            </a:xfrm>
            <a:custGeom>
              <a:avLst/>
              <a:gdLst>
                <a:gd name="T0" fmla="*/ 39204 w 538"/>
                <a:gd name="T1" fmla="*/ 10953 h 487"/>
                <a:gd name="T2" fmla="*/ 68929 w 538"/>
                <a:gd name="T3" fmla="*/ 24513 h 487"/>
                <a:gd name="T4" fmla="*/ 87023 w 538"/>
                <a:gd name="T5" fmla="*/ 36509 h 487"/>
                <a:gd name="T6" fmla="*/ 108995 w 538"/>
                <a:gd name="T7" fmla="*/ 57372 h 487"/>
                <a:gd name="T8" fmla="*/ 129243 w 538"/>
                <a:gd name="T9" fmla="*/ 70932 h 487"/>
                <a:gd name="T10" fmla="*/ 128812 w 538"/>
                <a:gd name="T11" fmla="*/ 83971 h 487"/>
                <a:gd name="T12" fmla="*/ 149491 w 538"/>
                <a:gd name="T13" fmla="*/ 106920 h 487"/>
                <a:gd name="T14" fmla="*/ 169308 w 538"/>
                <a:gd name="T15" fmla="*/ 129347 h 487"/>
                <a:gd name="T16" fmla="*/ 163276 w 538"/>
                <a:gd name="T17" fmla="*/ 130390 h 487"/>
                <a:gd name="T18" fmla="*/ 160261 w 538"/>
                <a:gd name="T19" fmla="*/ 133520 h 487"/>
                <a:gd name="T20" fmla="*/ 160261 w 538"/>
                <a:gd name="T21" fmla="*/ 144994 h 487"/>
                <a:gd name="T22" fmla="*/ 162415 w 538"/>
                <a:gd name="T23" fmla="*/ 156990 h 487"/>
                <a:gd name="T24" fmla="*/ 167585 w 538"/>
                <a:gd name="T25" fmla="*/ 169507 h 487"/>
                <a:gd name="T26" fmla="*/ 175339 w 538"/>
                <a:gd name="T27" fmla="*/ 181503 h 487"/>
                <a:gd name="T28" fmla="*/ 184386 w 538"/>
                <a:gd name="T29" fmla="*/ 190891 h 487"/>
                <a:gd name="T30" fmla="*/ 194295 w 538"/>
                <a:gd name="T31" fmla="*/ 196107 h 487"/>
                <a:gd name="T32" fmla="*/ 198603 w 538"/>
                <a:gd name="T33" fmla="*/ 203409 h 487"/>
                <a:gd name="T34" fmla="*/ 203342 w 538"/>
                <a:gd name="T35" fmla="*/ 211754 h 487"/>
                <a:gd name="T36" fmla="*/ 210665 w 538"/>
                <a:gd name="T37" fmla="*/ 217491 h 487"/>
                <a:gd name="T38" fmla="*/ 221005 w 538"/>
                <a:gd name="T39" fmla="*/ 225314 h 487"/>
                <a:gd name="T40" fmla="*/ 223159 w 538"/>
                <a:gd name="T41" fmla="*/ 231573 h 487"/>
                <a:gd name="T42" fmla="*/ 226174 w 538"/>
                <a:gd name="T43" fmla="*/ 234702 h 487"/>
                <a:gd name="T44" fmla="*/ 231775 w 538"/>
                <a:gd name="T45" fmla="*/ 237832 h 487"/>
                <a:gd name="T46" fmla="*/ 230052 w 538"/>
                <a:gd name="T47" fmla="*/ 246177 h 487"/>
                <a:gd name="T48" fmla="*/ 223590 w 538"/>
                <a:gd name="T49" fmla="*/ 252435 h 487"/>
                <a:gd name="T50" fmla="*/ 211096 w 538"/>
                <a:gd name="T51" fmla="*/ 254000 h 487"/>
                <a:gd name="T52" fmla="*/ 193002 w 538"/>
                <a:gd name="T53" fmla="*/ 250349 h 487"/>
                <a:gd name="T54" fmla="*/ 178355 w 538"/>
                <a:gd name="T55" fmla="*/ 243047 h 487"/>
                <a:gd name="T56" fmla="*/ 166292 w 538"/>
                <a:gd name="T57" fmla="*/ 232616 h 487"/>
                <a:gd name="T58" fmla="*/ 152937 w 538"/>
                <a:gd name="T59" fmla="*/ 216448 h 487"/>
                <a:gd name="T60" fmla="*/ 134412 w 538"/>
                <a:gd name="T61" fmla="*/ 190370 h 487"/>
                <a:gd name="T62" fmla="*/ 118042 w 538"/>
                <a:gd name="T63" fmla="*/ 172115 h 487"/>
                <a:gd name="T64" fmla="*/ 105979 w 538"/>
                <a:gd name="T65" fmla="*/ 164813 h 487"/>
                <a:gd name="T66" fmla="*/ 91331 w 538"/>
                <a:gd name="T67" fmla="*/ 161162 h 487"/>
                <a:gd name="T68" fmla="*/ 77546 w 538"/>
                <a:gd name="T69" fmla="*/ 161684 h 487"/>
                <a:gd name="T70" fmla="*/ 65914 w 538"/>
                <a:gd name="T71" fmla="*/ 165335 h 487"/>
                <a:gd name="T72" fmla="*/ 48681 w 538"/>
                <a:gd name="T73" fmla="*/ 179938 h 487"/>
                <a:gd name="T74" fmla="*/ 58590 w 538"/>
                <a:gd name="T75" fmla="*/ 188283 h 487"/>
                <a:gd name="T76" fmla="*/ 60313 w 538"/>
                <a:gd name="T77" fmla="*/ 192977 h 487"/>
                <a:gd name="T78" fmla="*/ 53420 w 538"/>
                <a:gd name="T79" fmla="*/ 209146 h 487"/>
                <a:gd name="T80" fmla="*/ 48681 w 538"/>
                <a:gd name="T81" fmla="*/ 215926 h 487"/>
                <a:gd name="T82" fmla="*/ 20248 w 538"/>
                <a:gd name="T83" fmla="*/ 210189 h 487"/>
                <a:gd name="T84" fmla="*/ 8616 w 538"/>
                <a:gd name="T85" fmla="*/ 135084 h 487"/>
                <a:gd name="T86" fmla="*/ 8616 w 538"/>
                <a:gd name="T87" fmla="*/ 0 h 4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538" h="487">
                  <a:moveTo>
                    <a:pt x="20" y="0"/>
                  </a:moveTo>
                  <a:lnTo>
                    <a:pt x="58" y="10"/>
                  </a:lnTo>
                  <a:lnTo>
                    <a:pt x="91" y="21"/>
                  </a:lnTo>
                  <a:lnTo>
                    <a:pt x="119" y="30"/>
                  </a:lnTo>
                  <a:lnTo>
                    <a:pt x="142" y="38"/>
                  </a:lnTo>
                  <a:lnTo>
                    <a:pt x="160" y="47"/>
                  </a:lnTo>
                  <a:lnTo>
                    <a:pt x="177" y="55"/>
                  </a:lnTo>
                  <a:lnTo>
                    <a:pt x="190" y="62"/>
                  </a:lnTo>
                  <a:lnTo>
                    <a:pt x="202" y="70"/>
                  </a:lnTo>
                  <a:lnTo>
                    <a:pt x="222" y="86"/>
                  </a:lnTo>
                  <a:lnTo>
                    <a:pt x="242" y="102"/>
                  </a:lnTo>
                  <a:lnTo>
                    <a:pt x="253" y="110"/>
                  </a:lnTo>
                  <a:lnTo>
                    <a:pt x="266" y="118"/>
                  </a:lnTo>
                  <a:lnTo>
                    <a:pt x="281" y="127"/>
                  </a:lnTo>
                  <a:lnTo>
                    <a:pt x="300" y="136"/>
                  </a:lnTo>
                  <a:lnTo>
                    <a:pt x="297" y="152"/>
                  </a:lnTo>
                  <a:lnTo>
                    <a:pt x="297" y="158"/>
                  </a:lnTo>
                  <a:lnTo>
                    <a:pt x="299" y="161"/>
                  </a:lnTo>
                  <a:lnTo>
                    <a:pt x="300" y="167"/>
                  </a:lnTo>
                  <a:lnTo>
                    <a:pt x="314" y="178"/>
                  </a:lnTo>
                  <a:lnTo>
                    <a:pt x="347" y="205"/>
                  </a:lnTo>
                  <a:lnTo>
                    <a:pt x="381" y="231"/>
                  </a:lnTo>
                  <a:lnTo>
                    <a:pt x="399" y="247"/>
                  </a:lnTo>
                  <a:lnTo>
                    <a:pt x="393" y="248"/>
                  </a:lnTo>
                  <a:lnTo>
                    <a:pt x="386" y="250"/>
                  </a:lnTo>
                  <a:lnTo>
                    <a:pt x="382" y="250"/>
                  </a:lnTo>
                  <a:lnTo>
                    <a:pt x="379" y="250"/>
                  </a:lnTo>
                  <a:lnTo>
                    <a:pt x="376" y="249"/>
                  </a:lnTo>
                  <a:lnTo>
                    <a:pt x="372" y="247"/>
                  </a:lnTo>
                  <a:lnTo>
                    <a:pt x="372" y="256"/>
                  </a:lnTo>
                  <a:lnTo>
                    <a:pt x="372" y="265"/>
                  </a:lnTo>
                  <a:lnTo>
                    <a:pt x="372" y="272"/>
                  </a:lnTo>
                  <a:lnTo>
                    <a:pt x="372" y="278"/>
                  </a:lnTo>
                  <a:lnTo>
                    <a:pt x="373" y="285"/>
                  </a:lnTo>
                  <a:lnTo>
                    <a:pt x="375" y="292"/>
                  </a:lnTo>
                  <a:lnTo>
                    <a:pt x="377" y="301"/>
                  </a:lnTo>
                  <a:lnTo>
                    <a:pt x="380" y="309"/>
                  </a:lnTo>
                  <a:lnTo>
                    <a:pt x="384" y="317"/>
                  </a:lnTo>
                  <a:lnTo>
                    <a:pt x="389" y="325"/>
                  </a:lnTo>
                  <a:lnTo>
                    <a:pt x="394" y="333"/>
                  </a:lnTo>
                  <a:lnTo>
                    <a:pt x="401" y="341"/>
                  </a:lnTo>
                  <a:lnTo>
                    <a:pt x="407" y="348"/>
                  </a:lnTo>
                  <a:lnTo>
                    <a:pt x="414" y="355"/>
                  </a:lnTo>
                  <a:lnTo>
                    <a:pt x="421" y="361"/>
                  </a:lnTo>
                  <a:lnTo>
                    <a:pt x="428" y="366"/>
                  </a:lnTo>
                  <a:lnTo>
                    <a:pt x="436" y="371"/>
                  </a:lnTo>
                  <a:lnTo>
                    <a:pt x="444" y="374"/>
                  </a:lnTo>
                  <a:lnTo>
                    <a:pt x="451" y="376"/>
                  </a:lnTo>
                  <a:lnTo>
                    <a:pt x="459" y="376"/>
                  </a:lnTo>
                  <a:lnTo>
                    <a:pt x="459" y="384"/>
                  </a:lnTo>
                  <a:lnTo>
                    <a:pt x="461" y="390"/>
                  </a:lnTo>
                  <a:lnTo>
                    <a:pt x="465" y="396"/>
                  </a:lnTo>
                  <a:lnTo>
                    <a:pt x="468" y="401"/>
                  </a:lnTo>
                  <a:lnTo>
                    <a:pt x="472" y="406"/>
                  </a:lnTo>
                  <a:lnTo>
                    <a:pt x="478" y="411"/>
                  </a:lnTo>
                  <a:lnTo>
                    <a:pt x="483" y="414"/>
                  </a:lnTo>
                  <a:lnTo>
                    <a:pt x="489" y="417"/>
                  </a:lnTo>
                  <a:lnTo>
                    <a:pt x="500" y="423"/>
                  </a:lnTo>
                  <a:lnTo>
                    <a:pt x="510" y="429"/>
                  </a:lnTo>
                  <a:lnTo>
                    <a:pt x="513" y="432"/>
                  </a:lnTo>
                  <a:lnTo>
                    <a:pt x="516" y="436"/>
                  </a:lnTo>
                  <a:lnTo>
                    <a:pt x="518" y="440"/>
                  </a:lnTo>
                  <a:lnTo>
                    <a:pt x="518" y="444"/>
                  </a:lnTo>
                  <a:lnTo>
                    <a:pt x="519" y="446"/>
                  </a:lnTo>
                  <a:lnTo>
                    <a:pt x="522" y="448"/>
                  </a:lnTo>
                  <a:lnTo>
                    <a:pt x="525" y="450"/>
                  </a:lnTo>
                  <a:lnTo>
                    <a:pt x="528" y="452"/>
                  </a:lnTo>
                  <a:lnTo>
                    <a:pt x="536" y="455"/>
                  </a:lnTo>
                  <a:lnTo>
                    <a:pt x="538" y="456"/>
                  </a:lnTo>
                  <a:lnTo>
                    <a:pt x="538" y="461"/>
                  </a:lnTo>
                  <a:lnTo>
                    <a:pt x="536" y="467"/>
                  </a:lnTo>
                  <a:lnTo>
                    <a:pt x="534" y="472"/>
                  </a:lnTo>
                  <a:lnTo>
                    <a:pt x="529" y="477"/>
                  </a:lnTo>
                  <a:lnTo>
                    <a:pt x="525" y="481"/>
                  </a:lnTo>
                  <a:lnTo>
                    <a:pt x="519" y="484"/>
                  </a:lnTo>
                  <a:lnTo>
                    <a:pt x="513" y="487"/>
                  </a:lnTo>
                  <a:lnTo>
                    <a:pt x="505" y="487"/>
                  </a:lnTo>
                  <a:lnTo>
                    <a:pt x="490" y="487"/>
                  </a:lnTo>
                  <a:lnTo>
                    <a:pt x="474" y="485"/>
                  </a:lnTo>
                  <a:lnTo>
                    <a:pt x="461" y="483"/>
                  </a:lnTo>
                  <a:lnTo>
                    <a:pt x="448" y="480"/>
                  </a:lnTo>
                  <a:lnTo>
                    <a:pt x="436" y="476"/>
                  </a:lnTo>
                  <a:lnTo>
                    <a:pt x="425" y="471"/>
                  </a:lnTo>
                  <a:lnTo>
                    <a:pt x="414" y="466"/>
                  </a:lnTo>
                  <a:lnTo>
                    <a:pt x="404" y="459"/>
                  </a:lnTo>
                  <a:lnTo>
                    <a:pt x="395" y="453"/>
                  </a:lnTo>
                  <a:lnTo>
                    <a:pt x="386" y="446"/>
                  </a:lnTo>
                  <a:lnTo>
                    <a:pt x="378" y="438"/>
                  </a:lnTo>
                  <a:lnTo>
                    <a:pt x="369" y="431"/>
                  </a:lnTo>
                  <a:lnTo>
                    <a:pt x="355" y="415"/>
                  </a:lnTo>
                  <a:lnTo>
                    <a:pt x="341" y="398"/>
                  </a:lnTo>
                  <a:lnTo>
                    <a:pt x="326" y="381"/>
                  </a:lnTo>
                  <a:lnTo>
                    <a:pt x="312" y="365"/>
                  </a:lnTo>
                  <a:lnTo>
                    <a:pt x="298" y="350"/>
                  </a:lnTo>
                  <a:lnTo>
                    <a:pt x="282" y="336"/>
                  </a:lnTo>
                  <a:lnTo>
                    <a:pt x="274" y="330"/>
                  </a:lnTo>
                  <a:lnTo>
                    <a:pt x="265" y="325"/>
                  </a:lnTo>
                  <a:lnTo>
                    <a:pt x="256" y="320"/>
                  </a:lnTo>
                  <a:lnTo>
                    <a:pt x="246" y="316"/>
                  </a:lnTo>
                  <a:lnTo>
                    <a:pt x="235" y="313"/>
                  </a:lnTo>
                  <a:lnTo>
                    <a:pt x="224" y="311"/>
                  </a:lnTo>
                  <a:lnTo>
                    <a:pt x="212" y="309"/>
                  </a:lnTo>
                  <a:lnTo>
                    <a:pt x="200" y="309"/>
                  </a:lnTo>
                  <a:lnTo>
                    <a:pt x="189" y="309"/>
                  </a:lnTo>
                  <a:lnTo>
                    <a:pt x="180" y="310"/>
                  </a:lnTo>
                  <a:lnTo>
                    <a:pt x="171" y="311"/>
                  </a:lnTo>
                  <a:lnTo>
                    <a:pt x="165" y="313"/>
                  </a:lnTo>
                  <a:lnTo>
                    <a:pt x="153" y="317"/>
                  </a:lnTo>
                  <a:lnTo>
                    <a:pt x="144" y="322"/>
                  </a:lnTo>
                  <a:lnTo>
                    <a:pt x="130" y="334"/>
                  </a:lnTo>
                  <a:lnTo>
                    <a:pt x="113" y="345"/>
                  </a:lnTo>
                  <a:lnTo>
                    <a:pt x="126" y="352"/>
                  </a:lnTo>
                  <a:lnTo>
                    <a:pt x="134" y="358"/>
                  </a:lnTo>
                  <a:lnTo>
                    <a:pt x="136" y="361"/>
                  </a:lnTo>
                  <a:lnTo>
                    <a:pt x="138" y="363"/>
                  </a:lnTo>
                  <a:lnTo>
                    <a:pt x="140" y="366"/>
                  </a:lnTo>
                  <a:lnTo>
                    <a:pt x="140" y="370"/>
                  </a:lnTo>
                  <a:lnTo>
                    <a:pt x="136" y="380"/>
                  </a:lnTo>
                  <a:lnTo>
                    <a:pt x="130" y="394"/>
                  </a:lnTo>
                  <a:lnTo>
                    <a:pt x="124" y="401"/>
                  </a:lnTo>
                  <a:lnTo>
                    <a:pt x="120" y="407"/>
                  </a:lnTo>
                  <a:lnTo>
                    <a:pt x="117" y="412"/>
                  </a:lnTo>
                  <a:lnTo>
                    <a:pt x="113" y="414"/>
                  </a:lnTo>
                  <a:lnTo>
                    <a:pt x="93" y="395"/>
                  </a:lnTo>
                  <a:lnTo>
                    <a:pt x="70" y="399"/>
                  </a:lnTo>
                  <a:lnTo>
                    <a:pt x="47" y="403"/>
                  </a:lnTo>
                  <a:lnTo>
                    <a:pt x="28" y="406"/>
                  </a:lnTo>
                  <a:lnTo>
                    <a:pt x="20" y="407"/>
                  </a:lnTo>
                  <a:lnTo>
                    <a:pt x="20" y="259"/>
                  </a:lnTo>
                  <a:lnTo>
                    <a:pt x="0" y="234"/>
                  </a:lnTo>
                  <a:lnTo>
                    <a:pt x="20" y="222"/>
                  </a:lnTo>
                  <a:lnTo>
                    <a:pt x="2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1" name="Freeform 280">
              <a:extLst>
                <a:ext uri="{FF2B5EF4-FFF2-40B4-BE49-F238E27FC236}">
                  <a16:creationId xmlns:a16="http://schemas.microsoft.com/office/drawing/2014/main" id="{FFBC68FF-F270-418E-8024-143FBCC8FBA5}"/>
                </a:ext>
              </a:extLst>
            </p:cNvPr>
            <p:cNvSpPr>
              <a:spLocks/>
            </p:cNvSpPr>
            <p:nvPr>
              <p:custDataLst>
                <p:tags r:id="rId207"/>
              </p:custDataLst>
            </p:nvPr>
          </p:nvSpPr>
          <p:spPr bwMode="auto">
            <a:xfrm>
              <a:off x="7720003" y="3716308"/>
              <a:ext cx="106362" cy="128586"/>
            </a:xfrm>
            <a:custGeom>
              <a:avLst/>
              <a:gdLst>
                <a:gd name="T0" fmla="*/ 57175 w 253"/>
                <a:gd name="T1" fmla="*/ 523 h 246"/>
                <a:gd name="T2" fmla="*/ 66003 w 253"/>
                <a:gd name="T3" fmla="*/ 4182 h 246"/>
                <a:gd name="T4" fmla="*/ 75252 w 253"/>
                <a:gd name="T5" fmla="*/ 10977 h 246"/>
                <a:gd name="T6" fmla="*/ 83660 w 253"/>
                <a:gd name="T7" fmla="*/ 19340 h 246"/>
                <a:gd name="T8" fmla="*/ 91648 w 253"/>
                <a:gd name="T9" fmla="*/ 29795 h 246"/>
                <a:gd name="T10" fmla="*/ 98374 w 253"/>
                <a:gd name="T11" fmla="*/ 39726 h 246"/>
                <a:gd name="T12" fmla="*/ 102999 w 253"/>
                <a:gd name="T13" fmla="*/ 49135 h 246"/>
                <a:gd name="T14" fmla="*/ 105942 w 253"/>
                <a:gd name="T15" fmla="*/ 58021 h 246"/>
                <a:gd name="T16" fmla="*/ 105942 w 253"/>
                <a:gd name="T17" fmla="*/ 66907 h 246"/>
                <a:gd name="T18" fmla="*/ 102158 w 253"/>
                <a:gd name="T19" fmla="*/ 78929 h 246"/>
                <a:gd name="T20" fmla="*/ 96272 w 253"/>
                <a:gd name="T21" fmla="*/ 90952 h 246"/>
                <a:gd name="T22" fmla="*/ 87864 w 253"/>
                <a:gd name="T23" fmla="*/ 101929 h 246"/>
                <a:gd name="T24" fmla="*/ 77354 w 253"/>
                <a:gd name="T25" fmla="*/ 111860 h 246"/>
                <a:gd name="T26" fmla="*/ 66003 w 253"/>
                <a:gd name="T27" fmla="*/ 119701 h 246"/>
                <a:gd name="T28" fmla="*/ 54232 w 253"/>
                <a:gd name="T29" fmla="*/ 125451 h 246"/>
                <a:gd name="T30" fmla="*/ 42040 w 253"/>
                <a:gd name="T31" fmla="*/ 128064 h 246"/>
                <a:gd name="T32" fmla="*/ 31110 w 253"/>
                <a:gd name="T33" fmla="*/ 128064 h 246"/>
                <a:gd name="T34" fmla="*/ 22281 w 253"/>
                <a:gd name="T35" fmla="*/ 125451 h 246"/>
                <a:gd name="T36" fmla="*/ 13873 w 253"/>
                <a:gd name="T37" fmla="*/ 122314 h 246"/>
                <a:gd name="T38" fmla="*/ 4624 w 253"/>
                <a:gd name="T39" fmla="*/ 119701 h 246"/>
                <a:gd name="T40" fmla="*/ 1261 w 253"/>
                <a:gd name="T41" fmla="*/ 114474 h 246"/>
                <a:gd name="T42" fmla="*/ 4204 w 253"/>
                <a:gd name="T43" fmla="*/ 107156 h 246"/>
                <a:gd name="T44" fmla="*/ 9249 w 253"/>
                <a:gd name="T45" fmla="*/ 102451 h 246"/>
                <a:gd name="T46" fmla="*/ 15555 w 253"/>
                <a:gd name="T47" fmla="*/ 99838 h 246"/>
                <a:gd name="T48" fmla="*/ 21020 w 253"/>
                <a:gd name="T49" fmla="*/ 102974 h 246"/>
                <a:gd name="T50" fmla="*/ 25224 w 253"/>
                <a:gd name="T51" fmla="*/ 108201 h 246"/>
                <a:gd name="T52" fmla="*/ 28587 w 253"/>
                <a:gd name="T53" fmla="*/ 105065 h 246"/>
                <a:gd name="T54" fmla="*/ 31530 w 253"/>
                <a:gd name="T55" fmla="*/ 99315 h 246"/>
                <a:gd name="T56" fmla="*/ 35314 w 253"/>
                <a:gd name="T57" fmla="*/ 94088 h 246"/>
                <a:gd name="T58" fmla="*/ 38257 w 253"/>
                <a:gd name="T59" fmla="*/ 94611 h 246"/>
                <a:gd name="T60" fmla="*/ 41200 w 253"/>
                <a:gd name="T61" fmla="*/ 93565 h 246"/>
                <a:gd name="T62" fmla="*/ 44563 w 253"/>
                <a:gd name="T63" fmla="*/ 93043 h 246"/>
                <a:gd name="T64" fmla="*/ 50448 w 253"/>
                <a:gd name="T65" fmla="*/ 90952 h 246"/>
                <a:gd name="T66" fmla="*/ 62640 w 253"/>
                <a:gd name="T67" fmla="*/ 85725 h 246"/>
                <a:gd name="T68" fmla="*/ 75252 w 253"/>
                <a:gd name="T69" fmla="*/ 76839 h 246"/>
                <a:gd name="T70" fmla="*/ 82819 w 253"/>
                <a:gd name="T71" fmla="*/ 70566 h 246"/>
                <a:gd name="T72" fmla="*/ 88285 w 253"/>
                <a:gd name="T73" fmla="*/ 64294 h 246"/>
                <a:gd name="T74" fmla="*/ 91648 w 253"/>
                <a:gd name="T75" fmla="*/ 58021 h 246"/>
                <a:gd name="T76" fmla="*/ 92068 w 253"/>
                <a:gd name="T77" fmla="*/ 51226 h 246"/>
                <a:gd name="T78" fmla="*/ 89966 w 253"/>
                <a:gd name="T79" fmla="*/ 45999 h 246"/>
                <a:gd name="T80" fmla="*/ 88285 w 253"/>
                <a:gd name="T81" fmla="*/ 41817 h 246"/>
                <a:gd name="T82" fmla="*/ 87023 w 253"/>
                <a:gd name="T83" fmla="*/ 37635 h 246"/>
                <a:gd name="T84" fmla="*/ 84501 w 253"/>
                <a:gd name="T85" fmla="*/ 35022 h 246"/>
                <a:gd name="T86" fmla="*/ 80297 w 253"/>
                <a:gd name="T87" fmla="*/ 33976 h 246"/>
                <a:gd name="T88" fmla="*/ 77354 w 253"/>
                <a:gd name="T89" fmla="*/ 31885 h 246"/>
                <a:gd name="T90" fmla="*/ 75673 w 253"/>
                <a:gd name="T91" fmla="*/ 28226 h 246"/>
                <a:gd name="T92" fmla="*/ 58856 w 253"/>
                <a:gd name="T93" fmla="*/ 25613 h 246"/>
                <a:gd name="T94" fmla="*/ 57175 w 253"/>
                <a:gd name="T95" fmla="*/ 22999 h 246"/>
                <a:gd name="T96" fmla="*/ 57175 w 253"/>
                <a:gd name="T97" fmla="*/ 18818 h 246"/>
                <a:gd name="T98" fmla="*/ 58856 w 253"/>
                <a:gd name="T99" fmla="*/ 9409 h 246"/>
                <a:gd name="T100" fmla="*/ 46244 w 253"/>
                <a:gd name="T101" fmla="*/ 5750 h 246"/>
                <a:gd name="T102" fmla="*/ 40779 w 253"/>
                <a:gd name="T103" fmla="*/ 6273 h 246"/>
                <a:gd name="T104" fmla="*/ 36155 w 253"/>
                <a:gd name="T105" fmla="*/ 9409 h 246"/>
                <a:gd name="T106" fmla="*/ 43722 w 253"/>
                <a:gd name="T107" fmla="*/ 2614 h 246"/>
                <a:gd name="T108" fmla="*/ 47506 w 253"/>
                <a:gd name="T109" fmla="*/ 523 h 246"/>
                <a:gd name="T110" fmla="*/ 53391 w 253"/>
                <a:gd name="T111" fmla="*/ 0 h 24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253" h="246">
                  <a:moveTo>
                    <a:pt x="127" y="0"/>
                  </a:moveTo>
                  <a:lnTo>
                    <a:pt x="136" y="1"/>
                  </a:lnTo>
                  <a:lnTo>
                    <a:pt x="146" y="4"/>
                  </a:lnTo>
                  <a:lnTo>
                    <a:pt x="157" y="8"/>
                  </a:lnTo>
                  <a:lnTo>
                    <a:pt x="168" y="14"/>
                  </a:lnTo>
                  <a:lnTo>
                    <a:pt x="179" y="21"/>
                  </a:lnTo>
                  <a:lnTo>
                    <a:pt x="189" y="28"/>
                  </a:lnTo>
                  <a:lnTo>
                    <a:pt x="199" y="37"/>
                  </a:lnTo>
                  <a:lnTo>
                    <a:pt x="209" y="47"/>
                  </a:lnTo>
                  <a:lnTo>
                    <a:pt x="218" y="57"/>
                  </a:lnTo>
                  <a:lnTo>
                    <a:pt x="227" y="66"/>
                  </a:lnTo>
                  <a:lnTo>
                    <a:pt x="234" y="76"/>
                  </a:lnTo>
                  <a:lnTo>
                    <a:pt x="240" y="85"/>
                  </a:lnTo>
                  <a:lnTo>
                    <a:pt x="245" y="94"/>
                  </a:lnTo>
                  <a:lnTo>
                    <a:pt x="250" y="103"/>
                  </a:lnTo>
                  <a:lnTo>
                    <a:pt x="252" y="111"/>
                  </a:lnTo>
                  <a:lnTo>
                    <a:pt x="253" y="117"/>
                  </a:lnTo>
                  <a:lnTo>
                    <a:pt x="252" y="128"/>
                  </a:lnTo>
                  <a:lnTo>
                    <a:pt x="248" y="140"/>
                  </a:lnTo>
                  <a:lnTo>
                    <a:pt x="243" y="151"/>
                  </a:lnTo>
                  <a:lnTo>
                    <a:pt x="236" y="163"/>
                  </a:lnTo>
                  <a:lnTo>
                    <a:pt x="229" y="174"/>
                  </a:lnTo>
                  <a:lnTo>
                    <a:pt x="219" y="185"/>
                  </a:lnTo>
                  <a:lnTo>
                    <a:pt x="209" y="195"/>
                  </a:lnTo>
                  <a:lnTo>
                    <a:pt x="197" y="204"/>
                  </a:lnTo>
                  <a:lnTo>
                    <a:pt x="184" y="214"/>
                  </a:lnTo>
                  <a:lnTo>
                    <a:pt x="171" y="222"/>
                  </a:lnTo>
                  <a:lnTo>
                    <a:pt x="157" y="229"/>
                  </a:lnTo>
                  <a:lnTo>
                    <a:pt x="143" y="235"/>
                  </a:lnTo>
                  <a:lnTo>
                    <a:pt x="129" y="240"/>
                  </a:lnTo>
                  <a:lnTo>
                    <a:pt x="115" y="243"/>
                  </a:lnTo>
                  <a:lnTo>
                    <a:pt x="100" y="245"/>
                  </a:lnTo>
                  <a:lnTo>
                    <a:pt x="86" y="246"/>
                  </a:lnTo>
                  <a:lnTo>
                    <a:pt x="74" y="245"/>
                  </a:lnTo>
                  <a:lnTo>
                    <a:pt x="64" y="243"/>
                  </a:lnTo>
                  <a:lnTo>
                    <a:pt x="53" y="240"/>
                  </a:lnTo>
                  <a:lnTo>
                    <a:pt x="43" y="237"/>
                  </a:lnTo>
                  <a:lnTo>
                    <a:pt x="33" y="234"/>
                  </a:lnTo>
                  <a:lnTo>
                    <a:pt x="22" y="231"/>
                  </a:lnTo>
                  <a:lnTo>
                    <a:pt x="11" y="229"/>
                  </a:lnTo>
                  <a:lnTo>
                    <a:pt x="0" y="228"/>
                  </a:lnTo>
                  <a:lnTo>
                    <a:pt x="3" y="219"/>
                  </a:lnTo>
                  <a:lnTo>
                    <a:pt x="6" y="212"/>
                  </a:lnTo>
                  <a:lnTo>
                    <a:pt x="10" y="205"/>
                  </a:lnTo>
                  <a:lnTo>
                    <a:pt x="16" y="200"/>
                  </a:lnTo>
                  <a:lnTo>
                    <a:pt x="22" y="196"/>
                  </a:lnTo>
                  <a:lnTo>
                    <a:pt x="29" y="193"/>
                  </a:lnTo>
                  <a:lnTo>
                    <a:pt x="37" y="191"/>
                  </a:lnTo>
                  <a:lnTo>
                    <a:pt x="46" y="191"/>
                  </a:lnTo>
                  <a:lnTo>
                    <a:pt x="50" y="197"/>
                  </a:lnTo>
                  <a:lnTo>
                    <a:pt x="53" y="209"/>
                  </a:lnTo>
                  <a:lnTo>
                    <a:pt x="60" y="207"/>
                  </a:lnTo>
                  <a:lnTo>
                    <a:pt x="65" y="204"/>
                  </a:lnTo>
                  <a:lnTo>
                    <a:pt x="68" y="201"/>
                  </a:lnTo>
                  <a:lnTo>
                    <a:pt x="72" y="198"/>
                  </a:lnTo>
                  <a:lnTo>
                    <a:pt x="75" y="190"/>
                  </a:lnTo>
                  <a:lnTo>
                    <a:pt x="79" y="179"/>
                  </a:lnTo>
                  <a:lnTo>
                    <a:pt x="84" y="180"/>
                  </a:lnTo>
                  <a:lnTo>
                    <a:pt x="88" y="181"/>
                  </a:lnTo>
                  <a:lnTo>
                    <a:pt x="91" y="181"/>
                  </a:lnTo>
                  <a:lnTo>
                    <a:pt x="95" y="181"/>
                  </a:lnTo>
                  <a:lnTo>
                    <a:pt x="98" y="179"/>
                  </a:lnTo>
                  <a:lnTo>
                    <a:pt x="99" y="179"/>
                  </a:lnTo>
                  <a:lnTo>
                    <a:pt x="106" y="178"/>
                  </a:lnTo>
                  <a:lnTo>
                    <a:pt x="112" y="177"/>
                  </a:lnTo>
                  <a:lnTo>
                    <a:pt x="120" y="174"/>
                  </a:lnTo>
                  <a:lnTo>
                    <a:pt x="130" y="171"/>
                  </a:lnTo>
                  <a:lnTo>
                    <a:pt x="149" y="164"/>
                  </a:lnTo>
                  <a:lnTo>
                    <a:pt x="169" y="153"/>
                  </a:lnTo>
                  <a:lnTo>
                    <a:pt x="179" y="147"/>
                  </a:lnTo>
                  <a:lnTo>
                    <a:pt x="188" y="141"/>
                  </a:lnTo>
                  <a:lnTo>
                    <a:pt x="197" y="135"/>
                  </a:lnTo>
                  <a:lnTo>
                    <a:pt x="205" y="129"/>
                  </a:lnTo>
                  <a:lnTo>
                    <a:pt x="210" y="123"/>
                  </a:lnTo>
                  <a:lnTo>
                    <a:pt x="216" y="117"/>
                  </a:lnTo>
                  <a:lnTo>
                    <a:pt x="218" y="111"/>
                  </a:lnTo>
                  <a:lnTo>
                    <a:pt x="219" y="105"/>
                  </a:lnTo>
                  <a:lnTo>
                    <a:pt x="219" y="98"/>
                  </a:lnTo>
                  <a:lnTo>
                    <a:pt x="217" y="92"/>
                  </a:lnTo>
                  <a:lnTo>
                    <a:pt x="214" y="88"/>
                  </a:lnTo>
                  <a:lnTo>
                    <a:pt x="212" y="84"/>
                  </a:lnTo>
                  <a:lnTo>
                    <a:pt x="210" y="80"/>
                  </a:lnTo>
                  <a:lnTo>
                    <a:pt x="208" y="76"/>
                  </a:lnTo>
                  <a:lnTo>
                    <a:pt x="207" y="72"/>
                  </a:lnTo>
                  <a:lnTo>
                    <a:pt x="206" y="68"/>
                  </a:lnTo>
                  <a:lnTo>
                    <a:pt x="201" y="67"/>
                  </a:lnTo>
                  <a:lnTo>
                    <a:pt x="196" y="67"/>
                  </a:lnTo>
                  <a:lnTo>
                    <a:pt x="191" y="65"/>
                  </a:lnTo>
                  <a:lnTo>
                    <a:pt x="188" y="63"/>
                  </a:lnTo>
                  <a:lnTo>
                    <a:pt x="184" y="61"/>
                  </a:lnTo>
                  <a:lnTo>
                    <a:pt x="182" y="57"/>
                  </a:lnTo>
                  <a:lnTo>
                    <a:pt x="180" y="54"/>
                  </a:lnTo>
                  <a:lnTo>
                    <a:pt x="179" y="49"/>
                  </a:lnTo>
                  <a:lnTo>
                    <a:pt x="140" y="49"/>
                  </a:lnTo>
                  <a:lnTo>
                    <a:pt x="138" y="47"/>
                  </a:lnTo>
                  <a:lnTo>
                    <a:pt x="136" y="44"/>
                  </a:lnTo>
                  <a:lnTo>
                    <a:pt x="136" y="39"/>
                  </a:lnTo>
                  <a:lnTo>
                    <a:pt x="136" y="36"/>
                  </a:lnTo>
                  <a:lnTo>
                    <a:pt x="139" y="27"/>
                  </a:lnTo>
                  <a:lnTo>
                    <a:pt x="140" y="18"/>
                  </a:lnTo>
                  <a:lnTo>
                    <a:pt x="124" y="14"/>
                  </a:lnTo>
                  <a:lnTo>
                    <a:pt x="110" y="11"/>
                  </a:lnTo>
                  <a:lnTo>
                    <a:pt x="104" y="11"/>
                  </a:lnTo>
                  <a:lnTo>
                    <a:pt x="97" y="12"/>
                  </a:lnTo>
                  <a:lnTo>
                    <a:pt x="91" y="15"/>
                  </a:lnTo>
                  <a:lnTo>
                    <a:pt x="86" y="18"/>
                  </a:lnTo>
                  <a:lnTo>
                    <a:pt x="96" y="10"/>
                  </a:lnTo>
                  <a:lnTo>
                    <a:pt x="104" y="5"/>
                  </a:lnTo>
                  <a:lnTo>
                    <a:pt x="108" y="3"/>
                  </a:lnTo>
                  <a:lnTo>
                    <a:pt x="113" y="1"/>
                  </a:lnTo>
                  <a:lnTo>
                    <a:pt x="119" y="0"/>
                  </a:lnTo>
                  <a:lnTo>
                    <a:pt x="12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2" name="Freeform 281">
              <a:extLst>
                <a:ext uri="{FF2B5EF4-FFF2-40B4-BE49-F238E27FC236}">
                  <a16:creationId xmlns:a16="http://schemas.microsoft.com/office/drawing/2014/main" id="{63B38458-AD57-49D1-AFFE-E814F441CDF0}"/>
                </a:ext>
              </a:extLst>
            </p:cNvPr>
            <p:cNvSpPr>
              <a:spLocks/>
            </p:cNvSpPr>
            <p:nvPr>
              <p:custDataLst>
                <p:tags r:id="rId208"/>
              </p:custDataLst>
            </p:nvPr>
          </p:nvSpPr>
          <p:spPr bwMode="auto">
            <a:xfrm>
              <a:off x="5995981" y="3349599"/>
              <a:ext cx="63500" cy="119062"/>
            </a:xfrm>
            <a:custGeom>
              <a:avLst/>
              <a:gdLst>
                <a:gd name="T0" fmla="*/ 18465 w 141"/>
                <a:gd name="T1" fmla="*/ 119063 h 228"/>
                <a:gd name="T2" fmla="*/ 16213 w 141"/>
                <a:gd name="T3" fmla="*/ 114885 h 228"/>
                <a:gd name="T4" fmla="*/ 13060 w 141"/>
                <a:gd name="T5" fmla="*/ 108619 h 228"/>
                <a:gd name="T6" fmla="*/ 9908 w 141"/>
                <a:gd name="T7" fmla="*/ 101308 h 228"/>
                <a:gd name="T8" fmla="*/ 7206 w 141"/>
                <a:gd name="T9" fmla="*/ 92953 h 228"/>
                <a:gd name="T10" fmla="*/ 4504 w 141"/>
                <a:gd name="T11" fmla="*/ 85120 h 228"/>
                <a:gd name="T12" fmla="*/ 2252 w 141"/>
                <a:gd name="T13" fmla="*/ 77287 h 228"/>
                <a:gd name="T14" fmla="*/ 901 w 141"/>
                <a:gd name="T15" fmla="*/ 70498 h 228"/>
                <a:gd name="T16" fmla="*/ 0 w 141"/>
                <a:gd name="T17" fmla="*/ 64231 h 228"/>
                <a:gd name="T18" fmla="*/ 901 w 141"/>
                <a:gd name="T19" fmla="*/ 54309 h 228"/>
                <a:gd name="T20" fmla="*/ 1801 w 141"/>
                <a:gd name="T21" fmla="*/ 45432 h 228"/>
                <a:gd name="T22" fmla="*/ 2702 w 141"/>
                <a:gd name="T23" fmla="*/ 36554 h 228"/>
                <a:gd name="T24" fmla="*/ 4053 w 141"/>
                <a:gd name="T25" fmla="*/ 28721 h 228"/>
                <a:gd name="T26" fmla="*/ 8106 w 141"/>
                <a:gd name="T27" fmla="*/ 14622 h 228"/>
                <a:gd name="T28" fmla="*/ 12610 w 141"/>
                <a:gd name="T29" fmla="*/ 0 h 228"/>
                <a:gd name="T30" fmla="*/ 20266 w 141"/>
                <a:gd name="T31" fmla="*/ 8355 h 228"/>
                <a:gd name="T32" fmla="*/ 27922 w 141"/>
                <a:gd name="T33" fmla="*/ 14622 h 228"/>
                <a:gd name="T34" fmla="*/ 34227 w 141"/>
                <a:gd name="T35" fmla="*/ 19322 h 228"/>
                <a:gd name="T36" fmla="*/ 40082 w 141"/>
                <a:gd name="T37" fmla="*/ 25066 h 228"/>
                <a:gd name="T38" fmla="*/ 42784 w 141"/>
                <a:gd name="T39" fmla="*/ 28721 h 228"/>
                <a:gd name="T40" fmla="*/ 45486 w 141"/>
                <a:gd name="T41" fmla="*/ 32899 h 228"/>
                <a:gd name="T42" fmla="*/ 48188 w 141"/>
                <a:gd name="T43" fmla="*/ 38643 h 228"/>
                <a:gd name="T44" fmla="*/ 51340 w 141"/>
                <a:gd name="T45" fmla="*/ 44910 h 228"/>
                <a:gd name="T46" fmla="*/ 54043 w 141"/>
                <a:gd name="T47" fmla="*/ 52221 h 228"/>
                <a:gd name="T48" fmla="*/ 57195 w 141"/>
                <a:gd name="T49" fmla="*/ 61098 h 228"/>
                <a:gd name="T50" fmla="*/ 59897 w 141"/>
                <a:gd name="T51" fmla="*/ 72064 h 228"/>
                <a:gd name="T52" fmla="*/ 63500 w 141"/>
                <a:gd name="T53" fmla="*/ 84075 h 228"/>
                <a:gd name="T54" fmla="*/ 63050 w 141"/>
                <a:gd name="T55" fmla="*/ 88253 h 228"/>
                <a:gd name="T56" fmla="*/ 62149 w 141"/>
                <a:gd name="T57" fmla="*/ 92430 h 228"/>
                <a:gd name="T58" fmla="*/ 60798 w 141"/>
                <a:gd name="T59" fmla="*/ 97130 h 228"/>
                <a:gd name="T60" fmla="*/ 58996 w 141"/>
                <a:gd name="T61" fmla="*/ 100264 h 228"/>
                <a:gd name="T62" fmla="*/ 57195 w 141"/>
                <a:gd name="T63" fmla="*/ 103919 h 228"/>
                <a:gd name="T64" fmla="*/ 54493 w 141"/>
                <a:gd name="T65" fmla="*/ 106530 h 228"/>
                <a:gd name="T66" fmla="*/ 51791 w 141"/>
                <a:gd name="T67" fmla="*/ 109141 h 228"/>
                <a:gd name="T68" fmla="*/ 48638 w 141"/>
                <a:gd name="T69" fmla="*/ 111230 h 228"/>
                <a:gd name="T70" fmla="*/ 45035 w 141"/>
                <a:gd name="T71" fmla="*/ 113319 h 228"/>
                <a:gd name="T72" fmla="*/ 41883 w 141"/>
                <a:gd name="T73" fmla="*/ 114885 h 228"/>
                <a:gd name="T74" fmla="*/ 38280 w 141"/>
                <a:gd name="T75" fmla="*/ 116452 h 228"/>
                <a:gd name="T76" fmla="*/ 34227 w 141"/>
                <a:gd name="T77" fmla="*/ 117496 h 228"/>
                <a:gd name="T78" fmla="*/ 26571 w 141"/>
                <a:gd name="T79" fmla="*/ 118541 h 228"/>
                <a:gd name="T80" fmla="*/ 18465 w 141"/>
                <a:gd name="T81" fmla="*/ 119063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13" name="Group 282">
              <a:extLst>
                <a:ext uri="{FF2B5EF4-FFF2-40B4-BE49-F238E27FC236}">
                  <a16:creationId xmlns:a16="http://schemas.microsoft.com/office/drawing/2014/main" id="{22942B02-93C1-444E-A46A-0BFF0BD8B923}"/>
                </a:ext>
              </a:extLst>
            </p:cNvPr>
            <p:cNvGrpSpPr>
              <a:grpSpLocks/>
            </p:cNvGrpSpPr>
            <p:nvPr>
              <p:custDataLst>
                <p:tags r:id="rId209"/>
              </p:custDataLst>
            </p:nvPr>
          </p:nvGrpSpPr>
          <p:grpSpPr bwMode="auto">
            <a:xfrm>
              <a:off x="6935780" y="3060676"/>
              <a:ext cx="233362" cy="439734"/>
              <a:chOff x="5062" y="2295"/>
              <a:chExt cx="177" cy="279"/>
            </a:xfrm>
          </p:grpSpPr>
          <p:sp>
            <p:nvSpPr>
              <p:cNvPr id="458" name="Freeform 283">
                <a:extLst>
                  <a:ext uri="{FF2B5EF4-FFF2-40B4-BE49-F238E27FC236}">
                    <a16:creationId xmlns:a16="http://schemas.microsoft.com/office/drawing/2014/main" id="{F3C3A00B-BA0B-4650-B418-BC45A3E04C94}"/>
                  </a:ext>
                </a:extLst>
              </p:cNvPr>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9" name="Freeform 284">
                <a:extLst>
                  <a:ext uri="{FF2B5EF4-FFF2-40B4-BE49-F238E27FC236}">
                    <a16:creationId xmlns:a16="http://schemas.microsoft.com/office/drawing/2014/main" id="{6C5EE3DB-1B2E-4C01-9A72-68E0A15FD880}"/>
                  </a:ext>
                </a:extLst>
              </p:cNvPr>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0" name="Freeform 285">
                <a:extLst>
                  <a:ext uri="{FF2B5EF4-FFF2-40B4-BE49-F238E27FC236}">
                    <a16:creationId xmlns:a16="http://schemas.microsoft.com/office/drawing/2014/main" id="{44141F9C-398E-4449-8B33-78B51B09A5CD}"/>
                  </a:ext>
                </a:extLst>
              </p:cNvPr>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1" name="Freeform 286">
                <a:extLst>
                  <a:ext uri="{FF2B5EF4-FFF2-40B4-BE49-F238E27FC236}">
                    <a16:creationId xmlns:a16="http://schemas.microsoft.com/office/drawing/2014/main" id="{D5516329-3753-41AD-B56A-19CF83056043}"/>
                  </a:ext>
                </a:extLst>
              </p:cNvPr>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2" name="Freeform 287">
                <a:extLst>
                  <a:ext uri="{FF2B5EF4-FFF2-40B4-BE49-F238E27FC236}">
                    <a16:creationId xmlns:a16="http://schemas.microsoft.com/office/drawing/2014/main" id="{3909F387-EC57-4C6E-82B9-066F0F32FB5A}"/>
                  </a:ext>
                </a:extLst>
              </p:cNvPr>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3" name="Freeform 288">
                <a:extLst>
                  <a:ext uri="{FF2B5EF4-FFF2-40B4-BE49-F238E27FC236}">
                    <a16:creationId xmlns:a16="http://schemas.microsoft.com/office/drawing/2014/main" id="{7CE7BA79-FB71-4E5A-B2FF-FB965E4CA78B}"/>
                  </a:ext>
                </a:extLst>
              </p:cNvPr>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4" name="Freeform 289">
                <a:extLst>
                  <a:ext uri="{FF2B5EF4-FFF2-40B4-BE49-F238E27FC236}">
                    <a16:creationId xmlns:a16="http://schemas.microsoft.com/office/drawing/2014/main" id="{A9DDE9E0-C5DE-4912-9E3D-ED4B1B86C50A}"/>
                  </a:ext>
                </a:extLst>
              </p:cNvPr>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5" name="Freeform 290">
                <a:extLst>
                  <a:ext uri="{FF2B5EF4-FFF2-40B4-BE49-F238E27FC236}">
                    <a16:creationId xmlns:a16="http://schemas.microsoft.com/office/drawing/2014/main" id="{748FB1EA-CE81-46FD-B8E3-A72B07206B05}"/>
                  </a:ext>
                </a:extLst>
              </p:cNvPr>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6" name="Freeform 291">
                <a:extLst>
                  <a:ext uri="{FF2B5EF4-FFF2-40B4-BE49-F238E27FC236}">
                    <a16:creationId xmlns:a16="http://schemas.microsoft.com/office/drawing/2014/main" id="{86E90B8D-B7CA-4669-865B-F3B5A6DCB594}"/>
                  </a:ext>
                </a:extLst>
              </p:cNvPr>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7" name="Freeform 292">
                <a:extLst>
                  <a:ext uri="{FF2B5EF4-FFF2-40B4-BE49-F238E27FC236}">
                    <a16:creationId xmlns:a16="http://schemas.microsoft.com/office/drawing/2014/main" id="{010FA46C-40C0-4C2F-AB38-619CA4B301B4}"/>
                  </a:ext>
                </a:extLst>
              </p:cNvPr>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8" name="Freeform 293">
                <a:extLst>
                  <a:ext uri="{FF2B5EF4-FFF2-40B4-BE49-F238E27FC236}">
                    <a16:creationId xmlns:a16="http://schemas.microsoft.com/office/drawing/2014/main" id="{3AB300F9-AB81-48B3-B74E-C5D685B9B07C}"/>
                  </a:ext>
                </a:extLst>
              </p:cNvPr>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69" name="Freeform 294">
                <a:extLst>
                  <a:ext uri="{FF2B5EF4-FFF2-40B4-BE49-F238E27FC236}">
                    <a16:creationId xmlns:a16="http://schemas.microsoft.com/office/drawing/2014/main" id="{4029FB06-97FC-4D48-935D-D35658AA2DBA}"/>
                  </a:ext>
                </a:extLst>
              </p:cNvPr>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0" name="Freeform 295">
                <a:extLst>
                  <a:ext uri="{FF2B5EF4-FFF2-40B4-BE49-F238E27FC236}">
                    <a16:creationId xmlns:a16="http://schemas.microsoft.com/office/drawing/2014/main" id="{92862D2C-366E-4A6F-83F8-1F400E84F70C}"/>
                  </a:ext>
                </a:extLst>
              </p:cNvPr>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1" name="Freeform 296">
                <a:extLst>
                  <a:ext uri="{FF2B5EF4-FFF2-40B4-BE49-F238E27FC236}">
                    <a16:creationId xmlns:a16="http://schemas.microsoft.com/office/drawing/2014/main" id="{0299E08C-5DEE-4E90-8C2E-E88BE75119A1}"/>
                  </a:ext>
                </a:extLst>
              </p:cNvPr>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2" name="Freeform 297">
                <a:extLst>
                  <a:ext uri="{FF2B5EF4-FFF2-40B4-BE49-F238E27FC236}">
                    <a16:creationId xmlns:a16="http://schemas.microsoft.com/office/drawing/2014/main" id="{F382778A-7AF1-48D5-9AA3-3F5B64C0AD66}"/>
                  </a:ext>
                </a:extLst>
              </p:cNvPr>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3" name="Line 298">
                <a:extLst>
                  <a:ext uri="{FF2B5EF4-FFF2-40B4-BE49-F238E27FC236}">
                    <a16:creationId xmlns:a16="http://schemas.microsoft.com/office/drawing/2014/main" id="{4E1476EA-9B74-4214-904C-767E5AB81DD4}"/>
                  </a:ext>
                </a:extLst>
              </p:cNvPr>
              <p:cNvSpPr>
                <a:spLocks noChangeShapeType="1"/>
              </p:cNvSpPr>
              <p:nvPr/>
            </p:nvSpPr>
            <p:spPr bwMode="auto">
              <a:xfrm>
                <a:off x="5180" y="2449"/>
                <a:ext cx="1" cy="10"/>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4" name="Freeform 299">
                <a:extLst>
                  <a:ext uri="{FF2B5EF4-FFF2-40B4-BE49-F238E27FC236}">
                    <a16:creationId xmlns:a16="http://schemas.microsoft.com/office/drawing/2014/main" id="{2979E32E-4B18-4C81-95BC-FB3E0115F97C}"/>
                  </a:ext>
                </a:extLst>
              </p:cNvPr>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5" name="Line 300">
                <a:extLst>
                  <a:ext uri="{FF2B5EF4-FFF2-40B4-BE49-F238E27FC236}">
                    <a16:creationId xmlns:a16="http://schemas.microsoft.com/office/drawing/2014/main" id="{DFB198A1-EA40-40FA-96B0-424C7AC8E342}"/>
                  </a:ext>
                </a:extLst>
              </p:cNvPr>
              <p:cNvSpPr>
                <a:spLocks noChangeShapeType="1"/>
              </p:cNvSpPr>
              <p:nvPr/>
            </p:nvSpPr>
            <p:spPr bwMode="auto">
              <a:xfrm flipH="1" flipV="1">
                <a:off x="5178" y="2447"/>
                <a:ext cx="6" cy="6"/>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6" name="Freeform 301">
                <a:extLst>
                  <a:ext uri="{FF2B5EF4-FFF2-40B4-BE49-F238E27FC236}">
                    <a16:creationId xmlns:a16="http://schemas.microsoft.com/office/drawing/2014/main" id="{D2082A2D-4744-44C2-9CB6-B651BE417AEB}"/>
                  </a:ext>
                </a:extLst>
              </p:cNvPr>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7" name="Freeform 302">
                <a:extLst>
                  <a:ext uri="{FF2B5EF4-FFF2-40B4-BE49-F238E27FC236}">
                    <a16:creationId xmlns:a16="http://schemas.microsoft.com/office/drawing/2014/main" id="{FFBF5E5F-C5BF-4FF0-AFB9-1D07422B4AC8}"/>
                  </a:ext>
                </a:extLst>
              </p:cNvPr>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8" name="Freeform 303">
                <a:extLst>
                  <a:ext uri="{FF2B5EF4-FFF2-40B4-BE49-F238E27FC236}">
                    <a16:creationId xmlns:a16="http://schemas.microsoft.com/office/drawing/2014/main" id="{DCAF7EB8-D8B7-4C40-AE16-80519236217F}"/>
                  </a:ext>
                </a:extLst>
              </p:cNvPr>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79" name="Freeform 304">
                <a:extLst>
                  <a:ext uri="{FF2B5EF4-FFF2-40B4-BE49-F238E27FC236}">
                    <a16:creationId xmlns:a16="http://schemas.microsoft.com/office/drawing/2014/main" id="{253A7BD3-BCB2-4BE0-8B17-6ABC4C85DB04}"/>
                  </a:ext>
                </a:extLst>
              </p:cNvPr>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0" name="Freeform 305">
                <a:extLst>
                  <a:ext uri="{FF2B5EF4-FFF2-40B4-BE49-F238E27FC236}">
                    <a16:creationId xmlns:a16="http://schemas.microsoft.com/office/drawing/2014/main" id="{5A48D05D-8182-467E-9194-67FADE2F78B2}"/>
                  </a:ext>
                </a:extLst>
              </p:cNvPr>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81" name="Line 306">
                <a:extLst>
                  <a:ext uri="{FF2B5EF4-FFF2-40B4-BE49-F238E27FC236}">
                    <a16:creationId xmlns:a16="http://schemas.microsoft.com/office/drawing/2014/main" id="{5C6EF618-8C86-4747-9416-64E93C7A728B}"/>
                  </a:ext>
                </a:extLst>
              </p:cNvPr>
              <p:cNvSpPr>
                <a:spLocks noChangeShapeType="1"/>
              </p:cNvSpPr>
              <p:nvPr/>
            </p:nvSpPr>
            <p:spPr bwMode="auto">
              <a:xfrm flipV="1">
                <a:off x="5191" y="2516"/>
                <a:ext cx="6"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14" name="Freeform 307">
              <a:extLst>
                <a:ext uri="{FF2B5EF4-FFF2-40B4-BE49-F238E27FC236}">
                  <a16:creationId xmlns:a16="http://schemas.microsoft.com/office/drawing/2014/main" id="{D3B472B2-2199-4002-8DFD-C664B6C9CB62}"/>
                </a:ext>
              </a:extLst>
            </p:cNvPr>
            <p:cNvSpPr>
              <a:spLocks/>
            </p:cNvSpPr>
            <p:nvPr>
              <p:custDataLst>
                <p:tags r:id="rId210"/>
              </p:custDataLst>
            </p:nvPr>
          </p:nvSpPr>
          <p:spPr bwMode="auto">
            <a:xfrm>
              <a:off x="7280266" y="3879819"/>
              <a:ext cx="14288" cy="55562"/>
            </a:xfrm>
            <a:custGeom>
              <a:avLst/>
              <a:gdLst>
                <a:gd name="T0" fmla="*/ 0 w 33"/>
                <a:gd name="T1" fmla="*/ 55563 h 43"/>
                <a:gd name="T2" fmla="*/ 433 w 33"/>
                <a:gd name="T3" fmla="*/ 43934 h 43"/>
                <a:gd name="T4" fmla="*/ 866 w 33"/>
                <a:gd name="T5" fmla="*/ 34888 h 43"/>
                <a:gd name="T6" fmla="*/ 2165 w 33"/>
                <a:gd name="T7" fmla="*/ 27135 h 43"/>
                <a:gd name="T8" fmla="*/ 3897 w 33"/>
                <a:gd name="T9" fmla="*/ 19382 h 43"/>
                <a:gd name="T10" fmla="*/ 6062 w 33"/>
                <a:gd name="T11" fmla="*/ 11629 h 43"/>
                <a:gd name="T12" fmla="*/ 8659 w 33"/>
                <a:gd name="T13" fmla="*/ 6461 h 43"/>
                <a:gd name="T14" fmla="*/ 11257 w 33"/>
                <a:gd name="T15" fmla="*/ 2584 h 43"/>
                <a:gd name="T16" fmla="*/ 14288 w 33"/>
                <a:gd name="T17" fmla="*/ 0 h 43"/>
                <a:gd name="T18" fmla="*/ 14288 w 33"/>
                <a:gd name="T19" fmla="*/ 32304 h 43"/>
                <a:gd name="T20" fmla="*/ 9958 w 33"/>
                <a:gd name="T21" fmla="*/ 34888 h 43"/>
                <a:gd name="T22" fmla="*/ 7793 w 33"/>
                <a:gd name="T23" fmla="*/ 37473 h 43"/>
                <a:gd name="T24" fmla="*/ 6928 w 33"/>
                <a:gd name="T25" fmla="*/ 41349 h 43"/>
                <a:gd name="T26" fmla="*/ 6928 w 33"/>
                <a:gd name="T27" fmla="*/ 43934 h 43"/>
                <a:gd name="T28" fmla="*/ 6928 w 33"/>
                <a:gd name="T29" fmla="*/ 46518 h 43"/>
                <a:gd name="T30" fmla="*/ 6062 w 33"/>
                <a:gd name="T31" fmla="*/ 49102 h 43"/>
                <a:gd name="T32" fmla="*/ 4330 w 33"/>
                <a:gd name="T33" fmla="*/ 52979 h 43"/>
                <a:gd name="T34" fmla="*/ 0 w 33"/>
                <a:gd name="T35" fmla="*/ 55563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3" h="43">
                  <a:moveTo>
                    <a:pt x="0" y="43"/>
                  </a:moveTo>
                  <a:lnTo>
                    <a:pt x="1" y="34"/>
                  </a:lnTo>
                  <a:lnTo>
                    <a:pt x="2" y="27"/>
                  </a:lnTo>
                  <a:lnTo>
                    <a:pt x="5" y="21"/>
                  </a:lnTo>
                  <a:lnTo>
                    <a:pt x="9" y="15"/>
                  </a:lnTo>
                  <a:lnTo>
                    <a:pt x="14" y="9"/>
                  </a:lnTo>
                  <a:lnTo>
                    <a:pt x="20" y="5"/>
                  </a:lnTo>
                  <a:lnTo>
                    <a:pt x="26" y="2"/>
                  </a:lnTo>
                  <a:lnTo>
                    <a:pt x="33" y="0"/>
                  </a:lnTo>
                  <a:lnTo>
                    <a:pt x="33" y="25"/>
                  </a:lnTo>
                  <a:lnTo>
                    <a:pt x="23" y="27"/>
                  </a:lnTo>
                  <a:lnTo>
                    <a:pt x="18" y="29"/>
                  </a:lnTo>
                  <a:lnTo>
                    <a:pt x="16" y="32"/>
                  </a:lnTo>
                  <a:lnTo>
                    <a:pt x="16" y="34"/>
                  </a:lnTo>
                  <a:lnTo>
                    <a:pt x="16" y="36"/>
                  </a:lnTo>
                  <a:lnTo>
                    <a:pt x="14" y="38"/>
                  </a:lnTo>
                  <a:lnTo>
                    <a:pt x="10" y="41"/>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5" name="Freeform 308">
              <a:extLst>
                <a:ext uri="{FF2B5EF4-FFF2-40B4-BE49-F238E27FC236}">
                  <a16:creationId xmlns:a16="http://schemas.microsoft.com/office/drawing/2014/main" id="{AB685D28-CBFD-4002-8254-FFB721249AEF}"/>
                </a:ext>
              </a:extLst>
            </p:cNvPr>
            <p:cNvSpPr>
              <a:spLocks/>
            </p:cNvSpPr>
            <p:nvPr>
              <p:custDataLst>
                <p:tags r:id="rId211"/>
              </p:custDataLst>
            </p:nvPr>
          </p:nvSpPr>
          <p:spPr bwMode="auto">
            <a:xfrm>
              <a:off x="7356466" y="3819495"/>
              <a:ext cx="22225" cy="58738"/>
            </a:xfrm>
            <a:custGeom>
              <a:avLst/>
              <a:gdLst>
                <a:gd name="T0" fmla="*/ 0 w 54"/>
                <a:gd name="T1" fmla="*/ 35115 h 92"/>
                <a:gd name="T2" fmla="*/ 412 w 54"/>
                <a:gd name="T3" fmla="*/ 32561 h 92"/>
                <a:gd name="T4" fmla="*/ 823 w 54"/>
                <a:gd name="T5" fmla="*/ 29369 h 92"/>
                <a:gd name="T6" fmla="*/ 1235 w 54"/>
                <a:gd name="T7" fmla="*/ 26815 h 92"/>
                <a:gd name="T8" fmla="*/ 2469 w 54"/>
                <a:gd name="T9" fmla="*/ 23623 h 92"/>
                <a:gd name="T10" fmla="*/ 4527 w 54"/>
                <a:gd name="T11" fmla="*/ 18515 h 92"/>
                <a:gd name="T12" fmla="*/ 7408 w 54"/>
                <a:gd name="T13" fmla="*/ 13408 h 92"/>
                <a:gd name="T14" fmla="*/ 12759 w 54"/>
                <a:gd name="T15" fmla="*/ 4469 h 92"/>
                <a:gd name="T16" fmla="*/ 16875 w 54"/>
                <a:gd name="T17" fmla="*/ 0 h 92"/>
                <a:gd name="T18" fmla="*/ 22225 w 54"/>
                <a:gd name="T19" fmla="*/ 7661 h 92"/>
                <a:gd name="T20" fmla="*/ 20990 w 54"/>
                <a:gd name="T21" fmla="*/ 13408 h 92"/>
                <a:gd name="T22" fmla="*/ 19344 w 54"/>
                <a:gd name="T23" fmla="*/ 18515 h 92"/>
                <a:gd name="T24" fmla="*/ 18109 w 54"/>
                <a:gd name="T25" fmla="*/ 22346 h 92"/>
                <a:gd name="T26" fmla="*/ 16875 w 54"/>
                <a:gd name="T27" fmla="*/ 26177 h 92"/>
                <a:gd name="T28" fmla="*/ 13582 w 54"/>
                <a:gd name="T29" fmla="*/ 31284 h 92"/>
                <a:gd name="T30" fmla="*/ 11524 w 54"/>
                <a:gd name="T31" fmla="*/ 35115 h 92"/>
                <a:gd name="T32" fmla="*/ 10701 w 54"/>
                <a:gd name="T33" fmla="*/ 40861 h 92"/>
                <a:gd name="T34" fmla="*/ 10701 w 54"/>
                <a:gd name="T35" fmla="*/ 47246 h 92"/>
                <a:gd name="T36" fmla="*/ 9878 w 54"/>
                <a:gd name="T37" fmla="*/ 52992 h 92"/>
                <a:gd name="T38" fmla="*/ 8231 w 54"/>
                <a:gd name="T39" fmla="*/ 58738 h 92"/>
                <a:gd name="T40" fmla="*/ 5762 w 54"/>
                <a:gd name="T41" fmla="*/ 52992 h 92"/>
                <a:gd name="T42" fmla="*/ 3293 w 54"/>
                <a:gd name="T43" fmla="*/ 47246 h 92"/>
                <a:gd name="T44" fmla="*/ 2058 w 54"/>
                <a:gd name="T45" fmla="*/ 44692 h 92"/>
                <a:gd name="T46" fmla="*/ 823 w 54"/>
                <a:gd name="T47" fmla="*/ 40861 h 92"/>
                <a:gd name="T48" fmla="*/ 412 w 54"/>
                <a:gd name="T49" fmla="*/ 38307 h 92"/>
                <a:gd name="T50" fmla="*/ 0 w 54"/>
                <a:gd name="T51" fmla="*/ 35115 h 9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54" h="92">
                  <a:moveTo>
                    <a:pt x="0" y="55"/>
                  </a:moveTo>
                  <a:lnTo>
                    <a:pt x="1" y="51"/>
                  </a:lnTo>
                  <a:lnTo>
                    <a:pt x="2" y="46"/>
                  </a:lnTo>
                  <a:lnTo>
                    <a:pt x="3" y="42"/>
                  </a:lnTo>
                  <a:lnTo>
                    <a:pt x="6" y="37"/>
                  </a:lnTo>
                  <a:lnTo>
                    <a:pt x="11" y="29"/>
                  </a:lnTo>
                  <a:lnTo>
                    <a:pt x="18" y="21"/>
                  </a:lnTo>
                  <a:lnTo>
                    <a:pt x="31" y="7"/>
                  </a:lnTo>
                  <a:lnTo>
                    <a:pt x="41" y="0"/>
                  </a:lnTo>
                  <a:lnTo>
                    <a:pt x="54" y="12"/>
                  </a:lnTo>
                  <a:lnTo>
                    <a:pt x="51" y="21"/>
                  </a:lnTo>
                  <a:lnTo>
                    <a:pt x="47" y="29"/>
                  </a:lnTo>
                  <a:lnTo>
                    <a:pt x="44" y="35"/>
                  </a:lnTo>
                  <a:lnTo>
                    <a:pt x="41" y="41"/>
                  </a:lnTo>
                  <a:lnTo>
                    <a:pt x="33" y="49"/>
                  </a:lnTo>
                  <a:lnTo>
                    <a:pt x="28" y="55"/>
                  </a:lnTo>
                  <a:lnTo>
                    <a:pt x="26" y="64"/>
                  </a:lnTo>
                  <a:lnTo>
                    <a:pt x="26" y="74"/>
                  </a:lnTo>
                  <a:lnTo>
                    <a:pt x="24" y="83"/>
                  </a:lnTo>
                  <a:lnTo>
                    <a:pt x="20" y="92"/>
                  </a:lnTo>
                  <a:lnTo>
                    <a:pt x="14" y="83"/>
                  </a:lnTo>
                  <a:lnTo>
                    <a:pt x="8" y="74"/>
                  </a:lnTo>
                  <a:lnTo>
                    <a:pt x="5" y="70"/>
                  </a:lnTo>
                  <a:lnTo>
                    <a:pt x="2" y="64"/>
                  </a:lnTo>
                  <a:lnTo>
                    <a:pt x="1" y="60"/>
                  </a:lnTo>
                  <a:lnTo>
                    <a:pt x="0" y="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6" name="Freeform 309">
              <a:extLst>
                <a:ext uri="{FF2B5EF4-FFF2-40B4-BE49-F238E27FC236}">
                  <a16:creationId xmlns:a16="http://schemas.microsoft.com/office/drawing/2014/main" id="{2EF91F50-44B7-4A8E-BDE7-D456D8C70D19}"/>
                </a:ext>
              </a:extLst>
            </p:cNvPr>
            <p:cNvSpPr>
              <a:spLocks/>
            </p:cNvSpPr>
            <p:nvPr>
              <p:custDataLst>
                <p:tags r:id="rId212"/>
              </p:custDataLst>
            </p:nvPr>
          </p:nvSpPr>
          <p:spPr bwMode="auto">
            <a:xfrm>
              <a:off x="7404091" y="3698846"/>
              <a:ext cx="23813" cy="57150"/>
            </a:xfrm>
            <a:custGeom>
              <a:avLst/>
              <a:gdLst>
                <a:gd name="T0" fmla="*/ 0 w 60"/>
                <a:gd name="T1" fmla="*/ 0 h 18"/>
                <a:gd name="T2" fmla="*/ 7541 w 60"/>
                <a:gd name="T3" fmla="*/ 12700 h 18"/>
                <a:gd name="T4" fmla="*/ 14685 w 60"/>
                <a:gd name="T5" fmla="*/ 28575 h 18"/>
                <a:gd name="T6" fmla="*/ 17860 w 60"/>
                <a:gd name="T7" fmla="*/ 34925 h 18"/>
                <a:gd name="T8" fmla="*/ 20241 w 60"/>
                <a:gd name="T9" fmla="*/ 41275 h 18"/>
                <a:gd name="T10" fmla="*/ 22225 w 60"/>
                <a:gd name="T11" fmla="*/ 50800 h 18"/>
                <a:gd name="T12" fmla="*/ 23813 w 60"/>
                <a:gd name="T13" fmla="*/ 57150 h 18"/>
                <a:gd name="T14" fmla="*/ 15082 w 60"/>
                <a:gd name="T15" fmla="*/ 57150 h 18"/>
                <a:gd name="T16" fmla="*/ 9128 w 60"/>
                <a:gd name="T17" fmla="*/ 57150 h 18"/>
                <a:gd name="T18" fmla="*/ 3969 w 60"/>
                <a:gd name="T19" fmla="*/ 57150 h 18"/>
                <a:gd name="T20" fmla="*/ 0 w 60"/>
                <a:gd name="T21" fmla="*/ 57150 h 18"/>
                <a:gd name="T22" fmla="*/ 0 w 60"/>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60" h="18">
                  <a:moveTo>
                    <a:pt x="0" y="0"/>
                  </a:moveTo>
                  <a:lnTo>
                    <a:pt x="19" y="4"/>
                  </a:lnTo>
                  <a:lnTo>
                    <a:pt x="37" y="9"/>
                  </a:lnTo>
                  <a:lnTo>
                    <a:pt x="45" y="11"/>
                  </a:lnTo>
                  <a:lnTo>
                    <a:pt x="51" y="13"/>
                  </a:lnTo>
                  <a:lnTo>
                    <a:pt x="56" y="16"/>
                  </a:lnTo>
                  <a:lnTo>
                    <a:pt x="60" y="18"/>
                  </a:lnTo>
                  <a:lnTo>
                    <a:pt x="38" y="18"/>
                  </a:lnTo>
                  <a:lnTo>
                    <a:pt x="23" y="18"/>
                  </a:lnTo>
                  <a:lnTo>
                    <a:pt x="10" y="18"/>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7" name="Freeform 310">
              <a:extLst>
                <a:ext uri="{FF2B5EF4-FFF2-40B4-BE49-F238E27FC236}">
                  <a16:creationId xmlns:a16="http://schemas.microsoft.com/office/drawing/2014/main" id="{F654EB81-E09F-4934-9E6A-D7F678C71640}"/>
                </a:ext>
              </a:extLst>
            </p:cNvPr>
            <p:cNvSpPr>
              <a:spLocks/>
            </p:cNvSpPr>
            <p:nvPr>
              <p:custDataLst>
                <p:tags r:id="rId213"/>
              </p:custDataLst>
            </p:nvPr>
          </p:nvSpPr>
          <p:spPr bwMode="auto">
            <a:xfrm>
              <a:off x="7388216" y="3668684"/>
              <a:ext cx="25400" cy="57150"/>
            </a:xfrm>
            <a:custGeom>
              <a:avLst/>
              <a:gdLst>
                <a:gd name="T0" fmla="*/ 0 w 66"/>
                <a:gd name="T1" fmla="*/ 57150 h 18"/>
                <a:gd name="T2" fmla="*/ 25400 w 66"/>
                <a:gd name="T3" fmla="*/ 57150 h 18"/>
                <a:gd name="T4" fmla="*/ 20012 w 66"/>
                <a:gd name="T5" fmla="*/ 41275 h 18"/>
                <a:gd name="T6" fmla="*/ 15394 w 66"/>
                <a:gd name="T7" fmla="*/ 22225 h 18"/>
                <a:gd name="T8" fmla="*/ 13470 w 66"/>
                <a:gd name="T9" fmla="*/ 12700 h 18"/>
                <a:gd name="T10" fmla="*/ 11161 w 66"/>
                <a:gd name="T11" fmla="*/ 6350 h 18"/>
                <a:gd name="T12" fmla="*/ 9621 w 66"/>
                <a:gd name="T13" fmla="*/ 3175 h 18"/>
                <a:gd name="T14" fmla="*/ 7312 w 66"/>
                <a:gd name="T15" fmla="*/ 0 h 18"/>
                <a:gd name="T16" fmla="*/ 0 w 66"/>
                <a:gd name="T17" fmla="*/ 5715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18">
                  <a:moveTo>
                    <a:pt x="0" y="18"/>
                  </a:moveTo>
                  <a:lnTo>
                    <a:pt x="66" y="18"/>
                  </a:lnTo>
                  <a:lnTo>
                    <a:pt x="52" y="13"/>
                  </a:lnTo>
                  <a:lnTo>
                    <a:pt x="40" y="7"/>
                  </a:lnTo>
                  <a:lnTo>
                    <a:pt x="35" y="4"/>
                  </a:lnTo>
                  <a:lnTo>
                    <a:pt x="29" y="2"/>
                  </a:lnTo>
                  <a:lnTo>
                    <a:pt x="25" y="1"/>
                  </a:lnTo>
                  <a:lnTo>
                    <a:pt x="19" y="0"/>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8" name="Freeform 311">
              <a:extLst>
                <a:ext uri="{FF2B5EF4-FFF2-40B4-BE49-F238E27FC236}">
                  <a16:creationId xmlns:a16="http://schemas.microsoft.com/office/drawing/2014/main" id="{A6E190A2-1B88-49F3-B6AD-962D2BA0E05A}"/>
                </a:ext>
              </a:extLst>
            </p:cNvPr>
            <p:cNvSpPr>
              <a:spLocks/>
            </p:cNvSpPr>
            <p:nvPr>
              <p:custDataLst>
                <p:tags r:id="rId214"/>
              </p:custDataLst>
            </p:nvPr>
          </p:nvSpPr>
          <p:spPr bwMode="auto">
            <a:xfrm>
              <a:off x="7213591" y="3565497"/>
              <a:ext cx="7938" cy="57150"/>
            </a:xfrm>
            <a:custGeom>
              <a:avLst/>
              <a:gdLst>
                <a:gd name="T0" fmla="*/ 0 w 17"/>
                <a:gd name="T1" fmla="*/ 48986 h 42"/>
                <a:gd name="T2" fmla="*/ 6070 w 17"/>
                <a:gd name="T3" fmla="*/ 57150 h 42"/>
                <a:gd name="T4" fmla="*/ 6537 w 17"/>
                <a:gd name="T5" fmla="*/ 44904 h 42"/>
                <a:gd name="T6" fmla="*/ 7471 w 17"/>
                <a:gd name="T7" fmla="*/ 31296 h 42"/>
                <a:gd name="T8" fmla="*/ 7938 w 17"/>
                <a:gd name="T9" fmla="*/ 24493 h 42"/>
                <a:gd name="T10" fmla="*/ 7471 w 17"/>
                <a:gd name="T11" fmla="*/ 16329 h 42"/>
                <a:gd name="T12" fmla="*/ 7471 w 17"/>
                <a:gd name="T13" fmla="*/ 8164 h 42"/>
                <a:gd name="T14" fmla="*/ 6070 w 17"/>
                <a:gd name="T15" fmla="*/ 0 h 42"/>
                <a:gd name="T16" fmla="*/ 0 w 17"/>
                <a:gd name="T17" fmla="*/ 48986 h 42"/>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7" h="42">
                  <a:moveTo>
                    <a:pt x="0" y="36"/>
                  </a:moveTo>
                  <a:lnTo>
                    <a:pt x="13" y="42"/>
                  </a:lnTo>
                  <a:lnTo>
                    <a:pt x="14" y="33"/>
                  </a:lnTo>
                  <a:lnTo>
                    <a:pt x="16" y="23"/>
                  </a:lnTo>
                  <a:lnTo>
                    <a:pt x="17" y="18"/>
                  </a:lnTo>
                  <a:lnTo>
                    <a:pt x="16" y="12"/>
                  </a:lnTo>
                  <a:lnTo>
                    <a:pt x="16" y="6"/>
                  </a:lnTo>
                  <a:lnTo>
                    <a:pt x="13" y="0"/>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19" name="Freeform 312">
              <a:extLst>
                <a:ext uri="{FF2B5EF4-FFF2-40B4-BE49-F238E27FC236}">
                  <a16:creationId xmlns:a16="http://schemas.microsoft.com/office/drawing/2014/main" id="{4B45A946-047C-46DC-A380-EA3C4EB3A38F}"/>
                </a:ext>
              </a:extLst>
            </p:cNvPr>
            <p:cNvSpPr>
              <a:spLocks/>
            </p:cNvSpPr>
            <p:nvPr>
              <p:custDataLst>
                <p:tags r:id="rId215"/>
              </p:custDataLst>
            </p:nvPr>
          </p:nvSpPr>
          <p:spPr bwMode="auto">
            <a:xfrm>
              <a:off x="7140566" y="3700434"/>
              <a:ext cx="30163" cy="58737"/>
            </a:xfrm>
            <a:custGeom>
              <a:avLst/>
              <a:gdLst>
                <a:gd name="T0" fmla="*/ 2514 w 72"/>
                <a:gd name="T1" fmla="*/ 58737 h 29"/>
                <a:gd name="T2" fmla="*/ 6284 w 72"/>
                <a:gd name="T3" fmla="*/ 52661 h 29"/>
                <a:gd name="T4" fmla="*/ 10054 w 72"/>
                <a:gd name="T5" fmla="*/ 48610 h 29"/>
                <a:gd name="T6" fmla="*/ 13406 w 72"/>
                <a:gd name="T7" fmla="*/ 48610 h 29"/>
                <a:gd name="T8" fmla="*/ 16338 w 72"/>
                <a:gd name="T9" fmla="*/ 48610 h 29"/>
                <a:gd name="T10" fmla="*/ 23041 w 72"/>
                <a:gd name="T11" fmla="*/ 54686 h 29"/>
                <a:gd name="T12" fmla="*/ 30163 w 72"/>
                <a:gd name="T13" fmla="*/ 58737 h 29"/>
                <a:gd name="T14" fmla="*/ 30163 w 72"/>
                <a:gd name="T15" fmla="*/ 8102 h 29"/>
                <a:gd name="T16" fmla="*/ 24298 w 72"/>
                <a:gd name="T17" fmla="*/ 2025 h 29"/>
                <a:gd name="T18" fmla="*/ 19690 w 72"/>
                <a:gd name="T19" fmla="*/ 0 h 29"/>
                <a:gd name="T20" fmla="*/ 16338 w 72"/>
                <a:gd name="T21" fmla="*/ 0 h 29"/>
                <a:gd name="T22" fmla="*/ 14244 w 72"/>
                <a:gd name="T23" fmla="*/ 4051 h 29"/>
                <a:gd name="T24" fmla="*/ 11311 w 72"/>
                <a:gd name="T25" fmla="*/ 6076 h 29"/>
                <a:gd name="T26" fmla="*/ 8798 w 72"/>
                <a:gd name="T27" fmla="*/ 10127 h 29"/>
                <a:gd name="T28" fmla="*/ 5027 w 72"/>
                <a:gd name="T29" fmla="*/ 10127 h 29"/>
                <a:gd name="T30" fmla="*/ 0 w 72"/>
                <a:gd name="T31" fmla="*/ 8102 h 29"/>
                <a:gd name="T32" fmla="*/ 1257 w 72"/>
                <a:gd name="T33" fmla="*/ 32407 h 29"/>
                <a:gd name="T34" fmla="*/ 2514 w 72"/>
                <a:gd name="T35" fmla="*/ 58737 h 29"/>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29">
                  <a:moveTo>
                    <a:pt x="6" y="29"/>
                  </a:moveTo>
                  <a:lnTo>
                    <a:pt x="15" y="26"/>
                  </a:lnTo>
                  <a:lnTo>
                    <a:pt x="24" y="24"/>
                  </a:lnTo>
                  <a:lnTo>
                    <a:pt x="32" y="24"/>
                  </a:lnTo>
                  <a:lnTo>
                    <a:pt x="39" y="24"/>
                  </a:lnTo>
                  <a:lnTo>
                    <a:pt x="55" y="27"/>
                  </a:lnTo>
                  <a:lnTo>
                    <a:pt x="72" y="29"/>
                  </a:lnTo>
                  <a:lnTo>
                    <a:pt x="72" y="4"/>
                  </a:lnTo>
                  <a:lnTo>
                    <a:pt x="58" y="1"/>
                  </a:lnTo>
                  <a:lnTo>
                    <a:pt x="47" y="0"/>
                  </a:lnTo>
                  <a:lnTo>
                    <a:pt x="39" y="0"/>
                  </a:lnTo>
                  <a:lnTo>
                    <a:pt x="34" y="2"/>
                  </a:lnTo>
                  <a:lnTo>
                    <a:pt x="27" y="3"/>
                  </a:lnTo>
                  <a:lnTo>
                    <a:pt x="21" y="5"/>
                  </a:lnTo>
                  <a:lnTo>
                    <a:pt x="12" y="5"/>
                  </a:lnTo>
                  <a:lnTo>
                    <a:pt x="0" y="4"/>
                  </a:lnTo>
                  <a:lnTo>
                    <a:pt x="3" y="16"/>
                  </a:lnTo>
                  <a:lnTo>
                    <a:pt x="6" y="2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0" name="Freeform 313">
              <a:extLst>
                <a:ext uri="{FF2B5EF4-FFF2-40B4-BE49-F238E27FC236}">
                  <a16:creationId xmlns:a16="http://schemas.microsoft.com/office/drawing/2014/main" id="{8125808C-3658-49A4-9408-E756FB1AEEFF}"/>
                </a:ext>
              </a:extLst>
            </p:cNvPr>
            <p:cNvSpPr>
              <a:spLocks/>
            </p:cNvSpPr>
            <p:nvPr>
              <p:custDataLst>
                <p:tags r:id="rId216"/>
              </p:custDataLst>
            </p:nvPr>
          </p:nvSpPr>
          <p:spPr bwMode="auto">
            <a:xfrm>
              <a:off x="7148504" y="3886169"/>
              <a:ext cx="19050" cy="55562"/>
            </a:xfrm>
            <a:custGeom>
              <a:avLst/>
              <a:gdLst>
                <a:gd name="T0" fmla="*/ 0 w 46"/>
                <a:gd name="T1" fmla="*/ 0 h 37"/>
                <a:gd name="T2" fmla="*/ 3727 w 46"/>
                <a:gd name="T3" fmla="*/ 13515 h 37"/>
                <a:gd name="T4" fmla="*/ 8283 w 46"/>
                <a:gd name="T5" fmla="*/ 22526 h 37"/>
                <a:gd name="T6" fmla="*/ 12838 w 46"/>
                <a:gd name="T7" fmla="*/ 30034 h 37"/>
                <a:gd name="T8" fmla="*/ 19050 w 46"/>
                <a:gd name="T9" fmla="*/ 37543 h 37"/>
                <a:gd name="T10" fmla="*/ 15323 w 46"/>
                <a:gd name="T11" fmla="*/ 43549 h 37"/>
                <a:gd name="T12" fmla="*/ 12010 w 46"/>
                <a:gd name="T13" fmla="*/ 49556 h 37"/>
                <a:gd name="T14" fmla="*/ 8697 w 46"/>
                <a:gd name="T15" fmla="*/ 54061 h 37"/>
                <a:gd name="T16" fmla="*/ 5384 w 46"/>
                <a:gd name="T17" fmla="*/ 55563 h 37"/>
                <a:gd name="T18" fmla="*/ 3727 w 46"/>
                <a:gd name="T19" fmla="*/ 54061 h 37"/>
                <a:gd name="T20" fmla="*/ 2899 w 46"/>
                <a:gd name="T21" fmla="*/ 49556 h 37"/>
                <a:gd name="T22" fmla="*/ 2071 w 46"/>
                <a:gd name="T23" fmla="*/ 43549 h 37"/>
                <a:gd name="T24" fmla="*/ 1242 w 46"/>
                <a:gd name="T25" fmla="*/ 34539 h 37"/>
                <a:gd name="T26" fmla="*/ 414 w 46"/>
                <a:gd name="T27" fmla="*/ 18020 h 37"/>
                <a:gd name="T28" fmla="*/ 0 w 46"/>
                <a:gd name="T29" fmla="*/ 0 h 3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37">
                  <a:moveTo>
                    <a:pt x="0" y="0"/>
                  </a:moveTo>
                  <a:lnTo>
                    <a:pt x="9" y="9"/>
                  </a:lnTo>
                  <a:lnTo>
                    <a:pt x="20" y="15"/>
                  </a:lnTo>
                  <a:lnTo>
                    <a:pt x="31" y="20"/>
                  </a:lnTo>
                  <a:lnTo>
                    <a:pt x="46" y="25"/>
                  </a:lnTo>
                  <a:lnTo>
                    <a:pt x="37" y="29"/>
                  </a:lnTo>
                  <a:lnTo>
                    <a:pt x="29" y="33"/>
                  </a:lnTo>
                  <a:lnTo>
                    <a:pt x="21" y="36"/>
                  </a:lnTo>
                  <a:lnTo>
                    <a:pt x="13" y="37"/>
                  </a:lnTo>
                  <a:lnTo>
                    <a:pt x="9" y="36"/>
                  </a:lnTo>
                  <a:lnTo>
                    <a:pt x="7" y="33"/>
                  </a:lnTo>
                  <a:lnTo>
                    <a:pt x="5" y="29"/>
                  </a:lnTo>
                  <a:lnTo>
                    <a:pt x="3" y="23"/>
                  </a:lnTo>
                  <a:lnTo>
                    <a:pt x="1" y="1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1" name="Freeform 314">
              <a:extLst>
                <a:ext uri="{FF2B5EF4-FFF2-40B4-BE49-F238E27FC236}">
                  <a16:creationId xmlns:a16="http://schemas.microsoft.com/office/drawing/2014/main" id="{82AF3A28-D4E9-4B2D-A7D7-EDAE06A0534A}"/>
                </a:ext>
              </a:extLst>
            </p:cNvPr>
            <p:cNvSpPr>
              <a:spLocks/>
            </p:cNvSpPr>
            <p:nvPr>
              <p:custDataLst>
                <p:tags r:id="rId217"/>
              </p:custDataLst>
            </p:nvPr>
          </p:nvSpPr>
          <p:spPr bwMode="auto">
            <a:xfrm>
              <a:off x="7261216" y="3705196"/>
              <a:ext cx="11113" cy="57150"/>
            </a:xfrm>
            <a:custGeom>
              <a:avLst/>
              <a:gdLst>
                <a:gd name="T0" fmla="*/ 0 w 26"/>
                <a:gd name="T1" fmla="*/ 0 h 19"/>
                <a:gd name="T2" fmla="*/ 11113 w 26"/>
                <a:gd name="T3" fmla="*/ 57150 h 19"/>
                <a:gd name="T4" fmla="*/ 11113 w 26"/>
                <a:gd name="T5" fmla="*/ 27071 h 19"/>
                <a:gd name="T6" fmla="*/ 11113 w 26"/>
                <a:gd name="T7" fmla="*/ 0 h 19"/>
                <a:gd name="T8" fmla="*/ 6411 w 26"/>
                <a:gd name="T9" fmla="*/ 0 h 19"/>
                <a:gd name="T10" fmla="*/ 0 w 26"/>
                <a:gd name="T11" fmla="*/ 0 h 19"/>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6" h="19">
                  <a:moveTo>
                    <a:pt x="0" y="0"/>
                  </a:moveTo>
                  <a:lnTo>
                    <a:pt x="26" y="19"/>
                  </a:lnTo>
                  <a:lnTo>
                    <a:pt x="26" y="9"/>
                  </a:lnTo>
                  <a:lnTo>
                    <a:pt x="26" y="0"/>
                  </a:lnTo>
                  <a:lnTo>
                    <a:pt x="15"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2" name="Freeform 315">
              <a:extLst>
                <a:ext uri="{FF2B5EF4-FFF2-40B4-BE49-F238E27FC236}">
                  <a16:creationId xmlns:a16="http://schemas.microsoft.com/office/drawing/2014/main" id="{1CB3DED2-C070-4D59-A208-A4796D31BC57}"/>
                </a:ext>
              </a:extLst>
            </p:cNvPr>
            <p:cNvSpPr>
              <a:spLocks/>
            </p:cNvSpPr>
            <p:nvPr>
              <p:custDataLst>
                <p:tags r:id="rId218"/>
              </p:custDataLst>
            </p:nvPr>
          </p:nvSpPr>
          <p:spPr bwMode="auto">
            <a:xfrm>
              <a:off x="7121516" y="3700434"/>
              <a:ext cx="19050" cy="58737"/>
            </a:xfrm>
            <a:custGeom>
              <a:avLst/>
              <a:gdLst>
                <a:gd name="T0" fmla="*/ 886 w 43"/>
                <a:gd name="T1" fmla="*/ 0 h 31"/>
                <a:gd name="T2" fmla="*/ 443 w 43"/>
                <a:gd name="T3" fmla="*/ 22737 h 31"/>
                <a:gd name="T4" fmla="*/ 0 w 43"/>
                <a:gd name="T5" fmla="*/ 43579 h 31"/>
                <a:gd name="T6" fmla="*/ 0 w 43"/>
                <a:gd name="T7" fmla="*/ 49263 h 31"/>
                <a:gd name="T8" fmla="*/ 0 w 43"/>
                <a:gd name="T9" fmla="*/ 54948 h 31"/>
                <a:gd name="T10" fmla="*/ 0 w 43"/>
                <a:gd name="T11" fmla="*/ 58737 h 31"/>
                <a:gd name="T12" fmla="*/ 886 w 43"/>
                <a:gd name="T13" fmla="*/ 58737 h 31"/>
                <a:gd name="T14" fmla="*/ 5759 w 43"/>
                <a:gd name="T15" fmla="*/ 41684 h 31"/>
                <a:gd name="T16" fmla="*/ 11076 w 43"/>
                <a:gd name="T17" fmla="*/ 24632 h 31"/>
                <a:gd name="T18" fmla="*/ 15506 w 43"/>
                <a:gd name="T19" fmla="*/ 9474 h 31"/>
                <a:gd name="T20" fmla="*/ 19050 w 43"/>
                <a:gd name="T21" fmla="*/ 0 h 31"/>
                <a:gd name="T22" fmla="*/ 886 w 43"/>
                <a:gd name="T23" fmla="*/ 0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3" h="31">
                  <a:moveTo>
                    <a:pt x="2" y="0"/>
                  </a:moveTo>
                  <a:lnTo>
                    <a:pt x="1" y="12"/>
                  </a:lnTo>
                  <a:lnTo>
                    <a:pt x="0" y="23"/>
                  </a:lnTo>
                  <a:lnTo>
                    <a:pt x="0" y="26"/>
                  </a:lnTo>
                  <a:lnTo>
                    <a:pt x="0" y="29"/>
                  </a:lnTo>
                  <a:lnTo>
                    <a:pt x="0" y="31"/>
                  </a:lnTo>
                  <a:lnTo>
                    <a:pt x="2" y="31"/>
                  </a:lnTo>
                  <a:lnTo>
                    <a:pt x="13" y="22"/>
                  </a:lnTo>
                  <a:lnTo>
                    <a:pt x="25" y="13"/>
                  </a:lnTo>
                  <a:lnTo>
                    <a:pt x="35" y="5"/>
                  </a:lnTo>
                  <a:lnTo>
                    <a:pt x="43" y="0"/>
                  </a:lnTo>
                  <a:lnTo>
                    <a:pt x="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3" name="Freeform 316">
              <a:extLst>
                <a:ext uri="{FF2B5EF4-FFF2-40B4-BE49-F238E27FC236}">
                  <a16:creationId xmlns:a16="http://schemas.microsoft.com/office/drawing/2014/main" id="{362B8C20-717E-4C1C-90F2-C6DDDFEF5CE3}"/>
                </a:ext>
              </a:extLst>
            </p:cNvPr>
            <p:cNvSpPr>
              <a:spLocks/>
            </p:cNvSpPr>
            <p:nvPr>
              <p:custDataLst>
                <p:tags r:id="rId219"/>
              </p:custDataLst>
            </p:nvPr>
          </p:nvSpPr>
          <p:spPr bwMode="auto">
            <a:xfrm>
              <a:off x="7165966" y="3748059"/>
              <a:ext cx="30163" cy="57150"/>
            </a:xfrm>
            <a:custGeom>
              <a:avLst/>
              <a:gdLst>
                <a:gd name="T0" fmla="*/ 1699 w 71"/>
                <a:gd name="T1" fmla="*/ 13996 h 49"/>
                <a:gd name="T2" fmla="*/ 1699 w 71"/>
                <a:gd name="T3" fmla="*/ 20994 h 49"/>
                <a:gd name="T4" fmla="*/ 2124 w 71"/>
                <a:gd name="T5" fmla="*/ 29158 h 49"/>
                <a:gd name="T6" fmla="*/ 2974 w 71"/>
                <a:gd name="T7" fmla="*/ 36156 h 49"/>
                <a:gd name="T8" fmla="*/ 3823 w 71"/>
                <a:gd name="T9" fmla="*/ 43154 h 49"/>
                <a:gd name="T10" fmla="*/ 5948 w 71"/>
                <a:gd name="T11" fmla="*/ 47819 h 49"/>
                <a:gd name="T12" fmla="*/ 7647 w 71"/>
                <a:gd name="T13" fmla="*/ 53651 h 49"/>
                <a:gd name="T14" fmla="*/ 9771 w 71"/>
                <a:gd name="T15" fmla="*/ 55984 h 49"/>
                <a:gd name="T16" fmla="*/ 12745 w 71"/>
                <a:gd name="T17" fmla="*/ 57150 h 49"/>
                <a:gd name="T18" fmla="*/ 14869 w 71"/>
                <a:gd name="T19" fmla="*/ 55984 h 49"/>
                <a:gd name="T20" fmla="*/ 16993 w 71"/>
                <a:gd name="T21" fmla="*/ 53651 h 49"/>
                <a:gd name="T22" fmla="*/ 19117 w 71"/>
                <a:gd name="T23" fmla="*/ 48986 h 49"/>
                <a:gd name="T24" fmla="*/ 21242 w 71"/>
                <a:gd name="T25" fmla="*/ 43154 h 49"/>
                <a:gd name="T26" fmla="*/ 25490 w 71"/>
                <a:gd name="T27" fmla="*/ 32657 h 49"/>
                <a:gd name="T28" fmla="*/ 30163 w 71"/>
                <a:gd name="T29" fmla="*/ 20994 h 49"/>
                <a:gd name="T30" fmla="*/ 25915 w 71"/>
                <a:gd name="T31" fmla="*/ 13996 h 49"/>
                <a:gd name="T32" fmla="*/ 22091 w 71"/>
                <a:gd name="T33" fmla="*/ 10497 h 49"/>
                <a:gd name="T34" fmla="*/ 18693 w 71"/>
                <a:gd name="T35" fmla="*/ 8164 h 49"/>
                <a:gd name="T36" fmla="*/ 15719 w 71"/>
                <a:gd name="T37" fmla="*/ 6998 h 49"/>
                <a:gd name="T38" fmla="*/ 12320 w 71"/>
                <a:gd name="T39" fmla="*/ 6998 h 49"/>
                <a:gd name="T40" fmla="*/ 8921 w 71"/>
                <a:gd name="T41" fmla="*/ 5832 h 49"/>
                <a:gd name="T42" fmla="*/ 5948 w 71"/>
                <a:gd name="T43" fmla="*/ 3499 h 49"/>
                <a:gd name="T44" fmla="*/ 1699 w 71"/>
                <a:gd name="T45" fmla="*/ 0 h 49"/>
                <a:gd name="T46" fmla="*/ 1274 w 71"/>
                <a:gd name="T47" fmla="*/ 1166 h 49"/>
                <a:gd name="T48" fmla="*/ 425 w 71"/>
                <a:gd name="T49" fmla="*/ 6998 h 49"/>
                <a:gd name="T50" fmla="*/ 0 w 71"/>
                <a:gd name="T51" fmla="*/ 9331 h 49"/>
                <a:gd name="T52" fmla="*/ 0 w 71"/>
                <a:gd name="T53" fmla="*/ 11663 h 49"/>
                <a:gd name="T54" fmla="*/ 425 w 71"/>
                <a:gd name="T55" fmla="*/ 12830 h 49"/>
                <a:gd name="T56" fmla="*/ 1699 w 71"/>
                <a:gd name="T57" fmla="*/ 13996 h 4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71" h="49">
                  <a:moveTo>
                    <a:pt x="4" y="12"/>
                  </a:moveTo>
                  <a:lnTo>
                    <a:pt x="4" y="18"/>
                  </a:lnTo>
                  <a:lnTo>
                    <a:pt x="5" y="25"/>
                  </a:lnTo>
                  <a:lnTo>
                    <a:pt x="7" y="31"/>
                  </a:lnTo>
                  <a:lnTo>
                    <a:pt x="9" y="37"/>
                  </a:lnTo>
                  <a:lnTo>
                    <a:pt x="14" y="41"/>
                  </a:lnTo>
                  <a:lnTo>
                    <a:pt x="18" y="46"/>
                  </a:lnTo>
                  <a:lnTo>
                    <a:pt x="23" y="48"/>
                  </a:lnTo>
                  <a:lnTo>
                    <a:pt x="30" y="49"/>
                  </a:lnTo>
                  <a:lnTo>
                    <a:pt x="35" y="48"/>
                  </a:lnTo>
                  <a:lnTo>
                    <a:pt x="40" y="46"/>
                  </a:lnTo>
                  <a:lnTo>
                    <a:pt x="45" y="42"/>
                  </a:lnTo>
                  <a:lnTo>
                    <a:pt x="50" y="37"/>
                  </a:lnTo>
                  <a:lnTo>
                    <a:pt x="60" y="28"/>
                  </a:lnTo>
                  <a:lnTo>
                    <a:pt x="71" y="18"/>
                  </a:lnTo>
                  <a:lnTo>
                    <a:pt x="61" y="12"/>
                  </a:lnTo>
                  <a:lnTo>
                    <a:pt x="52" y="9"/>
                  </a:lnTo>
                  <a:lnTo>
                    <a:pt x="44" y="7"/>
                  </a:lnTo>
                  <a:lnTo>
                    <a:pt x="37" y="6"/>
                  </a:lnTo>
                  <a:lnTo>
                    <a:pt x="29" y="6"/>
                  </a:lnTo>
                  <a:lnTo>
                    <a:pt x="21" y="5"/>
                  </a:lnTo>
                  <a:lnTo>
                    <a:pt x="14" y="3"/>
                  </a:lnTo>
                  <a:lnTo>
                    <a:pt x="4" y="0"/>
                  </a:lnTo>
                  <a:lnTo>
                    <a:pt x="3" y="1"/>
                  </a:lnTo>
                  <a:lnTo>
                    <a:pt x="1" y="6"/>
                  </a:lnTo>
                  <a:lnTo>
                    <a:pt x="0" y="8"/>
                  </a:lnTo>
                  <a:lnTo>
                    <a:pt x="0" y="10"/>
                  </a:lnTo>
                  <a:lnTo>
                    <a:pt x="1" y="11"/>
                  </a:lnTo>
                  <a:lnTo>
                    <a:pt x="4" y="1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4" name="Freeform 317">
              <a:extLst>
                <a:ext uri="{FF2B5EF4-FFF2-40B4-BE49-F238E27FC236}">
                  <a16:creationId xmlns:a16="http://schemas.microsoft.com/office/drawing/2014/main" id="{029041DE-AA31-4CC6-A533-F8F3D91D581E}"/>
                </a:ext>
              </a:extLst>
            </p:cNvPr>
            <p:cNvSpPr>
              <a:spLocks/>
            </p:cNvSpPr>
            <p:nvPr>
              <p:custDataLst>
                <p:tags r:id="rId220"/>
              </p:custDataLst>
            </p:nvPr>
          </p:nvSpPr>
          <p:spPr bwMode="auto">
            <a:xfrm>
              <a:off x="6967529" y="3951256"/>
              <a:ext cx="46037" cy="58737"/>
            </a:xfrm>
            <a:custGeom>
              <a:avLst/>
              <a:gdLst>
                <a:gd name="T0" fmla="*/ 18908 w 112"/>
                <a:gd name="T1" fmla="*/ 4518 h 26"/>
                <a:gd name="T2" fmla="*/ 23019 w 112"/>
                <a:gd name="T3" fmla="*/ 4518 h 26"/>
                <a:gd name="T4" fmla="*/ 27129 w 112"/>
                <a:gd name="T5" fmla="*/ 6777 h 26"/>
                <a:gd name="T6" fmla="*/ 30417 w 112"/>
                <a:gd name="T7" fmla="*/ 9036 h 26"/>
                <a:gd name="T8" fmla="*/ 34528 w 112"/>
                <a:gd name="T9" fmla="*/ 13555 h 26"/>
                <a:gd name="T10" fmla="*/ 37816 w 112"/>
                <a:gd name="T11" fmla="*/ 20332 h 26"/>
                <a:gd name="T12" fmla="*/ 41104 w 112"/>
                <a:gd name="T13" fmla="*/ 27109 h 26"/>
                <a:gd name="T14" fmla="*/ 43571 w 112"/>
                <a:gd name="T15" fmla="*/ 36146 h 26"/>
                <a:gd name="T16" fmla="*/ 46037 w 112"/>
                <a:gd name="T17" fmla="*/ 45182 h 26"/>
                <a:gd name="T18" fmla="*/ 45215 w 112"/>
                <a:gd name="T19" fmla="*/ 49701 h 26"/>
                <a:gd name="T20" fmla="*/ 43160 w 112"/>
                <a:gd name="T21" fmla="*/ 51960 h 26"/>
                <a:gd name="T22" fmla="*/ 41516 w 112"/>
                <a:gd name="T23" fmla="*/ 56478 h 26"/>
                <a:gd name="T24" fmla="*/ 39049 w 112"/>
                <a:gd name="T25" fmla="*/ 56478 h 26"/>
                <a:gd name="T26" fmla="*/ 35761 w 112"/>
                <a:gd name="T27" fmla="*/ 58737 h 26"/>
                <a:gd name="T28" fmla="*/ 32473 w 112"/>
                <a:gd name="T29" fmla="*/ 58737 h 26"/>
                <a:gd name="T30" fmla="*/ 27129 w 112"/>
                <a:gd name="T31" fmla="*/ 54219 h 26"/>
                <a:gd name="T32" fmla="*/ 16853 w 112"/>
                <a:gd name="T33" fmla="*/ 42923 h 26"/>
                <a:gd name="T34" fmla="*/ 6577 w 112"/>
                <a:gd name="T35" fmla="*/ 29369 h 26"/>
                <a:gd name="T36" fmla="*/ 0 w 112"/>
                <a:gd name="T37" fmla="*/ 18073 h 26"/>
                <a:gd name="T38" fmla="*/ 2055 w 112"/>
                <a:gd name="T39" fmla="*/ 9036 h 26"/>
                <a:gd name="T40" fmla="*/ 4521 w 112"/>
                <a:gd name="T41" fmla="*/ 4518 h 26"/>
                <a:gd name="T42" fmla="*/ 7399 w 112"/>
                <a:gd name="T43" fmla="*/ 2259 h 26"/>
                <a:gd name="T44" fmla="*/ 10276 w 112"/>
                <a:gd name="T45" fmla="*/ 0 h 26"/>
                <a:gd name="T46" fmla="*/ 15209 w 112"/>
                <a:gd name="T47" fmla="*/ 2259 h 26"/>
                <a:gd name="T48" fmla="*/ 18908 w 112"/>
                <a:gd name="T49" fmla="*/ 4518 h 2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12" h="26">
                  <a:moveTo>
                    <a:pt x="46" y="2"/>
                  </a:moveTo>
                  <a:lnTo>
                    <a:pt x="56" y="2"/>
                  </a:lnTo>
                  <a:lnTo>
                    <a:pt x="66" y="3"/>
                  </a:lnTo>
                  <a:lnTo>
                    <a:pt x="74" y="4"/>
                  </a:lnTo>
                  <a:lnTo>
                    <a:pt x="84" y="6"/>
                  </a:lnTo>
                  <a:lnTo>
                    <a:pt x="92" y="9"/>
                  </a:lnTo>
                  <a:lnTo>
                    <a:pt x="100" y="12"/>
                  </a:lnTo>
                  <a:lnTo>
                    <a:pt x="106" y="16"/>
                  </a:lnTo>
                  <a:lnTo>
                    <a:pt x="112" y="20"/>
                  </a:lnTo>
                  <a:lnTo>
                    <a:pt x="110" y="22"/>
                  </a:lnTo>
                  <a:lnTo>
                    <a:pt x="105" y="23"/>
                  </a:lnTo>
                  <a:lnTo>
                    <a:pt x="101" y="25"/>
                  </a:lnTo>
                  <a:lnTo>
                    <a:pt x="95" y="25"/>
                  </a:lnTo>
                  <a:lnTo>
                    <a:pt x="87" y="26"/>
                  </a:lnTo>
                  <a:lnTo>
                    <a:pt x="79" y="26"/>
                  </a:lnTo>
                  <a:lnTo>
                    <a:pt x="66" y="24"/>
                  </a:lnTo>
                  <a:lnTo>
                    <a:pt x="41" y="19"/>
                  </a:lnTo>
                  <a:lnTo>
                    <a:pt x="16" y="13"/>
                  </a:lnTo>
                  <a:lnTo>
                    <a:pt x="0" y="8"/>
                  </a:lnTo>
                  <a:lnTo>
                    <a:pt x="5" y="4"/>
                  </a:lnTo>
                  <a:lnTo>
                    <a:pt x="11" y="2"/>
                  </a:lnTo>
                  <a:lnTo>
                    <a:pt x="18" y="1"/>
                  </a:lnTo>
                  <a:lnTo>
                    <a:pt x="25" y="0"/>
                  </a:lnTo>
                  <a:lnTo>
                    <a:pt x="37" y="1"/>
                  </a:lnTo>
                  <a:lnTo>
                    <a:pt x="46" y="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5" name="Freeform 318">
              <a:extLst>
                <a:ext uri="{FF2B5EF4-FFF2-40B4-BE49-F238E27FC236}">
                  <a16:creationId xmlns:a16="http://schemas.microsoft.com/office/drawing/2014/main" id="{BB496E29-4DEC-43CC-9E2E-F33228313939}"/>
                </a:ext>
              </a:extLst>
            </p:cNvPr>
            <p:cNvSpPr>
              <a:spLocks/>
            </p:cNvSpPr>
            <p:nvPr>
              <p:custDataLst>
                <p:tags r:id="rId221"/>
              </p:custDataLst>
            </p:nvPr>
          </p:nvSpPr>
          <p:spPr bwMode="auto">
            <a:xfrm>
              <a:off x="7065954" y="3989356"/>
              <a:ext cx="14287" cy="58737"/>
            </a:xfrm>
            <a:custGeom>
              <a:avLst/>
              <a:gdLst>
                <a:gd name="T0" fmla="*/ 0 w 41"/>
                <a:gd name="T1" fmla="*/ 0 h 25"/>
                <a:gd name="T2" fmla="*/ 14287 w 41"/>
                <a:gd name="T3" fmla="*/ 0 h 25"/>
                <a:gd name="T4" fmla="*/ 9757 w 41"/>
                <a:gd name="T5" fmla="*/ 18796 h 25"/>
                <a:gd name="T6" fmla="*/ 6272 w 41"/>
                <a:gd name="T7" fmla="*/ 35242 h 25"/>
                <a:gd name="T8" fmla="*/ 3136 w 41"/>
                <a:gd name="T9" fmla="*/ 46990 h 25"/>
                <a:gd name="T10" fmla="*/ 0 w 41"/>
                <a:gd name="T11" fmla="*/ 58737 h 25"/>
                <a:gd name="T12" fmla="*/ 0 w 41"/>
                <a:gd name="T13" fmla="*/ 0 h 2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1" h="25">
                  <a:moveTo>
                    <a:pt x="0" y="0"/>
                  </a:moveTo>
                  <a:lnTo>
                    <a:pt x="41" y="0"/>
                  </a:lnTo>
                  <a:lnTo>
                    <a:pt x="28" y="8"/>
                  </a:lnTo>
                  <a:lnTo>
                    <a:pt x="18" y="15"/>
                  </a:lnTo>
                  <a:lnTo>
                    <a:pt x="9" y="20"/>
                  </a:lnTo>
                  <a:lnTo>
                    <a:pt x="0" y="25"/>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6" name="Freeform 319">
              <a:extLst>
                <a:ext uri="{FF2B5EF4-FFF2-40B4-BE49-F238E27FC236}">
                  <a16:creationId xmlns:a16="http://schemas.microsoft.com/office/drawing/2014/main" id="{1531C58F-A643-4D3A-8B27-E3C3C3FEA941}"/>
                </a:ext>
              </a:extLst>
            </p:cNvPr>
            <p:cNvSpPr>
              <a:spLocks/>
            </p:cNvSpPr>
            <p:nvPr>
              <p:custDataLst>
                <p:tags r:id="rId222"/>
              </p:custDataLst>
            </p:nvPr>
          </p:nvSpPr>
          <p:spPr bwMode="auto">
            <a:xfrm>
              <a:off x="6899266" y="3921094"/>
              <a:ext cx="36513" cy="55562"/>
            </a:xfrm>
            <a:custGeom>
              <a:avLst/>
              <a:gdLst>
                <a:gd name="T0" fmla="*/ 0 w 81"/>
                <a:gd name="T1" fmla="*/ 55563 h 31"/>
                <a:gd name="T2" fmla="*/ 0 w 81"/>
                <a:gd name="T3" fmla="*/ 39432 h 31"/>
                <a:gd name="T4" fmla="*/ 0 w 81"/>
                <a:gd name="T5" fmla="*/ 23301 h 31"/>
                <a:gd name="T6" fmla="*/ 0 w 81"/>
                <a:gd name="T7" fmla="*/ 17924 h 31"/>
                <a:gd name="T8" fmla="*/ 902 w 81"/>
                <a:gd name="T9" fmla="*/ 14339 h 31"/>
                <a:gd name="T10" fmla="*/ 1352 w 81"/>
                <a:gd name="T11" fmla="*/ 10754 h 31"/>
                <a:gd name="T12" fmla="*/ 1803 w 81"/>
                <a:gd name="T13" fmla="*/ 7169 h 31"/>
                <a:gd name="T14" fmla="*/ 3606 w 81"/>
                <a:gd name="T15" fmla="*/ 3585 h 31"/>
                <a:gd name="T16" fmla="*/ 6311 w 81"/>
                <a:gd name="T17" fmla="*/ 0 h 31"/>
                <a:gd name="T18" fmla="*/ 11720 w 81"/>
                <a:gd name="T19" fmla="*/ 1792 h 31"/>
                <a:gd name="T20" fmla="*/ 18482 w 81"/>
                <a:gd name="T21" fmla="*/ 1792 h 31"/>
                <a:gd name="T22" fmla="*/ 25244 w 81"/>
                <a:gd name="T23" fmla="*/ 1792 h 31"/>
                <a:gd name="T24" fmla="*/ 29301 w 81"/>
                <a:gd name="T25" fmla="*/ 1792 h 31"/>
                <a:gd name="T26" fmla="*/ 32907 w 81"/>
                <a:gd name="T27" fmla="*/ 1792 h 31"/>
                <a:gd name="T28" fmla="*/ 36513 w 81"/>
                <a:gd name="T29" fmla="*/ 1792 h 31"/>
                <a:gd name="T30" fmla="*/ 32907 w 81"/>
                <a:gd name="T31" fmla="*/ 10754 h 31"/>
                <a:gd name="T32" fmla="*/ 30202 w 81"/>
                <a:gd name="T33" fmla="*/ 17924 h 31"/>
                <a:gd name="T34" fmla="*/ 28850 w 81"/>
                <a:gd name="T35" fmla="*/ 25093 h 31"/>
                <a:gd name="T36" fmla="*/ 27948 w 81"/>
                <a:gd name="T37" fmla="*/ 32262 h 31"/>
                <a:gd name="T38" fmla="*/ 26596 w 81"/>
                <a:gd name="T39" fmla="*/ 37639 h 31"/>
                <a:gd name="T40" fmla="*/ 24342 w 81"/>
                <a:gd name="T41" fmla="*/ 41224 h 31"/>
                <a:gd name="T42" fmla="*/ 21187 w 81"/>
                <a:gd name="T43" fmla="*/ 44809 h 31"/>
                <a:gd name="T44" fmla="*/ 15326 w 81"/>
                <a:gd name="T45" fmla="*/ 44809 h 31"/>
                <a:gd name="T46" fmla="*/ 0 w 81"/>
                <a:gd name="T47" fmla="*/ 55563 h 3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81" h="31">
                  <a:moveTo>
                    <a:pt x="0" y="31"/>
                  </a:moveTo>
                  <a:lnTo>
                    <a:pt x="0" y="22"/>
                  </a:lnTo>
                  <a:lnTo>
                    <a:pt x="0" y="13"/>
                  </a:lnTo>
                  <a:lnTo>
                    <a:pt x="0" y="10"/>
                  </a:lnTo>
                  <a:lnTo>
                    <a:pt x="2" y="8"/>
                  </a:lnTo>
                  <a:lnTo>
                    <a:pt x="3" y="6"/>
                  </a:lnTo>
                  <a:lnTo>
                    <a:pt x="4" y="4"/>
                  </a:lnTo>
                  <a:lnTo>
                    <a:pt x="8" y="2"/>
                  </a:lnTo>
                  <a:lnTo>
                    <a:pt x="14" y="0"/>
                  </a:lnTo>
                  <a:lnTo>
                    <a:pt x="26" y="1"/>
                  </a:lnTo>
                  <a:lnTo>
                    <a:pt x="41" y="1"/>
                  </a:lnTo>
                  <a:lnTo>
                    <a:pt x="56" y="1"/>
                  </a:lnTo>
                  <a:lnTo>
                    <a:pt x="65" y="1"/>
                  </a:lnTo>
                  <a:lnTo>
                    <a:pt x="73" y="1"/>
                  </a:lnTo>
                  <a:lnTo>
                    <a:pt x="81" y="1"/>
                  </a:lnTo>
                  <a:lnTo>
                    <a:pt x="73" y="6"/>
                  </a:lnTo>
                  <a:lnTo>
                    <a:pt x="67" y="10"/>
                  </a:lnTo>
                  <a:lnTo>
                    <a:pt x="64" y="14"/>
                  </a:lnTo>
                  <a:lnTo>
                    <a:pt x="62" y="18"/>
                  </a:lnTo>
                  <a:lnTo>
                    <a:pt x="59" y="21"/>
                  </a:lnTo>
                  <a:lnTo>
                    <a:pt x="54" y="23"/>
                  </a:lnTo>
                  <a:lnTo>
                    <a:pt x="47" y="25"/>
                  </a:lnTo>
                  <a:lnTo>
                    <a:pt x="34" y="25"/>
                  </a:lnTo>
                  <a:lnTo>
                    <a:pt x="0" y="3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7" name="Freeform 320">
              <a:extLst>
                <a:ext uri="{FF2B5EF4-FFF2-40B4-BE49-F238E27FC236}">
                  <a16:creationId xmlns:a16="http://schemas.microsoft.com/office/drawing/2014/main" id="{82E78B8C-D914-450D-B55A-2397F2D2FED0}"/>
                </a:ext>
              </a:extLst>
            </p:cNvPr>
            <p:cNvSpPr>
              <a:spLocks/>
            </p:cNvSpPr>
            <p:nvPr>
              <p:custDataLst>
                <p:tags r:id="rId223"/>
              </p:custDataLst>
            </p:nvPr>
          </p:nvSpPr>
          <p:spPr bwMode="auto">
            <a:xfrm>
              <a:off x="6943716" y="3906807"/>
              <a:ext cx="39688" cy="55562"/>
            </a:xfrm>
            <a:custGeom>
              <a:avLst/>
              <a:gdLst>
                <a:gd name="T0" fmla="*/ 892 w 89"/>
                <a:gd name="T1" fmla="*/ 55562 h 49"/>
                <a:gd name="T2" fmla="*/ 39688 w 89"/>
                <a:gd name="T3" fmla="*/ 55562 h 49"/>
                <a:gd name="T4" fmla="*/ 34783 w 89"/>
                <a:gd name="T5" fmla="*/ 46491 h 49"/>
                <a:gd name="T6" fmla="*/ 30323 w 89"/>
                <a:gd name="T7" fmla="*/ 39687 h 49"/>
                <a:gd name="T8" fmla="*/ 25418 w 89"/>
                <a:gd name="T9" fmla="*/ 34018 h 49"/>
                <a:gd name="T10" fmla="*/ 20513 w 89"/>
                <a:gd name="T11" fmla="*/ 28348 h 49"/>
                <a:gd name="T12" fmla="*/ 16054 w 89"/>
                <a:gd name="T13" fmla="*/ 23812 h 49"/>
                <a:gd name="T14" fmla="*/ 11594 w 89"/>
                <a:gd name="T15" fmla="*/ 15875 h 49"/>
                <a:gd name="T16" fmla="*/ 7135 w 89"/>
                <a:gd name="T17" fmla="*/ 9071 h 49"/>
                <a:gd name="T18" fmla="*/ 4013 w 89"/>
                <a:gd name="T19" fmla="*/ 0 h 49"/>
                <a:gd name="T20" fmla="*/ 1784 w 89"/>
                <a:gd name="T21" fmla="*/ 11339 h 49"/>
                <a:gd name="T22" fmla="*/ 446 w 89"/>
                <a:gd name="T23" fmla="*/ 26080 h 49"/>
                <a:gd name="T24" fmla="*/ 0 w 89"/>
                <a:gd name="T25" fmla="*/ 32884 h 49"/>
                <a:gd name="T26" fmla="*/ 0 w 89"/>
                <a:gd name="T27" fmla="*/ 40821 h 49"/>
                <a:gd name="T28" fmla="*/ 0 w 89"/>
                <a:gd name="T29" fmla="*/ 48758 h 49"/>
                <a:gd name="T30" fmla="*/ 892 w 89"/>
                <a:gd name="T31" fmla="*/ 55562 h 4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89" h="49">
                  <a:moveTo>
                    <a:pt x="2" y="49"/>
                  </a:moveTo>
                  <a:lnTo>
                    <a:pt x="89" y="49"/>
                  </a:lnTo>
                  <a:lnTo>
                    <a:pt x="78" y="41"/>
                  </a:lnTo>
                  <a:lnTo>
                    <a:pt x="68" y="35"/>
                  </a:lnTo>
                  <a:lnTo>
                    <a:pt x="57" y="30"/>
                  </a:lnTo>
                  <a:lnTo>
                    <a:pt x="46" y="25"/>
                  </a:lnTo>
                  <a:lnTo>
                    <a:pt x="36" y="21"/>
                  </a:lnTo>
                  <a:lnTo>
                    <a:pt x="26" y="14"/>
                  </a:lnTo>
                  <a:lnTo>
                    <a:pt x="16" y="8"/>
                  </a:lnTo>
                  <a:lnTo>
                    <a:pt x="9" y="0"/>
                  </a:lnTo>
                  <a:lnTo>
                    <a:pt x="4" y="10"/>
                  </a:lnTo>
                  <a:lnTo>
                    <a:pt x="1" y="23"/>
                  </a:lnTo>
                  <a:lnTo>
                    <a:pt x="0" y="29"/>
                  </a:lnTo>
                  <a:lnTo>
                    <a:pt x="0" y="36"/>
                  </a:lnTo>
                  <a:lnTo>
                    <a:pt x="0" y="43"/>
                  </a:lnTo>
                  <a:lnTo>
                    <a:pt x="2"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8" name="Freeform 321">
              <a:extLst>
                <a:ext uri="{FF2B5EF4-FFF2-40B4-BE49-F238E27FC236}">
                  <a16:creationId xmlns:a16="http://schemas.microsoft.com/office/drawing/2014/main" id="{964537D5-90AA-4BB8-AE89-D2A3FD464B48}"/>
                </a:ext>
              </a:extLst>
            </p:cNvPr>
            <p:cNvSpPr>
              <a:spLocks/>
            </p:cNvSpPr>
            <p:nvPr>
              <p:custDataLst>
                <p:tags r:id="rId224"/>
              </p:custDataLst>
            </p:nvPr>
          </p:nvSpPr>
          <p:spPr bwMode="auto">
            <a:xfrm>
              <a:off x="6996104" y="3916332"/>
              <a:ext cx="36512" cy="58737"/>
            </a:xfrm>
            <a:custGeom>
              <a:avLst/>
              <a:gdLst>
                <a:gd name="T0" fmla="*/ 0 w 86"/>
                <a:gd name="T1" fmla="*/ 26815 h 46"/>
                <a:gd name="T2" fmla="*/ 5944 w 86"/>
                <a:gd name="T3" fmla="*/ 33199 h 46"/>
                <a:gd name="T4" fmla="*/ 10614 w 86"/>
                <a:gd name="T5" fmla="*/ 37030 h 46"/>
                <a:gd name="T6" fmla="*/ 12737 w 86"/>
                <a:gd name="T7" fmla="*/ 38307 h 46"/>
                <a:gd name="T8" fmla="*/ 15284 w 86"/>
                <a:gd name="T9" fmla="*/ 38307 h 46"/>
                <a:gd name="T10" fmla="*/ 17407 w 86"/>
                <a:gd name="T11" fmla="*/ 37030 h 46"/>
                <a:gd name="T12" fmla="*/ 19530 w 86"/>
                <a:gd name="T13" fmla="*/ 34476 h 46"/>
                <a:gd name="T14" fmla="*/ 19530 w 86"/>
                <a:gd name="T15" fmla="*/ 45968 h 46"/>
                <a:gd name="T16" fmla="*/ 19530 w 86"/>
                <a:gd name="T17" fmla="*/ 58737 h 46"/>
                <a:gd name="T18" fmla="*/ 23775 w 86"/>
                <a:gd name="T19" fmla="*/ 57460 h 46"/>
                <a:gd name="T20" fmla="*/ 28445 w 86"/>
                <a:gd name="T21" fmla="*/ 54906 h 46"/>
                <a:gd name="T22" fmla="*/ 32691 w 86"/>
                <a:gd name="T23" fmla="*/ 51076 h 46"/>
                <a:gd name="T24" fmla="*/ 36512 w 86"/>
                <a:gd name="T25" fmla="*/ 51076 h 46"/>
                <a:gd name="T26" fmla="*/ 35238 w 86"/>
                <a:gd name="T27" fmla="*/ 40861 h 46"/>
                <a:gd name="T28" fmla="*/ 33965 w 86"/>
                <a:gd name="T29" fmla="*/ 31922 h 46"/>
                <a:gd name="T30" fmla="*/ 31417 w 86"/>
                <a:gd name="T31" fmla="*/ 24261 h 46"/>
                <a:gd name="T32" fmla="*/ 29719 w 86"/>
                <a:gd name="T33" fmla="*/ 17876 h 46"/>
                <a:gd name="T34" fmla="*/ 27172 w 86"/>
                <a:gd name="T35" fmla="*/ 11492 h 46"/>
                <a:gd name="T36" fmla="*/ 24624 w 86"/>
                <a:gd name="T37" fmla="*/ 7661 h 46"/>
                <a:gd name="T38" fmla="*/ 21652 w 86"/>
                <a:gd name="T39" fmla="*/ 3831 h 46"/>
                <a:gd name="T40" fmla="*/ 19530 w 86"/>
                <a:gd name="T41" fmla="*/ 1277 h 46"/>
                <a:gd name="T42" fmla="*/ 16558 w 86"/>
                <a:gd name="T43" fmla="*/ 0 h 46"/>
                <a:gd name="T44" fmla="*/ 14010 w 86"/>
                <a:gd name="T45" fmla="*/ 0 h 46"/>
                <a:gd name="T46" fmla="*/ 11039 w 86"/>
                <a:gd name="T47" fmla="*/ 1277 h 46"/>
                <a:gd name="T48" fmla="*/ 8067 w 86"/>
                <a:gd name="T49" fmla="*/ 3831 h 46"/>
                <a:gd name="T50" fmla="*/ 5944 w 86"/>
                <a:gd name="T51" fmla="*/ 7661 h 46"/>
                <a:gd name="T52" fmla="*/ 3396 w 86"/>
                <a:gd name="T53" fmla="*/ 12769 h 46"/>
                <a:gd name="T54" fmla="*/ 1698 w 86"/>
                <a:gd name="T55" fmla="*/ 19153 h 46"/>
                <a:gd name="T56" fmla="*/ 0 w 86"/>
                <a:gd name="T57" fmla="*/ 26815 h 4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46">
                  <a:moveTo>
                    <a:pt x="0" y="21"/>
                  </a:moveTo>
                  <a:lnTo>
                    <a:pt x="14" y="26"/>
                  </a:lnTo>
                  <a:lnTo>
                    <a:pt x="25" y="29"/>
                  </a:lnTo>
                  <a:lnTo>
                    <a:pt x="30" y="30"/>
                  </a:lnTo>
                  <a:lnTo>
                    <a:pt x="36" y="30"/>
                  </a:lnTo>
                  <a:lnTo>
                    <a:pt x="41" y="29"/>
                  </a:lnTo>
                  <a:lnTo>
                    <a:pt x="46" y="27"/>
                  </a:lnTo>
                  <a:lnTo>
                    <a:pt x="46" y="36"/>
                  </a:lnTo>
                  <a:lnTo>
                    <a:pt x="46" y="46"/>
                  </a:lnTo>
                  <a:lnTo>
                    <a:pt x="56" y="45"/>
                  </a:lnTo>
                  <a:lnTo>
                    <a:pt x="67" y="43"/>
                  </a:lnTo>
                  <a:lnTo>
                    <a:pt x="77" y="40"/>
                  </a:lnTo>
                  <a:lnTo>
                    <a:pt x="86" y="40"/>
                  </a:lnTo>
                  <a:lnTo>
                    <a:pt x="83" y="32"/>
                  </a:lnTo>
                  <a:lnTo>
                    <a:pt x="80" y="25"/>
                  </a:lnTo>
                  <a:lnTo>
                    <a:pt x="74" y="19"/>
                  </a:lnTo>
                  <a:lnTo>
                    <a:pt x="70" y="14"/>
                  </a:lnTo>
                  <a:lnTo>
                    <a:pt x="64" y="9"/>
                  </a:lnTo>
                  <a:lnTo>
                    <a:pt x="58" y="6"/>
                  </a:lnTo>
                  <a:lnTo>
                    <a:pt x="51" y="3"/>
                  </a:lnTo>
                  <a:lnTo>
                    <a:pt x="46" y="1"/>
                  </a:lnTo>
                  <a:lnTo>
                    <a:pt x="39" y="0"/>
                  </a:lnTo>
                  <a:lnTo>
                    <a:pt x="33" y="0"/>
                  </a:lnTo>
                  <a:lnTo>
                    <a:pt x="26" y="1"/>
                  </a:lnTo>
                  <a:lnTo>
                    <a:pt x="19" y="3"/>
                  </a:lnTo>
                  <a:lnTo>
                    <a:pt x="14" y="6"/>
                  </a:lnTo>
                  <a:lnTo>
                    <a:pt x="8" y="10"/>
                  </a:lnTo>
                  <a:lnTo>
                    <a:pt x="4" y="15"/>
                  </a:lnTo>
                  <a:lnTo>
                    <a:pt x="0"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29" name="Freeform 322">
              <a:extLst>
                <a:ext uri="{FF2B5EF4-FFF2-40B4-BE49-F238E27FC236}">
                  <a16:creationId xmlns:a16="http://schemas.microsoft.com/office/drawing/2014/main" id="{5D44010B-88AC-431A-8519-7EC755CCEEBE}"/>
                </a:ext>
              </a:extLst>
            </p:cNvPr>
            <p:cNvSpPr>
              <a:spLocks/>
            </p:cNvSpPr>
            <p:nvPr>
              <p:custDataLst>
                <p:tags r:id="rId225"/>
              </p:custDataLst>
            </p:nvPr>
          </p:nvSpPr>
          <p:spPr bwMode="auto">
            <a:xfrm>
              <a:off x="7048491" y="3921094"/>
              <a:ext cx="25400" cy="55562"/>
            </a:xfrm>
            <a:custGeom>
              <a:avLst/>
              <a:gdLst>
                <a:gd name="T0" fmla="*/ 0 w 59"/>
                <a:gd name="T1" fmla="*/ 0 h 18"/>
                <a:gd name="T2" fmla="*/ 0 w 59"/>
                <a:gd name="T3" fmla="*/ 55563 h 18"/>
                <a:gd name="T4" fmla="*/ 16790 w 59"/>
                <a:gd name="T5" fmla="*/ 55563 h 18"/>
                <a:gd name="T6" fmla="*/ 25400 w 59"/>
                <a:gd name="T7" fmla="*/ 18521 h 18"/>
                <a:gd name="T8" fmla="*/ 21956 w 59"/>
                <a:gd name="T9" fmla="*/ 15434 h 18"/>
                <a:gd name="T10" fmla="*/ 19373 w 59"/>
                <a:gd name="T11" fmla="*/ 12347 h 18"/>
                <a:gd name="T12" fmla="*/ 15929 w 59"/>
                <a:gd name="T13" fmla="*/ 15434 h 18"/>
                <a:gd name="T14" fmla="*/ 12485 w 59"/>
                <a:gd name="T15" fmla="*/ 18521 h 18"/>
                <a:gd name="T16" fmla="*/ 9471 w 59"/>
                <a:gd name="T17" fmla="*/ 18521 h 18"/>
                <a:gd name="T18" fmla="*/ 6027 w 59"/>
                <a:gd name="T19" fmla="*/ 15434 h 18"/>
                <a:gd name="T20" fmla="*/ 3014 w 59"/>
                <a:gd name="T21" fmla="*/ 12347 h 18"/>
                <a:gd name="T22" fmla="*/ 0 w 59"/>
                <a:gd name="T23" fmla="*/ 0 h 1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59" h="18">
                  <a:moveTo>
                    <a:pt x="0" y="0"/>
                  </a:moveTo>
                  <a:lnTo>
                    <a:pt x="0" y="18"/>
                  </a:lnTo>
                  <a:lnTo>
                    <a:pt x="39" y="18"/>
                  </a:lnTo>
                  <a:lnTo>
                    <a:pt x="59" y="6"/>
                  </a:lnTo>
                  <a:lnTo>
                    <a:pt x="51" y="5"/>
                  </a:lnTo>
                  <a:lnTo>
                    <a:pt x="45" y="4"/>
                  </a:lnTo>
                  <a:lnTo>
                    <a:pt x="37" y="5"/>
                  </a:lnTo>
                  <a:lnTo>
                    <a:pt x="29" y="6"/>
                  </a:lnTo>
                  <a:lnTo>
                    <a:pt x="22" y="6"/>
                  </a:lnTo>
                  <a:lnTo>
                    <a:pt x="14" y="5"/>
                  </a:lnTo>
                  <a:lnTo>
                    <a:pt x="7" y="4"/>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0" name="Freeform 323">
              <a:extLst>
                <a:ext uri="{FF2B5EF4-FFF2-40B4-BE49-F238E27FC236}">
                  <a16:creationId xmlns:a16="http://schemas.microsoft.com/office/drawing/2014/main" id="{ABEFB416-9E08-4226-8802-70B45078DFB6}"/>
                </a:ext>
              </a:extLst>
            </p:cNvPr>
            <p:cNvSpPr>
              <a:spLocks/>
            </p:cNvSpPr>
            <p:nvPr>
              <p:custDataLst>
                <p:tags r:id="rId226"/>
              </p:custDataLst>
            </p:nvPr>
          </p:nvSpPr>
          <p:spPr bwMode="auto">
            <a:xfrm>
              <a:off x="7121516" y="3913157"/>
              <a:ext cx="1588" cy="55562"/>
            </a:xfrm>
            <a:custGeom>
              <a:avLst/>
              <a:gdLst>
                <a:gd name="T0" fmla="*/ 1588 w 4"/>
                <a:gd name="T1" fmla="*/ 55562 h 19"/>
                <a:gd name="T2" fmla="*/ 1588 w 4"/>
                <a:gd name="T3" fmla="*/ 0 h 19"/>
                <a:gd name="T4" fmla="*/ 794 w 4"/>
                <a:gd name="T5" fmla="*/ 2924 h 19"/>
                <a:gd name="T6" fmla="*/ 397 w 4"/>
                <a:gd name="T7" fmla="*/ 8773 h 19"/>
                <a:gd name="T8" fmla="*/ 0 w 4"/>
                <a:gd name="T9" fmla="*/ 17546 h 19"/>
                <a:gd name="T10" fmla="*/ 0 w 4"/>
                <a:gd name="T11" fmla="*/ 29243 h 19"/>
                <a:gd name="T12" fmla="*/ 0 w 4"/>
                <a:gd name="T13" fmla="*/ 40940 h 19"/>
                <a:gd name="T14" fmla="*/ 397 w 4"/>
                <a:gd name="T15" fmla="*/ 46789 h 19"/>
                <a:gd name="T16" fmla="*/ 794 w 4"/>
                <a:gd name="T17" fmla="*/ 55562 h 19"/>
                <a:gd name="T18" fmla="*/ 1588 w 4"/>
                <a:gd name="T19" fmla="*/ 55562 h 1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 h="19">
                  <a:moveTo>
                    <a:pt x="4" y="19"/>
                  </a:moveTo>
                  <a:lnTo>
                    <a:pt x="4" y="0"/>
                  </a:lnTo>
                  <a:lnTo>
                    <a:pt x="2" y="1"/>
                  </a:lnTo>
                  <a:lnTo>
                    <a:pt x="1" y="3"/>
                  </a:lnTo>
                  <a:lnTo>
                    <a:pt x="0" y="6"/>
                  </a:lnTo>
                  <a:lnTo>
                    <a:pt x="0" y="10"/>
                  </a:lnTo>
                  <a:lnTo>
                    <a:pt x="0" y="14"/>
                  </a:lnTo>
                  <a:lnTo>
                    <a:pt x="1" y="16"/>
                  </a:lnTo>
                  <a:lnTo>
                    <a:pt x="2" y="19"/>
                  </a:lnTo>
                  <a:lnTo>
                    <a:pt x="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1" name="Freeform 324">
              <a:extLst>
                <a:ext uri="{FF2B5EF4-FFF2-40B4-BE49-F238E27FC236}">
                  <a16:creationId xmlns:a16="http://schemas.microsoft.com/office/drawing/2014/main" id="{4426B3EA-2897-46B0-A4E8-8BCD02013328}"/>
                </a:ext>
              </a:extLst>
            </p:cNvPr>
            <p:cNvSpPr>
              <a:spLocks/>
            </p:cNvSpPr>
            <p:nvPr>
              <p:custDataLst>
                <p:tags r:id="rId227"/>
              </p:custDataLst>
            </p:nvPr>
          </p:nvSpPr>
          <p:spPr bwMode="auto">
            <a:xfrm>
              <a:off x="6696067" y="3727421"/>
              <a:ext cx="20638" cy="58738"/>
            </a:xfrm>
            <a:custGeom>
              <a:avLst/>
              <a:gdLst>
                <a:gd name="T0" fmla="*/ 0 w 46"/>
                <a:gd name="T1" fmla="*/ 58738 h 50"/>
                <a:gd name="T2" fmla="*/ 3141 w 46"/>
                <a:gd name="T3" fmla="*/ 0 h 50"/>
                <a:gd name="T4" fmla="*/ 10319 w 46"/>
                <a:gd name="T5" fmla="*/ 9398 h 50"/>
                <a:gd name="T6" fmla="*/ 15254 w 46"/>
                <a:gd name="T7" fmla="*/ 16447 h 50"/>
                <a:gd name="T8" fmla="*/ 16600 w 46"/>
                <a:gd name="T9" fmla="*/ 21146 h 50"/>
                <a:gd name="T10" fmla="*/ 18395 w 46"/>
                <a:gd name="T11" fmla="*/ 25845 h 50"/>
                <a:gd name="T12" fmla="*/ 19741 w 46"/>
                <a:gd name="T13" fmla="*/ 35243 h 50"/>
                <a:gd name="T14" fmla="*/ 20638 w 46"/>
                <a:gd name="T15" fmla="*/ 44641 h 50"/>
                <a:gd name="T16" fmla="*/ 15254 w 46"/>
                <a:gd name="T17" fmla="*/ 49340 h 50"/>
                <a:gd name="T18" fmla="*/ 9422 w 46"/>
                <a:gd name="T19" fmla="*/ 54039 h 50"/>
                <a:gd name="T20" fmla="*/ 3589 w 46"/>
                <a:gd name="T21" fmla="*/ 57563 h 50"/>
                <a:gd name="T22" fmla="*/ 0 w 46"/>
                <a:gd name="T23" fmla="*/ 58738 h 5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50">
                  <a:moveTo>
                    <a:pt x="0" y="50"/>
                  </a:moveTo>
                  <a:lnTo>
                    <a:pt x="7" y="0"/>
                  </a:lnTo>
                  <a:lnTo>
                    <a:pt x="23" y="8"/>
                  </a:lnTo>
                  <a:lnTo>
                    <a:pt x="34" y="14"/>
                  </a:lnTo>
                  <a:lnTo>
                    <a:pt x="37" y="18"/>
                  </a:lnTo>
                  <a:lnTo>
                    <a:pt x="41" y="22"/>
                  </a:lnTo>
                  <a:lnTo>
                    <a:pt x="44" y="30"/>
                  </a:lnTo>
                  <a:lnTo>
                    <a:pt x="46" y="38"/>
                  </a:lnTo>
                  <a:lnTo>
                    <a:pt x="34" y="42"/>
                  </a:lnTo>
                  <a:lnTo>
                    <a:pt x="21" y="46"/>
                  </a:lnTo>
                  <a:lnTo>
                    <a:pt x="8" y="49"/>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2" name="Freeform 325">
              <a:extLst>
                <a:ext uri="{FF2B5EF4-FFF2-40B4-BE49-F238E27FC236}">
                  <a16:creationId xmlns:a16="http://schemas.microsoft.com/office/drawing/2014/main" id="{D80368A5-E1D4-48C1-A267-94013F7B401A}"/>
                </a:ext>
              </a:extLst>
            </p:cNvPr>
            <p:cNvSpPr>
              <a:spLocks/>
            </p:cNvSpPr>
            <p:nvPr>
              <p:custDataLst>
                <p:tags r:id="rId228"/>
              </p:custDataLst>
            </p:nvPr>
          </p:nvSpPr>
          <p:spPr bwMode="auto">
            <a:xfrm>
              <a:off x="6642092" y="3700434"/>
              <a:ext cx="30163" cy="58737"/>
            </a:xfrm>
            <a:custGeom>
              <a:avLst/>
              <a:gdLst>
                <a:gd name="T0" fmla="*/ 0 w 66"/>
                <a:gd name="T1" fmla="*/ 0 h 80"/>
                <a:gd name="T2" fmla="*/ 4570 w 66"/>
                <a:gd name="T3" fmla="*/ 0 h 80"/>
                <a:gd name="T4" fmla="*/ 8226 w 66"/>
                <a:gd name="T5" fmla="*/ 0 h 80"/>
                <a:gd name="T6" fmla="*/ 11882 w 66"/>
                <a:gd name="T7" fmla="*/ 0 h 80"/>
                <a:gd name="T8" fmla="*/ 15082 w 66"/>
                <a:gd name="T9" fmla="*/ 0 h 80"/>
                <a:gd name="T10" fmla="*/ 15082 w 66"/>
                <a:gd name="T11" fmla="*/ 5139 h 80"/>
                <a:gd name="T12" fmla="*/ 15539 w 66"/>
                <a:gd name="T13" fmla="*/ 10279 h 80"/>
                <a:gd name="T14" fmla="*/ 16453 w 66"/>
                <a:gd name="T15" fmla="*/ 15418 h 80"/>
                <a:gd name="T16" fmla="*/ 17367 w 66"/>
                <a:gd name="T17" fmla="*/ 19824 h 80"/>
                <a:gd name="T18" fmla="*/ 20109 w 66"/>
                <a:gd name="T19" fmla="*/ 26432 h 80"/>
                <a:gd name="T20" fmla="*/ 22394 w 66"/>
                <a:gd name="T21" fmla="*/ 33040 h 80"/>
                <a:gd name="T22" fmla="*/ 25593 w 66"/>
                <a:gd name="T23" fmla="*/ 38179 h 80"/>
                <a:gd name="T24" fmla="*/ 27878 w 66"/>
                <a:gd name="T25" fmla="*/ 44053 h 80"/>
                <a:gd name="T26" fmla="*/ 28335 w 66"/>
                <a:gd name="T27" fmla="*/ 47724 h 80"/>
                <a:gd name="T28" fmla="*/ 29706 w 66"/>
                <a:gd name="T29" fmla="*/ 50661 h 80"/>
                <a:gd name="T30" fmla="*/ 30163 w 66"/>
                <a:gd name="T31" fmla="*/ 55066 h 80"/>
                <a:gd name="T32" fmla="*/ 30163 w 66"/>
                <a:gd name="T33" fmla="*/ 58737 h 80"/>
                <a:gd name="T34" fmla="*/ 0 w 66"/>
                <a:gd name="T35" fmla="*/ 13216 h 80"/>
                <a:gd name="T36" fmla="*/ 0 w 66"/>
                <a:gd name="T37" fmla="*/ 0 h 8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6" h="80">
                  <a:moveTo>
                    <a:pt x="0" y="0"/>
                  </a:moveTo>
                  <a:lnTo>
                    <a:pt x="10" y="0"/>
                  </a:lnTo>
                  <a:lnTo>
                    <a:pt x="18" y="0"/>
                  </a:lnTo>
                  <a:lnTo>
                    <a:pt x="26" y="0"/>
                  </a:lnTo>
                  <a:lnTo>
                    <a:pt x="33" y="0"/>
                  </a:lnTo>
                  <a:lnTo>
                    <a:pt x="33" y="7"/>
                  </a:lnTo>
                  <a:lnTo>
                    <a:pt x="34" y="14"/>
                  </a:lnTo>
                  <a:lnTo>
                    <a:pt x="36" y="21"/>
                  </a:lnTo>
                  <a:lnTo>
                    <a:pt x="38" y="27"/>
                  </a:lnTo>
                  <a:lnTo>
                    <a:pt x="44" y="36"/>
                  </a:lnTo>
                  <a:lnTo>
                    <a:pt x="49" y="45"/>
                  </a:lnTo>
                  <a:lnTo>
                    <a:pt x="56" y="52"/>
                  </a:lnTo>
                  <a:lnTo>
                    <a:pt x="61" y="60"/>
                  </a:lnTo>
                  <a:lnTo>
                    <a:pt x="62" y="65"/>
                  </a:lnTo>
                  <a:lnTo>
                    <a:pt x="65" y="69"/>
                  </a:lnTo>
                  <a:lnTo>
                    <a:pt x="66" y="75"/>
                  </a:lnTo>
                  <a:lnTo>
                    <a:pt x="66" y="80"/>
                  </a:lnTo>
                  <a:lnTo>
                    <a:pt x="0" y="18"/>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3" name="Freeform 326">
              <a:extLst>
                <a:ext uri="{FF2B5EF4-FFF2-40B4-BE49-F238E27FC236}">
                  <a16:creationId xmlns:a16="http://schemas.microsoft.com/office/drawing/2014/main" id="{6427F165-C7C3-468C-AE76-77BFBBA79517}"/>
                </a:ext>
              </a:extLst>
            </p:cNvPr>
            <p:cNvSpPr>
              <a:spLocks/>
            </p:cNvSpPr>
            <p:nvPr>
              <p:custDataLst>
                <p:tags r:id="rId229"/>
              </p:custDataLst>
            </p:nvPr>
          </p:nvSpPr>
          <p:spPr bwMode="auto">
            <a:xfrm>
              <a:off x="6476992" y="3684559"/>
              <a:ext cx="7938" cy="57150"/>
            </a:xfrm>
            <a:custGeom>
              <a:avLst/>
              <a:gdLst>
                <a:gd name="T0" fmla="*/ 7938 w 20"/>
                <a:gd name="T1" fmla="*/ 57150 h 48"/>
                <a:gd name="T2" fmla="*/ 7938 w 20"/>
                <a:gd name="T3" fmla="*/ 46434 h 48"/>
                <a:gd name="T4" fmla="*/ 7541 w 20"/>
                <a:gd name="T5" fmla="*/ 38100 h 48"/>
                <a:gd name="T6" fmla="*/ 6350 w 20"/>
                <a:gd name="T7" fmla="*/ 29766 h 48"/>
                <a:gd name="T8" fmla="*/ 5557 w 20"/>
                <a:gd name="T9" fmla="*/ 22622 h 48"/>
                <a:gd name="T10" fmla="*/ 4763 w 20"/>
                <a:gd name="T11" fmla="*/ 16669 h 48"/>
                <a:gd name="T12" fmla="*/ 3572 w 20"/>
                <a:gd name="T13" fmla="*/ 10716 h 48"/>
                <a:gd name="T14" fmla="*/ 1588 w 20"/>
                <a:gd name="T15" fmla="*/ 4763 h 48"/>
                <a:gd name="T16" fmla="*/ 0 w 20"/>
                <a:gd name="T17" fmla="*/ 0 h 48"/>
                <a:gd name="T18" fmla="*/ 0 w 20"/>
                <a:gd name="T19" fmla="*/ 9525 h 48"/>
                <a:gd name="T20" fmla="*/ 794 w 20"/>
                <a:gd name="T21" fmla="*/ 20241 h 48"/>
                <a:gd name="T22" fmla="*/ 1588 w 20"/>
                <a:gd name="T23" fmla="*/ 28575 h 48"/>
                <a:gd name="T24" fmla="*/ 3175 w 20"/>
                <a:gd name="T25" fmla="*/ 36909 h 48"/>
                <a:gd name="T26" fmla="*/ 5557 w 20"/>
                <a:gd name="T27" fmla="*/ 48816 h 48"/>
                <a:gd name="T28" fmla="*/ 7938 w 20"/>
                <a:gd name="T29" fmla="*/ 57150 h 4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0" h="48">
                  <a:moveTo>
                    <a:pt x="20" y="48"/>
                  </a:moveTo>
                  <a:lnTo>
                    <a:pt x="20" y="39"/>
                  </a:lnTo>
                  <a:lnTo>
                    <a:pt x="19" y="32"/>
                  </a:lnTo>
                  <a:lnTo>
                    <a:pt x="16" y="25"/>
                  </a:lnTo>
                  <a:lnTo>
                    <a:pt x="14" y="19"/>
                  </a:lnTo>
                  <a:lnTo>
                    <a:pt x="12" y="14"/>
                  </a:lnTo>
                  <a:lnTo>
                    <a:pt x="9" y="9"/>
                  </a:lnTo>
                  <a:lnTo>
                    <a:pt x="4" y="4"/>
                  </a:lnTo>
                  <a:lnTo>
                    <a:pt x="0" y="0"/>
                  </a:lnTo>
                  <a:lnTo>
                    <a:pt x="0" y="8"/>
                  </a:lnTo>
                  <a:lnTo>
                    <a:pt x="2" y="17"/>
                  </a:lnTo>
                  <a:lnTo>
                    <a:pt x="4" y="24"/>
                  </a:lnTo>
                  <a:lnTo>
                    <a:pt x="8" y="31"/>
                  </a:lnTo>
                  <a:lnTo>
                    <a:pt x="14" y="41"/>
                  </a:lnTo>
                  <a:lnTo>
                    <a:pt x="20"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4" name="Line 327" descr="Horizontal dunkel">
              <a:extLst>
                <a:ext uri="{FF2B5EF4-FFF2-40B4-BE49-F238E27FC236}">
                  <a16:creationId xmlns:a16="http://schemas.microsoft.com/office/drawing/2014/main" id="{A4A13EFC-8C90-4FAD-96F1-89F83446900D}"/>
                </a:ext>
              </a:extLst>
            </p:cNvPr>
            <p:cNvSpPr>
              <a:spLocks noChangeShapeType="1"/>
            </p:cNvSpPr>
            <p:nvPr>
              <p:custDataLst>
                <p:tags r:id="rId230"/>
              </p:custDataLst>
            </p:nvPr>
          </p:nvSpPr>
          <p:spPr bwMode="auto">
            <a:xfrm>
              <a:off x="6502392" y="3721070"/>
              <a:ext cx="4763" cy="6350"/>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5" name="Freeform 328">
              <a:extLst>
                <a:ext uri="{FF2B5EF4-FFF2-40B4-BE49-F238E27FC236}">
                  <a16:creationId xmlns:a16="http://schemas.microsoft.com/office/drawing/2014/main" id="{02A98CD9-5E94-4969-94E4-72A12E42B3BA}"/>
                </a:ext>
              </a:extLst>
            </p:cNvPr>
            <p:cNvSpPr>
              <a:spLocks/>
            </p:cNvSpPr>
            <p:nvPr>
              <p:custDataLst>
                <p:tags r:id="rId231"/>
              </p:custDataLst>
            </p:nvPr>
          </p:nvSpPr>
          <p:spPr bwMode="auto">
            <a:xfrm>
              <a:off x="6499217" y="3721070"/>
              <a:ext cx="7938" cy="57150"/>
            </a:xfrm>
            <a:custGeom>
              <a:avLst/>
              <a:gdLst>
                <a:gd name="T0" fmla="*/ 7938 w 20"/>
                <a:gd name="T1" fmla="*/ 57150 h 12"/>
                <a:gd name="T2" fmla="*/ 7938 w 20"/>
                <a:gd name="T3" fmla="*/ 38100 h 12"/>
                <a:gd name="T4" fmla="*/ 7144 w 20"/>
                <a:gd name="T5" fmla="*/ 23813 h 12"/>
                <a:gd name="T6" fmla="*/ 5954 w 20"/>
                <a:gd name="T7" fmla="*/ 14288 h 12"/>
                <a:gd name="T8" fmla="*/ 5160 w 20"/>
                <a:gd name="T9" fmla="*/ 9525 h 12"/>
                <a:gd name="T10" fmla="*/ 2778 w 20"/>
                <a:gd name="T11" fmla="*/ 0 h 12"/>
                <a:gd name="T12" fmla="*/ 0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20" y="8"/>
                  </a:lnTo>
                  <a:lnTo>
                    <a:pt x="18" y="5"/>
                  </a:lnTo>
                  <a:lnTo>
                    <a:pt x="15" y="3"/>
                  </a:lnTo>
                  <a:lnTo>
                    <a:pt x="13" y="2"/>
                  </a:lnTo>
                  <a:lnTo>
                    <a:pt x="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6" name="Freeform 329">
              <a:extLst>
                <a:ext uri="{FF2B5EF4-FFF2-40B4-BE49-F238E27FC236}">
                  <a16:creationId xmlns:a16="http://schemas.microsoft.com/office/drawing/2014/main" id="{EE21D009-2748-4558-919D-ACAF30AE2EDE}"/>
                </a:ext>
              </a:extLst>
            </p:cNvPr>
            <p:cNvSpPr>
              <a:spLocks/>
            </p:cNvSpPr>
            <p:nvPr>
              <p:custDataLst>
                <p:tags r:id="rId232"/>
              </p:custDataLst>
            </p:nvPr>
          </p:nvSpPr>
          <p:spPr bwMode="auto">
            <a:xfrm>
              <a:off x="6400792" y="3565497"/>
              <a:ext cx="22225" cy="57150"/>
            </a:xfrm>
            <a:custGeom>
              <a:avLst/>
              <a:gdLst>
                <a:gd name="T0" fmla="*/ 2935 w 53"/>
                <a:gd name="T1" fmla="*/ 0 h 30"/>
                <a:gd name="T2" fmla="*/ 4613 w 53"/>
                <a:gd name="T3" fmla="*/ 7620 h 30"/>
                <a:gd name="T4" fmla="*/ 9645 w 53"/>
                <a:gd name="T5" fmla="*/ 24765 h 30"/>
                <a:gd name="T6" fmla="*/ 15516 w 53"/>
                <a:gd name="T7" fmla="*/ 43815 h 30"/>
                <a:gd name="T8" fmla="*/ 19290 w 53"/>
                <a:gd name="T9" fmla="*/ 57150 h 30"/>
                <a:gd name="T10" fmla="*/ 20548 w 53"/>
                <a:gd name="T11" fmla="*/ 34290 h 30"/>
                <a:gd name="T12" fmla="*/ 22225 w 53"/>
                <a:gd name="T13" fmla="*/ 11430 h 30"/>
                <a:gd name="T14" fmla="*/ 15516 w 53"/>
                <a:gd name="T15" fmla="*/ 9525 h 30"/>
                <a:gd name="T16" fmla="*/ 10903 w 53"/>
                <a:gd name="T17" fmla="*/ 5715 h 30"/>
                <a:gd name="T18" fmla="*/ 8806 w 53"/>
                <a:gd name="T19" fmla="*/ 5715 h 30"/>
                <a:gd name="T20" fmla="*/ 6290 w 53"/>
                <a:gd name="T21" fmla="*/ 5715 h 30"/>
                <a:gd name="T22" fmla="*/ 3774 w 53"/>
                <a:gd name="T23" fmla="*/ 7620 h 30"/>
                <a:gd name="T24" fmla="*/ 0 w 53"/>
                <a:gd name="T25" fmla="*/ 11430 h 30"/>
                <a:gd name="T26" fmla="*/ 2935 w 53"/>
                <a:gd name="T27" fmla="*/ 0 h 30"/>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53" h="30">
                  <a:moveTo>
                    <a:pt x="7" y="0"/>
                  </a:moveTo>
                  <a:lnTo>
                    <a:pt x="11" y="4"/>
                  </a:lnTo>
                  <a:lnTo>
                    <a:pt x="23" y="13"/>
                  </a:lnTo>
                  <a:lnTo>
                    <a:pt x="37" y="23"/>
                  </a:lnTo>
                  <a:lnTo>
                    <a:pt x="46" y="30"/>
                  </a:lnTo>
                  <a:lnTo>
                    <a:pt x="49" y="18"/>
                  </a:lnTo>
                  <a:lnTo>
                    <a:pt x="53" y="6"/>
                  </a:lnTo>
                  <a:lnTo>
                    <a:pt x="37" y="5"/>
                  </a:lnTo>
                  <a:lnTo>
                    <a:pt x="26" y="3"/>
                  </a:lnTo>
                  <a:lnTo>
                    <a:pt x="21" y="3"/>
                  </a:lnTo>
                  <a:lnTo>
                    <a:pt x="15" y="3"/>
                  </a:lnTo>
                  <a:lnTo>
                    <a:pt x="9" y="4"/>
                  </a:lnTo>
                  <a:lnTo>
                    <a:pt x="0" y="6"/>
                  </a:lnTo>
                  <a:lnTo>
                    <a:pt x="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7" name="Freeform 330">
              <a:extLst>
                <a:ext uri="{FF2B5EF4-FFF2-40B4-BE49-F238E27FC236}">
                  <a16:creationId xmlns:a16="http://schemas.microsoft.com/office/drawing/2014/main" id="{6F15C1C2-C8CF-4D3A-AA90-F0D0B2770C0D}"/>
                </a:ext>
              </a:extLst>
            </p:cNvPr>
            <p:cNvSpPr>
              <a:spLocks/>
            </p:cNvSpPr>
            <p:nvPr>
              <p:custDataLst>
                <p:tags r:id="rId233"/>
              </p:custDataLst>
            </p:nvPr>
          </p:nvSpPr>
          <p:spPr bwMode="auto">
            <a:xfrm>
              <a:off x="6929429" y="3929032"/>
              <a:ext cx="11112" cy="57150"/>
            </a:xfrm>
            <a:custGeom>
              <a:avLst/>
              <a:gdLst>
                <a:gd name="T0" fmla="*/ 0 w 33"/>
                <a:gd name="T1" fmla="*/ 11061 h 31"/>
                <a:gd name="T2" fmla="*/ 1347 w 33"/>
                <a:gd name="T3" fmla="*/ 38715 h 31"/>
                <a:gd name="T4" fmla="*/ 2357 w 33"/>
                <a:gd name="T5" fmla="*/ 57150 h 31"/>
                <a:gd name="T6" fmla="*/ 7408 w 33"/>
                <a:gd name="T7" fmla="*/ 57150 h 31"/>
                <a:gd name="T8" fmla="*/ 11112 w 33"/>
                <a:gd name="T9" fmla="*/ 57150 h 31"/>
                <a:gd name="T10" fmla="*/ 11112 w 33"/>
                <a:gd name="T11" fmla="*/ 0 h 31"/>
                <a:gd name="T12" fmla="*/ 9092 w 33"/>
                <a:gd name="T13" fmla="*/ 0 h 31"/>
                <a:gd name="T14" fmla="*/ 6398 w 33"/>
                <a:gd name="T15" fmla="*/ 0 h 31"/>
                <a:gd name="T16" fmla="*/ 3367 w 33"/>
                <a:gd name="T17" fmla="*/ 0 h 31"/>
                <a:gd name="T18" fmla="*/ 0 w 33"/>
                <a:gd name="T19" fmla="*/ 0 h 31"/>
                <a:gd name="T20" fmla="*/ 0 w 33"/>
                <a:gd name="T21" fmla="*/ 11061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6"/>
                  </a:moveTo>
                  <a:lnTo>
                    <a:pt x="4" y="21"/>
                  </a:lnTo>
                  <a:lnTo>
                    <a:pt x="7" y="31"/>
                  </a:lnTo>
                  <a:lnTo>
                    <a:pt x="22" y="31"/>
                  </a:lnTo>
                  <a:lnTo>
                    <a:pt x="33" y="31"/>
                  </a:lnTo>
                  <a:lnTo>
                    <a:pt x="33" y="0"/>
                  </a:lnTo>
                  <a:lnTo>
                    <a:pt x="27" y="0"/>
                  </a:lnTo>
                  <a:lnTo>
                    <a:pt x="19" y="0"/>
                  </a:lnTo>
                  <a:lnTo>
                    <a:pt x="10" y="0"/>
                  </a:lnTo>
                  <a:lnTo>
                    <a:pt x="0" y="0"/>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8" name="Freeform 331">
              <a:extLst>
                <a:ext uri="{FF2B5EF4-FFF2-40B4-BE49-F238E27FC236}">
                  <a16:creationId xmlns:a16="http://schemas.microsoft.com/office/drawing/2014/main" id="{5A9A463D-5B11-4765-9589-ABAAED1131CD}"/>
                </a:ext>
              </a:extLst>
            </p:cNvPr>
            <p:cNvSpPr>
              <a:spLocks/>
            </p:cNvSpPr>
            <p:nvPr>
              <p:custDataLst>
                <p:tags r:id="rId234"/>
              </p:custDataLst>
            </p:nvPr>
          </p:nvSpPr>
          <p:spPr bwMode="auto">
            <a:xfrm>
              <a:off x="7445366" y="3886169"/>
              <a:ext cx="28575" cy="55562"/>
            </a:xfrm>
            <a:custGeom>
              <a:avLst/>
              <a:gdLst>
                <a:gd name="T0" fmla="*/ 8353 w 65"/>
                <a:gd name="T1" fmla="*/ 55563 h 68"/>
                <a:gd name="T2" fmla="*/ 7034 w 65"/>
                <a:gd name="T3" fmla="*/ 55563 h 68"/>
                <a:gd name="T4" fmla="*/ 6155 w 65"/>
                <a:gd name="T5" fmla="*/ 53929 h 68"/>
                <a:gd name="T6" fmla="*/ 4836 w 65"/>
                <a:gd name="T7" fmla="*/ 52295 h 68"/>
                <a:gd name="T8" fmla="*/ 3077 w 65"/>
                <a:gd name="T9" fmla="*/ 49843 h 68"/>
                <a:gd name="T10" fmla="*/ 1758 w 65"/>
                <a:gd name="T11" fmla="*/ 48209 h 68"/>
                <a:gd name="T12" fmla="*/ 879 w 65"/>
                <a:gd name="T13" fmla="*/ 44941 h 68"/>
                <a:gd name="T14" fmla="*/ 0 w 65"/>
                <a:gd name="T15" fmla="*/ 42489 h 68"/>
                <a:gd name="T16" fmla="*/ 0 w 65"/>
                <a:gd name="T17" fmla="*/ 40038 h 68"/>
                <a:gd name="T18" fmla="*/ 0 w 65"/>
                <a:gd name="T19" fmla="*/ 31050 h 68"/>
                <a:gd name="T20" fmla="*/ 879 w 65"/>
                <a:gd name="T21" fmla="*/ 23696 h 68"/>
                <a:gd name="T22" fmla="*/ 2198 w 65"/>
                <a:gd name="T23" fmla="*/ 17159 h 68"/>
                <a:gd name="T24" fmla="*/ 3957 w 65"/>
                <a:gd name="T25" fmla="*/ 11439 h 68"/>
                <a:gd name="T26" fmla="*/ 6594 w 65"/>
                <a:gd name="T27" fmla="*/ 6537 h 68"/>
                <a:gd name="T28" fmla="*/ 9672 w 65"/>
                <a:gd name="T29" fmla="*/ 3268 h 68"/>
                <a:gd name="T30" fmla="*/ 13188 w 65"/>
                <a:gd name="T31" fmla="*/ 1634 h 68"/>
                <a:gd name="T32" fmla="*/ 17145 w 65"/>
                <a:gd name="T33" fmla="*/ 0 h 68"/>
                <a:gd name="T34" fmla="*/ 22860 w 65"/>
                <a:gd name="T35" fmla="*/ 0 h 68"/>
                <a:gd name="T36" fmla="*/ 28575 w 65"/>
                <a:gd name="T37" fmla="*/ 0 h 68"/>
                <a:gd name="T38" fmla="*/ 28575 w 65"/>
                <a:gd name="T39" fmla="*/ 35135 h 68"/>
                <a:gd name="T40" fmla="*/ 24618 w 65"/>
                <a:gd name="T41" fmla="*/ 42489 h 68"/>
                <a:gd name="T42" fmla="*/ 19783 w 65"/>
                <a:gd name="T43" fmla="*/ 49843 h 68"/>
                <a:gd name="T44" fmla="*/ 17145 w 65"/>
                <a:gd name="T45" fmla="*/ 52295 h 68"/>
                <a:gd name="T46" fmla="*/ 14947 w 65"/>
                <a:gd name="T47" fmla="*/ 53929 h 68"/>
                <a:gd name="T48" fmla="*/ 11870 w 65"/>
                <a:gd name="T49" fmla="*/ 55563 h 68"/>
                <a:gd name="T50" fmla="*/ 8353 w 65"/>
                <a:gd name="T51" fmla="*/ 55563 h 6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5" h="68">
                  <a:moveTo>
                    <a:pt x="19" y="68"/>
                  </a:moveTo>
                  <a:lnTo>
                    <a:pt x="16" y="68"/>
                  </a:lnTo>
                  <a:lnTo>
                    <a:pt x="14" y="66"/>
                  </a:lnTo>
                  <a:lnTo>
                    <a:pt x="11" y="64"/>
                  </a:lnTo>
                  <a:lnTo>
                    <a:pt x="7" y="61"/>
                  </a:lnTo>
                  <a:lnTo>
                    <a:pt x="4" y="59"/>
                  </a:lnTo>
                  <a:lnTo>
                    <a:pt x="2" y="55"/>
                  </a:lnTo>
                  <a:lnTo>
                    <a:pt x="0" y="52"/>
                  </a:lnTo>
                  <a:lnTo>
                    <a:pt x="0" y="49"/>
                  </a:lnTo>
                  <a:lnTo>
                    <a:pt x="0" y="38"/>
                  </a:lnTo>
                  <a:lnTo>
                    <a:pt x="2" y="29"/>
                  </a:lnTo>
                  <a:lnTo>
                    <a:pt x="5" y="21"/>
                  </a:lnTo>
                  <a:lnTo>
                    <a:pt x="9" y="14"/>
                  </a:lnTo>
                  <a:lnTo>
                    <a:pt x="15" y="8"/>
                  </a:lnTo>
                  <a:lnTo>
                    <a:pt x="22" y="4"/>
                  </a:lnTo>
                  <a:lnTo>
                    <a:pt x="30" y="2"/>
                  </a:lnTo>
                  <a:lnTo>
                    <a:pt x="39" y="0"/>
                  </a:lnTo>
                  <a:lnTo>
                    <a:pt x="52" y="0"/>
                  </a:lnTo>
                  <a:lnTo>
                    <a:pt x="65" y="0"/>
                  </a:lnTo>
                  <a:lnTo>
                    <a:pt x="65" y="43"/>
                  </a:lnTo>
                  <a:lnTo>
                    <a:pt x="56" y="52"/>
                  </a:lnTo>
                  <a:lnTo>
                    <a:pt x="45" y="61"/>
                  </a:lnTo>
                  <a:lnTo>
                    <a:pt x="39" y="64"/>
                  </a:lnTo>
                  <a:lnTo>
                    <a:pt x="34" y="66"/>
                  </a:lnTo>
                  <a:lnTo>
                    <a:pt x="27" y="68"/>
                  </a:lnTo>
                  <a:lnTo>
                    <a:pt x="19"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39" name="Freeform 332">
              <a:extLst>
                <a:ext uri="{FF2B5EF4-FFF2-40B4-BE49-F238E27FC236}">
                  <a16:creationId xmlns:a16="http://schemas.microsoft.com/office/drawing/2014/main" id="{A64CD930-FB28-46F3-A5EF-F6EBC8B7FB6E}"/>
                </a:ext>
              </a:extLst>
            </p:cNvPr>
            <p:cNvSpPr>
              <a:spLocks/>
            </p:cNvSpPr>
            <p:nvPr>
              <p:custDataLst>
                <p:tags r:id="rId235"/>
              </p:custDataLst>
            </p:nvPr>
          </p:nvSpPr>
          <p:spPr bwMode="auto">
            <a:xfrm>
              <a:off x="6383330" y="3468661"/>
              <a:ext cx="274637" cy="368297"/>
            </a:xfrm>
            <a:custGeom>
              <a:avLst/>
              <a:gdLst>
                <a:gd name="T0" fmla="*/ 220588 w 625"/>
                <a:gd name="T1" fmla="*/ 178843 h 694"/>
                <a:gd name="T2" fmla="*/ 212679 w 625"/>
                <a:gd name="T3" fmla="*/ 180966 h 694"/>
                <a:gd name="T4" fmla="*/ 210482 w 625"/>
                <a:gd name="T5" fmla="*/ 202724 h 694"/>
                <a:gd name="T6" fmla="*/ 226301 w 625"/>
                <a:gd name="T7" fmla="*/ 214399 h 694"/>
                <a:gd name="T8" fmla="*/ 234650 w 625"/>
                <a:gd name="T9" fmla="*/ 214930 h 694"/>
                <a:gd name="T10" fmla="*/ 241681 w 625"/>
                <a:gd name="T11" fmla="*/ 225013 h 694"/>
                <a:gd name="T12" fmla="*/ 246075 w 625"/>
                <a:gd name="T13" fmla="*/ 243587 h 694"/>
                <a:gd name="T14" fmla="*/ 251348 w 625"/>
                <a:gd name="T15" fmla="*/ 251548 h 694"/>
                <a:gd name="T16" fmla="*/ 258378 w 625"/>
                <a:gd name="T17" fmla="*/ 256324 h 694"/>
                <a:gd name="T18" fmla="*/ 269803 w 625"/>
                <a:gd name="T19" fmla="*/ 258447 h 694"/>
                <a:gd name="T20" fmla="*/ 274637 w 625"/>
                <a:gd name="T21" fmla="*/ 267999 h 694"/>
                <a:gd name="T22" fmla="*/ 274637 w 625"/>
                <a:gd name="T23" fmla="*/ 286043 h 694"/>
                <a:gd name="T24" fmla="*/ 271561 w 625"/>
                <a:gd name="T25" fmla="*/ 320007 h 694"/>
                <a:gd name="T26" fmla="*/ 268485 w 625"/>
                <a:gd name="T27" fmla="*/ 356625 h 694"/>
                <a:gd name="T28" fmla="*/ 246954 w 625"/>
                <a:gd name="T29" fmla="*/ 367769 h 694"/>
                <a:gd name="T30" fmla="*/ 236847 w 625"/>
                <a:gd name="T31" fmla="*/ 367769 h 694"/>
                <a:gd name="T32" fmla="*/ 173131 w 625"/>
                <a:gd name="T33" fmla="*/ 299310 h 694"/>
                <a:gd name="T34" fmla="*/ 174449 w 625"/>
                <a:gd name="T35" fmla="*/ 292942 h 694"/>
                <a:gd name="T36" fmla="*/ 173131 w 625"/>
                <a:gd name="T37" fmla="*/ 286043 h 694"/>
                <a:gd name="T38" fmla="*/ 148524 w 625"/>
                <a:gd name="T39" fmla="*/ 258978 h 694"/>
                <a:gd name="T40" fmla="*/ 134023 w 625"/>
                <a:gd name="T41" fmla="*/ 240403 h 694"/>
                <a:gd name="T42" fmla="*/ 128750 w 625"/>
                <a:gd name="T43" fmla="*/ 222360 h 694"/>
                <a:gd name="T44" fmla="*/ 127871 w 625"/>
                <a:gd name="T45" fmla="*/ 202194 h 694"/>
                <a:gd name="T46" fmla="*/ 125234 w 625"/>
                <a:gd name="T47" fmla="*/ 191049 h 694"/>
                <a:gd name="T48" fmla="*/ 117764 w 625"/>
                <a:gd name="T49" fmla="*/ 181497 h 694"/>
                <a:gd name="T50" fmla="*/ 105900 w 625"/>
                <a:gd name="T51" fmla="*/ 164514 h 694"/>
                <a:gd name="T52" fmla="*/ 98430 w 625"/>
                <a:gd name="T53" fmla="*/ 142756 h 694"/>
                <a:gd name="T54" fmla="*/ 93596 w 625"/>
                <a:gd name="T55" fmla="*/ 126305 h 694"/>
                <a:gd name="T56" fmla="*/ 83490 w 625"/>
                <a:gd name="T57" fmla="*/ 112507 h 694"/>
                <a:gd name="T58" fmla="*/ 65913 w 625"/>
                <a:gd name="T59" fmla="*/ 90748 h 694"/>
                <a:gd name="T60" fmla="*/ 59761 w 625"/>
                <a:gd name="T61" fmla="*/ 77481 h 694"/>
                <a:gd name="T62" fmla="*/ 49215 w 625"/>
                <a:gd name="T63" fmla="*/ 70051 h 694"/>
                <a:gd name="T64" fmla="*/ 35154 w 625"/>
                <a:gd name="T65" fmla="*/ 59968 h 694"/>
                <a:gd name="T66" fmla="*/ 21532 w 625"/>
                <a:gd name="T67" fmla="*/ 45109 h 694"/>
                <a:gd name="T68" fmla="*/ 10107 w 625"/>
                <a:gd name="T69" fmla="*/ 27065 h 694"/>
                <a:gd name="T70" fmla="*/ 2197 w 625"/>
                <a:gd name="T71" fmla="*/ 10083 h 694"/>
                <a:gd name="T72" fmla="*/ 4394 w 625"/>
                <a:gd name="T73" fmla="*/ 2123 h 694"/>
                <a:gd name="T74" fmla="*/ 16259 w 625"/>
                <a:gd name="T75" fmla="*/ 6899 h 694"/>
                <a:gd name="T76" fmla="*/ 36911 w 625"/>
                <a:gd name="T77" fmla="*/ 8491 h 694"/>
                <a:gd name="T78" fmla="*/ 50973 w 625"/>
                <a:gd name="T79" fmla="*/ 10614 h 694"/>
                <a:gd name="T80" fmla="*/ 60640 w 625"/>
                <a:gd name="T81" fmla="*/ 14329 h 694"/>
                <a:gd name="T82" fmla="*/ 68549 w 625"/>
                <a:gd name="T83" fmla="*/ 22289 h 694"/>
                <a:gd name="T84" fmla="*/ 89642 w 625"/>
                <a:gd name="T85" fmla="*/ 57845 h 694"/>
                <a:gd name="T86" fmla="*/ 111612 w 625"/>
                <a:gd name="T87" fmla="*/ 86503 h 694"/>
                <a:gd name="T88" fmla="*/ 131386 w 625"/>
                <a:gd name="T89" fmla="*/ 107200 h 694"/>
                <a:gd name="T90" fmla="*/ 144569 w 625"/>
                <a:gd name="T91" fmla="*/ 116221 h 694"/>
                <a:gd name="T92" fmla="*/ 160827 w 625"/>
                <a:gd name="T93" fmla="*/ 120467 h 694"/>
                <a:gd name="T94" fmla="*/ 170495 w 625"/>
                <a:gd name="T95" fmla="*/ 122059 h 694"/>
                <a:gd name="T96" fmla="*/ 176207 w 625"/>
                <a:gd name="T97" fmla="*/ 127897 h 694"/>
                <a:gd name="T98" fmla="*/ 182798 w 625"/>
                <a:gd name="T99" fmla="*/ 137980 h 694"/>
                <a:gd name="T100" fmla="*/ 187632 w 625"/>
                <a:gd name="T101" fmla="*/ 140633 h 694"/>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625" h="694">
                  <a:moveTo>
                    <a:pt x="433" y="265"/>
                  </a:moveTo>
                  <a:lnTo>
                    <a:pt x="512" y="333"/>
                  </a:lnTo>
                  <a:lnTo>
                    <a:pt x="502" y="337"/>
                  </a:lnTo>
                  <a:lnTo>
                    <a:pt x="493" y="341"/>
                  </a:lnTo>
                  <a:lnTo>
                    <a:pt x="489" y="341"/>
                  </a:lnTo>
                  <a:lnTo>
                    <a:pt x="484" y="341"/>
                  </a:lnTo>
                  <a:lnTo>
                    <a:pt x="481" y="341"/>
                  </a:lnTo>
                  <a:lnTo>
                    <a:pt x="479" y="339"/>
                  </a:lnTo>
                  <a:lnTo>
                    <a:pt x="479" y="382"/>
                  </a:lnTo>
                  <a:lnTo>
                    <a:pt x="493" y="392"/>
                  </a:lnTo>
                  <a:lnTo>
                    <a:pt x="507" y="402"/>
                  </a:lnTo>
                  <a:lnTo>
                    <a:pt x="515" y="404"/>
                  </a:lnTo>
                  <a:lnTo>
                    <a:pt x="524" y="406"/>
                  </a:lnTo>
                  <a:lnTo>
                    <a:pt x="528" y="405"/>
                  </a:lnTo>
                  <a:lnTo>
                    <a:pt x="534" y="405"/>
                  </a:lnTo>
                  <a:lnTo>
                    <a:pt x="539" y="403"/>
                  </a:lnTo>
                  <a:lnTo>
                    <a:pt x="545" y="402"/>
                  </a:lnTo>
                  <a:lnTo>
                    <a:pt x="550" y="424"/>
                  </a:lnTo>
                  <a:lnTo>
                    <a:pt x="554" y="443"/>
                  </a:lnTo>
                  <a:lnTo>
                    <a:pt x="558" y="451"/>
                  </a:lnTo>
                  <a:lnTo>
                    <a:pt x="560" y="459"/>
                  </a:lnTo>
                  <a:lnTo>
                    <a:pt x="563" y="465"/>
                  </a:lnTo>
                  <a:lnTo>
                    <a:pt x="568" y="470"/>
                  </a:lnTo>
                  <a:lnTo>
                    <a:pt x="572" y="474"/>
                  </a:lnTo>
                  <a:lnTo>
                    <a:pt x="576" y="478"/>
                  </a:lnTo>
                  <a:lnTo>
                    <a:pt x="582" y="481"/>
                  </a:lnTo>
                  <a:lnTo>
                    <a:pt x="588" y="483"/>
                  </a:lnTo>
                  <a:lnTo>
                    <a:pt x="596" y="485"/>
                  </a:lnTo>
                  <a:lnTo>
                    <a:pt x="605" y="486"/>
                  </a:lnTo>
                  <a:lnTo>
                    <a:pt x="614" y="487"/>
                  </a:lnTo>
                  <a:lnTo>
                    <a:pt x="625" y="487"/>
                  </a:lnTo>
                  <a:lnTo>
                    <a:pt x="625" y="496"/>
                  </a:lnTo>
                  <a:lnTo>
                    <a:pt x="625" y="505"/>
                  </a:lnTo>
                  <a:lnTo>
                    <a:pt x="625" y="515"/>
                  </a:lnTo>
                  <a:lnTo>
                    <a:pt x="625" y="525"/>
                  </a:lnTo>
                  <a:lnTo>
                    <a:pt x="625" y="539"/>
                  </a:lnTo>
                  <a:lnTo>
                    <a:pt x="622" y="557"/>
                  </a:lnTo>
                  <a:lnTo>
                    <a:pt x="620" y="579"/>
                  </a:lnTo>
                  <a:lnTo>
                    <a:pt x="618" y="603"/>
                  </a:lnTo>
                  <a:lnTo>
                    <a:pt x="616" y="628"/>
                  </a:lnTo>
                  <a:lnTo>
                    <a:pt x="614" y="651"/>
                  </a:lnTo>
                  <a:lnTo>
                    <a:pt x="611" y="672"/>
                  </a:lnTo>
                  <a:lnTo>
                    <a:pt x="611" y="691"/>
                  </a:lnTo>
                  <a:lnTo>
                    <a:pt x="582" y="692"/>
                  </a:lnTo>
                  <a:lnTo>
                    <a:pt x="562" y="693"/>
                  </a:lnTo>
                  <a:lnTo>
                    <a:pt x="553" y="694"/>
                  </a:lnTo>
                  <a:lnTo>
                    <a:pt x="546" y="693"/>
                  </a:lnTo>
                  <a:lnTo>
                    <a:pt x="539" y="693"/>
                  </a:lnTo>
                  <a:lnTo>
                    <a:pt x="531" y="691"/>
                  </a:lnTo>
                  <a:lnTo>
                    <a:pt x="392" y="567"/>
                  </a:lnTo>
                  <a:lnTo>
                    <a:pt x="394" y="564"/>
                  </a:lnTo>
                  <a:lnTo>
                    <a:pt x="396" y="560"/>
                  </a:lnTo>
                  <a:lnTo>
                    <a:pt x="397" y="556"/>
                  </a:lnTo>
                  <a:lnTo>
                    <a:pt x="397" y="552"/>
                  </a:lnTo>
                  <a:lnTo>
                    <a:pt x="397" y="547"/>
                  </a:lnTo>
                  <a:lnTo>
                    <a:pt x="396" y="543"/>
                  </a:lnTo>
                  <a:lnTo>
                    <a:pt x="394" y="539"/>
                  </a:lnTo>
                  <a:lnTo>
                    <a:pt x="392" y="537"/>
                  </a:lnTo>
                  <a:lnTo>
                    <a:pt x="366" y="513"/>
                  </a:lnTo>
                  <a:lnTo>
                    <a:pt x="338" y="488"/>
                  </a:lnTo>
                  <a:lnTo>
                    <a:pt x="326" y="476"/>
                  </a:lnTo>
                  <a:lnTo>
                    <a:pt x="315" y="465"/>
                  </a:lnTo>
                  <a:lnTo>
                    <a:pt x="305" y="453"/>
                  </a:lnTo>
                  <a:lnTo>
                    <a:pt x="300" y="444"/>
                  </a:lnTo>
                  <a:lnTo>
                    <a:pt x="295" y="432"/>
                  </a:lnTo>
                  <a:lnTo>
                    <a:pt x="293" y="419"/>
                  </a:lnTo>
                  <a:lnTo>
                    <a:pt x="292" y="407"/>
                  </a:lnTo>
                  <a:lnTo>
                    <a:pt x="292" y="393"/>
                  </a:lnTo>
                  <a:lnTo>
                    <a:pt x="291" y="381"/>
                  </a:lnTo>
                  <a:lnTo>
                    <a:pt x="289" y="370"/>
                  </a:lnTo>
                  <a:lnTo>
                    <a:pt x="288" y="365"/>
                  </a:lnTo>
                  <a:lnTo>
                    <a:pt x="285" y="360"/>
                  </a:lnTo>
                  <a:lnTo>
                    <a:pt x="282" y="356"/>
                  </a:lnTo>
                  <a:lnTo>
                    <a:pt x="279" y="352"/>
                  </a:lnTo>
                  <a:lnTo>
                    <a:pt x="268" y="342"/>
                  </a:lnTo>
                  <a:lnTo>
                    <a:pt x="258" y="332"/>
                  </a:lnTo>
                  <a:lnTo>
                    <a:pt x="249" y="321"/>
                  </a:lnTo>
                  <a:lnTo>
                    <a:pt x="241" y="310"/>
                  </a:lnTo>
                  <a:lnTo>
                    <a:pt x="235" y="297"/>
                  </a:lnTo>
                  <a:lnTo>
                    <a:pt x="229" y="283"/>
                  </a:lnTo>
                  <a:lnTo>
                    <a:pt x="224" y="269"/>
                  </a:lnTo>
                  <a:lnTo>
                    <a:pt x="220" y="253"/>
                  </a:lnTo>
                  <a:lnTo>
                    <a:pt x="216" y="246"/>
                  </a:lnTo>
                  <a:lnTo>
                    <a:pt x="213" y="238"/>
                  </a:lnTo>
                  <a:lnTo>
                    <a:pt x="207" y="231"/>
                  </a:lnTo>
                  <a:lnTo>
                    <a:pt x="202" y="224"/>
                  </a:lnTo>
                  <a:lnTo>
                    <a:pt x="190" y="212"/>
                  </a:lnTo>
                  <a:lnTo>
                    <a:pt x="177" y="199"/>
                  </a:lnTo>
                  <a:lnTo>
                    <a:pt x="162" y="187"/>
                  </a:lnTo>
                  <a:lnTo>
                    <a:pt x="150" y="171"/>
                  </a:lnTo>
                  <a:lnTo>
                    <a:pt x="145" y="164"/>
                  </a:lnTo>
                  <a:lnTo>
                    <a:pt x="140" y="155"/>
                  </a:lnTo>
                  <a:lnTo>
                    <a:pt x="136" y="146"/>
                  </a:lnTo>
                  <a:lnTo>
                    <a:pt x="133" y="136"/>
                  </a:lnTo>
                  <a:lnTo>
                    <a:pt x="123" y="135"/>
                  </a:lnTo>
                  <a:lnTo>
                    <a:pt x="112" y="132"/>
                  </a:lnTo>
                  <a:lnTo>
                    <a:pt x="102" y="128"/>
                  </a:lnTo>
                  <a:lnTo>
                    <a:pt x="91" y="121"/>
                  </a:lnTo>
                  <a:lnTo>
                    <a:pt x="80" y="113"/>
                  </a:lnTo>
                  <a:lnTo>
                    <a:pt x="69" y="104"/>
                  </a:lnTo>
                  <a:lnTo>
                    <a:pt x="59" y="95"/>
                  </a:lnTo>
                  <a:lnTo>
                    <a:pt x="49" y="85"/>
                  </a:lnTo>
                  <a:lnTo>
                    <a:pt x="39" y="74"/>
                  </a:lnTo>
                  <a:lnTo>
                    <a:pt x="31" y="62"/>
                  </a:lnTo>
                  <a:lnTo>
                    <a:pt x="23" y="51"/>
                  </a:lnTo>
                  <a:lnTo>
                    <a:pt x="16" y="40"/>
                  </a:lnTo>
                  <a:lnTo>
                    <a:pt x="10" y="29"/>
                  </a:lnTo>
                  <a:lnTo>
                    <a:pt x="5" y="19"/>
                  </a:lnTo>
                  <a:lnTo>
                    <a:pt x="2" y="9"/>
                  </a:lnTo>
                  <a:lnTo>
                    <a:pt x="0" y="0"/>
                  </a:lnTo>
                  <a:lnTo>
                    <a:pt x="10" y="4"/>
                  </a:lnTo>
                  <a:lnTo>
                    <a:pt x="20" y="7"/>
                  </a:lnTo>
                  <a:lnTo>
                    <a:pt x="28" y="10"/>
                  </a:lnTo>
                  <a:lnTo>
                    <a:pt x="37" y="13"/>
                  </a:lnTo>
                  <a:lnTo>
                    <a:pt x="54" y="15"/>
                  </a:lnTo>
                  <a:lnTo>
                    <a:pt x="69" y="16"/>
                  </a:lnTo>
                  <a:lnTo>
                    <a:pt x="84" y="16"/>
                  </a:lnTo>
                  <a:lnTo>
                    <a:pt x="100" y="17"/>
                  </a:lnTo>
                  <a:lnTo>
                    <a:pt x="108" y="19"/>
                  </a:lnTo>
                  <a:lnTo>
                    <a:pt x="116" y="20"/>
                  </a:lnTo>
                  <a:lnTo>
                    <a:pt x="124" y="22"/>
                  </a:lnTo>
                  <a:lnTo>
                    <a:pt x="133" y="25"/>
                  </a:lnTo>
                  <a:lnTo>
                    <a:pt x="138" y="27"/>
                  </a:lnTo>
                  <a:lnTo>
                    <a:pt x="144" y="31"/>
                  </a:lnTo>
                  <a:lnTo>
                    <a:pt x="149" y="36"/>
                  </a:lnTo>
                  <a:lnTo>
                    <a:pt x="156" y="42"/>
                  </a:lnTo>
                  <a:lnTo>
                    <a:pt x="169" y="57"/>
                  </a:lnTo>
                  <a:lnTo>
                    <a:pt x="181" y="76"/>
                  </a:lnTo>
                  <a:lnTo>
                    <a:pt x="204" y="109"/>
                  </a:lnTo>
                  <a:lnTo>
                    <a:pt x="220" y="130"/>
                  </a:lnTo>
                  <a:lnTo>
                    <a:pt x="237" y="147"/>
                  </a:lnTo>
                  <a:lnTo>
                    <a:pt x="254" y="163"/>
                  </a:lnTo>
                  <a:lnTo>
                    <a:pt x="271" y="181"/>
                  </a:lnTo>
                  <a:lnTo>
                    <a:pt x="289" y="196"/>
                  </a:lnTo>
                  <a:lnTo>
                    <a:pt x="299" y="202"/>
                  </a:lnTo>
                  <a:lnTo>
                    <a:pt x="308" y="209"/>
                  </a:lnTo>
                  <a:lnTo>
                    <a:pt x="318" y="214"/>
                  </a:lnTo>
                  <a:lnTo>
                    <a:pt x="329" y="219"/>
                  </a:lnTo>
                  <a:lnTo>
                    <a:pt x="341" y="223"/>
                  </a:lnTo>
                  <a:lnTo>
                    <a:pt x="353" y="226"/>
                  </a:lnTo>
                  <a:lnTo>
                    <a:pt x="366" y="227"/>
                  </a:lnTo>
                  <a:lnTo>
                    <a:pt x="379" y="228"/>
                  </a:lnTo>
                  <a:lnTo>
                    <a:pt x="383" y="229"/>
                  </a:lnTo>
                  <a:lnTo>
                    <a:pt x="388" y="230"/>
                  </a:lnTo>
                  <a:lnTo>
                    <a:pt x="392" y="231"/>
                  </a:lnTo>
                  <a:lnTo>
                    <a:pt x="395" y="235"/>
                  </a:lnTo>
                  <a:lnTo>
                    <a:pt x="401" y="241"/>
                  </a:lnTo>
                  <a:lnTo>
                    <a:pt x="405" y="247"/>
                  </a:lnTo>
                  <a:lnTo>
                    <a:pt x="411" y="254"/>
                  </a:lnTo>
                  <a:lnTo>
                    <a:pt x="416" y="260"/>
                  </a:lnTo>
                  <a:lnTo>
                    <a:pt x="419" y="262"/>
                  </a:lnTo>
                  <a:lnTo>
                    <a:pt x="423" y="264"/>
                  </a:lnTo>
                  <a:lnTo>
                    <a:pt x="427" y="265"/>
                  </a:lnTo>
                  <a:lnTo>
                    <a:pt x="433" y="265"/>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0" name="Freeform 333">
              <a:extLst>
                <a:ext uri="{FF2B5EF4-FFF2-40B4-BE49-F238E27FC236}">
                  <a16:creationId xmlns:a16="http://schemas.microsoft.com/office/drawing/2014/main" id="{D601297F-D96A-410C-9EF0-A764DA1AB47E}"/>
                </a:ext>
              </a:extLst>
            </p:cNvPr>
            <p:cNvSpPr>
              <a:spLocks/>
            </p:cNvSpPr>
            <p:nvPr>
              <p:custDataLst>
                <p:tags r:id="rId236"/>
              </p:custDataLst>
            </p:nvPr>
          </p:nvSpPr>
          <p:spPr bwMode="auto">
            <a:xfrm>
              <a:off x="6724642" y="3517872"/>
              <a:ext cx="254000" cy="257173"/>
            </a:xfrm>
            <a:custGeom>
              <a:avLst/>
              <a:gdLst>
                <a:gd name="T0" fmla="*/ 224041 w 585"/>
                <a:gd name="T1" fmla="*/ 14606 h 493"/>
                <a:gd name="T2" fmla="*/ 214923 w 585"/>
                <a:gd name="T3" fmla="*/ 28691 h 493"/>
                <a:gd name="T4" fmla="*/ 222304 w 585"/>
                <a:gd name="T5" fmla="*/ 48514 h 493"/>
                <a:gd name="T6" fmla="*/ 231856 w 585"/>
                <a:gd name="T7" fmla="*/ 67815 h 493"/>
                <a:gd name="T8" fmla="*/ 248790 w 585"/>
                <a:gd name="T9" fmla="*/ 92333 h 493"/>
                <a:gd name="T10" fmla="*/ 251829 w 585"/>
                <a:gd name="T11" fmla="*/ 106939 h 493"/>
                <a:gd name="T12" fmla="*/ 237501 w 585"/>
                <a:gd name="T13" fmla="*/ 106417 h 493"/>
                <a:gd name="T14" fmla="*/ 224041 w 585"/>
                <a:gd name="T15" fmla="*/ 121545 h 493"/>
                <a:gd name="T16" fmla="*/ 219699 w 585"/>
                <a:gd name="T17" fmla="*/ 128327 h 493"/>
                <a:gd name="T18" fmla="*/ 224909 w 585"/>
                <a:gd name="T19" fmla="*/ 141368 h 493"/>
                <a:gd name="T20" fmla="*/ 227949 w 585"/>
                <a:gd name="T21" fmla="*/ 153366 h 493"/>
                <a:gd name="T22" fmla="*/ 219265 w 585"/>
                <a:gd name="T23" fmla="*/ 160669 h 493"/>
                <a:gd name="T24" fmla="*/ 199292 w 585"/>
                <a:gd name="T25" fmla="*/ 168494 h 493"/>
                <a:gd name="T26" fmla="*/ 192345 w 585"/>
                <a:gd name="T27" fmla="*/ 184665 h 493"/>
                <a:gd name="T28" fmla="*/ 193214 w 585"/>
                <a:gd name="T29" fmla="*/ 216486 h 493"/>
                <a:gd name="T30" fmla="*/ 186701 w 585"/>
                <a:gd name="T31" fmla="*/ 236831 h 493"/>
                <a:gd name="T32" fmla="*/ 173675 w 585"/>
                <a:gd name="T33" fmla="*/ 246220 h 493"/>
                <a:gd name="T34" fmla="*/ 160650 w 585"/>
                <a:gd name="T35" fmla="*/ 254567 h 493"/>
                <a:gd name="T36" fmla="*/ 148058 w 585"/>
                <a:gd name="T37" fmla="*/ 257175 h 493"/>
                <a:gd name="T38" fmla="*/ 142848 w 585"/>
                <a:gd name="T39" fmla="*/ 254045 h 493"/>
                <a:gd name="T40" fmla="*/ 141979 w 585"/>
                <a:gd name="T41" fmla="*/ 245699 h 493"/>
                <a:gd name="T42" fmla="*/ 131993 w 585"/>
                <a:gd name="T43" fmla="*/ 235266 h 493"/>
                <a:gd name="T44" fmla="*/ 108981 w 585"/>
                <a:gd name="T45" fmla="*/ 236831 h 493"/>
                <a:gd name="T46" fmla="*/ 95087 w 585"/>
                <a:gd name="T47" fmla="*/ 241004 h 493"/>
                <a:gd name="T48" fmla="*/ 76417 w 585"/>
                <a:gd name="T49" fmla="*/ 229527 h 493"/>
                <a:gd name="T50" fmla="*/ 52971 w 585"/>
                <a:gd name="T51" fmla="*/ 227441 h 493"/>
                <a:gd name="T52" fmla="*/ 41248 w 585"/>
                <a:gd name="T53" fmla="*/ 223789 h 493"/>
                <a:gd name="T54" fmla="*/ 35169 w 585"/>
                <a:gd name="T55" fmla="*/ 190925 h 493"/>
                <a:gd name="T56" fmla="*/ 25183 w 585"/>
                <a:gd name="T57" fmla="*/ 161712 h 493"/>
                <a:gd name="T58" fmla="*/ 15197 w 585"/>
                <a:gd name="T59" fmla="*/ 152323 h 493"/>
                <a:gd name="T60" fmla="*/ 5210 w 585"/>
                <a:gd name="T61" fmla="*/ 135630 h 493"/>
                <a:gd name="T62" fmla="*/ 2171 w 585"/>
                <a:gd name="T63" fmla="*/ 106417 h 493"/>
                <a:gd name="T64" fmla="*/ 13460 w 585"/>
                <a:gd name="T65" fmla="*/ 79813 h 493"/>
                <a:gd name="T66" fmla="*/ 23446 w 585"/>
                <a:gd name="T67" fmla="*/ 73553 h 493"/>
                <a:gd name="T68" fmla="*/ 32564 w 585"/>
                <a:gd name="T69" fmla="*/ 79291 h 493"/>
                <a:gd name="T70" fmla="*/ 42116 w 585"/>
                <a:gd name="T71" fmla="*/ 97549 h 493"/>
                <a:gd name="T72" fmla="*/ 56010 w 585"/>
                <a:gd name="T73" fmla="*/ 111634 h 493"/>
                <a:gd name="T74" fmla="*/ 73812 w 585"/>
                <a:gd name="T75" fmla="*/ 111112 h 493"/>
                <a:gd name="T76" fmla="*/ 95956 w 585"/>
                <a:gd name="T77" fmla="*/ 98592 h 493"/>
                <a:gd name="T78" fmla="*/ 101166 w 585"/>
                <a:gd name="T79" fmla="*/ 89724 h 493"/>
                <a:gd name="T80" fmla="*/ 125046 w 585"/>
                <a:gd name="T81" fmla="*/ 92854 h 493"/>
                <a:gd name="T82" fmla="*/ 141545 w 585"/>
                <a:gd name="T83" fmla="*/ 94419 h 493"/>
                <a:gd name="T84" fmla="*/ 146321 w 585"/>
                <a:gd name="T85" fmla="*/ 88681 h 493"/>
                <a:gd name="T86" fmla="*/ 157176 w 585"/>
                <a:gd name="T87" fmla="*/ 82421 h 493"/>
                <a:gd name="T88" fmla="*/ 166294 w 585"/>
                <a:gd name="T89" fmla="*/ 70945 h 493"/>
                <a:gd name="T90" fmla="*/ 180188 w 585"/>
                <a:gd name="T91" fmla="*/ 41211 h 493"/>
                <a:gd name="T92" fmla="*/ 185398 w 585"/>
                <a:gd name="T93" fmla="*/ 13041 h 493"/>
                <a:gd name="T94" fmla="*/ 194082 w 585"/>
                <a:gd name="T95" fmla="*/ 3130 h 493"/>
                <a:gd name="T96" fmla="*/ 207976 w 585"/>
                <a:gd name="T97" fmla="*/ 1043 h 4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85" h="493">
                  <a:moveTo>
                    <a:pt x="525" y="12"/>
                  </a:moveTo>
                  <a:lnTo>
                    <a:pt x="524" y="17"/>
                  </a:lnTo>
                  <a:lnTo>
                    <a:pt x="520" y="22"/>
                  </a:lnTo>
                  <a:lnTo>
                    <a:pt x="516" y="28"/>
                  </a:lnTo>
                  <a:lnTo>
                    <a:pt x="510" y="33"/>
                  </a:lnTo>
                  <a:lnTo>
                    <a:pt x="497" y="45"/>
                  </a:lnTo>
                  <a:lnTo>
                    <a:pt x="485" y="55"/>
                  </a:lnTo>
                  <a:lnTo>
                    <a:pt x="495" y="55"/>
                  </a:lnTo>
                  <a:lnTo>
                    <a:pt x="505" y="55"/>
                  </a:lnTo>
                  <a:lnTo>
                    <a:pt x="506" y="68"/>
                  </a:lnTo>
                  <a:lnTo>
                    <a:pt x="508" y="81"/>
                  </a:lnTo>
                  <a:lnTo>
                    <a:pt x="512" y="93"/>
                  </a:lnTo>
                  <a:lnTo>
                    <a:pt x="516" y="103"/>
                  </a:lnTo>
                  <a:lnTo>
                    <a:pt x="520" y="112"/>
                  </a:lnTo>
                  <a:lnTo>
                    <a:pt x="527" y="121"/>
                  </a:lnTo>
                  <a:lnTo>
                    <a:pt x="534" y="130"/>
                  </a:lnTo>
                  <a:lnTo>
                    <a:pt x="540" y="138"/>
                  </a:lnTo>
                  <a:lnTo>
                    <a:pt x="553" y="155"/>
                  </a:lnTo>
                  <a:lnTo>
                    <a:pt x="566" y="170"/>
                  </a:lnTo>
                  <a:lnTo>
                    <a:pt x="573" y="177"/>
                  </a:lnTo>
                  <a:lnTo>
                    <a:pt x="577" y="185"/>
                  </a:lnTo>
                  <a:lnTo>
                    <a:pt x="582" y="194"/>
                  </a:lnTo>
                  <a:lnTo>
                    <a:pt x="585" y="204"/>
                  </a:lnTo>
                  <a:lnTo>
                    <a:pt x="580" y="205"/>
                  </a:lnTo>
                  <a:lnTo>
                    <a:pt x="574" y="206"/>
                  </a:lnTo>
                  <a:lnTo>
                    <a:pt x="568" y="206"/>
                  </a:lnTo>
                  <a:lnTo>
                    <a:pt x="561" y="206"/>
                  </a:lnTo>
                  <a:lnTo>
                    <a:pt x="547" y="204"/>
                  </a:lnTo>
                  <a:lnTo>
                    <a:pt x="531" y="204"/>
                  </a:lnTo>
                  <a:lnTo>
                    <a:pt x="524" y="217"/>
                  </a:lnTo>
                  <a:lnTo>
                    <a:pt x="518" y="229"/>
                  </a:lnTo>
                  <a:lnTo>
                    <a:pt x="516" y="233"/>
                  </a:lnTo>
                  <a:lnTo>
                    <a:pt x="513" y="237"/>
                  </a:lnTo>
                  <a:lnTo>
                    <a:pt x="509" y="239"/>
                  </a:lnTo>
                  <a:lnTo>
                    <a:pt x="505" y="240"/>
                  </a:lnTo>
                  <a:lnTo>
                    <a:pt x="506" y="246"/>
                  </a:lnTo>
                  <a:lnTo>
                    <a:pt x="508" y="253"/>
                  </a:lnTo>
                  <a:lnTo>
                    <a:pt x="512" y="259"/>
                  </a:lnTo>
                  <a:lnTo>
                    <a:pt x="515" y="265"/>
                  </a:lnTo>
                  <a:lnTo>
                    <a:pt x="518" y="271"/>
                  </a:lnTo>
                  <a:lnTo>
                    <a:pt x="521" y="277"/>
                  </a:lnTo>
                  <a:lnTo>
                    <a:pt x="524" y="283"/>
                  </a:lnTo>
                  <a:lnTo>
                    <a:pt x="525" y="289"/>
                  </a:lnTo>
                  <a:lnTo>
                    <a:pt x="525" y="294"/>
                  </a:lnTo>
                  <a:lnTo>
                    <a:pt x="523" y="297"/>
                  </a:lnTo>
                  <a:lnTo>
                    <a:pt x="519" y="301"/>
                  </a:lnTo>
                  <a:lnTo>
                    <a:pt x="516" y="304"/>
                  </a:lnTo>
                  <a:lnTo>
                    <a:pt x="505" y="308"/>
                  </a:lnTo>
                  <a:lnTo>
                    <a:pt x="494" y="312"/>
                  </a:lnTo>
                  <a:lnTo>
                    <a:pt x="481" y="316"/>
                  </a:lnTo>
                  <a:lnTo>
                    <a:pt x="469" y="319"/>
                  </a:lnTo>
                  <a:lnTo>
                    <a:pt x="459" y="323"/>
                  </a:lnTo>
                  <a:lnTo>
                    <a:pt x="452" y="327"/>
                  </a:lnTo>
                  <a:lnTo>
                    <a:pt x="448" y="334"/>
                  </a:lnTo>
                  <a:lnTo>
                    <a:pt x="446" y="344"/>
                  </a:lnTo>
                  <a:lnTo>
                    <a:pt x="443" y="354"/>
                  </a:lnTo>
                  <a:lnTo>
                    <a:pt x="443" y="365"/>
                  </a:lnTo>
                  <a:lnTo>
                    <a:pt x="445" y="386"/>
                  </a:lnTo>
                  <a:lnTo>
                    <a:pt x="446" y="400"/>
                  </a:lnTo>
                  <a:lnTo>
                    <a:pt x="445" y="415"/>
                  </a:lnTo>
                  <a:lnTo>
                    <a:pt x="442" y="428"/>
                  </a:lnTo>
                  <a:lnTo>
                    <a:pt x="439" y="439"/>
                  </a:lnTo>
                  <a:lnTo>
                    <a:pt x="436" y="447"/>
                  </a:lnTo>
                  <a:lnTo>
                    <a:pt x="430" y="454"/>
                  </a:lnTo>
                  <a:lnTo>
                    <a:pt x="425" y="459"/>
                  </a:lnTo>
                  <a:lnTo>
                    <a:pt x="419" y="464"/>
                  </a:lnTo>
                  <a:lnTo>
                    <a:pt x="413" y="467"/>
                  </a:lnTo>
                  <a:lnTo>
                    <a:pt x="400" y="472"/>
                  </a:lnTo>
                  <a:lnTo>
                    <a:pt x="386" y="477"/>
                  </a:lnTo>
                  <a:lnTo>
                    <a:pt x="380" y="480"/>
                  </a:lnTo>
                  <a:lnTo>
                    <a:pt x="374" y="484"/>
                  </a:lnTo>
                  <a:lnTo>
                    <a:pt x="370" y="488"/>
                  </a:lnTo>
                  <a:lnTo>
                    <a:pt x="366" y="493"/>
                  </a:lnTo>
                  <a:lnTo>
                    <a:pt x="356" y="493"/>
                  </a:lnTo>
                  <a:lnTo>
                    <a:pt x="346" y="493"/>
                  </a:lnTo>
                  <a:lnTo>
                    <a:pt x="341" y="493"/>
                  </a:lnTo>
                  <a:lnTo>
                    <a:pt x="337" y="492"/>
                  </a:lnTo>
                  <a:lnTo>
                    <a:pt x="334" y="491"/>
                  </a:lnTo>
                  <a:lnTo>
                    <a:pt x="331" y="489"/>
                  </a:lnTo>
                  <a:lnTo>
                    <a:pt x="329" y="487"/>
                  </a:lnTo>
                  <a:lnTo>
                    <a:pt x="328" y="484"/>
                  </a:lnTo>
                  <a:lnTo>
                    <a:pt x="327" y="482"/>
                  </a:lnTo>
                  <a:lnTo>
                    <a:pt x="326" y="478"/>
                  </a:lnTo>
                  <a:lnTo>
                    <a:pt x="327" y="471"/>
                  </a:lnTo>
                  <a:lnTo>
                    <a:pt x="328" y="464"/>
                  </a:lnTo>
                  <a:lnTo>
                    <a:pt x="330" y="457"/>
                  </a:lnTo>
                  <a:lnTo>
                    <a:pt x="333" y="450"/>
                  </a:lnTo>
                  <a:lnTo>
                    <a:pt x="304" y="451"/>
                  </a:lnTo>
                  <a:lnTo>
                    <a:pt x="279" y="454"/>
                  </a:lnTo>
                  <a:lnTo>
                    <a:pt x="267" y="455"/>
                  </a:lnTo>
                  <a:lnTo>
                    <a:pt x="257" y="455"/>
                  </a:lnTo>
                  <a:lnTo>
                    <a:pt x="251" y="454"/>
                  </a:lnTo>
                  <a:lnTo>
                    <a:pt x="247" y="453"/>
                  </a:lnTo>
                  <a:lnTo>
                    <a:pt x="244" y="452"/>
                  </a:lnTo>
                  <a:lnTo>
                    <a:pt x="239" y="450"/>
                  </a:lnTo>
                  <a:lnTo>
                    <a:pt x="219" y="462"/>
                  </a:lnTo>
                  <a:lnTo>
                    <a:pt x="207" y="455"/>
                  </a:lnTo>
                  <a:lnTo>
                    <a:pt x="192" y="447"/>
                  </a:lnTo>
                  <a:lnTo>
                    <a:pt x="183" y="444"/>
                  </a:lnTo>
                  <a:lnTo>
                    <a:pt x="176" y="440"/>
                  </a:lnTo>
                  <a:lnTo>
                    <a:pt x="168" y="438"/>
                  </a:lnTo>
                  <a:lnTo>
                    <a:pt x="159" y="438"/>
                  </a:lnTo>
                  <a:lnTo>
                    <a:pt x="144" y="437"/>
                  </a:lnTo>
                  <a:lnTo>
                    <a:pt x="122" y="436"/>
                  </a:lnTo>
                  <a:lnTo>
                    <a:pt x="111" y="435"/>
                  </a:lnTo>
                  <a:lnTo>
                    <a:pt x="102" y="432"/>
                  </a:lnTo>
                  <a:lnTo>
                    <a:pt x="98" y="431"/>
                  </a:lnTo>
                  <a:lnTo>
                    <a:pt x="95" y="429"/>
                  </a:lnTo>
                  <a:lnTo>
                    <a:pt x="93" y="428"/>
                  </a:lnTo>
                  <a:lnTo>
                    <a:pt x="93" y="424"/>
                  </a:lnTo>
                  <a:lnTo>
                    <a:pt x="87" y="393"/>
                  </a:lnTo>
                  <a:lnTo>
                    <a:pt x="81" y="366"/>
                  </a:lnTo>
                  <a:lnTo>
                    <a:pt x="75" y="346"/>
                  </a:lnTo>
                  <a:lnTo>
                    <a:pt x="69" y="331"/>
                  </a:lnTo>
                  <a:lnTo>
                    <a:pt x="64" y="320"/>
                  </a:lnTo>
                  <a:lnTo>
                    <a:pt x="58" y="310"/>
                  </a:lnTo>
                  <a:lnTo>
                    <a:pt x="53" y="304"/>
                  </a:lnTo>
                  <a:lnTo>
                    <a:pt x="47" y="300"/>
                  </a:lnTo>
                  <a:lnTo>
                    <a:pt x="41" y="296"/>
                  </a:lnTo>
                  <a:lnTo>
                    <a:pt x="35" y="292"/>
                  </a:lnTo>
                  <a:lnTo>
                    <a:pt x="30" y="288"/>
                  </a:lnTo>
                  <a:lnTo>
                    <a:pt x="24" y="281"/>
                  </a:lnTo>
                  <a:lnTo>
                    <a:pt x="19" y="272"/>
                  </a:lnTo>
                  <a:lnTo>
                    <a:pt x="12" y="260"/>
                  </a:lnTo>
                  <a:lnTo>
                    <a:pt x="6" y="243"/>
                  </a:lnTo>
                  <a:lnTo>
                    <a:pt x="0" y="222"/>
                  </a:lnTo>
                  <a:lnTo>
                    <a:pt x="2" y="215"/>
                  </a:lnTo>
                  <a:lnTo>
                    <a:pt x="5" y="204"/>
                  </a:lnTo>
                  <a:lnTo>
                    <a:pt x="11" y="191"/>
                  </a:lnTo>
                  <a:lnTo>
                    <a:pt x="17" y="177"/>
                  </a:lnTo>
                  <a:lnTo>
                    <a:pt x="24" y="164"/>
                  </a:lnTo>
                  <a:lnTo>
                    <a:pt x="31" y="153"/>
                  </a:lnTo>
                  <a:lnTo>
                    <a:pt x="36" y="144"/>
                  </a:lnTo>
                  <a:lnTo>
                    <a:pt x="41" y="141"/>
                  </a:lnTo>
                  <a:lnTo>
                    <a:pt x="46" y="141"/>
                  </a:lnTo>
                  <a:lnTo>
                    <a:pt x="54" y="141"/>
                  </a:lnTo>
                  <a:lnTo>
                    <a:pt x="64" y="141"/>
                  </a:lnTo>
                  <a:lnTo>
                    <a:pt x="73" y="141"/>
                  </a:lnTo>
                  <a:lnTo>
                    <a:pt x="73" y="146"/>
                  </a:lnTo>
                  <a:lnTo>
                    <a:pt x="75" y="152"/>
                  </a:lnTo>
                  <a:lnTo>
                    <a:pt x="77" y="158"/>
                  </a:lnTo>
                  <a:lnTo>
                    <a:pt x="80" y="164"/>
                  </a:lnTo>
                  <a:lnTo>
                    <a:pt x="88" y="176"/>
                  </a:lnTo>
                  <a:lnTo>
                    <a:pt x="97" y="187"/>
                  </a:lnTo>
                  <a:lnTo>
                    <a:pt x="107" y="198"/>
                  </a:lnTo>
                  <a:lnTo>
                    <a:pt x="118" y="208"/>
                  </a:lnTo>
                  <a:lnTo>
                    <a:pt x="124" y="211"/>
                  </a:lnTo>
                  <a:lnTo>
                    <a:pt x="129" y="214"/>
                  </a:lnTo>
                  <a:lnTo>
                    <a:pt x="135" y="215"/>
                  </a:lnTo>
                  <a:lnTo>
                    <a:pt x="139" y="216"/>
                  </a:lnTo>
                  <a:lnTo>
                    <a:pt x="155" y="215"/>
                  </a:lnTo>
                  <a:lnTo>
                    <a:pt x="170" y="213"/>
                  </a:lnTo>
                  <a:lnTo>
                    <a:pt x="184" y="209"/>
                  </a:lnTo>
                  <a:lnTo>
                    <a:pt x="199" y="204"/>
                  </a:lnTo>
                  <a:lnTo>
                    <a:pt x="211" y="196"/>
                  </a:lnTo>
                  <a:lnTo>
                    <a:pt x="221" y="189"/>
                  </a:lnTo>
                  <a:lnTo>
                    <a:pt x="225" y="185"/>
                  </a:lnTo>
                  <a:lnTo>
                    <a:pt x="228" y="181"/>
                  </a:lnTo>
                  <a:lnTo>
                    <a:pt x="230" y="177"/>
                  </a:lnTo>
                  <a:lnTo>
                    <a:pt x="233" y="172"/>
                  </a:lnTo>
                  <a:lnTo>
                    <a:pt x="256" y="175"/>
                  </a:lnTo>
                  <a:lnTo>
                    <a:pt x="273" y="176"/>
                  </a:lnTo>
                  <a:lnTo>
                    <a:pt x="281" y="177"/>
                  </a:lnTo>
                  <a:lnTo>
                    <a:pt x="288" y="178"/>
                  </a:lnTo>
                  <a:lnTo>
                    <a:pt x="294" y="181"/>
                  </a:lnTo>
                  <a:lnTo>
                    <a:pt x="300" y="184"/>
                  </a:lnTo>
                  <a:lnTo>
                    <a:pt x="326" y="184"/>
                  </a:lnTo>
                  <a:lnTo>
                    <a:pt x="326" y="181"/>
                  </a:lnTo>
                  <a:lnTo>
                    <a:pt x="327" y="178"/>
                  </a:lnTo>
                  <a:lnTo>
                    <a:pt x="329" y="176"/>
                  </a:lnTo>
                  <a:lnTo>
                    <a:pt x="331" y="174"/>
                  </a:lnTo>
                  <a:lnTo>
                    <a:pt x="337" y="170"/>
                  </a:lnTo>
                  <a:lnTo>
                    <a:pt x="344" y="167"/>
                  </a:lnTo>
                  <a:lnTo>
                    <a:pt x="350" y="164"/>
                  </a:lnTo>
                  <a:lnTo>
                    <a:pt x="357" y="162"/>
                  </a:lnTo>
                  <a:lnTo>
                    <a:pt x="362" y="158"/>
                  </a:lnTo>
                  <a:lnTo>
                    <a:pt x="366" y="154"/>
                  </a:lnTo>
                  <a:lnTo>
                    <a:pt x="372" y="149"/>
                  </a:lnTo>
                  <a:lnTo>
                    <a:pt x="378" y="143"/>
                  </a:lnTo>
                  <a:lnTo>
                    <a:pt x="383" y="136"/>
                  </a:lnTo>
                  <a:lnTo>
                    <a:pt x="389" y="129"/>
                  </a:lnTo>
                  <a:lnTo>
                    <a:pt x="400" y="114"/>
                  </a:lnTo>
                  <a:lnTo>
                    <a:pt x="408" y="97"/>
                  </a:lnTo>
                  <a:lnTo>
                    <a:pt x="415" y="79"/>
                  </a:lnTo>
                  <a:lnTo>
                    <a:pt x="420" y="62"/>
                  </a:lnTo>
                  <a:lnTo>
                    <a:pt x="424" y="46"/>
                  </a:lnTo>
                  <a:lnTo>
                    <a:pt x="426" y="30"/>
                  </a:lnTo>
                  <a:lnTo>
                    <a:pt x="427" y="25"/>
                  </a:lnTo>
                  <a:lnTo>
                    <a:pt x="429" y="20"/>
                  </a:lnTo>
                  <a:lnTo>
                    <a:pt x="435" y="15"/>
                  </a:lnTo>
                  <a:lnTo>
                    <a:pt x="440" y="11"/>
                  </a:lnTo>
                  <a:lnTo>
                    <a:pt x="447" y="6"/>
                  </a:lnTo>
                  <a:lnTo>
                    <a:pt x="453" y="3"/>
                  </a:lnTo>
                  <a:lnTo>
                    <a:pt x="460" y="1"/>
                  </a:lnTo>
                  <a:lnTo>
                    <a:pt x="465" y="0"/>
                  </a:lnTo>
                  <a:lnTo>
                    <a:pt x="479" y="2"/>
                  </a:lnTo>
                  <a:lnTo>
                    <a:pt x="495" y="6"/>
                  </a:lnTo>
                  <a:lnTo>
                    <a:pt x="512" y="10"/>
                  </a:lnTo>
                  <a:lnTo>
                    <a:pt x="525" y="1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1" name="Freeform 334">
              <a:extLst>
                <a:ext uri="{FF2B5EF4-FFF2-40B4-BE49-F238E27FC236}">
                  <a16:creationId xmlns:a16="http://schemas.microsoft.com/office/drawing/2014/main" id="{EB9EA44C-CE4A-44E7-A940-BB42CA59C0B8}"/>
                </a:ext>
              </a:extLst>
            </p:cNvPr>
            <p:cNvSpPr>
              <a:spLocks/>
            </p:cNvSpPr>
            <p:nvPr>
              <p:custDataLst>
                <p:tags r:id="rId237"/>
              </p:custDataLst>
            </p:nvPr>
          </p:nvSpPr>
          <p:spPr bwMode="auto">
            <a:xfrm>
              <a:off x="7080241" y="3924269"/>
              <a:ext cx="92075" cy="57150"/>
            </a:xfrm>
            <a:custGeom>
              <a:avLst/>
              <a:gdLst>
                <a:gd name="T0" fmla="*/ 0 w 212"/>
                <a:gd name="T1" fmla="*/ 57150 h 105"/>
                <a:gd name="T2" fmla="*/ 6949 w 212"/>
                <a:gd name="T3" fmla="*/ 46264 h 105"/>
                <a:gd name="T4" fmla="*/ 15201 w 212"/>
                <a:gd name="T5" fmla="*/ 37011 h 105"/>
                <a:gd name="T6" fmla="*/ 19110 w 212"/>
                <a:gd name="T7" fmla="*/ 32657 h 105"/>
                <a:gd name="T8" fmla="*/ 23453 w 212"/>
                <a:gd name="T9" fmla="*/ 28847 h 105"/>
                <a:gd name="T10" fmla="*/ 27796 w 212"/>
                <a:gd name="T11" fmla="*/ 25037 h 105"/>
                <a:gd name="T12" fmla="*/ 31705 w 212"/>
                <a:gd name="T13" fmla="*/ 20683 h 105"/>
                <a:gd name="T14" fmla="*/ 36048 w 212"/>
                <a:gd name="T15" fmla="*/ 17417 h 105"/>
                <a:gd name="T16" fmla="*/ 40826 w 212"/>
                <a:gd name="T17" fmla="*/ 14696 h 105"/>
                <a:gd name="T18" fmla="*/ 46038 w 212"/>
                <a:gd name="T19" fmla="*/ 11430 h 105"/>
                <a:gd name="T20" fmla="*/ 51249 w 212"/>
                <a:gd name="T21" fmla="*/ 8709 h 105"/>
                <a:gd name="T22" fmla="*/ 62542 w 212"/>
                <a:gd name="T23" fmla="*/ 4354 h 105"/>
                <a:gd name="T24" fmla="*/ 74702 w 212"/>
                <a:gd name="T25" fmla="*/ 0 h 105"/>
                <a:gd name="T26" fmla="*/ 92075 w 212"/>
                <a:gd name="T27" fmla="*/ 0 h 105"/>
                <a:gd name="T28" fmla="*/ 87732 w 212"/>
                <a:gd name="T29" fmla="*/ 4899 h 105"/>
                <a:gd name="T30" fmla="*/ 82520 w 212"/>
                <a:gd name="T31" fmla="*/ 9797 h 105"/>
                <a:gd name="T32" fmla="*/ 77308 w 212"/>
                <a:gd name="T33" fmla="*/ 14696 h 105"/>
                <a:gd name="T34" fmla="*/ 71662 w 212"/>
                <a:gd name="T35" fmla="*/ 19050 h 105"/>
                <a:gd name="T36" fmla="*/ 59501 w 212"/>
                <a:gd name="T37" fmla="*/ 28303 h 105"/>
                <a:gd name="T38" fmla="*/ 47340 w 212"/>
                <a:gd name="T39" fmla="*/ 35923 h 105"/>
                <a:gd name="T40" fmla="*/ 34311 w 212"/>
                <a:gd name="T41" fmla="*/ 42999 h 105"/>
                <a:gd name="T42" fmla="*/ 21716 w 212"/>
                <a:gd name="T43" fmla="*/ 48986 h 105"/>
                <a:gd name="T44" fmla="*/ 9989 w 212"/>
                <a:gd name="T45" fmla="*/ 53884 h 105"/>
                <a:gd name="T46" fmla="*/ 0 w 212"/>
                <a:gd name="T47" fmla="*/ 57150 h 10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12" h="105">
                  <a:moveTo>
                    <a:pt x="0" y="105"/>
                  </a:moveTo>
                  <a:lnTo>
                    <a:pt x="16" y="85"/>
                  </a:lnTo>
                  <a:lnTo>
                    <a:pt x="35" y="68"/>
                  </a:lnTo>
                  <a:lnTo>
                    <a:pt x="44" y="60"/>
                  </a:lnTo>
                  <a:lnTo>
                    <a:pt x="54" y="53"/>
                  </a:lnTo>
                  <a:lnTo>
                    <a:pt x="64" y="46"/>
                  </a:lnTo>
                  <a:lnTo>
                    <a:pt x="73" y="38"/>
                  </a:lnTo>
                  <a:lnTo>
                    <a:pt x="83" y="32"/>
                  </a:lnTo>
                  <a:lnTo>
                    <a:pt x="94" y="27"/>
                  </a:lnTo>
                  <a:lnTo>
                    <a:pt x="106" y="21"/>
                  </a:lnTo>
                  <a:lnTo>
                    <a:pt x="118" y="16"/>
                  </a:lnTo>
                  <a:lnTo>
                    <a:pt x="144" y="8"/>
                  </a:lnTo>
                  <a:lnTo>
                    <a:pt x="172" y="0"/>
                  </a:lnTo>
                  <a:lnTo>
                    <a:pt x="212" y="0"/>
                  </a:lnTo>
                  <a:lnTo>
                    <a:pt x="202" y="9"/>
                  </a:lnTo>
                  <a:lnTo>
                    <a:pt x="190" y="18"/>
                  </a:lnTo>
                  <a:lnTo>
                    <a:pt x="178" y="27"/>
                  </a:lnTo>
                  <a:lnTo>
                    <a:pt x="165" y="35"/>
                  </a:lnTo>
                  <a:lnTo>
                    <a:pt x="137" y="52"/>
                  </a:lnTo>
                  <a:lnTo>
                    <a:pt x="109" y="66"/>
                  </a:lnTo>
                  <a:lnTo>
                    <a:pt x="79" y="79"/>
                  </a:lnTo>
                  <a:lnTo>
                    <a:pt x="50" y="90"/>
                  </a:lnTo>
                  <a:lnTo>
                    <a:pt x="23" y="99"/>
                  </a:lnTo>
                  <a:lnTo>
                    <a:pt x="0" y="105"/>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2" name="Freeform 335">
              <a:extLst>
                <a:ext uri="{FF2B5EF4-FFF2-40B4-BE49-F238E27FC236}">
                  <a16:creationId xmlns:a16="http://schemas.microsoft.com/office/drawing/2014/main" id="{4F0BD3E2-0137-4773-ADBB-80D2ABD54963}"/>
                </a:ext>
              </a:extLst>
            </p:cNvPr>
            <p:cNvSpPr>
              <a:spLocks/>
            </p:cNvSpPr>
            <p:nvPr>
              <p:custDataLst>
                <p:tags r:id="rId238"/>
              </p:custDataLst>
            </p:nvPr>
          </p:nvSpPr>
          <p:spPr bwMode="auto">
            <a:xfrm>
              <a:off x="7196129" y="3590897"/>
              <a:ext cx="42862" cy="88899"/>
            </a:xfrm>
            <a:custGeom>
              <a:avLst/>
              <a:gdLst>
                <a:gd name="T0" fmla="*/ 0 w 92"/>
                <a:gd name="T1" fmla="*/ 43379 h 166"/>
                <a:gd name="T2" fmla="*/ 0 w 92"/>
                <a:gd name="T3" fmla="*/ 79260 h 166"/>
                <a:gd name="T4" fmla="*/ 2329 w 92"/>
                <a:gd name="T5" fmla="*/ 77118 h 166"/>
                <a:gd name="T6" fmla="*/ 5591 w 92"/>
                <a:gd name="T7" fmla="*/ 74440 h 166"/>
                <a:gd name="T8" fmla="*/ 6522 w 92"/>
                <a:gd name="T9" fmla="*/ 73369 h 166"/>
                <a:gd name="T10" fmla="*/ 7920 w 92"/>
                <a:gd name="T11" fmla="*/ 72298 h 166"/>
                <a:gd name="T12" fmla="*/ 8386 w 92"/>
                <a:gd name="T13" fmla="*/ 70692 h 166"/>
                <a:gd name="T14" fmla="*/ 8852 w 92"/>
                <a:gd name="T15" fmla="*/ 69620 h 166"/>
                <a:gd name="T16" fmla="*/ 9318 w 92"/>
                <a:gd name="T17" fmla="*/ 73905 h 166"/>
                <a:gd name="T18" fmla="*/ 11181 w 92"/>
                <a:gd name="T19" fmla="*/ 79260 h 166"/>
                <a:gd name="T20" fmla="*/ 12579 w 92"/>
                <a:gd name="T21" fmla="*/ 82473 h 166"/>
                <a:gd name="T22" fmla="*/ 13977 w 92"/>
                <a:gd name="T23" fmla="*/ 85151 h 166"/>
                <a:gd name="T24" fmla="*/ 16306 w 92"/>
                <a:gd name="T25" fmla="*/ 87293 h 166"/>
                <a:gd name="T26" fmla="*/ 18170 w 92"/>
                <a:gd name="T27" fmla="*/ 88900 h 166"/>
                <a:gd name="T28" fmla="*/ 19102 w 92"/>
                <a:gd name="T29" fmla="*/ 84616 h 166"/>
                <a:gd name="T30" fmla="*/ 19102 w 92"/>
                <a:gd name="T31" fmla="*/ 79260 h 166"/>
                <a:gd name="T32" fmla="*/ 19102 w 92"/>
                <a:gd name="T33" fmla="*/ 73369 h 166"/>
                <a:gd name="T34" fmla="*/ 19102 w 92"/>
                <a:gd name="T35" fmla="*/ 67478 h 166"/>
                <a:gd name="T36" fmla="*/ 18636 w 92"/>
                <a:gd name="T37" fmla="*/ 57303 h 166"/>
                <a:gd name="T38" fmla="*/ 18170 w 92"/>
                <a:gd name="T39" fmla="*/ 53019 h 166"/>
                <a:gd name="T40" fmla="*/ 22363 w 92"/>
                <a:gd name="T41" fmla="*/ 53554 h 166"/>
                <a:gd name="T42" fmla="*/ 26556 w 92"/>
                <a:gd name="T43" fmla="*/ 54625 h 166"/>
                <a:gd name="T44" fmla="*/ 29817 w 92"/>
                <a:gd name="T45" fmla="*/ 56232 h 166"/>
                <a:gd name="T46" fmla="*/ 33078 w 92"/>
                <a:gd name="T47" fmla="*/ 57839 h 166"/>
                <a:gd name="T48" fmla="*/ 35408 w 92"/>
                <a:gd name="T49" fmla="*/ 59445 h 166"/>
                <a:gd name="T50" fmla="*/ 38203 w 92"/>
                <a:gd name="T51" fmla="*/ 61052 h 166"/>
                <a:gd name="T52" fmla="*/ 40533 w 92"/>
                <a:gd name="T53" fmla="*/ 62123 h 166"/>
                <a:gd name="T54" fmla="*/ 42862 w 92"/>
                <a:gd name="T55" fmla="*/ 63194 h 166"/>
                <a:gd name="T56" fmla="*/ 39601 w 92"/>
                <a:gd name="T57" fmla="*/ 55161 h 166"/>
                <a:gd name="T58" fmla="*/ 37737 w 92"/>
                <a:gd name="T59" fmla="*/ 47663 h 166"/>
                <a:gd name="T60" fmla="*/ 35408 w 92"/>
                <a:gd name="T61" fmla="*/ 40166 h 166"/>
                <a:gd name="T62" fmla="*/ 34010 w 92"/>
                <a:gd name="T63" fmla="*/ 32133 h 166"/>
                <a:gd name="T64" fmla="*/ 32612 w 92"/>
                <a:gd name="T65" fmla="*/ 25170 h 166"/>
                <a:gd name="T66" fmla="*/ 31215 w 92"/>
                <a:gd name="T67" fmla="*/ 18208 h 166"/>
                <a:gd name="T68" fmla="*/ 29351 w 92"/>
                <a:gd name="T69" fmla="*/ 12317 h 166"/>
                <a:gd name="T70" fmla="*/ 27488 w 92"/>
                <a:gd name="T71" fmla="*/ 6962 h 166"/>
                <a:gd name="T72" fmla="*/ 27488 w 92"/>
                <a:gd name="T73" fmla="*/ 10175 h 166"/>
                <a:gd name="T74" fmla="*/ 27488 w 92"/>
                <a:gd name="T75" fmla="*/ 13389 h 166"/>
                <a:gd name="T76" fmla="*/ 23295 w 92"/>
                <a:gd name="T77" fmla="*/ 12317 h 166"/>
                <a:gd name="T78" fmla="*/ 19567 w 92"/>
                <a:gd name="T79" fmla="*/ 10175 h 166"/>
                <a:gd name="T80" fmla="*/ 16306 w 92"/>
                <a:gd name="T81" fmla="*/ 8033 h 166"/>
                <a:gd name="T82" fmla="*/ 13511 w 92"/>
                <a:gd name="T83" fmla="*/ 5891 h 166"/>
                <a:gd name="T84" fmla="*/ 10716 w 92"/>
                <a:gd name="T85" fmla="*/ 3749 h 166"/>
                <a:gd name="T86" fmla="*/ 7454 w 92"/>
                <a:gd name="T87" fmla="*/ 1607 h 166"/>
                <a:gd name="T88" fmla="*/ 3727 w 92"/>
                <a:gd name="T89" fmla="*/ 536 h 166"/>
                <a:gd name="T90" fmla="*/ 0 w 92"/>
                <a:gd name="T91" fmla="*/ 0 h 166"/>
                <a:gd name="T92" fmla="*/ 0 w 92"/>
                <a:gd name="T93" fmla="*/ 5355 h 166"/>
                <a:gd name="T94" fmla="*/ 0 w 92"/>
                <a:gd name="T95" fmla="*/ 10175 h 166"/>
                <a:gd name="T96" fmla="*/ 0 w 92"/>
                <a:gd name="T97" fmla="*/ 17673 h 166"/>
                <a:gd name="T98" fmla="*/ 0 w 92"/>
                <a:gd name="T99" fmla="*/ 27848 h 166"/>
                <a:gd name="T100" fmla="*/ 0 w 92"/>
                <a:gd name="T101" fmla="*/ 37488 h 166"/>
                <a:gd name="T102" fmla="*/ 0 w 92"/>
                <a:gd name="T103" fmla="*/ 43379 h 16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2" h="166">
                  <a:moveTo>
                    <a:pt x="0" y="81"/>
                  </a:moveTo>
                  <a:lnTo>
                    <a:pt x="0" y="148"/>
                  </a:lnTo>
                  <a:lnTo>
                    <a:pt x="5" y="144"/>
                  </a:lnTo>
                  <a:lnTo>
                    <a:pt x="12" y="139"/>
                  </a:lnTo>
                  <a:lnTo>
                    <a:pt x="14" y="137"/>
                  </a:lnTo>
                  <a:lnTo>
                    <a:pt x="17" y="135"/>
                  </a:lnTo>
                  <a:lnTo>
                    <a:pt x="18" y="132"/>
                  </a:lnTo>
                  <a:lnTo>
                    <a:pt x="19" y="130"/>
                  </a:lnTo>
                  <a:lnTo>
                    <a:pt x="20" y="138"/>
                  </a:lnTo>
                  <a:lnTo>
                    <a:pt x="24" y="148"/>
                  </a:lnTo>
                  <a:lnTo>
                    <a:pt x="27" y="154"/>
                  </a:lnTo>
                  <a:lnTo>
                    <a:pt x="30" y="159"/>
                  </a:lnTo>
                  <a:lnTo>
                    <a:pt x="35" y="163"/>
                  </a:lnTo>
                  <a:lnTo>
                    <a:pt x="39" y="166"/>
                  </a:lnTo>
                  <a:lnTo>
                    <a:pt x="41" y="158"/>
                  </a:lnTo>
                  <a:lnTo>
                    <a:pt x="41" y="148"/>
                  </a:lnTo>
                  <a:lnTo>
                    <a:pt x="41" y="137"/>
                  </a:lnTo>
                  <a:lnTo>
                    <a:pt x="41" y="126"/>
                  </a:lnTo>
                  <a:lnTo>
                    <a:pt x="40" y="107"/>
                  </a:lnTo>
                  <a:lnTo>
                    <a:pt x="39" y="99"/>
                  </a:lnTo>
                  <a:lnTo>
                    <a:pt x="48" y="100"/>
                  </a:lnTo>
                  <a:lnTo>
                    <a:pt x="57" y="102"/>
                  </a:lnTo>
                  <a:lnTo>
                    <a:pt x="64" y="105"/>
                  </a:lnTo>
                  <a:lnTo>
                    <a:pt x="71" y="108"/>
                  </a:lnTo>
                  <a:lnTo>
                    <a:pt x="76" y="111"/>
                  </a:lnTo>
                  <a:lnTo>
                    <a:pt x="82" y="114"/>
                  </a:lnTo>
                  <a:lnTo>
                    <a:pt x="87" y="116"/>
                  </a:lnTo>
                  <a:lnTo>
                    <a:pt x="92" y="118"/>
                  </a:lnTo>
                  <a:lnTo>
                    <a:pt x="85" y="103"/>
                  </a:lnTo>
                  <a:lnTo>
                    <a:pt x="81" y="89"/>
                  </a:lnTo>
                  <a:lnTo>
                    <a:pt x="76" y="75"/>
                  </a:lnTo>
                  <a:lnTo>
                    <a:pt x="73" y="60"/>
                  </a:lnTo>
                  <a:lnTo>
                    <a:pt x="70" y="47"/>
                  </a:lnTo>
                  <a:lnTo>
                    <a:pt x="67" y="34"/>
                  </a:lnTo>
                  <a:lnTo>
                    <a:pt x="63" y="23"/>
                  </a:lnTo>
                  <a:lnTo>
                    <a:pt x="59" y="13"/>
                  </a:lnTo>
                  <a:lnTo>
                    <a:pt x="59" y="19"/>
                  </a:lnTo>
                  <a:lnTo>
                    <a:pt x="59" y="25"/>
                  </a:lnTo>
                  <a:lnTo>
                    <a:pt x="50" y="23"/>
                  </a:lnTo>
                  <a:lnTo>
                    <a:pt x="42" y="19"/>
                  </a:lnTo>
                  <a:lnTo>
                    <a:pt x="35" y="15"/>
                  </a:lnTo>
                  <a:lnTo>
                    <a:pt x="29" y="11"/>
                  </a:lnTo>
                  <a:lnTo>
                    <a:pt x="23" y="7"/>
                  </a:lnTo>
                  <a:lnTo>
                    <a:pt x="16" y="3"/>
                  </a:lnTo>
                  <a:lnTo>
                    <a:pt x="8" y="1"/>
                  </a:lnTo>
                  <a:lnTo>
                    <a:pt x="0" y="0"/>
                  </a:lnTo>
                  <a:lnTo>
                    <a:pt x="0" y="10"/>
                  </a:lnTo>
                  <a:lnTo>
                    <a:pt x="0" y="19"/>
                  </a:lnTo>
                  <a:lnTo>
                    <a:pt x="0" y="33"/>
                  </a:lnTo>
                  <a:lnTo>
                    <a:pt x="0" y="52"/>
                  </a:lnTo>
                  <a:lnTo>
                    <a:pt x="0" y="70"/>
                  </a:lnTo>
                  <a:lnTo>
                    <a:pt x="0" y="8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3" name="Freeform 336">
              <a:extLst>
                <a:ext uri="{FF2B5EF4-FFF2-40B4-BE49-F238E27FC236}">
                  <a16:creationId xmlns:a16="http://schemas.microsoft.com/office/drawing/2014/main" id="{DAD860DA-393C-4BF0-B1A9-D2B7DFE655BD}"/>
                </a:ext>
              </a:extLst>
            </p:cNvPr>
            <p:cNvSpPr>
              <a:spLocks/>
            </p:cNvSpPr>
            <p:nvPr>
              <p:custDataLst>
                <p:tags r:id="rId239"/>
              </p:custDataLst>
            </p:nvPr>
          </p:nvSpPr>
          <p:spPr bwMode="auto">
            <a:xfrm>
              <a:off x="7208829" y="3735359"/>
              <a:ext cx="71437" cy="55562"/>
            </a:xfrm>
            <a:custGeom>
              <a:avLst/>
              <a:gdLst>
                <a:gd name="T0" fmla="*/ 3012 w 166"/>
                <a:gd name="T1" fmla="*/ 0 h 62"/>
                <a:gd name="T2" fmla="*/ 6025 w 166"/>
                <a:gd name="T3" fmla="*/ 2688 h 62"/>
                <a:gd name="T4" fmla="*/ 9468 w 166"/>
                <a:gd name="T5" fmla="*/ 5377 h 62"/>
                <a:gd name="T6" fmla="*/ 12910 w 166"/>
                <a:gd name="T7" fmla="*/ 6273 h 62"/>
                <a:gd name="T8" fmla="*/ 15492 w 166"/>
                <a:gd name="T9" fmla="*/ 7169 h 62"/>
                <a:gd name="T10" fmla="*/ 20656 w 166"/>
                <a:gd name="T11" fmla="*/ 7169 h 62"/>
                <a:gd name="T12" fmla="*/ 24960 w 166"/>
                <a:gd name="T13" fmla="*/ 6273 h 62"/>
                <a:gd name="T14" fmla="*/ 29694 w 166"/>
                <a:gd name="T15" fmla="*/ 4481 h 62"/>
                <a:gd name="T16" fmla="*/ 34427 w 166"/>
                <a:gd name="T17" fmla="*/ 2688 h 62"/>
                <a:gd name="T18" fmla="*/ 39592 w 166"/>
                <a:gd name="T19" fmla="*/ 896 h 62"/>
                <a:gd name="T20" fmla="*/ 45616 w 166"/>
                <a:gd name="T21" fmla="*/ 0 h 62"/>
                <a:gd name="T22" fmla="*/ 47768 w 166"/>
                <a:gd name="T23" fmla="*/ 896 h 62"/>
                <a:gd name="T24" fmla="*/ 49489 w 166"/>
                <a:gd name="T25" fmla="*/ 1792 h 62"/>
                <a:gd name="T26" fmla="*/ 51641 w 166"/>
                <a:gd name="T27" fmla="*/ 4481 h 62"/>
                <a:gd name="T28" fmla="*/ 53363 w 166"/>
                <a:gd name="T29" fmla="*/ 7169 h 62"/>
                <a:gd name="T30" fmla="*/ 56805 w 166"/>
                <a:gd name="T31" fmla="*/ 15235 h 62"/>
                <a:gd name="T32" fmla="*/ 59387 w 166"/>
                <a:gd name="T33" fmla="*/ 23300 h 62"/>
                <a:gd name="T34" fmla="*/ 62400 w 166"/>
                <a:gd name="T35" fmla="*/ 32262 h 62"/>
                <a:gd name="T36" fmla="*/ 64982 w 166"/>
                <a:gd name="T37" fmla="*/ 40327 h 62"/>
                <a:gd name="T38" fmla="*/ 66703 w 166"/>
                <a:gd name="T39" fmla="*/ 43912 h 62"/>
                <a:gd name="T40" fmla="*/ 67994 w 166"/>
                <a:gd name="T41" fmla="*/ 46600 h 62"/>
                <a:gd name="T42" fmla="*/ 69716 w 166"/>
                <a:gd name="T43" fmla="*/ 48393 h 62"/>
                <a:gd name="T44" fmla="*/ 71437 w 166"/>
                <a:gd name="T45" fmla="*/ 50185 h 62"/>
                <a:gd name="T46" fmla="*/ 68425 w 166"/>
                <a:gd name="T47" fmla="*/ 51081 h 62"/>
                <a:gd name="T48" fmla="*/ 64982 w 166"/>
                <a:gd name="T49" fmla="*/ 52874 h 62"/>
                <a:gd name="T50" fmla="*/ 61539 w 166"/>
                <a:gd name="T51" fmla="*/ 54666 h 62"/>
                <a:gd name="T52" fmla="*/ 57236 w 166"/>
                <a:gd name="T53" fmla="*/ 55562 h 62"/>
                <a:gd name="T54" fmla="*/ 53793 w 166"/>
                <a:gd name="T55" fmla="*/ 54666 h 62"/>
                <a:gd name="T56" fmla="*/ 51211 w 166"/>
                <a:gd name="T57" fmla="*/ 51977 h 62"/>
                <a:gd name="T58" fmla="*/ 48198 w 166"/>
                <a:gd name="T59" fmla="*/ 48393 h 62"/>
                <a:gd name="T60" fmla="*/ 45616 w 166"/>
                <a:gd name="T61" fmla="*/ 44808 h 62"/>
                <a:gd name="T62" fmla="*/ 43034 w 166"/>
                <a:gd name="T63" fmla="*/ 40327 h 62"/>
                <a:gd name="T64" fmla="*/ 40022 w 166"/>
                <a:gd name="T65" fmla="*/ 36743 h 62"/>
                <a:gd name="T66" fmla="*/ 37440 w 166"/>
                <a:gd name="T67" fmla="*/ 34950 h 62"/>
                <a:gd name="T68" fmla="*/ 33997 w 166"/>
                <a:gd name="T69" fmla="*/ 34054 h 62"/>
                <a:gd name="T70" fmla="*/ 24099 w 166"/>
                <a:gd name="T71" fmla="*/ 34054 h 62"/>
                <a:gd name="T72" fmla="*/ 15062 w 166"/>
                <a:gd name="T73" fmla="*/ 34950 h 62"/>
                <a:gd name="T74" fmla="*/ 11189 w 166"/>
                <a:gd name="T75" fmla="*/ 36743 h 62"/>
                <a:gd name="T76" fmla="*/ 8177 w 166"/>
                <a:gd name="T77" fmla="*/ 38535 h 62"/>
                <a:gd name="T78" fmla="*/ 5164 w 166"/>
                <a:gd name="T79" fmla="*/ 41223 h 62"/>
                <a:gd name="T80" fmla="*/ 3012 w 166"/>
                <a:gd name="T81" fmla="*/ 44808 h 62"/>
                <a:gd name="T82" fmla="*/ 861 w 166"/>
                <a:gd name="T83" fmla="*/ 40327 h 62"/>
                <a:gd name="T84" fmla="*/ 430 w 166"/>
                <a:gd name="T85" fmla="*/ 35846 h 62"/>
                <a:gd name="T86" fmla="*/ 0 w 166"/>
                <a:gd name="T87" fmla="*/ 30469 h 62"/>
                <a:gd name="T88" fmla="*/ 430 w 166"/>
                <a:gd name="T89" fmla="*/ 25093 h 62"/>
                <a:gd name="T90" fmla="*/ 1721 w 166"/>
                <a:gd name="T91" fmla="*/ 13442 h 62"/>
                <a:gd name="T92" fmla="*/ 3012 w 166"/>
                <a:gd name="T93" fmla="*/ 0 h 6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6" h="62">
                  <a:moveTo>
                    <a:pt x="7" y="0"/>
                  </a:moveTo>
                  <a:lnTo>
                    <a:pt x="14" y="3"/>
                  </a:lnTo>
                  <a:lnTo>
                    <a:pt x="22" y="6"/>
                  </a:lnTo>
                  <a:lnTo>
                    <a:pt x="30" y="7"/>
                  </a:lnTo>
                  <a:lnTo>
                    <a:pt x="36" y="8"/>
                  </a:lnTo>
                  <a:lnTo>
                    <a:pt x="48" y="8"/>
                  </a:lnTo>
                  <a:lnTo>
                    <a:pt x="58" y="7"/>
                  </a:lnTo>
                  <a:lnTo>
                    <a:pt x="69" y="5"/>
                  </a:lnTo>
                  <a:lnTo>
                    <a:pt x="80" y="3"/>
                  </a:lnTo>
                  <a:lnTo>
                    <a:pt x="92" y="1"/>
                  </a:lnTo>
                  <a:lnTo>
                    <a:pt x="106" y="0"/>
                  </a:lnTo>
                  <a:lnTo>
                    <a:pt x="111" y="1"/>
                  </a:lnTo>
                  <a:lnTo>
                    <a:pt x="115" y="2"/>
                  </a:lnTo>
                  <a:lnTo>
                    <a:pt x="120" y="5"/>
                  </a:lnTo>
                  <a:lnTo>
                    <a:pt x="124" y="8"/>
                  </a:lnTo>
                  <a:lnTo>
                    <a:pt x="132" y="17"/>
                  </a:lnTo>
                  <a:lnTo>
                    <a:pt x="138" y="26"/>
                  </a:lnTo>
                  <a:lnTo>
                    <a:pt x="145" y="36"/>
                  </a:lnTo>
                  <a:lnTo>
                    <a:pt x="151" y="45"/>
                  </a:lnTo>
                  <a:lnTo>
                    <a:pt x="155" y="49"/>
                  </a:lnTo>
                  <a:lnTo>
                    <a:pt x="158" y="52"/>
                  </a:lnTo>
                  <a:lnTo>
                    <a:pt x="162" y="54"/>
                  </a:lnTo>
                  <a:lnTo>
                    <a:pt x="166" y="56"/>
                  </a:lnTo>
                  <a:lnTo>
                    <a:pt x="159" y="57"/>
                  </a:lnTo>
                  <a:lnTo>
                    <a:pt x="151" y="59"/>
                  </a:lnTo>
                  <a:lnTo>
                    <a:pt x="143" y="61"/>
                  </a:lnTo>
                  <a:lnTo>
                    <a:pt x="133" y="62"/>
                  </a:lnTo>
                  <a:lnTo>
                    <a:pt x="125" y="61"/>
                  </a:lnTo>
                  <a:lnTo>
                    <a:pt x="119" y="58"/>
                  </a:lnTo>
                  <a:lnTo>
                    <a:pt x="112" y="54"/>
                  </a:lnTo>
                  <a:lnTo>
                    <a:pt x="106" y="50"/>
                  </a:lnTo>
                  <a:lnTo>
                    <a:pt x="100" y="45"/>
                  </a:lnTo>
                  <a:lnTo>
                    <a:pt x="93" y="41"/>
                  </a:lnTo>
                  <a:lnTo>
                    <a:pt x="87" y="39"/>
                  </a:lnTo>
                  <a:lnTo>
                    <a:pt x="79" y="38"/>
                  </a:lnTo>
                  <a:lnTo>
                    <a:pt x="56" y="38"/>
                  </a:lnTo>
                  <a:lnTo>
                    <a:pt x="35" y="39"/>
                  </a:lnTo>
                  <a:lnTo>
                    <a:pt x="26" y="41"/>
                  </a:lnTo>
                  <a:lnTo>
                    <a:pt x="19" y="43"/>
                  </a:lnTo>
                  <a:lnTo>
                    <a:pt x="12" y="46"/>
                  </a:lnTo>
                  <a:lnTo>
                    <a:pt x="7" y="50"/>
                  </a:lnTo>
                  <a:lnTo>
                    <a:pt x="2" y="45"/>
                  </a:lnTo>
                  <a:lnTo>
                    <a:pt x="1" y="40"/>
                  </a:lnTo>
                  <a:lnTo>
                    <a:pt x="0" y="34"/>
                  </a:lnTo>
                  <a:lnTo>
                    <a:pt x="1" y="28"/>
                  </a:lnTo>
                  <a:lnTo>
                    <a:pt x="4" y="15"/>
                  </a:lnTo>
                  <a:lnTo>
                    <a:pt x="7" y="0"/>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4" name="Freeform 337">
              <a:extLst>
                <a:ext uri="{FF2B5EF4-FFF2-40B4-BE49-F238E27FC236}">
                  <a16:creationId xmlns:a16="http://schemas.microsoft.com/office/drawing/2014/main" id="{4D09F688-44E2-4853-9916-72D37BC8C6E3}"/>
                </a:ext>
              </a:extLst>
            </p:cNvPr>
            <p:cNvSpPr>
              <a:spLocks/>
            </p:cNvSpPr>
            <p:nvPr>
              <p:custDataLst>
                <p:tags r:id="rId240"/>
              </p:custDataLst>
            </p:nvPr>
          </p:nvSpPr>
          <p:spPr bwMode="auto">
            <a:xfrm>
              <a:off x="7285029" y="3659159"/>
              <a:ext cx="85725" cy="63499"/>
            </a:xfrm>
            <a:custGeom>
              <a:avLst/>
              <a:gdLst>
                <a:gd name="T0" fmla="*/ 14658 w 193"/>
                <a:gd name="T1" fmla="*/ 18368 h 121"/>
                <a:gd name="T2" fmla="*/ 21320 w 193"/>
                <a:gd name="T3" fmla="*/ 13120 h 121"/>
                <a:gd name="T4" fmla="*/ 30204 w 193"/>
                <a:gd name="T5" fmla="*/ 6298 h 121"/>
                <a:gd name="T6" fmla="*/ 37310 w 193"/>
                <a:gd name="T7" fmla="*/ 2099 h 121"/>
                <a:gd name="T8" fmla="*/ 41752 w 193"/>
                <a:gd name="T9" fmla="*/ 525 h 121"/>
                <a:gd name="T10" fmla="*/ 46638 w 193"/>
                <a:gd name="T11" fmla="*/ 525 h 121"/>
                <a:gd name="T12" fmla="*/ 51524 w 193"/>
                <a:gd name="T13" fmla="*/ 1574 h 121"/>
                <a:gd name="T14" fmla="*/ 58186 w 193"/>
                <a:gd name="T15" fmla="*/ 5248 h 121"/>
                <a:gd name="T16" fmla="*/ 65737 w 193"/>
                <a:gd name="T17" fmla="*/ 11021 h 121"/>
                <a:gd name="T18" fmla="*/ 71956 w 193"/>
                <a:gd name="T19" fmla="*/ 14694 h 121"/>
                <a:gd name="T20" fmla="*/ 76842 w 193"/>
                <a:gd name="T21" fmla="*/ 15744 h 121"/>
                <a:gd name="T22" fmla="*/ 79507 w 193"/>
                <a:gd name="T23" fmla="*/ 25190 h 121"/>
                <a:gd name="T24" fmla="*/ 79062 w 193"/>
                <a:gd name="T25" fmla="*/ 34636 h 121"/>
                <a:gd name="T26" fmla="*/ 80839 w 193"/>
                <a:gd name="T27" fmla="*/ 39360 h 121"/>
                <a:gd name="T28" fmla="*/ 83060 w 193"/>
                <a:gd name="T29" fmla="*/ 46707 h 121"/>
                <a:gd name="T30" fmla="*/ 83504 w 193"/>
                <a:gd name="T31" fmla="*/ 53529 h 121"/>
                <a:gd name="T32" fmla="*/ 84837 w 193"/>
                <a:gd name="T33" fmla="*/ 57202 h 121"/>
                <a:gd name="T34" fmla="*/ 83504 w 193"/>
                <a:gd name="T35" fmla="*/ 59826 h 121"/>
                <a:gd name="T36" fmla="*/ 78618 w 193"/>
                <a:gd name="T37" fmla="*/ 61926 h 121"/>
                <a:gd name="T38" fmla="*/ 70623 w 193"/>
                <a:gd name="T39" fmla="*/ 63500 h 121"/>
                <a:gd name="T40" fmla="*/ 51524 w 193"/>
                <a:gd name="T41" fmla="*/ 62450 h 121"/>
                <a:gd name="T42" fmla="*/ 31980 w 193"/>
                <a:gd name="T43" fmla="*/ 60876 h 121"/>
                <a:gd name="T44" fmla="*/ 27983 w 193"/>
                <a:gd name="T45" fmla="*/ 57727 h 121"/>
                <a:gd name="T46" fmla="*/ 24874 w 193"/>
                <a:gd name="T47" fmla="*/ 52479 h 121"/>
                <a:gd name="T48" fmla="*/ 23985 w 193"/>
                <a:gd name="T49" fmla="*/ 45657 h 121"/>
                <a:gd name="T50" fmla="*/ 20876 w 193"/>
                <a:gd name="T51" fmla="*/ 41459 h 121"/>
                <a:gd name="T52" fmla="*/ 13769 w 193"/>
                <a:gd name="T53" fmla="*/ 39360 h 121"/>
                <a:gd name="T54" fmla="*/ 5774 w 193"/>
                <a:gd name="T55" fmla="*/ 36211 h 121"/>
                <a:gd name="T56" fmla="*/ 1333 w 193"/>
                <a:gd name="T57" fmla="*/ 32537 h 121"/>
                <a:gd name="T58" fmla="*/ 0 w 193"/>
                <a:gd name="T59" fmla="*/ 30438 h 121"/>
                <a:gd name="T60" fmla="*/ 444 w 193"/>
                <a:gd name="T61" fmla="*/ 26764 h 121"/>
                <a:gd name="T62" fmla="*/ 3109 w 193"/>
                <a:gd name="T63" fmla="*/ 23616 h 121"/>
                <a:gd name="T64" fmla="*/ 8883 w 193"/>
                <a:gd name="T65" fmla="*/ 19942 h 12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93" h="121">
                  <a:moveTo>
                    <a:pt x="26" y="36"/>
                  </a:moveTo>
                  <a:lnTo>
                    <a:pt x="33" y="35"/>
                  </a:lnTo>
                  <a:lnTo>
                    <a:pt x="39" y="31"/>
                  </a:lnTo>
                  <a:lnTo>
                    <a:pt x="48" y="25"/>
                  </a:lnTo>
                  <a:lnTo>
                    <a:pt x="58" y="18"/>
                  </a:lnTo>
                  <a:lnTo>
                    <a:pt x="68" y="12"/>
                  </a:lnTo>
                  <a:lnTo>
                    <a:pt x="79" y="6"/>
                  </a:lnTo>
                  <a:lnTo>
                    <a:pt x="84" y="4"/>
                  </a:lnTo>
                  <a:lnTo>
                    <a:pt x="90" y="2"/>
                  </a:lnTo>
                  <a:lnTo>
                    <a:pt x="94" y="1"/>
                  </a:lnTo>
                  <a:lnTo>
                    <a:pt x="100" y="0"/>
                  </a:lnTo>
                  <a:lnTo>
                    <a:pt x="105" y="1"/>
                  </a:lnTo>
                  <a:lnTo>
                    <a:pt x="111" y="1"/>
                  </a:lnTo>
                  <a:lnTo>
                    <a:pt x="116" y="3"/>
                  </a:lnTo>
                  <a:lnTo>
                    <a:pt x="122" y="5"/>
                  </a:lnTo>
                  <a:lnTo>
                    <a:pt x="131" y="10"/>
                  </a:lnTo>
                  <a:lnTo>
                    <a:pt x="139" y="15"/>
                  </a:lnTo>
                  <a:lnTo>
                    <a:pt x="148" y="21"/>
                  </a:lnTo>
                  <a:lnTo>
                    <a:pt x="158" y="26"/>
                  </a:lnTo>
                  <a:lnTo>
                    <a:pt x="162" y="28"/>
                  </a:lnTo>
                  <a:lnTo>
                    <a:pt x="168" y="29"/>
                  </a:lnTo>
                  <a:lnTo>
                    <a:pt x="173" y="30"/>
                  </a:lnTo>
                  <a:lnTo>
                    <a:pt x="179" y="30"/>
                  </a:lnTo>
                  <a:lnTo>
                    <a:pt x="179" y="48"/>
                  </a:lnTo>
                  <a:lnTo>
                    <a:pt x="178" y="60"/>
                  </a:lnTo>
                  <a:lnTo>
                    <a:pt x="178" y="66"/>
                  </a:lnTo>
                  <a:lnTo>
                    <a:pt x="179" y="71"/>
                  </a:lnTo>
                  <a:lnTo>
                    <a:pt x="182" y="75"/>
                  </a:lnTo>
                  <a:lnTo>
                    <a:pt x="187" y="80"/>
                  </a:lnTo>
                  <a:lnTo>
                    <a:pt x="187" y="89"/>
                  </a:lnTo>
                  <a:lnTo>
                    <a:pt x="187" y="97"/>
                  </a:lnTo>
                  <a:lnTo>
                    <a:pt x="188" y="102"/>
                  </a:lnTo>
                  <a:lnTo>
                    <a:pt x="189" y="106"/>
                  </a:lnTo>
                  <a:lnTo>
                    <a:pt x="191" y="109"/>
                  </a:lnTo>
                  <a:lnTo>
                    <a:pt x="193" y="111"/>
                  </a:lnTo>
                  <a:lnTo>
                    <a:pt x="188" y="114"/>
                  </a:lnTo>
                  <a:lnTo>
                    <a:pt x="182" y="117"/>
                  </a:lnTo>
                  <a:lnTo>
                    <a:pt x="177" y="118"/>
                  </a:lnTo>
                  <a:lnTo>
                    <a:pt x="171" y="120"/>
                  </a:lnTo>
                  <a:lnTo>
                    <a:pt x="159" y="121"/>
                  </a:lnTo>
                  <a:lnTo>
                    <a:pt x="146" y="121"/>
                  </a:lnTo>
                  <a:lnTo>
                    <a:pt x="116" y="119"/>
                  </a:lnTo>
                  <a:lnTo>
                    <a:pt x="80" y="117"/>
                  </a:lnTo>
                  <a:lnTo>
                    <a:pt x="72" y="116"/>
                  </a:lnTo>
                  <a:lnTo>
                    <a:pt x="67" y="114"/>
                  </a:lnTo>
                  <a:lnTo>
                    <a:pt x="63" y="110"/>
                  </a:lnTo>
                  <a:lnTo>
                    <a:pt x="59" y="106"/>
                  </a:lnTo>
                  <a:lnTo>
                    <a:pt x="56" y="100"/>
                  </a:lnTo>
                  <a:lnTo>
                    <a:pt x="55" y="93"/>
                  </a:lnTo>
                  <a:lnTo>
                    <a:pt x="54" y="87"/>
                  </a:lnTo>
                  <a:lnTo>
                    <a:pt x="54" y="80"/>
                  </a:lnTo>
                  <a:lnTo>
                    <a:pt x="47" y="79"/>
                  </a:lnTo>
                  <a:lnTo>
                    <a:pt x="39" y="78"/>
                  </a:lnTo>
                  <a:lnTo>
                    <a:pt x="31" y="75"/>
                  </a:lnTo>
                  <a:lnTo>
                    <a:pt x="22" y="72"/>
                  </a:lnTo>
                  <a:lnTo>
                    <a:pt x="13" y="69"/>
                  </a:lnTo>
                  <a:lnTo>
                    <a:pt x="7" y="65"/>
                  </a:lnTo>
                  <a:lnTo>
                    <a:pt x="3" y="62"/>
                  </a:lnTo>
                  <a:lnTo>
                    <a:pt x="2" y="60"/>
                  </a:lnTo>
                  <a:lnTo>
                    <a:pt x="0" y="58"/>
                  </a:lnTo>
                  <a:lnTo>
                    <a:pt x="0" y="56"/>
                  </a:lnTo>
                  <a:lnTo>
                    <a:pt x="1" y="51"/>
                  </a:lnTo>
                  <a:lnTo>
                    <a:pt x="3" y="48"/>
                  </a:lnTo>
                  <a:lnTo>
                    <a:pt x="7" y="45"/>
                  </a:lnTo>
                  <a:lnTo>
                    <a:pt x="11" y="41"/>
                  </a:lnTo>
                  <a:lnTo>
                    <a:pt x="20" y="38"/>
                  </a:lnTo>
                  <a:lnTo>
                    <a:pt x="2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5" name="Freeform 338">
              <a:extLst>
                <a:ext uri="{FF2B5EF4-FFF2-40B4-BE49-F238E27FC236}">
                  <a16:creationId xmlns:a16="http://schemas.microsoft.com/office/drawing/2014/main" id="{89B1B447-9C53-4B82-A00F-461E4799DA46}"/>
                </a:ext>
              </a:extLst>
            </p:cNvPr>
            <p:cNvSpPr>
              <a:spLocks/>
            </p:cNvSpPr>
            <p:nvPr>
              <p:custDataLst>
                <p:tags r:id="rId241"/>
              </p:custDataLst>
            </p:nvPr>
          </p:nvSpPr>
          <p:spPr bwMode="auto">
            <a:xfrm>
              <a:off x="6973879" y="3597247"/>
              <a:ext cx="166687" cy="230186"/>
            </a:xfrm>
            <a:custGeom>
              <a:avLst/>
              <a:gdLst>
                <a:gd name="T0" fmla="*/ 16273 w 379"/>
                <a:gd name="T1" fmla="*/ 220707 h 437"/>
                <a:gd name="T2" fmla="*/ 20231 w 379"/>
                <a:gd name="T3" fmla="*/ 214386 h 437"/>
                <a:gd name="T4" fmla="*/ 10555 w 379"/>
                <a:gd name="T5" fmla="*/ 163818 h 437"/>
                <a:gd name="T6" fmla="*/ 880 w 379"/>
                <a:gd name="T7" fmla="*/ 154863 h 437"/>
                <a:gd name="T8" fmla="*/ 6597 w 379"/>
                <a:gd name="T9" fmla="*/ 142221 h 437"/>
                <a:gd name="T10" fmla="*/ 13634 w 379"/>
                <a:gd name="T11" fmla="*/ 116411 h 437"/>
                <a:gd name="T12" fmla="*/ 17152 w 379"/>
                <a:gd name="T13" fmla="*/ 90600 h 437"/>
                <a:gd name="T14" fmla="*/ 25069 w 379"/>
                <a:gd name="T15" fmla="*/ 83753 h 437"/>
                <a:gd name="T16" fmla="*/ 28587 w 379"/>
                <a:gd name="T17" fmla="*/ 68477 h 437"/>
                <a:gd name="T18" fmla="*/ 33425 w 379"/>
                <a:gd name="T19" fmla="*/ 41086 h 437"/>
                <a:gd name="T20" fmla="*/ 39583 w 379"/>
                <a:gd name="T21" fmla="*/ 26864 h 437"/>
                <a:gd name="T22" fmla="*/ 50578 w 379"/>
                <a:gd name="T23" fmla="*/ 16329 h 437"/>
                <a:gd name="T24" fmla="*/ 67291 w 379"/>
                <a:gd name="T25" fmla="*/ 13169 h 437"/>
                <a:gd name="T26" fmla="*/ 95438 w 379"/>
                <a:gd name="T27" fmla="*/ 20016 h 437"/>
                <a:gd name="T28" fmla="*/ 115230 w 379"/>
                <a:gd name="T29" fmla="*/ 25284 h 437"/>
                <a:gd name="T30" fmla="*/ 133262 w 379"/>
                <a:gd name="T31" fmla="*/ 23704 h 437"/>
                <a:gd name="T32" fmla="*/ 144697 w 379"/>
                <a:gd name="T33" fmla="*/ 16329 h 437"/>
                <a:gd name="T34" fmla="*/ 156571 w 379"/>
                <a:gd name="T35" fmla="*/ 3687 h 437"/>
                <a:gd name="T36" fmla="*/ 164488 w 379"/>
                <a:gd name="T37" fmla="*/ 4741 h 437"/>
                <a:gd name="T38" fmla="*/ 163608 w 379"/>
                <a:gd name="T39" fmla="*/ 18436 h 437"/>
                <a:gd name="T40" fmla="*/ 144697 w 379"/>
                <a:gd name="T41" fmla="*/ 42140 h 437"/>
                <a:gd name="T42" fmla="*/ 128424 w 379"/>
                <a:gd name="T43" fmla="*/ 51094 h 437"/>
                <a:gd name="T44" fmla="*/ 119188 w 379"/>
                <a:gd name="T45" fmla="*/ 49514 h 437"/>
                <a:gd name="T46" fmla="*/ 104674 w 379"/>
                <a:gd name="T47" fmla="*/ 36345 h 437"/>
                <a:gd name="T48" fmla="*/ 93239 w 379"/>
                <a:gd name="T49" fmla="*/ 29498 h 437"/>
                <a:gd name="T50" fmla="*/ 77846 w 379"/>
                <a:gd name="T51" fmla="*/ 29498 h 437"/>
                <a:gd name="T52" fmla="*/ 60693 w 379"/>
                <a:gd name="T53" fmla="*/ 32132 h 437"/>
                <a:gd name="T54" fmla="*/ 50138 w 379"/>
                <a:gd name="T55" fmla="*/ 41613 h 437"/>
                <a:gd name="T56" fmla="*/ 34745 w 379"/>
                <a:gd name="T57" fmla="*/ 84806 h 437"/>
                <a:gd name="T58" fmla="*/ 52337 w 379"/>
                <a:gd name="T59" fmla="*/ 89020 h 437"/>
                <a:gd name="T60" fmla="*/ 58494 w 379"/>
                <a:gd name="T61" fmla="*/ 100608 h 437"/>
                <a:gd name="T62" fmla="*/ 68170 w 379"/>
                <a:gd name="T63" fmla="*/ 88493 h 437"/>
                <a:gd name="T64" fmla="*/ 75647 w 379"/>
                <a:gd name="T65" fmla="*/ 80592 h 437"/>
                <a:gd name="T66" fmla="*/ 97197 w 379"/>
                <a:gd name="T67" fmla="*/ 79012 h 437"/>
                <a:gd name="T68" fmla="*/ 109952 w 379"/>
                <a:gd name="T69" fmla="*/ 77432 h 437"/>
                <a:gd name="T70" fmla="*/ 120067 w 379"/>
                <a:gd name="T71" fmla="*/ 91127 h 437"/>
                <a:gd name="T72" fmla="*/ 122706 w 379"/>
                <a:gd name="T73" fmla="*/ 106929 h 437"/>
                <a:gd name="T74" fmla="*/ 108193 w 379"/>
                <a:gd name="T75" fmla="*/ 101135 h 437"/>
                <a:gd name="T76" fmla="*/ 95878 w 379"/>
                <a:gd name="T77" fmla="*/ 97448 h 437"/>
                <a:gd name="T78" fmla="*/ 84443 w 379"/>
                <a:gd name="T79" fmla="*/ 102715 h 437"/>
                <a:gd name="T80" fmla="*/ 81804 w 379"/>
                <a:gd name="T81" fmla="*/ 110090 h 437"/>
                <a:gd name="T82" fmla="*/ 84443 w 379"/>
                <a:gd name="T83" fmla="*/ 122732 h 437"/>
                <a:gd name="T84" fmla="*/ 96758 w 379"/>
                <a:gd name="T85" fmla="*/ 143275 h 437"/>
                <a:gd name="T86" fmla="*/ 98957 w 379"/>
                <a:gd name="T87" fmla="*/ 155917 h 437"/>
                <a:gd name="T88" fmla="*/ 94559 w 379"/>
                <a:gd name="T89" fmla="*/ 169612 h 437"/>
                <a:gd name="T90" fmla="*/ 90161 w 379"/>
                <a:gd name="T91" fmla="*/ 181727 h 437"/>
                <a:gd name="T92" fmla="*/ 92360 w 379"/>
                <a:gd name="T93" fmla="*/ 187522 h 437"/>
                <a:gd name="T94" fmla="*/ 103795 w 379"/>
                <a:gd name="T95" fmla="*/ 193843 h 437"/>
                <a:gd name="T96" fmla="*/ 110831 w 379"/>
                <a:gd name="T97" fmla="*/ 210698 h 437"/>
                <a:gd name="T98" fmla="*/ 105114 w 379"/>
                <a:gd name="T99" fmla="*/ 225974 h 437"/>
                <a:gd name="T100" fmla="*/ 97197 w 379"/>
                <a:gd name="T101" fmla="*/ 221760 h 437"/>
                <a:gd name="T102" fmla="*/ 88841 w 379"/>
                <a:gd name="T103" fmla="*/ 219653 h 437"/>
                <a:gd name="T104" fmla="*/ 77846 w 379"/>
                <a:gd name="T105" fmla="*/ 210698 h 437"/>
                <a:gd name="T106" fmla="*/ 67291 w 379"/>
                <a:gd name="T107" fmla="*/ 187522 h 437"/>
                <a:gd name="T108" fmla="*/ 60254 w 379"/>
                <a:gd name="T109" fmla="*/ 160131 h 437"/>
                <a:gd name="T110" fmla="*/ 50138 w 379"/>
                <a:gd name="T111" fmla="*/ 138534 h 437"/>
                <a:gd name="T112" fmla="*/ 42661 w 379"/>
                <a:gd name="T113" fmla="*/ 136427 h 437"/>
                <a:gd name="T114" fmla="*/ 46180 w 379"/>
                <a:gd name="T115" fmla="*/ 200690 h 437"/>
                <a:gd name="T116" fmla="*/ 40902 w 379"/>
                <a:gd name="T117" fmla="*/ 212805 h 437"/>
                <a:gd name="T118" fmla="*/ 25069 w 379"/>
                <a:gd name="T119" fmla="*/ 224394 h 437"/>
                <a:gd name="T120" fmla="*/ 25949 w 379"/>
                <a:gd name="T121" fmla="*/ 230188 h 437"/>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379" h="437">
                  <a:moveTo>
                    <a:pt x="59" y="437"/>
                  </a:moveTo>
                  <a:lnTo>
                    <a:pt x="33" y="437"/>
                  </a:lnTo>
                  <a:lnTo>
                    <a:pt x="34" y="430"/>
                  </a:lnTo>
                  <a:lnTo>
                    <a:pt x="37" y="419"/>
                  </a:lnTo>
                  <a:lnTo>
                    <a:pt x="38" y="415"/>
                  </a:lnTo>
                  <a:lnTo>
                    <a:pt x="41" y="410"/>
                  </a:lnTo>
                  <a:lnTo>
                    <a:pt x="44" y="408"/>
                  </a:lnTo>
                  <a:lnTo>
                    <a:pt x="46" y="407"/>
                  </a:lnTo>
                  <a:lnTo>
                    <a:pt x="46" y="320"/>
                  </a:lnTo>
                  <a:lnTo>
                    <a:pt x="38" y="317"/>
                  </a:lnTo>
                  <a:lnTo>
                    <a:pt x="32" y="314"/>
                  </a:lnTo>
                  <a:lnTo>
                    <a:pt x="24" y="311"/>
                  </a:lnTo>
                  <a:lnTo>
                    <a:pt x="18" y="307"/>
                  </a:lnTo>
                  <a:lnTo>
                    <a:pt x="12" y="303"/>
                  </a:lnTo>
                  <a:lnTo>
                    <a:pt x="7" y="299"/>
                  </a:lnTo>
                  <a:lnTo>
                    <a:pt x="2" y="294"/>
                  </a:lnTo>
                  <a:lnTo>
                    <a:pt x="0" y="290"/>
                  </a:lnTo>
                  <a:lnTo>
                    <a:pt x="5" y="284"/>
                  </a:lnTo>
                  <a:lnTo>
                    <a:pt x="11" y="278"/>
                  </a:lnTo>
                  <a:lnTo>
                    <a:pt x="15" y="270"/>
                  </a:lnTo>
                  <a:lnTo>
                    <a:pt x="19" y="264"/>
                  </a:lnTo>
                  <a:lnTo>
                    <a:pt x="24" y="250"/>
                  </a:lnTo>
                  <a:lnTo>
                    <a:pt x="28" y="236"/>
                  </a:lnTo>
                  <a:lnTo>
                    <a:pt x="31" y="221"/>
                  </a:lnTo>
                  <a:lnTo>
                    <a:pt x="32" y="204"/>
                  </a:lnTo>
                  <a:lnTo>
                    <a:pt x="33" y="189"/>
                  </a:lnTo>
                  <a:lnTo>
                    <a:pt x="33" y="173"/>
                  </a:lnTo>
                  <a:lnTo>
                    <a:pt x="39" y="172"/>
                  </a:lnTo>
                  <a:lnTo>
                    <a:pt x="45" y="170"/>
                  </a:lnTo>
                  <a:lnTo>
                    <a:pt x="50" y="168"/>
                  </a:lnTo>
                  <a:lnTo>
                    <a:pt x="54" y="164"/>
                  </a:lnTo>
                  <a:lnTo>
                    <a:pt x="57" y="159"/>
                  </a:lnTo>
                  <a:lnTo>
                    <a:pt x="59" y="154"/>
                  </a:lnTo>
                  <a:lnTo>
                    <a:pt x="61" y="149"/>
                  </a:lnTo>
                  <a:lnTo>
                    <a:pt x="63" y="143"/>
                  </a:lnTo>
                  <a:lnTo>
                    <a:pt x="65" y="130"/>
                  </a:lnTo>
                  <a:lnTo>
                    <a:pt x="66" y="115"/>
                  </a:lnTo>
                  <a:lnTo>
                    <a:pt x="69" y="100"/>
                  </a:lnTo>
                  <a:lnTo>
                    <a:pt x="72" y="86"/>
                  </a:lnTo>
                  <a:lnTo>
                    <a:pt x="76" y="78"/>
                  </a:lnTo>
                  <a:lnTo>
                    <a:pt x="78" y="71"/>
                  </a:lnTo>
                  <a:lnTo>
                    <a:pt x="81" y="64"/>
                  </a:lnTo>
                  <a:lnTo>
                    <a:pt x="86" y="57"/>
                  </a:lnTo>
                  <a:lnTo>
                    <a:pt x="90" y="51"/>
                  </a:lnTo>
                  <a:lnTo>
                    <a:pt x="95" y="44"/>
                  </a:lnTo>
                  <a:lnTo>
                    <a:pt x="101" y="39"/>
                  </a:lnTo>
                  <a:lnTo>
                    <a:pt x="108" y="35"/>
                  </a:lnTo>
                  <a:lnTo>
                    <a:pt x="115" y="31"/>
                  </a:lnTo>
                  <a:lnTo>
                    <a:pt x="123" y="29"/>
                  </a:lnTo>
                  <a:lnTo>
                    <a:pt x="132" y="27"/>
                  </a:lnTo>
                  <a:lnTo>
                    <a:pt x="142" y="25"/>
                  </a:lnTo>
                  <a:lnTo>
                    <a:pt x="153" y="25"/>
                  </a:lnTo>
                  <a:lnTo>
                    <a:pt x="165" y="26"/>
                  </a:lnTo>
                  <a:lnTo>
                    <a:pt x="178" y="28"/>
                  </a:lnTo>
                  <a:lnTo>
                    <a:pt x="192" y="30"/>
                  </a:lnTo>
                  <a:lnTo>
                    <a:pt x="217" y="38"/>
                  </a:lnTo>
                  <a:lnTo>
                    <a:pt x="237" y="44"/>
                  </a:lnTo>
                  <a:lnTo>
                    <a:pt x="246" y="46"/>
                  </a:lnTo>
                  <a:lnTo>
                    <a:pt x="254" y="47"/>
                  </a:lnTo>
                  <a:lnTo>
                    <a:pt x="262" y="48"/>
                  </a:lnTo>
                  <a:lnTo>
                    <a:pt x="272" y="50"/>
                  </a:lnTo>
                  <a:lnTo>
                    <a:pt x="283" y="48"/>
                  </a:lnTo>
                  <a:lnTo>
                    <a:pt x="294" y="47"/>
                  </a:lnTo>
                  <a:lnTo>
                    <a:pt x="303" y="45"/>
                  </a:lnTo>
                  <a:lnTo>
                    <a:pt x="311" y="42"/>
                  </a:lnTo>
                  <a:lnTo>
                    <a:pt x="317" y="39"/>
                  </a:lnTo>
                  <a:lnTo>
                    <a:pt x="324" y="35"/>
                  </a:lnTo>
                  <a:lnTo>
                    <a:pt x="329" y="31"/>
                  </a:lnTo>
                  <a:lnTo>
                    <a:pt x="334" y="27"/>
                  </a:lnTo>
                  <a:lnTo>
                    <a:pt x="343" y="18"/>
                  </a:lnTo>
                  <a:lnTo>
                    <a:pt x="351" y="10"/>
                  </a:lnTo>
                  <a:lnTo>
                    <a:pt x="356" y="7"/>
                  </a:lnTo>
                  <a:lnTo>
                    <a:pt x="360" y="4"/>
                  </a:lnTo>
                  <a:lnTo>
                    <a:pt x="366" y="2"/>
                  </a:lnTo>
                  <a:lnTo>
                    <a:pt x="371" y="0"/>
                  </a:lnTo>
                  <a:lnTo>
                    <a:pt x="374" y="9"/>
                  </a:lnTo>
                  <a:lnTo>
                    <a:pt x="379" y="18"/>
                  </a:lnTo>
                  <a:lnTo>
                    <a:pt x="378" y="23"/>
                  </a:lnTo>
                  <a:lnTo>
                    <a:pt x="375" y="29"/>
                  </a:lnTo>
                  <a:lnTo>
                    <a:pt x="372" y="35"/>
                  </a:lnTo>
                  <a:lnTo>
                    <a:pt x="369" y="41"/>
                  </a:lnTo>
                  <a:lnTo>
                    <a:pt x="358" y="55"/>
                  </a:lnTo>
                  <a:lnTo>
                    <a:pt x="344" y="68"/>
                  </a:lnTo>
                  <a:lnTo>
                    <a:pt x="329" y="80"/>
                  </a:lnTo>
                  <a:lnTo>
                    <a:pt x="314" y="89"/>
                  </a:lnTo>
                  <a:lnTo>
                    <a:pt x="306" y="93"/>
                  </a:lnTo>
                  <a:lnTo>
                    <a:pt x="299" y="96"/>
                  </a:lnTo>
                  <a:lnTo>
                    <a:pt x="292" y="97"/>
                  </a:lnTo>
                  <a:lnTo>
                    <a:pt x="285" y="98"/>
                  </a:lnTo>
                  <a:lnTo>
                    <a:pt x="280" y="98"/>
                  </a:lnTo>
                  <a:lnTo>
                    <a:pt x="276" y="96"/>
                  </a:lnTo>
                  <a:lnTo>
                    <a:pt x="271" y="94"/>
                  </a:lnTo>
                  <a:lnTo>
                    <a:pt x="266" y="91"/>
                  </a:lnTo>
                  <a:lnTo>
                    <a:pt x="257" y="85"/>
                  </a:lnTo>
                  <a:lnTo>
                    <a:pt x="248" y="77"/>
                  </a:lnTo>
                  <a:lnTo>
                    <a:pt x="238" y="69"/>
                  </a:lnTo>
                  <a:lnTo>
                    <a:pt x="228" y="62"/>
                  </a:lnTo>
                  <a:lnTo>
                    <a:pt x="223" y="60"/>
                  </a:lnTo>
                  <a:lnTo>
                    <a:pt x="217" y="57"/>
                  </a:lnTo>
                  <a:lnTo>
                    <a:pt x="212" y="56"/>
                  </a:lnTo>
                  <a:lnTo>
                    <a:pt x="205" y="56"/>
                  </a:lnTo>
                  <a:lnTo>
                    <a:pt x="199" y="56"/>
                  </a:lnTo>
                  <a:lnTo>
                    <a:pt x="190" y="56"/>
                  </a:lnTo>
                  <a:lnTo>
                    <a:pt x="177" y="56"/>
                  </a:lnTo>
                  <a:lnTo>
                    <a:pt x="159" y="56"/>
                  </a:lnTo>
                  <a:lnTo>
                    <a:pt x="151" y="56"/>
                  </a:lnTo>
                  <a:lnTo>
                    <a:pt x="145" y="58"/>
                  </a:lnTo>
                  <a:lnTo>
                    <a:pt x="138" y="61"/>
                  </a:lnTo>
                  <a:lnTo>
                    <a:pt x="132" y="64"/>
                  </a:lnTo>
                  <a:lnTo>
                    <a:pt x="125" y="69"/>
                  </a:lnTo>
                  <a:lnTo>
                    <a:pt x="120" y="74"/>
                  </a:lnTo>
                  <a:lnTo>
                    <a:pt x="114" y="79"/>
                  </a:lnTo>
                  <a:lnTo>
                    <a:pt x="109" y="85"/>
                  </a:lnTo>
                  <a:lnTo>
                    <a:pt x="92" y="110"/>
                  </a:lnTo>
                  <a:lnTo>
                    <a:pt x="79" y="129"/>
                  </a:lnTo>
                  <a:lnTo>
                    <a:pt x="79" y="161"/>
                  </a:lnTo>
                  <a:lnTo>
                    <a:pt x="91" y="161"/>
                  </a:lnTo>
                  <a:lnTo>
                    <a:pt x="102" y="163"/>
                  </a:lnTo>
                  <a:lnTo>
                    <a:pt x="111" y="165"/>
                  </a:lnTo>
                  <a:lnTo>
                    <a:pt x="119" y="169"/>
                  </a:lnTo>
                  <a:lnTo>
                    <a:pt x="124" y="173"/>
                  </a:lnTo>
                  <a:lnTo>
                    <a:pt x="128" y="178"/>
                  </a:lnTo>
                  <a:lnTo>
                    <a:pt x="132" y="184"/>
                  </a:lnTo>
                  <a:lnTo>
                    <a:pt x="133" y="191"/>
                  </a:lnTo>
                  <a:lnTo>
                    <a:pt x="139" y="186"/>
                  </a:lnTo>
                  <a:lnTo>
                    <a:pt x="145" y="180"/>
                  </a:lnTo>
                  <a:lnTo>
                    <a:pt x="150" y="174"/>
                  </a:lnTo>
                  <a:lnTo>
                    <a:pt x="155" y="168"/>
                  </a:lnTo>
                  <a:lnTo>
                    <a:pt x="159" y="163"/>
                  </a:lnTo>
                  <a:lnTo>
                    <a:pt x="164" y="157"/>
                  </a:lnTo>
                  <a:lnTo>
                    <a:pt x="168" y="155"/>
                  </a:lnTo>
                  <a:lnTo>
                    <a:pt x="172" y="153"/>
                  </a:lnTo>
                  <a:lnTo>
                    <a:pt x="184" y="150"/>
                  </a:lnTo>
                  <a:lnTo>
                    <a:pt x="196" y="149"/>
                  </a:lnTo>
                  <a:lnTo>
                    <a:pt x="209" y="149"/>
                  </a:lnTo>
                  <a:lnTo>
                    <a:pt x="221" y="150"/>
                  </a:lnTo>
                  <a:lnTo>
                    <a:pt x="232" y="150"/>
                  </a:lnTo>
                  <a:lnTo>
                    <a:pt x="242" y="149"/>
                  </a:lnTo>
                  <a:lnTo>
                    <a:pt x="246" y="148"/>
                  </a:lnTo>
                  <a:lnTo>
                    <a:pt x="250" y="147"/>
                  </a:lnTo>
                  <a:lnTo>
                    <a:pt x="255" y="144"/>
                  </a:lnTo>
                  <a:lnTo>
                    <a:pt x="259" y="141"/>
                  </a:lnTo>
                  <a:lnTo>
                    <a:pt x="268" y="158"/>
                  </a:lnTo>
                  <a:lnTo>
                    <a:pt x="273" y="173"/>
                  </a:lnTo>
                  <a:lnTo>
                    <a:pt x="276" y="179"/>
                  </a:lnTo>
                  <a:lnTo>
                    <a:pt x="278" y="187"/>
                  </a:lnTo>
                  <a:lnTo>
                    <a:pt x="278" y="194"/>
                  </a:lnTo>
                  <a:lnTo>
                    <a:pt x="279" y="203"/>
                  </a:lnTo>
                  <a:lnTo>
                    <a:pt x="268" y="200"/>
                  </a:lnTo>
                  <a:lnTo>
                    <a:pt x="259" y="198"/>
                  </a:lnTo>
                  <a:lnTo>
                    <a:pt x="252" y="195"/>
                  </a:lnTo>
                  <a:lnTo>
                    <a:pt x="246" y="192"/>
                  </a:lnTo>
                  <a:lnTo>
                    <a:pt x="240" y="189"/>
                  </a:lnTo>
                  <a:lnTo>
                    <a:pt x="235" y="187"/>
                  </a:lnTo>
                  <a:lnTo>
                    <a:pt x="227" y="185"/>
                  </a:lnTo>
                  <a:lnTo>
                    <a:pt x="218" y="185"/>
                  </a:lnTo>
                  <a:lnTo>
                    <a:pt x="210" y="186"/>
                  </a:lnTo>
                  <a:lnTo>
                    <a:pt x="202" y="188"/>
                  </a:lnTo>
                  <a:lnTo>
                    <a:pt x="196" y="191"/>
                  </a:lnTo>
                  <a:lnTo>
                    <a:pt x="192" y="195"/>
                  </a:lnTo>
                  <a:lnTo>
                    <a:pt x="189" y="199"/>
                  </a:lnTo>
                  <a:lnTo>
                    <a:pt x="187" y="203"/>
                  </a:lnTo>
                  <a:lnTo>
                    <a:pt x="186" y="206"/>
                  </a:lnTo>
                  <a:lnTo>
                    <a:pt x="186" y="209"/>
                  </a:lnTo>
                  <a:lnTo>
                    <a:pt x="186" y="215"/>
                  </a:lnTo>
                  <a:lnTo>
                    <a:pt x="188" y="223"/>
                  </a:lnTo>
                  <a:lnTo>
                    <a:pt x="189" y="228"/>
                  </a:lnTo>
                  <a:lnTo>
                    <a:pt x="192" y="233"/>
                  </a:lnTo>
                  <a:lnTo>
                    <a:pt x="198" y="243"/>
                  </a:lnTo>
                  <a:lnTo>
                    <a:pt x="205" y="252"/>
                  </a:lnTo>
                  <a:lnTo>
                    <a:pt x="213" y="261"/>
                  </a:lnTo>
                  <a:lnTo>
                    <a:pt x="220" y="272"/>
                  </a:lnTo>
                  <a:lnTo>
                    <a:pt x="222" y="277"/>
                  </a:lnTo>
                  <a:lnTo>
                    <a:pt x="224" y="283"/>
                  </a:lnTo>
                  <a:lnTo>
                    <a:pt x="225" y="289"/>
                  </a:lnTo>
                  <a:lnTo>
                    <a:pt x="225" y="296"/>
                  </a:lnTo>
                  <a:lnTo>
                    <a:pt x="225" y="302"/>
                  </a:lnTo>
                  <a:lnTo>
                    <a:pt x="222" y="309"/>
                  </a:lnTo>
                  <a:lnTo>
                    <a:pt x="220" y="316"/>
                  </a:lnTo>
                  <a:lnTo>
                    <a:pt x="215" y="322"/>
                  </a:lnTo>
                  <a:lnTo>
                    <a:pt x="212" y="329"/>
                  </a:lnTo>
                  <a:lnTo>
                    <a:pt x="209" y="335"/>
                  </a:lnTo>
                  <a:lnTo>
                    <a:pt x="206" y="340"/>
                  </a:lnTo>
                  <a:lnTo>
                    <a:pt x="205" y="345"/>
                  </a:lnTo>
                  <a:lnTo>
                    <a:pt x="205" y="348"/>
                  </a:lnTo>
                  <a:lnTo>
                    <a:pt x="206" y="351"/>
                  </a:lnTo>
                  <a:lnTo>
                    <a:pt x="209" y="354"/>
                  </a:lnTo>
                  <a:lnTo>
                    <a:pt x="210" y="356"/>
                  </a:lnTo>
                  <a:lnTo>
                    <a:pt x="215" y="361"/>
                  </a:lnTo>
                  <a:lnTo>
                    <a:pt x="222" y="364"/>
                  </a:lnTo>
                  <a:lnTo>
                    <a:pt x="228" y="366"/>
                  </a:lnTo>
                  <a:lnTo>
                    <a:pt x="236" y="368"/>
                  </a:lnTo>
                  <a:lnTo>
                    <a:pt x="244" y="369"/>
                  </a:lnTo>
                  <a:lnTo>
                    <a:pt x="252" y="369"/>
                  </a:lnTo>
                  <a:lnTo>
                    <a:pt x="252" y="390"/>
                  </a:lnTo>
                  <a:lnTo>
                    <a:pt x="252" y="400"/>
                  </a:lnTo>
                  <a:lnTo>
                    <a:pt x="252" y="411"/>
                  </a:lnTo>
                  <a:lnTo>
                    <a:pt x="252" y="431"/>
                  </a:lnTo>
                  <a:lnTo>
                    <a:pt x="245" y="430"/>
                  </a:lnTo>
                  <a:lnTo>
                    <a:pt x="239" y="429"/>
                  </a:lnTo>
                  <a:lnTo>
                    <a:pt x="234" y="427"/>
                  </a:lnTo>
                  <a:lnTo>
                    <a:pt x="229" y="425"/>
                  </a:lnTo>
                  <a:lnTo>
                    <a:pt x="225" y="423"/>
                  </a:lnTo>
                  <a:lnTo>
                    <a:pt x="221" y="421"/>
                  </a:lnTo>
                  <a:lnTo>
                    <a:pt x="217" y="419"/>
                  </a:lnTo>
                  <a:lnTo>
                    <a:pt x="212" y="419"/>
                  </a:lnTo>
                  <a:lnTo>
                    <a:pt x="207" y="418"/>
                  </a:lnTo>
                  <a:lnTo>
                    <a:pt x="202" y="417"/>
                  </a:lnTo>
                  <a:lnTo>
                    <a:pt x="198" y="416"/>
                  </a:lnTo>
                  <a:lnTo>
                    <a:pt x="193" y="414"/>
                  </a:lnTo>
                  <a:lnTo>
                    <a:pt x="186" y="408"/>
                  </a:lnTo>
                  <a:lnTo>
                    <a:pt x="177" y="400"/>
                  </a:lnTo>
                  <a:lnTo>
                    <a:pt x="170" y="391"/>
                  </a:lnTo>
                  <a:lnTo>
                    <a:pt x="164" y="379"/>
                  </a:lnTo>
                  <a:lnTo>
                    <a:pt x="158" y="368"/>
                  </a:lnTo>
                  <a:lnTo>
                    <a:pt x="153" y="356"/>
                  </a:lnTo>
                  <a:lnTo>
                    <a:pt x="148" y="343"/>
                  </a:lnTo>
                  <a:lnTo>
                    <a:pt x="144" y="330"/>
                  </a:lnTo>
                  <a:lnTo>
                    <a:pt x="140" y="317"/>
                  </a:lnTo>
                  <a:lnTo>
                    <a:pt x="137" y="304"/>
                  </a:lnTo>
                  <a:lnTo>
                    <a:pt x="134" y="282"/>
                  </a:lnTo>
                  <a:lnTo>
                    <a:pt x="133" y="264"/>
                  </a:lnTo>
                  <a:lnTo>
                    <a:pt x="122" y="264"/>
                  </a:lnTo>
                  <a:lnTo>
                    <a:pt x="114" y="263"/>
                  </a:lnTo>
                  <a:lnTo>
                    <a:pt x="109" y="261"/>
                  </a:lnTo>
                  <a:lnTo>
                    <a:pt x="104" y="260"/>
                  </a:lnTo>
                  <a:lnTo>
                    <a:pt x="101" y="259"/>
                  </a:lnTo>
                  <a:lnTo>
                    <a:pt x="97" y="259"/>
                  </a:lnTo>
                  <a:lnTo>
                    <a:pt x="92" y="261"/>
                  </a:lnTo>
                  <a:lnTo>
                    <a:pt x="86" y="264"/>
                  </a:lnTo>
                  <a:lnTo>
                    <a:pt x="86" y="296"/>
                  </a:lnTo>
                  <a:lnTo>
                    <a:pt x="105" y="381"/>
                  </a:lnTo>
                  <a:lnTo>
                    <a:pt x="104" y="389"/>
                  </a:lnTo>
                  <a:lnTo>
                    <a:pt x="101" y="394"/>
                  </a:lnTo>
                  <a:lnTo>
                    <a:pt x="98" y="399"/>
                  </a:lnTo>
                  <a:lnTo>
                    <a:pt x="93" y="404"/>
                  </a:lnTo>
                  <a:lnTo>
                    <a:pt x="83" y="411"/>
                  </a:lnTo>
                  <a:lnTo>
                    <a:pt x="72" y="416"/>
                  </a:lnTo>
                  <a:lnTo>
                    <a:pt x="64" y="421"/>
                  </a:lnTo>
                  <a:lnTo>
                    <a:pt x="57" y="426"/>
                  </a:lnTo>
                  <a:lnTo>
                    <a:pt x="56" y="428"/>
                  </a:lnTo>
                  <a:lnTo>
                    <a:pt x="55" y="431"/>
                  </a:lnTo>
                  <a:lnTo>
                    <a:pt x="56" y="434"/>
                  </a:lnTo>
                  <a:lnTo>
                    <a:pt x="59" y="437"/>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6" name="Freeform 339">
              <a:extLst>
                <a:ext uri="{FF2B5EF4-FFF2-40B4-BE49-F238E27FC236}">
                  <a16:creationId xmlns:a16="http://schemas.microsoft.com/office/drawing/2014/main" id="{322B2B36-8144-484B-900E-82EEF2BC81B4}"/>
                </a:ext>
              </a:extLst>
            </p:cNvPr>
            <p:cNvSpPr>
              <a:spLocks/>
            </p:cNvSpPr>
            <p:nvPr>
              <p:custDataLst>
                <p:tags r:id="rId242"/>
              </p:custDataLst>
            </p:nvPr>
          </p:nvSpPr>
          <p:spPr bwMode="auto">
            <a:xfrm>
              <a:off x="6638917" y="3838545"/>
              <a:ext cx="250824" cy="95249"/>
            </a:xfrm>
            <a:custGeom>
              <a:avLst/>
              <a:gdLst>
                <a:gd name="T0" fmla="*/ 4773 w 578"/>
                <a:gd name="T1" fmla="*/ 25883 h 184"/>
                <a:gd name="T2" fmla="*/ 10415 w 578"/>
                <a:gd name="T3" fmla="*/ 16565 h 184"/>
                <a:gd name="T4" fmla="*/ 17792 w 578"/>
                <a:gd name="T5" fmla="*/ 3624 h 184"/>
                <a:gd name="T6" fmla="*/ 23433 w 578"/>
                <a:gd name="T7" fmla="*/ 0 h 184"/>
                <a:gd name="T8" fmla="*/ 34282 w 578"/>
                <a:gd name="T9" fmla="*/ 1035 h 184"/>
                <a:gd name="T10" fmla="*/ 41226 w 578"/>
                <a:gd name="T11" fmla="*/ 1035 h 184"/>
                <a:gd name="T12" fmla="*/ 43829 w 578"/>
                <a:gd name="T13" fmla="*/ 2588 h 184"/>
                <a:gd name="T14" fmla="*/ 49905 w 578"/>
                <a:gd name="T15" fmla="*/ 7765 h 184"/>
                <a:gd name="T16" fmla="*/ 63791 w 578"/>
                <a:gd name="T17" fmla="*/ 13977 h 184"/>
                <a:gd name="T18" fmla="*/ 72904 w 578"/>
                <a:gd name="T19" fmla="*/ 19154 h 184"/>
                <a:gd name="T20" fmla="*/ 77244 w 578"/>
                <a:gd name="T21" fmla="*/ 27436 h 184"/>
                <a:gd name="T22" fmla="*/ 83319 w 578"/>
                <a:gd name="T23" fmla="*/ 31577 h 184"/>
                <a:gd name="T24" fmla="*/ 100243 w 578"/>
                <a:gd name="T25" fmla="*/ 31060 h 184"/>
                <a:gd name="T26" fmla="*/ 120205 w 578"/>
                <a:gd name="T27" fmla="*/ 26401 h 184"/>
                <a:gd name="T28" fmla="*/ 129752 w 578"/>
                <a:gd name="T29" fmla="*/ 20189 h 184"/>
                <a:gd name="T30" fmla="*/ 136261 w 578"/>
                <a:gd name="T31" fmla="*/ 17601 h 184"/>
                <a:gd name="T32" fmla="*/ 141903 w 578"/>
                <a:gd name="T33" fmla="*/ 18118 h 184"/>
                <a:gd name="T34" fmla="*/ 147110 w 578"/>
                <a:gd name="T35" fmla="*/ 16048 h 184"/>
                <a:gd name="T36" fmla="*/ 158827 w 578"/>
                <a:gd name="T37" fmla="*/ 17601 h 184"/>
                <a:gd name="T38" fmla="*/ 173147 w 578"/>
                <a:gd name="T39" fmla="*/ 30542 h 184"/>
                <a:gd name="T40" fmla="*/ 185732 w 578"/>
                <a:gd name="T41" fmla="*/ 46072 h 184"/>
                <a:gd name="T42" fmla="*/ 197883 w 578"/>
                <a:gd name="T43" fmla="*/ 54355 h 184"/>
                <a:gd name="T44" fmla="*/ 207864 w 578"/>
                <a:gd name="T45" fmla="*/ 55390 h 184"/>
                <a:gd name="T46" fmla="*/ 213939 w 578"/>
                <a:gd name="T47" fmla="*/ 55908 h 184"/>
                <a:gd name="T48" fmla="*/ 219146 w 578"/>
                <a:gd name="T49" fmla="*/ 64708 h 184"/>
                <a:gd name="T50" fmla="*/ 226524 w 578"/>
                <a:gd name="T51" fmla="*/ 72473 h 184"/>
                <a:gd name="T52" fmla="*/ 231731 w 578"/>
                <a:gd name="T53" fmla="*/ 71955 h 184"/>
                <a:gd name="T54" fmla="*/ 236938 w 578"/>
                <a:gd name="T55" fmla="*/ 66261 h 184"/>
                <a:gd name="T56" fmla="*/ 242146 w 578"/>
                <a:gd name="T57" fmla="*/ 69367 h 184"/>
                <a:gd name="T58" fmla="*/ 247787 w 578"/>
                <a:gd name="T59" fmla="*/ 75061 h 184"/>
                <a:gd name="T60" fmla="*/ 250825 w 578"/>
                <a:gd name="T61" fmla="*/ 82826 h 184"/>
                <a:gd name="T62" fmla="*/ 249523 w 578"/>
                <a:gd name="T63" fmla="*/ 89556 h 184"/>
                <a:gd name="T64" fmla="*/ 246052 w 578"/>
                <a:gd name="T65" fmla="*/ 94215 h 184"/>
                <a:gd name="T66" fmla="*/ 239108 w 578"/>
                <a:gd name="T67" fmla="*/ 92144 h 184"/>
                <a:gd name="T68" fmla="*/ 228259 w 578"/>
                <a:gd name="T69" fmla="*/ 88003 h 184"/>
                <a:gd name="T70" fmla="*/ 213071 w 578"/>
                <a:gd name="T71" fmla="*/ 89038 h 184"/>
                <a:gd name="T72" fmla="*/ 200486 w 578"/>
                <a:gd name="T73" fmla="*/ 88003 h 184"/>
                <a:gd name="T74" fmla="*/ 195713 w 578"/>
                <a:gd name="T75" fmla="*/ 82826 h 184"/>
                <a:gd name="T76" fmla="*/ 190072 w 578"/>
                <a:gd name="T77" fmla="*/ 79720 h 184"/>
                <a:gd name="T78" fmla="*/ 184864 w 578"/>
                <a:gd name="T79" fmla="*/ 82826 h 184"/>
                <a:gd name="T80" fmla="*/ 180525 w 578"/>
                <a:gd name="T81" fmla="*/ 88003 h 184"/>
                <a:gd name="T82" fmla="*/ 172713 w 578"/>
                <a:gd name="T83" fmla="*/ 88520 h 184"/>
                <a:gd name="T84" fmla="*/ 142337 w 578"/>
                <a:gd name="T85" fmla="*/ 79202 h 184"/>
                <a:gd name="T86" fmla="*/ 120205 w 578"/>
                <a:gd name="T87" fmla="*/ 68332 h 184"/>
                <a:gd name="T88" fmla="*/ 115432 w 578"/>
                <a:gd name="T89" fmla="*/ 63673 h 184"/>
                <a:gd name="T90" fmla="*/ 99809 w 578"/>
                <a:gd name="T91" fmla="*/ 61602 h 184"/>
                <a:gd name="T92" fmla="*/ 87225 w 578"/>
                <a:gd name="T93" fmla="*/ 58496 h 184"/>
                <a:gd name="T94" fmla="*/ 72904 w 578"/>
                <a:gd name="T95" fmla="*/ 57461 h 184"/>
                <a:gd name="T96" fmla="*/ 63357 w 578"/>
                <a:gd name="T97" fmla="*/ 57461 h 184"/>
                <a:gd name="T98" fmla="*/ 53810 w 578"/>
                <a:gd name="T99" fmla="*/ 54355 h 184"/>
                <a:gd name="T100" fmla="*/ 52074 w 578"/>
                <a:gd name="T101" fmla="*/ 51249 h 184"/>
                <a:gd name="T102" fmla="*/ 29943 w 578"/>
                <a:gd name="T103" fmla="*/ 50213 h 184"/>
                <a:gd name="T104" fmla="*/ 19962 w 578"/>
                <a:gd name="T105" fmla="*/ 45554 h 184"/>
                <a:gd name="T106" fmla="*/ 0 w 578"/>
                <a:gd name="T107" fmla="*/ 28471 h 184"/>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578" h="184">
                  <a:moveTo>
                    <a:pt x="0" y="55"/>
                  </a:moveTo>
                  <a:lnTo>
                    <a:pt x="6" y="53"/>
                  </a:lnTo>
                  <a:lnTo>
                    <a:pt x="11" y="50"/>
                  </a:lnTo>
                  <a:lnTo>
                    <a:pt x="14" y="46"/>
                  </a:lnTo>
                  <a:lnTo>
                    <a:pt x="19" y="42"/>
                  </a:lnTo>
                  <a:lnTo>
                    <a:pt x="24" y="32"/>
                  </a:lnTo>
                  <a:lnTo>
                    <a:pt x="30" y="23"/>
                  </a:lnTo>
                  <a:lnTo>
                    <a:pt x="35" y="14"/>
                  </a:lnTo>
                  <a:lnTo>
                    <a:pt x="41" y="7"/>
                  </a:lnTo>
                  <a:lnTo>
                    <a:pt x="44" y="4"/>
                  </a:lnTo>
                  <a:lnTo>
                    <a:pt x="48" y="2"/>
                  </a:lnTo>
                  <a:lnTo>
                    <a:pt x="54" y="0"/>
                  </a:lnTo>
                  <a:lnTo>
                    <a:pt x="59" y="0"/>
                  </a:lnTo>
                  <a:lnTo>
                    <a:pt x="69" y="1"/>
                  </a:lnTo>
                  <a:lnTo>
                    <a:pt x="79" y="2"/>
                  </a:lnTo>
                  <a:lnTo>
                    <a:pt x="85" y="3"/>
                  </a:lnTo>
                  <a:lnTo>
                    <a:pt x="89" y="3"/>
                  </a:lnTo>
                  <a:lnTo>
                    <a:pt x="95" y="2"/>
                  </a:lnTo>
                  <a:lnTo>
                    <a:pt x="99" y="0"/>
                  </a:lnTo>
                  <a:lnTo>
                    <a:pt x="100" y="2"/>
                  </a:lnTo>
                  <a:lnTo>
                    <a:pt x="101" y="5"/>
                  </a:lnTo>
                  <a:lnTo>
                    <a:pt x="103" y="7"/>
                  </a:lnTo>
                  <a:lnTo>
                    <a:pt x="107" y="10"/>
                  </a:lnTo>
                  <a:lnTo>
                    <a:pt x="115" y="15"/>
                  </a:lnTo>
                  <a:lnTo>
                    <a:pt x="125" y="20"/>
                  </a:lnTo>
                  <a:lnTo>
                    <a:pt x="136" y="24"/>
                  </a:lnTo>
                  <a:lnTo>
                    <a:pt x="147" y="27"/>
                  </a:lnTo>
                  <a:lnTo>
                    <a:pt x="157" y="29"/>
                  </a:lnTo>
                  <a:lnTo>
                    <a:pt x="166" y="30"/>
                  </a:lnTo>
                  <a:lnTo>
                    <a:pt x="168" y="37"/>
                  </a:lnTo>
                  <a:lnTo>
                    <a:pt x="171" y="44"/>
                  </a:lnTo>
                  <a:lnTo>
                    <a:pt x="174" y="49"/>
                  </a:lnTo>
                  <a:lnTo>
                    <a:pt x="178" y="53"/>
                  </a:lnTo>
                  <a:lnTo>
                    <a:pt x="181" y="57"/>
                  </a:lnTo>
                  <a:lnTo>
                    <a:pt x="187" y="59"/>
                  </a:lnTo>
                  <a:lnTo>
                    <a:pt x="192" y="61"/>
                  </a:lnTo>
                  <a:lnTo>
                    <a:pt x="199" y="61"/>
                  </a:lnTo>
                  <a:lnTo>
                    <a:pt x="214" y="61"/>
                  </a:lnTo>
                  <a:lnTo>
                    <a:pt x="231" y="60"/>
                  </a:lnTo>
                  <a:lnTo>
                    <a:pt x="247" y="58"/>
                  </a:lnTo>
                  <a:lnTo>
                    <a:pt x="263" y="55"/>
                  </a:lnTo>
                  <a:lnTo>
                    <a:pt x="277" y="51"/>
                  </a:lnTo>
                  <a:lnTo>
                    <a:pt x="289" y="46"/>
                  </a:lnTo>
                  <a:lnTo>
                    <a:pt x="294" y="43"/>
                  </a:lnTo>
                  <a:lnTo>
                    <a:pt x="299" y="39"/>
                  </a:lnTo>
                  <a:lnTo>
                    <a:pt x="302" y="35"/>
                  </a:lnTo>
                  <a:lnTo>
                    <a:pt x="305" y="30"/>
                  </a:lnTo>
                  <a:lnTo>
                    <a:pt x="314" y="34"/>
                  </a:lnTo>
                  <a:lnTo>
                    <a:pt x="320" y="35"/>
                  </a:lnTo>
                  <a:lnTo>
                    <a:pt x="324" y="36"/>
                  </a:lnTo>
                  <a:lnTo>
                    <a:pt x="327" y="35"/>
                  </a:lnTo>
                  <a:lnTo>
                    <a:pt x="331" y="33"/>
                  </a:lnTo>
                  <a:lnTo>
                    <a:pt x="334" y="32"/>
                  </a:lnTo>
                  <a:lnTo>
                    <a:pt x="339" y="31"/>
                  </a:lnTo>
                  <a:lnTo>
                    <a:pt x="345" y="30"/>
                  </a:lnTo>
                  <a:lnTo>
                    <a:pt x="356" y="31"/>
                  </a:lnTo>
                  <a:lnTo>
                    <a:pt x="366" y="34"/>
                  </a:lnTo>
                  <a:lnTo>
                    <a:pt x="375" y="39"/>
                  </a:lnTo>
                  <a:lnTo>
                    <a:pt x="383" y="45"/>
                  </a:lnTo>
                  <a:lnTo>
                    <a:pt x="399" y="59"/>
                  </a:lnTo>
                  <a:lnTo>
                    <a:pt x="413" y="74"/>
                  </a:lnTo>
                  <a:lnTo>
                    <a:pt x="421" y="82"/>
                  </a:lnTo>
                  <a:lnTo>
                    <a:pt x="428" y="89"/>
                  </a:lnTo>
                  <a:lnTo>
                    <a:pt x="437" y="96"/>
                  </a:lnTo>
                  <a:lnTo>
                    <a:pt x="446" y="101"/>
                  </a:lnTo>
                  <a:lnTo>
                    <a:pt x="456" y="105"/>
                  </a:lnTo>
                  <a:lnTo>
                    <a:pt x="467" y="107"/>
                  </a:lnTo>
                  <a:lnTo>
                    <a:pt x="472" y="107"/>
                  </a:lnTo>
                  <a:lnTo>
                    <a:pt x="479" y="107"/>
                  </a:lnTo>
                  <a:lnTo>
                    <a:pt x="484" y="106"/>
                  </a:lnTo>
                  <a:lnTo>
                    <a:pt x="491" y="105"/>
                  </a:lnTo>
                  <a:lnTo>
                    <a:pt x="493" y="108"/>
                  </a:lnTo>
                  <a:lnTo>
                    <a:pt x="495" y="113"/>
                  </a:lnTo>
                  <a:lnTo>
                    <a:pt x="500" y="119"/>
                  </a:lnTo>
                  <a:lnTo>
                    <a:pt x="505" y="125"/>
                  </a:lnTo>
                  <a:lnTo>
                    <a:pt x="511" y="131"/>
                  </a:lnTo>
                  <a:lnTo>
                    <a:pt x="516" y="136"/>
                  </a:lnTo>
                  <a:lnTo>
                    <a:pt x="522" y="140"/>
                  </a:lnTo>
                  <a:lnTo>
                    <a:pt x="525" y="141"/>
                  </a:lnTo>
                  <a:lnTo>
                    <a:pt x="529" y="141"/>
                  </a:lnTo>
                  <a:lnTo>
                    <a:pt x="534" y="139"/>
                  </a:lnTo>
                  <a:lnTo>
                    <a:pt x="537" y="137"/>
                  </a:lnTo>
                  <a:lnTo>
                    <a:pt x="540" y="134"/>
                  </a:lnTo>
                  <a:lnTo>
                    <a:pt x="546" y="128"/>
                  </a:lnTo>
                  <a:lnTo>
                    <a:pt x="551" y="123"/>
                  </a:lnTo>
                  <a:lnTo>
                    <a:pt x="555" y="129"/>
                  </a:lnTo>
                  <a:lnTo>
                    <a:pt x="558" y="134"/>
                  </a:lnTo>
                  <a:lnTo>
                    <a:pt x="562" y="138"/>
                  </a:lnTo>
                  <a:lnTo>
                    <a:pt x="567" y="141"/>
                  </a:lnTo>
                  <a:lnTo>
                    <a:pt x="571" y="145"/>
                  </a:lnTo>
                  <a:lnTo>
                    <a:pt x="574" y="150"/>
                  </a:lnTo>
                  <a:lnTo>
                    <a:pt x="577" y="154"/>
                  </a:lnTo>
                  <a:lnTo>
                    <a:pt x="578" y="160"/>
                  </a:lnTo>
                  <a:lnTo>
                    <a:pt x="578" y="165"/>
                  </a:lnTo>
                  <a:lnTo>
                    <a:pt x="577" y="169"/>
                  </a:lnTo>
                  <a:lnTo>
                    <a:pt x="575" y="173"/>
                  </a:lnTo>
                  <a:lnTo>
                    <a:pt x="573" y="177"/>
                  </a:lnTo>
                  <a:lnTo>
                    <a:pt x="570" y="180"/>
                  </a:lnTo>
                  <a:lnTo>
                    <a:pt x="567" y="182"/>
                  </a:lnTo>
                  <a:lnTo>
                    <a:pt x="562" y="184"/>
                  </a:lnTo>
                  <a:lnTo>
                    <a:pt x="558" y="184"/>
                  </a:lnTo>
                  <a:lnTo>
                    <a:pt x="551" y="178"/>
                  </a:lnTo>
                  <a:lnTo>
                    <a:pt x="545" y="172"/>
                  </a:lnTo>
                  <a:lnTo>
                    <a:pt x="535" y="171"/>
                  </a:lnTo>
                  <a:lnTo>
                    <a:pt x="526" y="170"/>
                  </a:lnTo>
                  <a:lnTo>
                    <a:pt x="517" y="170"/>
                  </a:lnTo>
                  <a:lnTo>
                    <a:pt x="509" y="170"/>
                  </a:lnTo>
                  <a:lnTo>
                    <a:pt x="491" y="172"/>
                  </a:lnTo>
                  <a:lnTo>
                    <a:pt x="471" y="172"/>
                  </a:lnTo>
                  <a:lnTo>
                    <a:pt x="467" y="172"/>
                  </a:lnTo>
                  <a:lnTo>
                    <a:pt x="462" y="170"/>
                  </a:lnTo>
                  <a:lnTo>
                    <a:pt x="459" y="167"/>
                  </a:lnTo>
                  <a:lnTo>
                    <a:pt x="455" y="163"/>
                  </a:lnTo>
                  <a:lnTo>
                    <a:pt x="451" y="160"/>
                  </a:lnTo>
                  <a:lnTo>
                    <a:pt x="447" y="157"/>
                  </a:lnTo>
                  <a:lnTo>
                    <a:pt x="443" y="155"/>
                  </a:lnTo>
                  <a:lnTo>
                    <a:pt x="438" y="154"/>
                  </a:lnTo>
                  <a:lnTo>
                    <a:pt x="434" y="155"/>
                  </a:lnTo>
                  <a:lnTo>
                    <a:pt x="429" y="157"/>
                  </a:lnTo>
                  <a:lnTo>
                    <a:pt x="426" y="160"/>
                  </a:lnTo>
                  <a:lnTo>
                    <a:pt x="423" y="163"/>
                  </a:lnTo>
                  <a:lnTo>
                    <a:pt x="420" y="167"/>
                  </a:lnTo>
                  <a:lnTo>
                    <a:pt x="416" y="170"/>
                  </a:lnTo>
                  <a:lnTo>
                    <a:pt x="414" y="172"/>
                  </a:lnTo>
                  <a:lnTo>
                    <a:pt x="412" y="172"/>
                  </a:lnTo>
                  <a:lnTo>
                    <a:pt x="398" y="171"/>
                  </a:lnTo>
                  <a:lnTo>
                    <a:pt x="378" y="167"/>
                  </a:lnTo>
                  <a:lnTo>
                    <a:pt x="354" y="160"/>
                  </a:lnTo>
                  <a:lnTo>
                    <a:pt x="328" y="153"/>
                  </a:lnTo>
                  <a:lnTo>
                    <a:pt x="304" y="144"/>
                  </a:lnTo>
                  <a:lnTo>
                    <a:pt x="285" y="136"/>
                  </a:lnTo>
                  <a:lnTo>
                    <a:pt x="277" y="132"/>
                  </a:lnTo>
                  <a:lnTo>
                    <a:pt x="270" y="129"/>
                  </a:lnTo>
                  <a:lnTo>
                    <a:pt x="267" y="126"/>
                  </a:lnTo>
                  <a:lnTo>
                    <a:pt x="266" y="123"/>
                  </a:lnTo>
                  <a:lnTo>
                    <a:pt x="252" y="122"/>
                  </a:lnTo>
                  <a:lnTo>
                    <a:pt x="240" y="121"/>
                  </a:lnTo>
                  <a:lnTo>
                    <a:pt x="230" y="119"/>
                  </a:lnTo>
                  <a:lnTo>
                    <a:pt x="220" y="117"/>
                  </a:lnTo>
                  <a:lnTo>
                    <a:pt x="211" y="115"/>
                  </a:lnTo>
                  <a:lnTo>
                    <a:pt x="201" y="113"/>
                  </a:lnTo>
                  <a:lnTo>
                    <a:pt x="191" y="111"/>
                  </a:lnTo>
                  <a:lnTo>
                    <a:pt x="179" y="111"/>
                  </a:lnTo>
                  <a:lnTo>
                    <a:pt x="168" y="111"/>
                  </a:lnTo>
                  <a:lnTo>
                    <a:pt x="157" y="111"/>
                  </a:lnTo>
                  <a:lnTo>
                    <a:pt x="149" y="111"/>
                  </a:lnTo>
                  <a:lnTo>
                    <a:pt x="146" y="111"/>
                  </a:lnTo>
                  <a:lnTo>
                    <a:pt x="136" y="110"/>
                  </a:lnTo>
                  <a:lnTo>
                    <a:pt x="128" y="107"/>
                  </a:lnTo>
                  <a:lnTo>
                    <a:pt x="124" y="105"/>
                  </a:lnTo>
                  <a:lnTo>
                    <a:pt x="122" y="103"/>
                  </a:lnTo>
                  <a:lnTo>
                    <a:pt x="120" y="101"/>
                  </a:lnTo>
                  <a:lnTo>
                    <a:pt x="120" y="99"/>
                  </a:lnTo>
                  <a:lnTo>
                    <a:pt x="79" y="99"/>
                  </a:lnTo>
                  <a:lnTo>
                    <a:pt x="75" y="98"/>
                  </a:lnTo>
                  <a:lnTo>
                    <a:pt x="69" y="97"/>
                  </a:lnTo>
                  <a:lnTo>
                    <a:pt x="64" y="96"/>
                  </a:lnTo>
                  <a:lnTo>
                    <a:pt x="57" y="94"/>
                  </a:lnTo>
                  <a:lnTo>
                    <a:pt x="46" y="88"/>
                  </a:lnTo>
                  <a:lnTo>
                    <a:pt x="34" y="81"/>
                  </a:lnTo>
                  <a:lnTo>
                    <a:pt x="14" y="67"/>
                  </a:lnTo>
                  <a:lnTo>
                    <a:pt x="0" y="55"/>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7" name="Freeform 340">
              <a:extLst>
                <a:ext uri="{FF2B5EF4-FFF2-40B4-BE49-F238E27FC236}">
                  <a16:creationId xmlns:a16="http://schemas.microsoft.com/office/drawing/2014/main" id="{1C9019ED-9BBB-4405-B343-8C4D673D1D87}"/>
                </a:ext>
              </a:extLst>
            </p:cNvPr>
            <p:cNvSpPr>
              <a:spLocks/>
            </p:cNvSpPr>
            <p:nvPr>
              <p:custDataLst>
                <p:tags r:id="rId243"/>
              </p:custDataLst>
            </p:nvPr>
          </p:nvSpPr>
          <p:spPr bwMode="auto">
            <a:xfrm>
              <a:off x="7319954" y="3695671"/>
              <a:ext cx="214312" cy="252411"/>
            </a:xfrm>
            <a:custGeom>
              <a:avLst/>
              <a:gdLst>
                <a:gd name="T0" fmla="*/ 210384 w 491"/>
                <a:gd name="T1" fmla="*/ 251363 h 481"/>
                <a:gd name="T2" fmla="*/ 199472 w 491"/>
                <a:gd name="T3" fmla="*/ 244017 h 481"/>
                <a:gd name="T4" fmla="*/ 184195 w 491"/>
                <a:gd name="T5" fmla="*/ 227749 h 481"/>
                <a:gd name="T6" fmla="*/ 179830 w 491"/>
                <a:gd name="T7" fmla="*/ 218828 h 481"/>
                <a:gd name="T8" fmla="*/ 164117 w 491"/>
                <a:gd name="T9" fmla="*/ 215155 h 481"/>
                <a:gd name="T10" fmla="*/ 157133 w 491"/>
                <a:gd name="T11" fmla="*/ 213055 h 481"/>
                <a:gd name="T12" fmla="*/ 152768 w 491"/>
                <a:gd name="T13" fmla="*/ 207808 h 481"/>
                <a:gd name="T14" fmla="*/ 151022 w 491"/>
                <a:gd name="T15" fmla="*/ 196263 h 481"/>
                <a:gd name="T16" fmla="*/ 149276 w 491"/>
                <a:gd name="T17" fmla="*/ 174223 h 481"/>
                <a:gd name="T18" fmla="*/ 142729 w 491"/>
                <a:gd name="T19" fmla="*/ 159004 h 481"/>
                <a:gd name="T20" fmla="*/ 139237 w 491"/>
                <a:gd name="T21" fmla="*/ 145361 h 481"/>
                <a:gd name="T22" fmla="*/ 137055 w 491"/>
                <a:gd name="T23" fmla="*/ 128043 h 481"/>
                <a:gd name="T24" fmla="*/ 127452 w 491"/>
                <a:gd name="T25" fmla="*/ 117023 h 481"/>
                <a:gd name="T26" fmla="*/ 113485 w 491"/>
                <a:gd name="T27" fmla="*/ 107577 h 481"/>
                <a:gd name="T28" fmla="*/ 96462 w 491"/>
                <a:gd name="T29" fmla="*/ 99706 h 481"/>
                <a:gd name="T30" fmla="*/ 77694 w 491"/>
                <a:gd name="T31" fmla="*/ 94983 h 481"/>
                <a:gd name="T32" fmla="*/ 58052 w 491"/>
                <a:gd name="T33" fmla="*/ 93409 h 481"/>
                <a:gd name="T34" fmla="*/ 58052 w 491"/>
                <a:gd name="T35" fmla="*/ 81864 h 481"/>
                <a:gd name="T36" fmla="*/ 48013 w 491"/>
                <a:gd name="T37" fmla="*/ 76091 h 481"/>
                <a:gd name="T38" fmla="*/ 37101 w 491"/>
                <a:gd name="T39" fmla="*/ 68220 h 481"/>
                <a:gd name="T40" fmla="*/ 28808 w 491"/>
                <a:gd name="T41" fmla="*/ 58249 h 481"/>
                <a:gd name="T42" fmla="*/ 31863 w 491"/>
                <a:gd name="T43" fmla="*/ 69794 h 481"/>
                <a:gd name="T44" fmla="*/ 23570 w 491"/>
                <a:gd name="T45" fmla="*/ 77141 h 481"/>
                <a:gd name="T46" fmla="*/ 17459 w 491"/>
                <a:gd name="T47" fmla="*/ 93409 h 481"/>
                <a:gd name="T48" fmla="*/ 10476 w 491"/>
                <a:gd name="T49" fmla="*/ 115449 h 481"/>
                <a:gd name="T50" fmla="*/ 5674 w 491"/>
                <a:gd name="T51" fmla="*/ 139063 h 481"/>
                <a:gd name="T52" fmla="*/ 6111 w 491"/>
                <a:gd name="T53" fmla="*/ 124370 h 481"/>
                <a:gd name="T54" fmla="*/ 10039 w 491"/>
                <a:gd name="T55" fmla="*/ 109676 h 481"/>
                <a:gd name="T56" fmla="*/ 13967 w 491"/>
                <a:gd name="T57" fmla="*/ 94983 h 481"/>
                <a:gd name="T58" fmla="*/ 13094 w 491"/>
                <a:gd name="T59" fmla="*/ 75042 h 481"/>
                <a:gd name="T60" fmla="*/ 7420 w 491"/>
                <a:gd name="T61" fmla="*/ 58249 h 481"/>
                <a:gd name="T62" fmla="*/ 0 w 491"/>
                <a:gd name="T63" fmla="*/ 38308 h 481"/>
                <a:gd name="T64" fmla="*/ 14840 w 491"/>
                <a:gd name="T65" fmla="*/ 30961 h 481"/>
                <a:gd name="T66" fmla="*/ 25752 w 491"/>
                <a:gd name="T67" fmla="*/ 28862 h 481"/>
                <a:gd name="T68" fmla="*/ 36664 w 491"/>
                <a:gd name="T69" fmla="*/ 30436 h 481"/>
                <a:gd name="T70" fmla="*/ 44521 w 491"/>
                <a:gd name="T71" fmla="*/ 34635 h 481"/>
                <a:gd name="T72" fmla="*/ 52814 w 491"/>
                <a:gd name="T73" fmla="*/ 43031 h 481"/>
                <a:gd name="T74" fmla="*/ 61107 w 491"/>
                <a:gd name="T75" fmla="*/ 58249 h 481"/>
                <a:gd name="T76" fmla="*/ 79876 w 491"/>
                <a:gd name="T77" fmla="*/ 54051 h 481"/>
                <a:gd name="T78" fmla="*/ 85550 w 491"/>
                <a:gd name="T79" fmla="*/ 50378 h 481"/>
                <a:gd name="T80" fmla="*/ 87296 w 491"/>
                <a:gd name="T81" fmla="*/ 47229 h 481"/>
                <a:gd name="T82" fmla="*/ 90351 w 491"/>
                <a:gd name="T83" fmla="*/ 38308 h 481"/>
                <a:gd name="T84" fmla="*/ 101264 w 491"/>
                <a:gd name="T85" fmla="*/ 28337 h 481"/>
                <a:gd name="T86" fmla="*/ 110866 w 491"/>
                <a:gd name="T87" fmla="*/ 25714 h 481"/>
                <a:gd name="T88" fmla="*/ 114794 w 491"/>
                <a:gd name="T89" fmla="*/ 15743 h 481"/>
                <a:gd name="T90" fmla="*/ 122215 w 491"/>
                <a:gd name="T91" fmla="*/ 4723 h 481"/>
                <a:gd name="T92" fmla="*/ 130944 w 491"/>
                <a:gd name="T93" fmla="*/ 525 h 481"/>
                <a:gd name="T94" fmla="*/ 140983 w 491"/>
                <a:gd name="T95" fmla="*/ 0 h 481"/>
                <a:gd name="T96" fmla="*/ 153205 w 491"/>
                <a:gd name="T97" fmla="*/ 4198 h 481"/>
                <a:gd name="T98" fmla="*/ 174156 w 491"/>
                <a:gd name="T99" fmla="*/ 19941 h 481"/>
                <a:gd name="T100" fmla="*/ 186814 w 491"/>
                <a:gd name="T101" fmla="*/ 27813 h 481"/>
                <a:gd name="T102" fmla="*/ 200345 w 491"/>
                <a:gd name="T103" fmla="*/ 31486 h 481"/>
                <a:gd name="T104" fmla="*/ 214312 w 491"/>
                <a:gd name="T105" fmla="*/ 35159 h 481"/>
                <a:gd name="T106" fmla="*/ 214312 w 491"/>
                <a:gd name="T107" fmla="*/ 171074 h 481"/>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491" h="481">
                  <a:moveTo>
                    <a:pt x="491" y="481"/>
                  </a:moveTo>
                  <a:lnTo>
                    <a:pt x="488" y="480"/>
                  </a:lnTo>
                  <a:lnTo>
                    <a:pt x="482" y="479"/>
                  </a:lnTo>
                  <a:lnTo>
                    <a:pt x="477" y="477"/>
                  </a:lnTo>
                  <a:lnTo>
                    <a:pt x="470" y="473"/>
                  </a:lnTo>
                  <a:lnTo>
                    <a:pt x="457" y="465"/>
                  </a:lnTo>
                  <a:lnTo>
                    <a:pt x="444" y="455"/>
                  </a:lnTo>
                  <a:lnTo>
                    <a:pt x="432" y="445"/>
                  </a:lnTo>
                  <a:lnTo>
                    <a:pt x="422" y="434"/>
                  </a:lnTo>
                  <a:lnTo>
                    <a:pt x="417" y="428"/>
                  </a:lnTo>
                  <a:lnTo>
                    <a:pt x="414" y="423"/>
                  </a:lnTo>
                  <a:lnTo>
                    <a:pt x="412" y="417"/>
                  </a:lnTo>
                  <a:lnTo>
                    <a:pt x="412" y="412"/>
                  </a:lnTo>
                  <a:lnTo>
                    <a:pt x="392" y="412"/>
                  </a:lnTo>
                  <a:lnTo>
                    <a:pt x="376" y="410"/>
                  </a:lnTo>
                  <a:lnTo>
                    <a:pt x="370" y="409"/>
                  </a:lnTo>
                  <a:lnTo>
                    <a:pt x="365" y="408"/>
                  </a:lnTo>
                  <a:lnTo>
                    <a:pt x="360" y="406"/>
                  </a:lnTo>
                  <a:lnTo>
                    <a:pt x="356" y="403"/>
                  </a:lnTo>
                  <a:lnTo>
                    <a:pt x="353" y="400"/>
                  </a:lnTo>
                  <a:lnTo>
                    <a:pt x="350" y="396"/>
                  </a:lnTo>
                  <a:lnTo>
                    <a:pt x="348" y="392"/>
                  </a:lnTo>
                  <a:lnTo>
                    <a:pt x="347" y="387"/>
                  </a:lnTo>
                  <a:lnTo>
                    <a:pt x="346" y="374"/>
                  </a:lnTo>
                  <a:lnTo>
                    <a:pt x="345" y="357"/>
                  </a:lnTo>
                  <a:lnTo>
                    <a:pt x="344" y="344"/>
                  </a:lnTo>
                  <a:lnTo>
                    <a:pt x="342" y="332"/>
                  </a:lnTo>
                  <a:lnTo>
                    <a:pt x="337" y="322"/>
                  </a:lnTo>
                  <a:lnTo>
                    <a:pt x="332" y="313"/>
                  </a:lnTo>
                  <a:lnTo>
                    <a:pt x="327" y="303"/>
                  </a:lnTo>
                  <a:lnTo>
                    <a:pt x="323" y="294"/>
                  </a:lnTo>
                  <a:lnTo>
                    <a:pt x="320" y="286"/>
                  </a:lnTo>
                  <a:lnTo>
                    <a:pt x="319" y="277"/>
                  </a:lnTo>
                  <a:lnTo>
                    <a:pt x="319" y="267"/>
                  </a:lnTo>
                  <a:lnTo>
                    <a:pt x="319" y="252"/>
                  </a:lnTo>
                  <a:lnTo>
                    <a:pt x="314" y="244"/>
                  </a:lnTo>
                  <a:lnTo>
                    <a:pt x="309" y="237"/>
                  </a:lnTo>
                  <a:lnTo>
                    <a:pt x="301" y="229"/>
                  </a:lnTo>
                  <a:lnTo>
                    <a:pt x="292" y="223"/>
                  </a:lnTo>
                  <a:lnTo>
                    <a:pt x="282" y="216"/>
                  </a:lnTo>
                  <a:lnTo>
                    <a:pt x="272" y="210"/>
                  </a:lnTo>
                  <a:lnTo>
                    <a:pt x="260" y="205"/>
                  </a:lnTo>
                  <a:lnTo>
                    <a:pt x="248" y="200"/>
                  </a:lnTo>
                  <a:lnTo>
                    <a:pt x="235" y="194"/>
                  </a:lnTo>
                  <a:lnTo>
                    <a:pt x="221" y="190"/>
                  </a:lnTo>
                  <a:lnTo>
                    <a:pt x="208" y="187"/>
                  </a:lnTo>
                  <a:lnTo>
                    <a:pt x="192" y="184"/>
                  </a:lnTo>
                  <a:lnTo>
                    <a:pt x="178" y="181"/>
                  </a:lnTo>
                  <a:lnTo>
                    <a:pt x="163" y="180"/>
                  </a:lnTo>
                  <a:lnTo>
                    <a:pt x="147" y="179"/>
                  </a:lnTo>
                  <a:lnTo>
                    <a:pt x="133" y="178"/>
                  </a:lnTo>
                  <a:lnTo>
                    <a:pt x="133" y="170"/>
                  </a:lnTo>
                  <a:lnTo>
                    <a:pt x="133" y="163"/>
                  </a:lnTo>
                  <a:lnTo>
                    <a:pt x="133" y="156"/>
                  </a:lnTo>
                  <a:lnTo>
                    <a:pt x="133" y="148"/>
                  </a:lnTo>
                  <a:lnTo>
                    <a:pt x="121" y="147"/>
                  </a:lnTo>
                  <a:lnTo>
                    <a:pt x="110" y="145"/>
                  </a:lnTo>
                  <a:lnTo>
                    <a:pt x="100" y="140"/>
                  </a:lnTo>
                  <a:lnTo>
                    <a:pt x="92" y="136"/>
                  </a:lnTo>
                  <a:lnTo>
                    <a:pt x="85" y="130"/>
                  </a:lnTo>
                  <a:lnTo>
                    <a:pt x="77" y="124"/>
                  </a:lnTo>
                  <a:lnTo>
                    <a:pt x="71" y="117"/>
                  </a:lnTo>
                  <a:lnTo>
                    <a:pt x="66" y="111"/>
                  </a:lnTo>
                  <a:lnTo>
                    <a:pt x="92" y="111"/>
                  </a:lnTo>
                  <a:lnTo>
                    <a:pt x="82" y="121"/>
                  </a:lnTo>
                  <a:lnTo>
                    <a:pt x="73" y="133"/>
                  </a:lnTo>
                  <a:lnTo>
                    <a:pt x="66" y="139"/>
                  </a:lnTo>
                  <a:lnTo>
                    <a:pt x="60" y="144"/>
                  </a:lnTo>
                  <a:lnTo>
                    <a:pt x="54" y="147"/>
                  </a:lnTo>
                  <a:lnTo>
                    <a:pt x="46" y="148"/>
                  </a:lnTo>
                  <a:lnTo>
                    <a:pt x="43" y="163"/>
                  </a:lnTo>
                  <a:lnTo>
                    <a:pt x="40" y="178"/>
                  </a:lnTo>
                  <a:lnTo>
                    <a:pt x="34" y="192"/>
                  </a:lnTo>
                  <a:lnTo>
                    <a:pt x="30" y="206"/>
                  </a:lnTo>
                  <a:lnTo>
                    <a:pt x="24" y="220"/>
                  </a:lnTo>
                  <a:lnTo>
                    <a:pt x="20" y="234"/>
                  </a:lnTo>
                  <a:lnTo>
                    <a:pt x="17" y="249"/>
                  </a:lnTo>
                  <a:lnTo>
                    <a:pt x="13" y="265"/>
                  </a:lnTo>
                  <a:lnTo>
                    <a:pt x="13" y="256"/>
                  </a:lnTo>
                  <a:lnTo>
                    <a:pt x="13" y="246"/>
                  </a:lnTo>
                  <a:lnTo>
                    <a:pt x="14" y="237"/>
                  </a:lnTo>
                  <a:lnTo>
                    <a:pt x="17" y="228"/>
                  </a:lnTo>
                  <a:lnTo>
                    <a:pt x="20" y="219"/>
                  </a:lnTo>
                  <a:lnTo>
                    <a:pt x="23" y="209"/>
                  </a:lnTo>
                  <a:lnTo>
                    <a:pt x="26" y="200"/>
                  </a:lnTo>
                  <a:lnTo>
                    <a:pt x="30" y="190"/>
                  </a:lnTo>
                  <a:lnTo>
                    <a:pt x="32" y="181"/>
                  </a:lnTo>
                  <a:lnTo>
                    <a:pt x="33" y="172"/>
                  </a:lnTo>
                  <a:lnTo>
                    <a:pt x="32" y="156"/>
                  </a:lnTo>
                  <a:lnTo>
                    <a:pt x="30" y="143"/>
                  </a:lnTo>
                  <a:lnTo>
                    <a:pt x="26" y="130"/>
                  </a:lnTo>
                  <a:lnTo>
                    <a:pt x="21" y="120"/>
                  </a:lnTo>
                  <a:lnTo>
                    <a:pt x="17" y="111"/>
                  </a:lnTo>
                  <a:lnTo>
                    <a:pt x="11" y="101"/>
                  </a:lnTo>
                  <a:lnTo>
                    <a:pt x="4" y="89"/>
                  </a:lnTo>
                  <a:lnTo>
                    <a:pt x="0" y="73"/>
                  </a:lnTo>
                  <a:lnTo>
                    <a:pt x="13" y="68"/>
                  </a:lnTo>
                  <a:lnTo>
                    <a:pt x="28" y="62"/>
                  </a:lnTo>
                  <a:lnTo>
                    <a:pt x="34" y="59"/>
                  </a:lnTo>
                  <a:lnTo>
                    <a:pt x="42" y="57"/>
                  </a:lnTo>
                  <a:lnTo>
                    <a:pt x="51" y="56"/>
                  </a:lnTo>
                  <a:lnTo>
                    <a:pt x="59" y="55"/>
                  </a:lnTo>
                  <a:lnTo>
                    <a:pt x="68" y="56"/>
                  </a:lnTo>
                  <a:lnTo>
                    <a:pt x="76" y="57"/>
                  </a:lnTo>
                  <a:lnTo>
                    <a:pt x="84" y="58"/>
                  </a:lnTo>
                  <a:lnTo>
                    <a:pt x="90" y="60"/>
                  </a:lnTo>
                  <a:lnTo>
                    <a:pt x="96" y="63"/>
                  </a:lnTo>
                  <a:lnTo>
                    <a:pt x="102" y="66"/>
                  </a:lnTo>
                  <a:lnTo>
                    <a:pt x="107" y="70"/>
                  </a:lnTo>
                  <a:lnTo>
                    <a:pt x="112" y="73"/>
                  </a:lnTo>
                  <a:lnTo>
                    <a:pt x="121" y="82"/>
                  </a:lnTo>
                  <a:lnTo>
                    <a:pt x="127" y="92"/>
                  </a:lnTo>
                  <a:lnTo>
                    <a:pt x="134" y="101"/>
                  </a:lnTo>
                  <a:lnTo>
                    <a:pt x="140" y="111"/>
                  </a:lnTo>
                  <a:lnTo>
                    <a:pt x="179" y="111"/>
                  </a:lnTo>
                  <a:lnTo>
                    <a:pt x="180" y="107"/>
                  </a:lnTo>
                  <a:lnTo>
                    <a:pt x="183" y="103"/>
                  </a:lnTo>
                  <a:lnTo>
                    <a:pt x="187" y="101"/>
                  </a:lnTo>
                  <a:lnTo>
                    <a:pt x="191" y="99"/>
                  </a:lnTo>
                  <a:lnTo>
                    <a:pt x="196" y="96"/>
                  </a:lnTo>
                  <a:lnTo>
                    <a:pt x="199" y="94"/>
                  </a:lnTo>
                  <a:lnTo>
                    <a:pt x="200" y="92"/>
                  </a:lnTo>
                  <a:lnTo>
                    <a:pt x="200" y="90"/>
                  </a:lnTo>
                  <a:lnTo>
                    <a:pt x="200" y="89"/>
                  </a:lnTo>
                  <a:lnTo>
                    <a:pt x="199" y="85"/>
                  </a:lnTo>
                  <a:lnTo>
                    <a:pt x="207" y="73"/>
                  </a:lnTo>
                  <a:lnTo>
                    <a:pt x="215" y="64"/>
                  </a:lnTo>
                  <a:lnTo>
                    <a:pt x="223" y="58"/>
                  </a:lnTo>
                  <a:lnTo>
                    <a:pt x="232" y="54"/>
                  </a:lnTo>
                  <a:lnTo>
                    <a:pt x="239" y="51"/>
                  </a:lnTo>
                  <a:lnTo>
                    <a:pt x="247" y="50"/>
                  </a:lnTo>
                  <a:lnTo>
                    <a:pt x="254" y="49"/>
                  </a:lnTo>
                  <a:lnTo>
                    <a:pt x="259" y="49"/>
                  </a:lnTo>
                  <a:lnTo>
                    <a:pt x="260" y="40"/>
                  </a:lnTo>
                  <a:lnTo>
                    <a:pt x="263" y="30"/>
                  </a:lnTo>
                  <a:lnTo>
                    <a:pt x="267" y="22"/>
                  </a:lnTo>
                  <a:lnTo>
                    <a:pt x="273" y="15"/>
                  </a:lnTo>
                  <a:lnTo>
                    <a:pt x="280" y="9"/>
                  </a:lnTo>
                  <a:lnTo>
                    <a:pt x="290" y="4"/>
                  </a:lnTo>
                  <a:lnTo>
                    <a:pt x="294" y="2"/>
                  </a:lnTo>
                  <a:lnTo>
                    <a:pt x="300" y="1"/>
                  </a:lnTo>
                  <a:lnTo>
                    <a:pt x="306" y="0"/>
                  </a:lnTo>
                  <a:lnTo>
                    <a:pt x="312" y="0"/>
                  </a:lnTo>
                  <a:lnTo>
                    <a:pt x="323" y="0"/>
                  </a:lnTo>
                  <a:lnTo>
                    <a:pt x="333" y="2"/>
                  </a:lnTo>
                  <a:lnTo>
                    <a:pt x="343" y="5"/>
                  </a:lnTo>
                  <a:lnTo>
                    <a:pt x="351" y="8"/>
                  </a:lnTo>
                  <a:lnTo>
                    <a:pt x="368" y="17"/>
                  </a:lnTo>
                  <a:lnTo>
                    <a:pt x="383" y="27"/>
                  </a:lnTo>
                  <a:lnTo>
                    <a:pt x="399" y="38"/>
                  </a:lnTo>
                  <a:lnTo>
                    <a:pt x="413" y="47"/>
                  </a:lnTo>
                  <a:lnTo>
                    <a:pt x="421" y="50"/>
                  </a:lnTo>
                  <a:lnTo>
                    <a:pt x="428" y="53"/>
                  </a:lnTo>
                  <a:lnTo>
                    <a:pt x="436" y="55"/>
                  </a:lnTo>
                  <a:lnTo>
                    <a:pt x="445" y="55"/>
                  </a:lnTo>
                  <a:lnTo>
                    <a:pt x="459" y="60"/>
                  </a:lnTo>
                  <a:lnTo>
                    <a:pt x="471" y="64"/>
                  </a:lnTo>
                  <a:lnTo>
                    <a:pt x="481" y="66"/>
                  </a:lnTo>
                  <a:lnTo>
                    <a:pt x="491" y="67"/>
                  </a:lnTo>
                  <a:lnTo>
                    <a:pt x="491" y="289"/>
                  </a:lnTo>
                  <a:lnTo>
                    <a:pt x="471" y="301"/>
                  </a:lnTo>
                  <a:lnTo>
                    <a:pt x="491" y="326"/>
                  </a:lnTo>
                  <a:lnTo>
                    <a:pt x="491" y="474"/>
                  </a:lnTo>
                  <a:lnTo>
                    <a:pt x="491" y="48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8" name="Freeform 341">
              <a:extLst>
                <a:ext uri="{FF2B5EF4-FFF2-40B4-BE49-F238E27FC236}">
                  <a16:creationId xmlns:a16="http://schemas.microsoft.com/office/drawing/2014/main" id="{27209738-639C-4698-A1A9-71E060D49066}"/>
                </a:ext>
              </a:extLst>
            </p:cNvPr>
            <p:cNvSpPr>
              <a:spLocks/>
            </p:cNvSpPr>
            <p:nvPr>
              <p:custDataLst>
                <p:tags r:id="rId244"/>
              </p:custDataLst>
            </p:nvPr>
          </p:nvSpPr>
          <p:spPr bwMode="auto">
            <a:xfrm>
              <a:off x="5851518" y="2527280"/>
              <a:ext cx="53975" cy="60325"/>
            </a:xfrm>
            <a:custGeom>
              <a:avLst/>
              <a:gdLst>
                <a:gd name="T0" fmla="*/ 0 w 133"/>
                <a:gd name="T1" fmla="*/ 9796 h 117"/>
                <a:gd name="T2" fmla="*/ 29220 w 133"/>
                <a:gd name="T3" fmla="*/ 0 h 117"/>
                <a:gd name="T4" fmla="*/ 32872 w 133"/>
                <a:gd name="T5" fmla="*/ 3094 h 117"/>
                <a:gd name="T6" fmla="*/ 36930 w 133"/>
                <a:gd name="T7" fmla="*/ 7218 h 117"/>
                <a:gd name="T8" fmla="*/ 40989 w 133"/>
                <a:gd name="T9" fmla="*/ 12890 h 117"/>
                <a:gd name="T10" fmla="*/ 44235 w 133"/>
                <a:gd name="T11" fmla="*/ 19077 h 117"/>
                <a:gd name="T12" fmla="*/ 47888 w 133"/>
                <a:gd name="T13" fmla="*/ 25264 h 117"/>
                <a:gd name="T14" fmla="*/ 51134 w 133"/>
                <a:gd name="T15" fmla="*/ 31967 h 117"/>
                <a:gd name="T16" fmla="*/ 51946 w 133"/>
                <a:gd name="T17" fmla="*/ 35061 h 117"/>
                <a:gd name="T18" fmla="*/ 52758 w 133"/>
                <a:gd name="T19" fmla="*/ 38154 h 117"/>
                <a:gd name="T20" fmla="*/ 53163 w 133"/>
                <a:gd name="T21" fmla="*/ 41248 h 117"/>
                <a:gd name="T22" fmla="*/ 53975 w 133"/>
                <a:gd name="T23" fmla="*/ 44341 h 117"/>
                <a:gd name="T24" fmla="*/ 53163 w 133"/>
                <a:gd name="T25" fmla="*/ 47435 h 117"/>
                <a:gd name="T26" fmla="*/ 51946 w 133"/>
                <a:gd name="T27" fmla="*/ 50013 h 117"/>
                <a:gd name="T28" fmla="*/ 50323 w 133"/>
                <a:gd name="T29" fmla="*/ 52591 h 117"/>
                <a:gd name="T30" fmla="*/ 47888 w 133"/>
                <a:gd name="T31" fmla="*/ 55169 h 117"/>
                <a:gd name="T32" fmla="*/ 45858 w 133"/>
                <a:gd name="T33" fmla="*/ 57231 h 117"/>
                <a:gd name="T34" fmla="*/ 43423 w 133"/>
                <a:gd name="T35" fmla="*/ 58778 h 117"/>
                <a:gd name="T36" fmla="*/ 41800 w 133"/>
                <a:gd name="T37" fmla="*/ 60325 h 117"/>
                <a:gd name="T38" fmla="*/ 40583 w 133"/>
                <a:gd name="T39" fmla="*/ 60325 h 117"/>
                <a:gd name="T40" fmla="*/ 29220 w 133"/>
                <a:gd name="T41" fmla="*/ 48982 h 117"/>
                <a:gd name="T42" fmla="*/ 18262 w 133"/>
                <a:gd name="T43" fmla="*/ 36092 h 117"/>
                <a:gd name="T44" fmla="*/ 12986 w 133"/>
                <a:gd name="T45" fmla="*/ 29905 h 117"/>
                <a:gd name="T46" fmla="*/ 7305 w 133"/>
                <a:gd name="T47" fmla="*/ 23718 h 117"/>
                <a:gd name="T48" fmla="*/ 3247 w 133"/>
                <a:gd name="T49" fmla="*/ 17015 h 117"/>
                <a:gd name="T50" fmla="*/ 0 w 133"/>
                <a:gd name="T51" fmla="*/ 9796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49" name="Freeform 342">
              <a:extLst>
                <a:ext uri="{FF2B5EF4-FFF2-40B4-BE49-F238E27FC236}">
                  <a16:creationId xmlns:a16="http://schemas.microsoft.com/office/drawing/2014/main" id="{28DFB17C-79FD-4B03-AB7B-DD23BA69797A}"/>
                </a:ext>
              </a:extLst>
            </p:cNvPr>
            <p:cNvSpPr>
              <a:spLocks/>
            </p:cNvSpPr>
            <p:nvPr>
              <p:custDataLst>
                <p:tags r:id="rId245"/>
              </p:custDataLst>
            </p:nvPr>
          </p:nvSpPr>
          <p:spPr bwMode="auto">
            <a:xfrm>
              <a:off x="4308470" y="1931973"/>
              <a:ext cx="220663" cy="177799"/>
            </a:xfrm>
            <a:custGeom>
              <a:avLst/>
              <a:gdLst>
                <a:gd name="T0" fmla="*/ 118852 w 505"/>
                <a:gd name="T1" fmla="*/ 18881 h 339"/>
                <a:gd name="T2" fmla="*/ 211487 w 505"/>
                <a:gd name="T3" fmla="*/ 45106 h 339"/>
                <a:gd name="T4" fmla="*/ 208865 w 505"/>
                <a:gd name="T5" fmla="*/ 57169 h 339"/>
                <a:gd name="T6" fmla="*/ 205806 w 505"/>
                <a:gd name="T7" fmla="*/ 67658 h 339"/>
                <a:gd name="T8" fmla="*/ 201437 w 505"/>
                <a:gd name="T9" fmla="*/ 76050 h 339"/>
                <a:gd name="T10" fmla="*/ 197067 w 505"/>
                <a:gd name="T11" fmla="*/ 80246 h 339"/>
                <a:gd name="T12" fmla="*/ 201437 w 505"/>
                <a:gd name="T13" fmla="*/ 96505 h 339"/>
                <a:gd name="T14" fmla="*/ 208428 w 505"/>
                <a:gd name="T15" fmla="*/ 112764 h 339"/>
                <a:gd name="T16" fmla="*/ 220663 w 505"/>
                <a:gd name="T17" fmla="*/ 135317 h 339"/>
                <a:gd name="T18" fmla="*/ 215420 w 505"/>
                <a:gd name="T19" fmla="*/ 142135 h 339"/>
                <a:gd name="T20" fmla="*/ 209302 w 505"/>
                <a:gd name="T21" fmla="*/ 153149 h 339"/>
                <a:gd name="T22" fmla="*/ 204496 w 505"/>
                <a:gd name="T23" fmla="*/ 164688 h 339"/>
                <a:gd name="T24" fmla="*/ 202748 w 505"/>
                <a:gd name="T25" fmla="*/ 177800 h 339"/>
                <a:gd name="T26" fmla="*/ 193572 w 505"/>
                <a:gd name="T27" fmla="*/ 177276 h 339"/>
                <a:gd name="T28" fmla="*/ 180900 w 505"/>
                <a:gd name="T29" fmla="*/ 175702 h 339"/>
                <a:gd name="T30" fmla="*/ 168228 w 505"/>
                <a:gd name="T31" fmla="*/ 173604 h 339"/>
                <a:gd name="T32" fmla="*/ 156430 w 505"/>
                <a:gd name="T33" fmla="*/ 170982 h 339"/>
                <a:gd name="T34" fmla="*/ 132835 w 505"/>
                <a:gd name="T35" fmla="*/ 170457 h 339"/>
                <a:gd name="T36" fmla="*/ 115356 w 505"/>
                <a:gd name="T37" fmla="*/ 168359 h 339"/>
                <a:gd name="T38" fmla="*/ 108365 w 505"/>
                <a:gd name="T39" fmla="*/ 166261 h 339"/>
                <a:gd name="T40" fmla="*/ 101374 w 505"/>
                <a:gd name="T41" fmla="*/ 162590 h 339"/>
                <a:gd name="T42" fmla="*/ 93072 w 505"/>
                <a:gd name="T43" fmla="*/ 157345 h 339"/>
                <a:gd name="T44" fmla="*/ 78652 w 505"/>
                <a:gd name="T45" fmla="*/ 151576 h 339"/>
                <a:gd name="T46" fmla="*/ 63796 w 505"/>
                <a:gd name="T47" fmla="*/ 143184 h 339"/>
                <a:gd name="T48" fmla="*/ 42822 w 505"/>
                <a:gd name="T49" fmla="*/ 130596 h 339"/>
                <a:gd name="T50" fmla="*/ 27091 w 505"/>
                <a:gd name="T51" fmla="*/ 108044 h 339"/>
                <a:gd name="T52" fmla="*/ 22722 w 505"/>
                <a:gd name="T53" fmla="*/ 88638 h 339"/>
                <a:gd name="T54" fmla="*/ 15730 w 505"/>
                <a:gd name="T55" fmla="*/ 65036 h 339"/>
                <a:gd name="T56" fmla="*/ 6554 w 505"/>
                <a:gd name="T57" fmla="*/ 43532 h 339"/>
                <a:gd name="T58" fmla="*/ 874 w 505"/>
                <a:gd name="T59" fmla="*/ 33567 h 339"/>
                <a:gd name="T60" fmla="*/ 2185 w 505"/>
                <a:gd name="T61" fmla="*/ 31994 h 339"/>
                <a:gd name="T62" fmla="*/ 4807 w 505"/>
                <a:gd name="T63" fmla="*/ 29371 h 339"/>
                <a:gd name="T64" fmla="*/ 4807 w 505"/>
                <a:gd name="T65" fmla="*/ 25175 h 339"/>
                <a:gd name="T66" fmla="*/ 4807 w 505"/>
                <a:gd name="T67" fmla="*/ 22553 h 339"/>
                <a:gd name="T68" fmla="*/ 14857 w 505"/>
                <a:gd name="T69" fmla="*/ 17832 h 339"/>
                <a:gd name="T70" fmla="*/ 31898 w 505"/>
                <a:gd name="T71" fmla="*/ 11539 h 339"/>
                <a:gd name="T72" fmla="*/ 55930 w 505"/>
                <a:gd name="T73" fmla="*/ 4196 h 339"/>
                <a:gd name="T74" fmla="*/ 75593 w 505"/>
                <a:gd name="T75" fmla="*/ 5769 h 339"/>
                <a:gd name="T76" fmla="*/ 82148 w 505"/>
                <a:gd name="T77" fmla="*/ 14686 h 339"/>
                <a:gd name="T78" fmla="*/ 87828 w 505"/>
                <a:gd name="T79" fmla="*/ 18357 h 339"/>
                <a:gd name="T80" fmla="*/ 95693 w 505"/>
                <a:gd name="T81" fmla="*/ 18881 h 339"/>
                <a:gd name="T82" fmla="*/ 104433 w 505"/>
                <a:gd name="T83" fmla="*/ 18881 h 339"/>
                <a:gd name="T84" fmla="*/ 113172 w 505"/>
                <a:gd name="T85" fmla="*/ 12588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0" name="Freeform 343">
              <a:extLst>
                <a:ext uri="{FF2B5EF4-FFF2-40B4-BE49-F238E27FC236}">
                  <a16:creationId xmlns:a16="http://schemas.microsoft.com/office/drawing/2014/main" id="{7019934E-239E-4F4B-988A-FFF52CF824BA}"/>
                </a:ext>
              </a:extLst>
            </p:cNvPr>
            <p:cNvSpPr>
              <a:spLocks/>
            </p:cNvSpPr>
            <p:nvPr>
              <p:custDataLst>
                <p:tags r:id="rId246"/>
              </p:custDataLst>
            </p:nvPr>
          </p:nvSpPr>
          <p:spPr bwMode="auto">
            <a:xfrm>
              <a:off x="4371970" y="2136758"/>
              <a:ext cx="146050" cy="71437"/>
            </a:xfrm>
            <a:custGeom>
              <a:avLst/>
              <a:gdLst>
                <a:gd name="T0" fmla="*/ 134815 w 338"/>
                <a:gd name="T1" fmla="*/ 0 h 141"/>
                <a:gd name="T2" fmla="*/ 80371 w 338"/>
                <a:gd name="T3" fmla="*/ 0 h 141"/>
                <a:gd name="T4" fmla="*/ 72593 w 338"/>
                <a:gd name="T5" fmla="*/ 4053 h 141"/>
                <a:gd name="T6" fmla="*/ 62222 w 338"/>
                <a:gd name="T7" fmla="*/ 10640 h 141"/>
                <a:gd name="T8" fmla="*/ 57037 w 338"/>
                <a:gd name="T9" fmla="*/ 13680 h 141"/>
                <a:gd name="T10" fmla="*/ 51420 w 338"/>
                <a:gd name="T11" fmla="*/ 16213 h 141"/>
                <a:gd name="T12" fmla="*/ 48395 w 338"/>
                <a:gd name="T13" fmla="*/ 17226 h 141"/>
                <a:gd name="T14" fmla="*/ 45371 w 338"/>
                <a:gd name="T15" fmla="*/ 17733 h 141"/>
                <a:gd name="T16" fmla="*/ 42778 w 338"/>
                <a:gd name="T17" fmla="*/ 18239 h 141"/>
                <a:gd name="T18" fmla="*/ 40185 w 338"/>
                <a:gd name="T19" fmla="*/ 18746 h 141"/>
                <a:gd name="T20" fmla="*/ 38025 w 338"/>
                <a:gd name="T21" fmla="*/ 18239 h 141"/>
                <a:gd name="T22" fmla="*/ 36296 w 338"/>
                <a:gd name="T23" fmla="*/ 17733 h 141"/>
                <a:gd name="T24" fmla="*/ 33704 w 338"/>
                <a:gd name="T25" fmla="*/ 16213 h 141"/>
                <a:gd name="T26" fmla="*/ 31975 w 338"/>
                <a:gd name="T27" fmla="*/ 15200 h 141"/>
                <a:gd name="T28" fmla="*/ 28519 w 338"/>
                <a:gd name="T29" fmla="*/ 12160 h 141"/>
                <a:gd name="T30" fmla="*/ 25494 w 338"/>
                <a:gd name="T31" fmla="*/ 9120 h 141"/>
                <a:gd name="T32" fmla="*/ 21173 w 338"/>
                <a:gd name="T33" fmla="*/ 17226 h 141"/>
                <a:gd name="T34" fmla="*/ 15988 w 338"/>
                <a:gd name="T35" fmla="*/ 25839 h 141"/>
                <a:gd name="T36" fmla="*/ 12963 w 338"/>
                <a:gd name="T37" fmla="*/ 30399 h 141"/>
                <a:gd name="T38" fmla="*/ 9074 w 338"/>
                <a:gd name="T39" fmla="*/ 34452 h 141"/>
                <a:gd name="T40" fmla="*/ 4753 w 338"/>
                <a:gd name="T41" fmla="*/ 37999 h 141"/>
                <a:gd name="T42" fmla="*/ 0 w 338"/>
                <a:gd name="T43" fmla="*/ 40532 h 141"/>
                <a:gd name="T44" fmla="*/ 5185 w 338"/>
                <a:gd name="T45" fmla="*/ 45599 h 141"/>
                <a:gd name="T46" fmla="*/ 9938 w 338"/>
                <a:gd name="T47" fmla="*/ 50665 h 141"/>
                <a:gd name="T48" fmla="*/ 14259 w 338"/>
                <a:gd name="T49" fmla="*/ 54718 h 141"/>
                <a:gd name="T50" fmla="*/ 19012 w 338"/>
                <a:gd name="T51" fmla="*/ 58772 h 141"/>
                <a:gd name="T52" fmla="*/ 23766 w 338"/>
                <a:gd name="T53" fmla="*/ 61812 h 141"/>
                <a:gd name="T54" fmla="*/ 28519 w 338"/>
                <a:gd name="T55" fmla="*/ 65358 h 141"/>
                <a:gd name="T56" fmla="*/ 34136 w 338"/>
                <a:gd name="T57" fmla="*/ 68398 h 141"/>
                <a:gd name="T58" fmla="*/ 40185 w 338"/>
                <a:gd name="T59" fmla="*/ 71438 h 141"/>
                <a:gd name="T60" fmla="*/ 111914 w 338"/>
                <a:gd name="T61" fmla="*/ 71438 h 141"/>
                <a:gd name="T62" fmla="*/ 116235 w 338"/>
                <a:gd name="T63" fmla="*/ 62825 h 141"/>
                <a:gd name="T64" fmla="*/ 121420 w 338"/>
                <a:gd name="T65" fmla="*/ 54212 h 141"/>
                <a:gd name="T66" fmla="*/ 126173 w 338"/>
                <a:gd name="T67" fmla="*/ 46612 h 141"/>
                <a:gd name="T68" fmla="*/ 131359 w 338"/>
                <a:gd name="T69" fmla="*/ 39519 h 141"/>
                <a:gd name="T70" fmla="*/ 136112 w 338"/>
                <a:gd name="T71" fmla="*/ 32426 h 141"/>
                <a:gd name="T72" fmla="*/ 140001 w 338"/>
                <a:gd name="T73" fmla="*/ 24319 h 141"/>
                <a:gd name="T74" fmla="*/ 143889 w 338"/>
                <a:gd name="T75" fmla="*/ 17226 h 141"/>
                <a:gd name="T76" fmla="*/ 146050 w 338"/>
                <a:gd name="T77" fmla="*/ 9120 h 141"/>
                <a:gd name="T78" fmla="*/ 134815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1" name="Freeform 344">
              <a:extLst>
                <a:ext uri="{FF2B5EF4-FFF2-40B4-BE49-F238E27FC236}">
                  <a16:creationId xmlns:a16="http://schemas.microsoft.com/office/drawing/2014/main" id="{C8B258A5-D9EC-46C5-88E0-520E07E08149}"/>
                </a:ext>
              </a:extLst>
            </p:cNvPr>
            <p:cNvSpPr>
              <a:spLocks/>
            </p:cNvSpPr>
            <p:nvPr>
              <p:custDataLst>
                <p:tags r:id="rId247"/>
              </p:custDataLst>
            </p:nvPr>
          </p:nvSpPr>
          <p:spPr bwMode="auto">
            <a:xfrm>
              <a:off x="4471983" y="1792274"/>
              <a:ext cx="111125" cy="65087"/>
            </a:xfrm>
            <a:custGeom>
              <a:avLst/>
              <a:gdLst>
                <a:gd name="T0" fmla="*/ 111125 w 259"/>
                <a:gd name="T1" fmla="*/ 65087 h 129"/>
                <a:gd name="T2" fmla="*/ 109409 w 259"/>
                <a:gd name="T3" fmla="*/ 51464 h 129"/>
                <a:gd name="T4" fmla="*/ 108122 w 259"/>
                <a:gd name="T5" fmla="*/ 40364 h 129"/>
                <a:gd name="T6" fmla="*/ 108122 w 259"/>
                <a:gd name="T7" fmla="*/ 31787 h 129"/>
                <a:gd name="T8" fmla="*/ 108551 w 259"/>
                <a:gd name="T9" fmla="*/ 25228 h 129"/>
                <a:gd name="T10" fmla="*/ 110267 w 259"/>
                <a:gd name="T11" fmla="*/ 14632 h 129"/>
                <a:gd name="T12" fmla="*/ 111125 w 259"/>
                <a:gd name="T13" fmla="*/ 6055 h 129"/>
                <a:gd name="T14" fmla="*/ 110696 w 259"/>
                <a:gd name="T15" fmla="*/ 7064 h 129"/>
                <a:gd name="T16" fmla="*/ 109838 w 259"/>
                <a:gd name="T17" fmla="*/ 8073 h 129"/>
                <a:gd name="T18" fmla="*/ 108551 w 259"/>
                <a:gd name="T19" fmla="*/ 8577 h 129"/>
                <a:gd name="T20" fmla="*/ 106834 w 259"/>
                <a:gd name="T21" fmla="*/ 9082 h 129"/>
                <a:gd name="T22" fmla="*/ 102544 w 259"/>
                <a:gd name="T23" fmla="*/ 9586 h 129"/>
                <a:gd name="T24" fmla="*/ 97824 w 259"/>
                <a:gd name="T25" fmla="*/ 9586 h 129"/>
                <a:gd name="T26" fmla="*/ 87956 w 259"/>
                <a:gd name="T27" fmla="*/ 9586 h 129"/>
                <a:gd name="T28" fmla="*/ 82378 w 259"/>
                <a:gd name="T29" fmla="*/ 9082 h 129"/>
                <a:gd name="T30" fmla="*/ 77659 w 259"/>
                <a:gd name="T31" fmla="*/ 8577 h 129"/>
                <a:gd name="T32" fmla="*/ 73797 w 259"/>
                <a:gd name="T33" fmla="*/ 7568 h 129"/>
                <a:gd name="T34" fmla="*/ 69936 w 259"/>
                <a:gd name="T35" fmla="*/ 6055 h 129"/>
                <a:gd name="T36" fmla="*/ 66932 w 259"/>
                <a:gd name="T37" fmla="*/ 4541 h 129"/>
                <a:gd name="T38" fmla="*/ 62642 w 259"/>
                <a:gd name="T39" fmla="*/ 3027 h 129"/>
                <a:gd name="T40" fmla="*/ 57493 w 259"/>
                <a:gd name="T41" fmla="*/ 1514 h 129"/>
                <a:gd name="T42" fmla="*/ 50628 w 259"/>
                <a:gd name="T43" fmla="*/ 505 h 129"/>
                <a:gd name="T44" fmla="*/ 42476 w 259"/>
                <a:gd name="T45" fmla="*/ 0 h 129"/>
                <a:gd name="T46" fmla="*/ 35611 w 259"/>
                <a:gd name="T47" fmla="*/ 0 h 129"/>
                <a:gd name="T48" fmla="*/ 28747 w 259"/>
                <a:gd name="T49" fmla="*/ 0 h 129"/>
                <a:gd name="T50" fmla="*/ 21453 w 259"/>
                <a:gd name="T51" fmla="*/ 0 h 129"/>
                <a:gd name="T52" fmla="*/ 14588 w 259"/>
                <a:gd name="T53" fmla="*/ 1009 h 129"/>
                <a:gd name="T54" fmla="*/ 11584 w 259"/>
                <a:gd name="T55" fmla="*/ 2018 h 129"/>
                <a:gd name="T56" fmla="*/ 9010 w 259"/>
                <a:gd name="T57" fmla="*/ 3027 h 129"/>
                <a:gd name="T58" fmla="*/ 6007 w 259"/>
                <a:gd name="T59" fmla="*/ 4541 h 129"/>
                <a:gd name="T60" fmla="*/ 4291 w 259"/>
                <a:gd name="T61" fmla="*/ 6559 h 129"/>
                <a:gd name="T62" fmla="*/ 2145 w 259"/>
                <a:gd name="T63" fmla="*/ 8577 h 129"/>
                <a:gd name="T64" fmla="*/ 858 w 259"/>
                <a:gd name="T65" fmla="*/ 11100 h 129"/>
                <a:gd name="T66" fmla="*/ 0 w 259"/>
                <a:gd name="T67" fmla="*/ 14632 h 129"/>
                <a:gd name="T68" fmla="*/ 0 w 259"/>
                <a:gd name="T69" fmla="*/ 18164 h 129"/>
                <a:gd name="T70" fmla="*/ 0 w 259"/>
                <a:gd name="T71" fmla="*/ 24218 h 129"/>
                <a:gd name="T72" fmla="*/ 1287 w 259"/>
                <a:gd name="T73" fmla="*/ 29264 h 129"/>
                <a:gd name="T74" fmla="*/ 2574 w 259"/>
                <a:gd name="T75" fmla="*/ 32796 h 129"/>
                <a:gd name="T76" fmla="*/ 5149 w 259"/>
                <a:gd name="T77" fmla="*/ 35823 h 129"/>
                <a:gd name="T78" fmla="*/ 7294 w 259"/>
                <a:gd name="T79" fmla="*/ 38346 h 129"/>
                <a:gd name="T80" fmla="*/ 10297 w 259"/>
                <a:gd name="T81" fmla="*/ 40364 h 129"/>
                <a:gd name="T82" fmla="*/ 13301 w 259"/>
                <a:gd name="T83" fmla="*/ 41878 h 129"/>
                <a:gd name="T84" fmla="*/ 15875 w 259"/>
                <a:gd name="T85" fmla="*/ 42887 h 129"/>
                <a:gd name="T86" fmla="*/ 21453 w 259"/>
                <a:gd name="T87" fmla="*/ 44400 h 129"/>
                <a:gd name="T88" fmla="*/ 26172 w 259"/>
                <a:gd name="T89" fmla="*/ 46419 h 129"/>
                <a:gd name="T90" fmla="*/ 27889 w 259"/>
                <a:gd name="T91" fmla="*/ 47932 h 129"/>
                <a:gd name="T92" fmla="*/ 28747 w 259"/>
                <a:gd name="T93" fmla="*/ 49950 h 129"/>
                <a:gd name="T94" fmla="*/ 28747 w 259"/>
                <a:gd name="T95" fmla="*/ 52978 h 129"/>
                <a:gd name="T96" fmla="*/ 28318 w 259"/>
                <a:gd name="T97" fmla="*/ 56005 h 129"/>
                <a:gd name="T98" fmla="*/ 34753 w 259"/>
                <a:gd name="T99" fmla="*/ 55501 h 129"/>
                <a:gd name="T100" fmla="*/ 39044 w 259"/>
                <a:gd name="T101" fmla="*/ 54491 h 129"/>
                <a:gd name="T102" fmla="*/ 42047 w 259"/>
                <a:gd name="T103" fmla="*/ 53482 h 129"/>
                <a:gd name="T104" fmla="*/ 45051 w 259"/>
                <a:gd name="T105" fmla="*/ 52978 h 129"/>
                <a:gd name="T106" fmla="*/ 51486 w 259"/>
                <a:gd name="T107" fmla="*/ 53482 h 129"/>
                <a:gd name="T108" fmla="*/ 60068 w 259"/>
                <a:gd name="T109" fmla="*/ 54491 h 129"/>
                <a:gd name="T110" fmla="*/ 71223 w 259"/>
                <a:gd name="T111" fmla="*/ 56510 h 129"/>
                <a:gd name="T112" fmla="*/ 82378 w 259"/>
                <a:gd name="T113" fmla="*/ 59032 h 129"/>
                <a:gd name="T114" fmla="*/ 102115 w 259"/>
                <a:gd name="T115" fmla="*/ 63069 h 129"/>
                <a:gd name="T116" fmla="*/ 111125 w 259"/>
                <a:gd name="T117" fmla="*/ 6508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2" name="Freeform 345">
              <a:extLst>
                <a:ext uri="{FF2B5EF4-FFF2-40B4-BE49-F238E27FC236}">
                  <a16:creationId xmlns:a16="http://schemas.microsoft.com/office/drawing/2014/main" id="{DACDEFBB-7A55-4CB5-9B30-68B8D022412D}"/>
                </a:ext>
              </a:extLst>
            </p:cNvPr>
            <p:cNvSpPr>
              <a:spLocks/>
            </p:cNvSpPr>
            <p:nvPr>
              <p:custDataLst>
                <p:tags r:id="rId248"/>
              </p:custDataLst>
            </p:nvPr>
          </p:nvSpPr>
          <p:spPr bwMode="auto">
            <a:xfrm>
              <a:off x="4484682" y="2139933"/>
              <a:ext cx="179387" cy="142874"/>
            </a:xfrm>
            <a:custGeom>
              <a:avLst/>
              <a:gdLst>
                <a:gd name="T0" fmla="*/ 176432 w 425"/>
                <a:gd name="T1" fmla="*/ 89297 h 272"/>
                <a:gd name="T2" fmla="*/ 167991 w 425"/>
                <a:gd name="T3" fmla="*/ 98752 h 272"/>
                <a:gd name="T4" fmla="*/ 161659 w 425"/>
                <a:gd name="T5" fmla="*/ 108207 h 272"/>
                <a:gd name="T6" fmla="*/ 162081 w 425"/>
                <a:gd name="T7" fmla="*/ 116086 h 272"/>
                <a:gd name="T8" fmla="*/ 164192 w 425"/>
                <a:gd name="T9" fmla="*/ 124490 h 272"/>
                <a:gd name="T10" fmla="*/ 158283 w 425"/>
                <a:gd name="T11" fmla="*/ 128167 h 272"/>
                <a:gd name="T12" fmla="*/ 146464 w 425"/>
                <a:gd name="T13" fmla="*/ 125016 h 272"/>
                <a:gd name="T14" fmla="*/ 136756 w 425"/>
                <a:gd name="T15" fmla="*/ 123440 h 272"/>
                <a:gd name="T16" fmla="*/ 124516 w 425"/>
                <a:gd name="T17" fmla="*/ 123440 h 272"/>
                <a:gd name="T18" fmla="*/ 111009 w 425"/>
                <a:gd name="T19" fmla="*/ 127642 h 272"/>
                <a:gd name="T20" fmla="*/ 97924 w 425"/>
                <a:gd name="T21" fmla="*/ 133420 h 272"/>
                <a:gd name="T22" fmla="*/ 83151 w 425"/>
                <a:gd name="T23" fmla="*/ 140249 h 272"/>
                <a:gd name="T24" fmla="*/ 42209 w 425"/>
                <a:gd name="T25" fmla="*/ 126066 h 272"/>
                <a:gd name="T26" fmla="*/ 35877 w 425"/>
                <a:gd name="T27" fmla="*/ 118712 h 272"/>
                <a:gd name="T28" fmla="*/ 29546 w 425"/>
                <a:gd name="T29" fmla="*/ 112409 h 272"/>
                <a:gd name="T30" fmla="*/ 15617 w 425"/>
                <a:gd name="T31" fmla="*/ 100853 h 272"/>
                <a:gd name="T32" fmla="*/ 9286 w 425"/>
                <a:gd name="T33" fmla="*/ 94550 h 272"/>
                <a:gd name="T34" fmla="*/ 4643 w 425"/>
                <a:gd name="T35" fmla="*/ 87721 h 272"/>
                <a:gd name="T36" fmla="*/ 844 w 425"/>
                <a:gd name="T37" fmla="*/ 78791 h 272"/>
                <a:gd name="T38" fmla="*/ 0 w 425"/>
                <a:gd name="T39" fmla="*/ 67761 h 272"/>
                <a:gd name="T40" fmla="*/ 21104 w 425"/>
                <a:gd name="T41" fmla="*/ 34668 h 272"/>
                <a:gd name="T42" fmla="*/ 29968 w 425"/>
                <a:gd name="T43" fmla="*/ 18910 h 272"/>
                <a:gd name="T44" fmla="*/ 33767 w 425"/>
                <a:gd name="T45" fmla="*/ 11556 h 272"/>
                <a:gd name="T46" fmla="*/ 35877 w 425"/>
                <a:gd name="T47" fmla="*/ 3152 h 272"/>
                <a:gd name="T48" fmla="*/ 51917 w 425"/>
                <a:gd name="T49" fmla="*/ 5253 h 272"/>
                <a:gd name="T50" fmla="*/ 64579 w 425"/>
                <a:gd name="T51" fmla="*/ 9455 h 272"/>
                <a:gd name="T52" fmla="*/ 75976 w 425"/>
                <a:gd name="T53" fmla="*/ 14182 h 272"/>
                <a:gd name="T54" fmla="*/ 86528 w 425"/>
                <a:gd name="T55" fmla="*/ 16284 h 272"/>
                <a:gd name="T56" fmla="*/ 90327 w 425"/>
                <a:gd name="T57" fmla="*/ 15233 h 272"/>
                <a:gd name="T58" fmla="*/ 93281 w 425"/>
                <a:gd name="T59" fmla="*/ 13657 h 272"/>
                <a:gd name="T60" fmla="*/ 97924 w 425"/>
                <a:gd name="T61" fmla="*/ 7879 h 272"/>
                <a:gd name="T62" fmla="*/ 102145 w 425"/>
                <a:gd name="T63" fmla="*/ 2626 h 272"/>
                <a:gd name="T64" fmla="*/ 105522 w 425"/>
                <a:gd name="T65" fmla="*/ 1051 h 272"/>
                <a:gd name="T66" fmla="*/ 109321 w 425"/>
                <a:gd name="T67" fmla="*/ 0 h 272"/>
                <a:gd name="T68" fmla="*/ 116074 w 425"/>
                <a:gd name="T69" fmla="*/ 1051 h 272"/>
                <a:gd name="T70" fmla="*/ 121983 w 425"/>
                <a:gd name="T71" fmla="*/ 3677 h 272"/>
                <a:gd name="T72" fmla="*/ 127470 w 425"/>
                <a:gd name="T73" fmla="*/ 7879 h 272"/>
                <a:gd name="T74" fmla="*/ 130847 w 425"/>
                <a:gd name="T75" fmla="*/ 13657 h 272"/>
                <a:gd name="T76" fmla="*/ 137178 w 425"/>
                <a:gd name="T77" fmla="*/ 27840 h 272"/>
                <a:gd name="T78" fmla="*/ 142243 w 425"/>
                <a:gd name="T79" fmla="*/ 43073 h 272"/>
                <a:gd name="T80" fmla="*/ 147308 w 425"/>
                <a:gd name="T81" fmla="*/ 59356 h 272"/>
                <a:gd name="T82" fmla="*/ 150263 w 425"/>
                <a:gd name="T83" fmla="*/ 66185 h 272"/>
                <a:gd name="T84" fmla="*/ 154062 w 425"/>
                <a:gd name="T85" fmla="*/ 72488 h 272"/>
                <a:gd name="T86" fmla="*/ 158705 w 425"/>
                <a:gd name="T87" fmla="*/ 77216 h 272"/>
                <a:gd name="T88" fmla="*/ 164192 w 425"/>
                <a:gd name="T89" fmla="*/ 81943 h 272"/>
                <a:gd name="T90" fmla="*/ 170945 w 425"/>
                <a:gd name="T91" fmla="*/ 84044 h 272"/>
                <a:gd name="T92" fmla="*/ 179387 w 425"/>
                <a:gd name="T93" fmla="*/ 84569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3" name="Freeform 346">
              <a:extLst>
                <a:ext uri="{FF2B5EF4-FFF2-40B4-BE49-F238E27FC236}">
                  <a16:creationId xmlns:a16="http://schemas.microsoft.com/office/drawing/2014/main" id="{67F3DC45-8AEE-419A-B133-4FC1C7C634ED}"/>
                </a:ext>
              </a:extLst>
            </p:cNvPr>
            <p:cNvSpPr>
              <a:spLocks/>
            </p:cNvSpPr>
            <p:nvPr>
              <p:custDataLst>
                <p:tags r:id="rId249"/>
              </p:custDataLst>
            </p:nvPr>
          </p:nvSpPr>
          <p:spPr bwMode="auto">
            <a:xfrm>
              <a:off x="2484435" y="3178150"/>
              <a:ext cx="14287" cy="55562"/>
            </a:xfrm>
            <a:custGeom>
              <a:avLst/>
              <a:gdLst>
                <a:gd name="T0" fmla="*/ 5628 w 33"/>
                <a:gd name="T1" fmla="*/ 10754 h 31"/>
                <a:gd name="T2" fmla="*/ 0 w 33"/>
                <a:gd name="T3" fmla="*/ 34055 h 31"/>
                <a:gd name="T4" fmla="*/ 2165 w 33"/>
                <a:gd name="T5" fmla="*/ 37639 h 31"/>
                <a:gd name="T6" fmla="*/ 6061 w 33"/>
                <a:gd name="T7" fmla="*/ 44809 h 31"/>
                <a:gd name="T8" fmla="*/ 8226 w 33"/>
                <a:gd name="T9" fmla="*/ 48394 h 31"/>
                <a:gd name="T10" fmla="*/ 9958 w 33"/>
                <a:gd name="T11" fmla="*/ 51978 h 31"/>
                <a:gd name="T12" fmla="*/ 11689 w 33"/>
                <a:gd name="T13" fmla="*/ 53771 h 31"/>
                <a:gd name="T14" fmla="*/ 14287 w 33"/>
                <a:gd name="T15" fmla="*/ 55563 h 31"/>
                <a:gd name="T16" fmla="*/ 14287 w 33"/>
                <a:gd name="T17" fmla="*/ 0 h 31"/>
                <a:gd name="T18" fmla="*/ 8659 w 33"/>
                <a:gd name="T19" fmla="*/ 0 h 31"/>
                <a:gd name="T20" fmla="*/ 5628 w 33"/>
                <a:gd name="T21" fmla="*/ 10754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13" y="6"/>
                  </a:moveTo>
                  <a:lnTo>
                    <a:pt x="0" y="19"/>
                  </a:lnTo>
                  <a:lnTo>
                    <a:pt x="5" y="21"/>
                  </a:lnTo>
                  <a:lnTo>
                    <a:pt x="14" y="25"/>
                  </a:lnTo>
                  <a:lnTo>
                    <a:pt x="19" y="27"/>
                  </a:lnTo>
                  <a:lnTo>
                    <a:pt x="23" y="29"/>
                  </a:lnTo>
                  <a:lnTo>
                    <a:pt x="27" y="30"/>
                  </a:lnTo>
                  <a:lnTo>
                    <a:pt x="33" y="31"/>
                  </a:lnTo>
                  <a:lnTo>
                    <a:pt x="33" y="0"/>
                  </a:lnTo>
                  <a:lnTo>
                    <a:pt x="20" y="0"/>
                  </a:lnTo>
                  <a:lnTo>
                    <a:pt x="13"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4" name="Freeform 347">
              <a:extLst>
                <a:ext uri="{FF2B5EF4-FFF2-40B4-BE49-F238E27FC236}">
                  <a16:creationId xmlns:a16="http://schemas.microsoft.com/office/drawing/2014/main" id="{D75E65E3-8123-47F8-9474-E0DEB35EB706}"/>
                </a:ext>
              </a:extLst>
            </p:cNvPr>
            <p:cNvSpPr>
              <a:spLocks/>
            </p:cNvSpPr>
            <p:nvPr>
              <p:custDataLst>
                <p:tags r:id="rId250"/>
              </p:custDataLst>
            </p:nvPr>
          </p:nvSpPr>
          <p:spPr bwMode="auto">
            <a:xfrm>
              <a:off x="4589457" y="2131997"/>
              <a:ext cx="85725" cy="79375"/>
            </a:xfrm>
            <a:custGeom>
              <a:avLst/>
              <a:gdLst>
                <a:gd name="T0" fmla="*/ 2679 w 192"/>
                <a:gd name="T1" fmla="*/ 9793 h 154"/>
                <a:gd name="T2" fmla="*/ 23217 w 192"/>
                <a:gd name="T3" fmla="*/ 0 h 154"/>
                <a:gd name="T4" fmla="*/ 41077 w 192"/>
                <a:gd name="T5" fmla="*/ 9793 h 154"/>
                <a:gd name="T6" fmla="*/ 53132 w 192"/>
                <a:gd name="T7" fmla="*/ 15978 h 154"/>
                <a:gd name="T8" fmla="*/ 65187 w 192"/>
                <a:gd name="T9" fmla="*/ 32472 h 154"/>
                <a:gd name="T10" fmla="*/ 74116 w 192"/>
                <a:gd name="T11" fmla="*/ 47934 h 154"/>
                <a:gd name="T12" fmla="*/ 85725 w 192"/>
                <a:gd name="T13" fmla="*/ 60820 h 154"/>
                <a:gd name="T14" fmla="*/ 67866 w 192"/>
                <a:gd name="T15" fmla="*/ 63912 h 154"/>
                <a:gd name="T16" fmla="*/ 56257 w 192"/>
                <a:gd name="T17" fmla="*/ 67005 h 154"/>
                <a:gd name="T18" fmla="*/ 56257 w 192"/>
                <a:gd name="T19" fmla="*/ 79375 h 154"/>
                <a:gd name="T20" fmla="*/ 47327 w 192"/>
                <a:gd name="T21" fmla="*/ 79375 h 154"/>
                <a:gd name="T22" fmla="*/ 44202 w 192"/>
                <a:gd name="T23" fmla="*/ 75252 h 154"/>
                <a:gd name="T24" fmla="*/ 41523 w 192"/>
                <a:gd name="T25" fmla="*/ 70613 h 154"/>
                <a:gd name="T26" fmla="*/ 39291 w 192"/>
                <a:gd name="T27" fmla="*/ 64943 h 154"/>
                <a:gd name="T28" fmla="*/ 36612 w 192"/>
                <a:gd name="T29" fmla="*/ 59274 h 154"/>
                <a:gd name="T30" fmla="*/ 33040 w 192"/>
                <a:gd name="T31" fmla="*/ 47934 h 154"/>
                <a:gd name="T32" fmla="*/ 29021 w 192"/>
                <a:gd name="T33" fmla="*/ 36595 h 154"/>
                <a:gd name="T34" fmla="*/ 26789 w 192"/>
                <a:gd name="T35" fmla="*/ 31441 h 154"/>
                <a:gd name="T36" fmla="*/ 24557 w 192"/>
                <a:gd name="T37" fmla="*/ 25771 h 154"/>
                <a:gd name="T38" fmla="*/ 21431 w 192"/>
                <a:gd name="T39" fmla="*/ 21648 h 154"/>
                <a:gd name="T40" fmla="*/ 18306 w 192"/>
                <a:gd name="T41" fmla="*/ 17524 h 154"/>
                <a:gd name="T42" fmla="*/ 14734 w 192"/>
                <a:gd name="T43" fmla="*/ 14432 h 154"/>
                <a:gd name="T44" fmla="*/ 10716 w 192"/>
                <a:gd name="T45" fmla="*/ 11855 h 154"/>
                <a:gd name="T46" fmla="*/ 8037 w 192"/>
                <a:gd name="T47" fmla="*/ 11339 h 154"/>
                <a:gd name="T48" fmla="*/ 5358 w 192"/>
                <a:gd name="T49" fmla="*/ 10308 h 154"/>
                <a:gd name="T50" fmla="*/ 2679 w 192"/>
                <a:gd name="T51" fmla="*/ 10308 h 154"/>
                <a:gd name="T52" fmla="*/ 0 w 192"/>
                <a:gd name="T53" fmla="*/ 9793 h 154"/>
                <a:gd name="T54" fmla="*/ 2679 w 192"/>
                <a:gd name="T55" fmla="*/ 9793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5" name="Freeform 348">
              <a:extLst>
                <a:ext uri="{FF2B5EF4-FFF2-40B4-BE49-F238E27FC236}">
                  <a16:creationId xmlns:a16="http://schemas.microsoft.com/office/drawing/2014/main" id="{5700C485-6CEA-4CD1-BB7D-F89BA0DC7B02}"/>
                </a:ext>
              </a:extLst>
            </p:cNvPr>
            <p:cNvSpPr>
              <a:spLocks/>
            </p:cNvSpPr>
            <p:nvPr>
              <p:custDataLst>
                <p:tags r:id="rId251"/>
              </p:custDataLst>
            </p:nvPr>
          </p:nvSpPr>
          <p:spPr bwMode="auto">
            <a:xfrm>
              <a:off x="4506907" y="2014522"/>
              <a:ext cx="381000" cy="247648"/>
            </a:xfrm>
            <a:custGeom>
              <a:avLst/>
              <a:gdLst>
                <a:gd name="T0" fmla="*/ 170299 w 877"/>
                <a:gd name="T1" fmla="*/ 179533 h 469"/>
                <a:gd name="T2" fmla="*/ 138585 w 877"/>
                <a:gd name="T3" fmla="*/ 133594 h 469"/>
                <a:gd name="T4" fmla="*/ 89494 w 877"/>
                <a:gd name="T5" fmla="*/ 127257 h 469"/>
                <a:gd name="T6" fmla="*/ 82977 w 877"/>
                <a:gd name="T7" fmla="*/ 128313 h 469"/>
                <a:gd name="T8" fmla="*/ 77330 w 877"/>
                <a:gd name="T9" fmla="*/ 132538 h 469"/>
                <a:gd name="T10" fmla="*/ 70379 w 877"/>
                <a:gd name="T11" fmla="*/ 140986 h 469"/>
                <a:gd name="T12" fmla="*/ 65600 w 877"/>
                <a:gd name="T13" fmla="*/ 143098 h 469"/>
                <a:gd name="T14" fmla="*/ 52567 w 877"/>
                <a:gd name="T15" fmla="*/ 141514 h 469"/>
                <a:gd name="T16" fmla="*/ 34320 w 877"/>
                <a:gd name="T17" fmla="*/ 134650 h 469"/>
                <a:gd name="T18" fmla="*/ 11295 w 877"/>
                <a:gd name="T19" fmla="*/ 130425 h 469"/>
                <a:gd name="T20" fmla="*/ 3475 w 877"/>
                <a:gd name="T21" fmla="*/ 111944 h 469"/>
                <a:gd name="T22" fmla="*/ 5648 w 877"/>
                <a:gd name="T23" fmla="*/ 98743 h 469"/>
                <a:gd name="T24" fmla="*/ 5648 w 877"/>
                <a:gd name="T25" fmla="*/ 95047 h 469"/>
                <a:gd name="T26" fmla="*/ 9992 w 877"/>
                <a:gd name="T27" fmla="*/ 76038 h 469"/>
                <a:gd name="T28" fmla="*/ 19115 w 877"/>
                <a:gd name="T29" fmla="*/ 59140 h 469"/>
                <a:gd name="T30" fmla="*/ 23460 w 877"/>
                <a:gd name="T31" fmla="*/ 48580 h 469"/>
                <a:gd name="T32" fmla="*/ 11295 w 877"/>
                <a:gd name="T33" fmla="*/ 26402 h 469"/>
                <a:gd name="T34" fmla="*/ 75157 w 877"/>
                <a:gd name="T35" fmla="*/ 13729 h 469"/>
                <a:gd name="T36" fmla="*/ 147274 w 877"/>
                <a:gd name="T37" fmla="*/ 26402 h 469"/>
                <a:gd name="T38" fmla="*/ 170299 w 877"/>
                <a:gd name="T39" fmla="*/ 6864 h 469"/>
                <a:gd name="T40" fmla="*/ 210701 w 877"/>
                <a:gd name="T41" fmla="*/ 0 h 469"/>
                <a:gd name="T42" fmla="*/ 251538 w 877"/>
                <a:gd name="T43" fmla="*/ 20065 h 469"/>
                <a:gd name="T44" fmla="*/ 277170 w 877"/>
                <a:gd name="T45" fmla="*/ 58612 h 469"/>
                <a:gd name="T46" fmla="*/ 314966 w 877"/>
                <a:gd name="T47" fmla="*/ 58612 h 469"/>
                <a:gd name="T48" fmla="*/ 364057 w 877"/>
                <a:gd name="T49" fmla="*/ 81846 h 469"/>
                <a:gd name="T50" fmla="*/ 375352 w 877"/>
                <a:gd name="T51" fmla="*/ 124089 h 469"/>
                <a:gd name="T52" fmla="*/ 349286 w 877"/>
                <a:gd name="T53" fmla="*/ 143626 h 469"/>
                <a:gd name="T54" fmla="*/ 327564 w 877"/>
                <a:gd name="T55" fmla="*/ 165276 h 469"/>
                <a:gd name="T56" fmla="*/ 298892 w 877"/>
                <a:gd name="T57" fmla="*/ 174253 h 469"/>
                <a:gd name="T58" fmla="*/ 288031 w 877"/>
                <a:gd name="T59" fmla="*/ 181117 h 469"/>
                <a:gd name="T60" fmla="*/ 281514 w 877"/>
                <a:gd name="T61" fmla="*/ 189038 h 469"/>
                <a:gd name="T62" fmla="*/ 280645 w 877"/>
                <a:gd name="T63" fmla="*/ 198014 h 469"/>
                <a:gd name="T64" fmla="*/ 283686 w 877"/>
                <a:gd name="T65" fmla="*/ 205935 h 469"/>
                <a:gd name="T66" fmla="*/ 289334 w 877"/>
                <a:gd name="T67" fmla="*/ 211743 h 469"/>
                <a:gd name="T68" fmla="*/ 308884 w 877"/>
                <a:gd name="T69" fmla="*/ 209103 h 469"/>
                <a:gd name="T70" fmla="*/ 321917 w 877"/>
                <a:gd name="T71" fmla="*/ 208047 h 469"/>
                <a:gd name="T72" fmla="*/ 318876 w 877"/>
                <a:gd name="T73" fmla="*/ 212799 h 469"/>
                <a:gd name="T74" fmla="*/ 311056 w 877"/>
                <a:gd name="T75" fmla="*/ 222304 h 469"/>
                <a:gd name="T76" fmla="*/ 303236 w 877"/>
                <a:gd name="T77" fmla="*/ 231281 h 469"/>
                <a:gd name="T78" fmla="*/ 299326 w 877"/>
                <a:gd name="T79" fmla="*/ 221248 h 469"/>
                <a:gd name="T80" fmla="*/ 291506 w 877"/>
                <a:gd name="T81" fmla="*/ 215440 h 469"/>
                <a:gd name="T82" fmla="*/ 289334 w 877"/>
                <a:gd name="T83" fmla="*/ 223360 h 469"/>
                <a:gd name="T84" fmla="*/ 279342 w 877"/>
                <a:gd name="T85" fmla="*/ 233393 h 469"/>
                <a:gd name="T86" fmla="*/ 268916 w 877"/>
                <a:gd name="T87" fmla="*/ 242898 h 469"/>
                <a:gd name="T88" fmla="*/ 265440 w 877"/>
                <a:gd name="T89" fmla="*/ 247650 h 469"/>
                <a:gd name="T90" fmla="*/ 258489 w 877"/>
                <a:gd name="T91" fmla="*/ 245010 h 469"/>
                <a:gd name="T92" fmla="*/ 253710 w 877"/>
                <a:gd name="T93" fmla="*/ 240257 h 469"/>
                <a:gd name="T94" fmla="*/ 249800 w 877"/>
                <a:gd name="T95" fmla="*/ 231809 h 469"/>
                <a:gd name="T96" fmla="*/ 248497 w 877"/>
                <a:gd name="T97" fmla="*/ 215440 h 469"/>
                <a:gd name="T98" fmla="*/ 238071 w 877"/>
                <a:gd name="T99" fmla="*/ 213328 h 469"/>
                <a:gd name="T100" fmla="*/ 225038 w 877"/>
                <a:gd name="T101" fmla="*/ 205407 h 469"/>
                <a:gd name="T102" fmla="*/ 242849 w 877"/>
                <a:gd name="T103" fmla="*/ 200127 h 469"/>
                <a:gd name="T104" fmla="*/ 271522 w 877"/>
                <a:gd name="T105" fmla="*/ 195374 h 469"/>
                <a:gd name="T106" fmla="*/ 214177 w 877"/>
                <a:gd name="T107" fmla="*/ 186926 h 469"/>
                <a:gd name="T108" fmla="*/ 193324 w 877"/>
                <a:gd name="T109" fmla="*/ 175837 h 469"/>
                <a:gd name="T110" fmla="*/ 172905 w 877"/>
                <a:gd name="T111" fmla="*/ 194846 h 469"/>
                <a:gd name="T112" fmla="*/ 165086 w 877"/>
                <a:gd name="T113" fmla="*/ 208575 h 469"/>
                <a:gd name="T114" fmla="*/ 153356 w 877"/>
                <a:gd name="T115" fmla="*/ 211215 h 469"/>
                <a:gd name="T116" fmla="*/ 142495 w 877"/>
                <a:gd name="T117" fmla="*/ 206991 h 469"/>
                <a:gd name="T118" fmla="*/ 132937 w 877"/>
                <a:gd name="T119" fmla="*/ 198542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6" name="Freeform 349">
              <a:extLst>
                <a:ext uri="{FF2B5EF4-FFF2-40B4-BE49-F238E27FC236}">
                  <a16:creationId xmlns:a16="http://schemas.microsoft.com/office/drawing/2014/main" id="{2D5CE482-0B1F-4F17-996C-639D72921489}"/>
                </a:ext>
              </a:extLst>
            </p:cNvPr>
            <p:cNvSpPr>
              <a:spLocks/>
            </p:cNvSpPr>
            <p:nvPr>
              <p:custDataLst>
                <p:tags r:id="rId252"/>
              </p:custDataLst>
            </p:nvPr>
          </p:nvSpPr>
          <p:spPr bwMode="auto">
            <a:xfrm>
              <a:off x="5018082" y="2357419"/>
              <a:ext cx="47625" cy="63499"/>
            </a:xfrm>
            <a:custGeom>
              <a:avLst/>
              <a:gdLst>
                <a:gd name="T0" fmla="*/ 21364 w 107"/>
                <a:gd name="T1" fmla="*/ 0 h 123"/>
                <a:gd name="T2" fmla="*/ 36053 w 107"/>
                <a:gd name="T3" fmla="*/ 16004 h 123"/>
                <a:gd name="T4" fmla="*/ 41839 w 107"/>
                <a:gd name="T5" fmla="*/ 34589 h 123"/>
                <a:gd name="T6" fmla="*/ 47625 w 107"/>
                <a:gd name="T7" fmla="*/ 44398 h 123"/>
                <a:gd name="T8" fmla="*/ 47625 w 107"/>
                <a:gd name="T9" fmla="*/ 60402 h 123"/>
                <a:gd name="T10" fmla="*/ 47625 w 107"/>
                <a:gd name="T11" fmla="*/ 63500 h 123"/>
                <a:gd name="T12" fmla="*/ 39168 w 107"/>
                <a:gd name="T13" fmla="*/ 58854 h 123"/>
                <a:gd name="T14" fmla="*/ 32492 w 107"/>
                <a:gd name="T15" fmla="*/ 54207 h 123"/>
                <a:gd name="T16" fmla="*/ 27151 w 107"/>
                <a:gd name="T17" fmla="*/ 50593 h 123"/>
                <a:gd name="T18" fmla="*/ 24035 w 107"/>
                <a:gd name="T19" fmla="*/ 47496 h 123"/>
                <a:gd name="T20" fmla="*/ 22700 w 107"/>
                <a:gd name="T21" fmla="*/ 42850 h 123"/>
                <a:gd name="T22" fmla="*/ 21364 w 107"/>
                <a:gd name="T23" fmla="*/ 37687 h 123"/>
                <a:gd name="T24" fmla="*/ 17359 w 107"/>
                <a:gd name="T25" fmla="*/ 38203 h 123"/>
                <a:gd name="T26" fmla="*/ 14243 w 107"/>
                <a:gd name="T27" fmla="*/ 37687 h 123"/>
                <a:gd name="T28" fmla="*/ 11572 w 107"/>
                <a:gd name="T29" fmla="*/ 37171 h 123"/>
                <a:gd name="T30" fmla="*/ 9347 w 107"/>
                <a:gd name="T31" fmla="*/ 36138 h 123"/>
                <a:gd name="T32" fmla="*/ 7567 w 107"/>
                <a:gd name="T33" fmla="*/ 34589 h 123"/>
                <a:gd name="T34" fmla="*/ 6231 w 107"/>
                <a:gd name="T35" fmla="*/ 32524 h 123"/>
                <a:gd name="T36" fmla="*/ 4896 w 107"/>
                <a:gd name="T37" fmla="*/ 30459 h 123"/>
                <a:gd name="T38" fmla="*/ 4006 w 107"/>
                <a:gd name="T39" fmla="*/ 27878 h 123"/>
                <a:gd name="T40" fmla="*/ 1780 w 107"/>
                <a:gd name="T41" fmla="*/ 16004 h 123"/>
                <a:gd name="T42" fmla="*/ 0 w 107"/>
                <a:gd name="T43" fmla="*/ 3098 h 123"/>
                <a:gd name="T44" fmla="*/ 15133 w 107"/>
                <a:gd name="T45" fmla="*/ 0 h 123"/>
                <a:gd name="T46" fmla="*/ 21364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7" name="Freeform 350">
              <a:extLst>
                <a:ext uri="{FF2B5EF4-FFF2-40B4-BE49-F238E27FC236}">
                  <a16:creationId xmlns:a16="http://schemas.microsoft.com/office/drawing/2014/main" id="{1859D716-CF14-48ED-ABE6-8EF29ED59FD8}"/>
                </a:ext>
              </a:extLst>
            </p:cNvPr>
            <p:cNvSpPr>
              <a:spLocks/>
            </p:cNvSpPr>
            <p:nvPr>
              <p:custDataLst>
                <p:tags r:id="rId253"/>
              </p:custDataLst>
            </p:nvPr>
          </p:nvSpPr>
          <p:spPr bwMode="auto">
            <a:xfrm>
              <a:off x="5561006" y="2371706"/>
              <a:ext cx="207962" cy="122237"/>
            </a:xfrm>
            <a:custGeom>
              <a:avLst/>
              <a:gdLst>
                <a:gd name="T0" fmla="*/ 46802 w 471"/>
                <a:gd name="T1" fmla="*/ 35000 h 234"/>
                <a:gd name="T2" fmla="*/ 73294 w 471"/>
                <a:gd name="T3" fmla="*/ 44925 h 234"/>
                <a:gd name="T4" fmla="*/ 120097 w 471"/>
                <a:gd name="T5" fmla="*/ 54850 h 234"/>
                <a:gd name="T6" fmla="*/ 164250 w 471"/>
                <a:gd name="T7" fmla="*/ 44925 h 234"/>
                <a:gd name="T8" fmla="*/ 169107 w 471"/>
                <a:gd name="T9" fmla="*/ 49627 h 234"/>
                <a:gd name="T10" fmla="*/ 172639 w 471"/>
                <a:gd name="T11" fmla="*/ 59552 h 234"/>
                <a:gd name="T12" fmla="*/ 179262 w 471"/>
                <a:gd name="T13" fmla="*/ 64776 h 234"/>
                <a:gd name="T14" fmla="*/ 187210 w 471"/>
                <a:gd name="T15" fmla="*/ 67388 h 234"/>
                <a:gd name="T16" fmla="*/ 191184 w 471"/>
                <a:gd name="T17" fmla="*/ 70000 h 234"/>
                <a:gd name="T18" fmla="*/ 194716 w 471"/>
                <a:gd name="T19" fmla="*/ 73656 h 234"/>
                <a:gd name="T20" fmla="*/ 197807 w 471"/>
                <a:gd name="T21" fmla="*/ 78880 h 234"/>
                <a:gd name="T22" fmla="*/ 200897 w 471"/>
                <a:gd name="T23" fmla="*/ 88805 h 234"/>
                <a:gd name="T24" fmla="*/ 207962 w 471"/>
                <a:gd name="T25" fmla="*/ 99253 h 234"/>
                <a:gd name="T26" fmla="*/ 154537 w 471"/>
                <a:gd name="T27" fmla="*/ 105522 h 234"/>
                <a:gd name="T28" fmla="*/ 145706 w 471"/>
                <a:gd name="T29" fmla="*/ 117014 h 234"/>
                <a:gd name="T30" fmla="*/ 139966 w 471"/>
                <a:gd name="T31" fmla="*/ 121716 h 234"/>
                <a:gd name="T32" fmla="*/ 135109 w 471"/>
                <a:gd name="T33" fmla="*/ 121716 h 234"/>
                <a:gd name="T34" fmla="*/ 131577 w 471"/>
                <a:gd name="T35" fmla="*/ 120148 h 234"/>
                <a:gd name="T36" fmla="*/ 128928 w 471"/>
                <a:gd name="T37" fmla="*/ 117014 h 234"/>
                <a:gd name="T38" fmla="*/ 127603 w 471"/>
                <a:gd name="T39" fmla="*/ 112835 h 234"/>
                <a:gd name="T40" fmla="*/ 125395 w 471"/>
                <a:gd name="T41" fmla="*/ 103955 h 234"/>
                <a:gd name="T42" fmla="*/ 122746 w 471"/>
                <a:gd name="T43" fmla="*/ 90895 h 234"/>
                <a:gd name="T44" fmla="*/ 118772 w 471"/>
                <a:gd name="T45" fmla="*/ 80970 h 234"/>
                <a:gd name="T46" fmla="*/ 113915 w 471"/>
                <a:gd name="T47" fmla="*/ 77313 h 234"/>
                <a:gd name="T48" fmla="*/ 108617 w 471"/>
                <a:gd name="T49" fmla="*/ 73656 h 234"/>
                <a:gd name="T50" fmla="*/ 104202 w 471"/>
                <a:gd name="T51" fmla="*/ 69477 h 234"/>
                <a:gd name="T52" fmla="*/ 98903 w 471"/>
                <a:gd name="T53" fmla="*/ 73134 h 234"/>
                <a:gd name="T54" fmla="*/ 91397 w 471"/>
                <a:gd name="T55" fmla="*/ 84626 h 234"/>
                <a:gd name="T56" fmla="*/ 88307 w 471"/>
                <a:gd name="T57" fmla="*/ 92462 h 234"/>
                <a:gd name="T58" fmla="*/ 83008 w 471"/>
                <a:gd name="T59" fmla="*/ 99253 h 234"/>
                <a:gd name="T60" fmla="*/ 73736 w 471"/>
                <a:gd name="T61" fmla="*/ 104999 h 234"/>
                <a:gd name="T62" fmla="*/ 64905 w 471"/>
                <a:gd name="T63" fmla="*/ 111268 h 234"/>
                <a:gd name="T64" fmla="*/ 57399 w 471"/>
                <a:gd name="T65" fmla="*/ 114402 h 234"/>
                <a:gd name="T66" fmla="*/ 50335 w 471"/>
                <a:gd name="T67" fmla="*/ 115969 h 234"/>
                <a:gd name="T68" fmla="*/ 42829 w 471"/>
                <a:gd name="T69" fmla="*/ 115447 h 234"/>
                <a:gd name="T70" fmla="*/ 36206 w 471"/>
                <a:gd name="T71" fmla="*/ 113357 h 234"/>
                <a:gd name="T72" fmla="*/ 27817 w 471"/>
                <a:gd name="T73" fmla="*/ 107089 h 234"/>
                <a:gd name="T74" fmla="*/ 26050 w 471"/>
                <a:gd name="T75" fmla="*/ 102910 h 234"/>
                <a:gd name="T76" fmla="*/ 26050 w 471"/>
                <a:gd name="T77" fmla="*/ 70522 h 234"/>
                <a:gd name="T78" fmla="*/ 0 w 471"/>
                <a:gd name="T79" fmla="*/ 51194 h 234"/>
                <a:gd name="T80" fmla="*/ 23401 w 471"/>
                <a:gd name="T81" fmla="*/ 41791 h 234"/>
                <a:gd name="T82" fmla="*/ 37972 w 471"/>
                <a:gd name="T83" fmla="*/ 15672 h 234"/>
                <a:gd name="T84" fmla="*/ 58724 w 471"/>
                <a:gd name="T85" fmla="*/ 0 h 234"/>
                <a:gd name="T86" fmla="*/ 73294 w 471"/>
                <a:gd name="T87" fmla="*/ 21940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8" name="Freeform 351">
              <a:extLst>
                <a:ext uri="{FF2B5EF4-FFF2-40B4-BE49-F238E27FC236}">
                  <a16:creationId xmlns:a16="http://schemas.microsoft.com/office/drawing/2014/main" id="{1D602339-B207-4A1D-80E4-E1FB8815F457}"/>
                </a:ext>
              </a:extLst>
            </p:cNvPr>
            <p:cNvSpPr>
              <a:spLocks/>
            </p:cNvSpPr>
            <p:nvPr>
              <p:custDataLst>
                <p:tags r:id="rId254"/>
              </p:custDataLst>
            </p:nvPr>
          </p:nvSpPr>
          <p:spPr bwMode="auto">
            <a:xfrm>
              <a:off x="5610218" y="2300270"/>
              <a:ext cx="225425" cy="125411"/>
            </a:xfrm>
            <a:custGeom>
              <a:avLst/>
              <a:gdLst>
                <a:gd name="T0" fmla="*/ 45514 w 525"/>
                <a:gd name="T1" fmla="*/ 96271 h 241"/>
                <a:gd name="T2" fmla="*/ 74283 w 525"/>
                <a:gd name="T3" fmla="*/ 77016 h 241"/>
                <a:gd name="T4" fmla="*/ 39932 w 525"/>
                <a:gd name="T5" fmla="*/ 54640 h 241"/>
                <a:gd name="T6" fmla="*/ 20181 w 525"/>
                <a:gd name="T7" fmla="*/ 60885 h 241"/>
                <a:gd name="T8" fmla="*/ 28339 w 525"/>
                <a:gd name="T9" fmla="*/ 31743 h 241"/>
                <a:gd name="T10" fmla="*/ 17175 w 525"/>
                <a:gd name="T11" fmla="*/ 22376 h 241"/>
                <a:gd name="T12" fmla="*/ 48091 w 525"/>
                <a:gd name="T13" fmla="*/ 13010 h 241"/>
                <a:gd name="T14" fmla="*/ 79865 w 525"/>
                <a:gd name="T15" fmla="*/ 0 h 241"/>
                <a:gd name="T16" fmla="*/ 133967 w 525"/>
                <a:gd name="T17" fmla="*/ 9887 h 241"/>
                <a:gd name="T18" fmla="*/ 188498 w 525"/>
                <a:gd name="T19" fmla="*/ 13010 h 241"/>
                <a:gd name="T20" fmla="*/ 225425 w 525"/>
                <a:gd name="T21" fmla="*/ 28621 h 241"/>
                <a:gd name="T22" fmla="*/ 222849 w 525"/>
                <a:gd name="T23" fmla="*/ 35906 h 241"/>
                <a:gd name="T24" fmla="*/ 218984 w 525"/>
                <a:gd name="T25" fmla="*/ 42671 h 241"/>
                <a:gd name="T26" fmla="*/ 214261 w 525"/>
                <a:gd name="T27" fmla="*/ 47875 h 241"/>
                <a:gd name="T28" fmla="*/ 208250 w 525"/>
                <a:gd name="T29" fmla="*/ 51518 h 241"/>
                <a:gd name="T30" fmla="*/ 189786 w 525"/>
                <a:gd name="T31" fmla="*/ 53599 h 241"/>
                <a:gd name="T32" fmla="*/ 179481 w 525"/>
                <a:gd name="T33" fmla="*/ 55681 h 241"/>
                <a:gd name="T34" fmla="*/ 174758 w 525"/>
                <a:gd name="T35" fmla="*/ 57762 h 241"/>
                <a:gd name="T36" fmla="*/ 171323 w 525"/>
                <a:gd name="T37" fmla="*/ 60885 h 241"/>
                <a:gd name="T38" fmla="*/ 166170 w 525"/>
                <a:gd name="T39" fmla="*/ 70772 h 241"/>
                <a:gd name="T40" fmla="*/ 162306 w 525"/>
                <a:gd name="T41" fmla="*/ 76496 h 241"/>
                <a:gd name="T42" fmla="*/ 156724 w 525"/>
                <a:gd name="T43" fmla="*/ 80139 h 241"/>
                <a:gd name="T44" fmla="*/ 130961 w 525"/>
                <a:gd name="T45" fmla="*/ 86383 h 241"/>
                <a:gd name="T46" fmla="*/ 117221 w 525"/>
                <a:gd name="T47" fmla="*/ 90026 h 241"/>
                <a:gd name="T48" fmla="*/ 111639 w 525"/>
                <a:gd name="T49" fmla="*/ 92628 h 241"/>
                <a:gd name="T50" fmla="*/ 112068 w 525"/>
                <a:gd name="T51" fmla="*/ 99913 h 241"/>
                <a:gd name="T52" fmla="*/ 112927 w 525"/>
                <a:gd name="T53" fmla="*/ 105637 h 241"/>
                <a:gd name="T54" fmla="*/ 117221 w 525"/>
                <a:gd name="T55" fmla="*/ 115525 h 241"/>
                <a:gd name="T56" fmla="*/ 94034 w 525"/>
                <a:gd name="T57" fmla="*/ 118647 h 241"/>
                <a:gd name="T58" fmla="*/ 48091 w 525"/>
                <a:gd name="T59" fmla="*/ 121769 h 241"/>
                <a:gd name="T60" fmla="*/ 8588 w 525"/>
                <a:gd name="T61" fmla="*/ 115525 h 241"/>
                <a:gd name="T62" fmla="*/ 22757 w 525"/>
                <a:gd name="T63" fmla="*/ 86383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59" name="Freeform 352">
              <a:extLst>
                <a:ext uri="{FF2B5EF4-FFF2-40B4-BE49-F238E27FC236}">
                  <a16:creationId xmlns:a16="http://schemas.microsoft.com/office/drawing/2014/main" id="{5DCC8689-A1B0-421D-9AB3-0DCA8957A6B3}"/>
                </a:ext>
              </a:extLst>
            </p:cNvPr>
            <p:cNvSpPr>
              <a:spLocks/>
            </p:cNvSpPr>
            <p:nvPr>
              <p:custDataLst>
                <p:tags r:id="rId255"/>
              </p:custDataLst>
            </p:nvPr>
          </p:nvSpPr>
          <p:spPr bwMode="auto">
            <a:xfrm>
              <a:off x="5216519" y="2316145"/>
              <a:ext cx="342900" cy="227010"/>
            </a:xfrm>
            <a:custGeom>
              <a:avLst/>
              <a:gdLst>
                <a:gd name="T0" fmla="*/ 335902 w 784"/>
                <a:gd name="T1" fmla="*/ 154157 h 430"/>
                <a:gd name="T2" fmla="*/ 328467 w 784"/>
                <a:gd name="T3" fmla="*/ 154685 h 430"/>
                <a:gd name="T4" fmla="*/ 319719 w 784"/>
                <a:gd name="T5" fmla="*/ 159436 h 430"/>
                <a:gd name="T6" fmla="*/ 316220 w 784"/>
                <a:gd name="T7" fmla="*/ 162604 h 430"/>
                <a:gd name="T8" fmla="*/ 313596 w 784"/>
                <a:gd name="T9" fmla="*/ 175274 h 430"/>
                <a:gd name="T10" fmla="*/ 311847 w 784"/>
                <a:gd name="T11" fmla="*/ 190057 h 430"/>
                <a:gd name="T12" fmla="*/ 307910 w 784"/>
                <a:gd name="T13" fmla="*/ 198504 h 430"/>
                <a:gd name="T14" fmla="*/ 293477 w 784"/>
                <a:gd name="T15" fmla="*/ 212230 h 430"/>
                <a:gd name="T16" fmla="*/ 276857 w 784"/>
                <a:gd name="T17" fmla="*/ 221733 h 430"/>
                <a:gd name="T18" fmla="*/ 267672 w 784"/>
                <a:gd name="T19" fmla="*/ 223844 h 430"/>
                <a:gd name="T20" fmla="*/ 256738 w 784"/>
                <a:gd name="T21" fmla="*/ 226484 h 430"/>
                <a:gd name="T22" fmla="*/ 247990 w 784"/>
                <a:gd name="T23" fmla="*/ 225956 h 430"/>
                <a:gd name="T24" fmla="*/ 238368 w 784"/>
                <a:gd name="T25" fmla="*/ 204839 h 430"/>
                <a:gd name="T26" fmla="*/ 225247 w 784"/>
                <a:gd name="T27" fmla="*/ 181610 h 430"/>
                <a:gd name="T28" fmla="*/ 209064 w 784"/>
                <a:gd name="T29" fmla="*/ 176330 h 430"/>
                <a:gd name="T30" fmla="*/ 195943 w 784"/>
                <a:gd name="T31" fmla="*/ 166299 h 430"/>
                <a:gd name="T32" fmla="*/ 182384 w 784"/>
                <a:gd name="T33" fmla="*/ 155213 h 430"/>
                <a:gd name="T34" fmla="*/ 163140 w 784"/>
                <a:gd name="T35" fmla="*/ 144654 h 430"/>
                <a:gd name="T36" fmla="*/ 133836 w 784"/>
                <a:gd name="T37" fmla="*/ 136207 h 430"/>
                <a:gd name="T38" fmla="*/ 79602 w 784"/>
                <a:gd name="T39" fmla="*/ 149406 h 430"/>
                <a:gd name="T40" fmla="*/ 66043 w 784"/>
                <a:gd name="T41" fmla="*/ 161548 h 430"/>
                <a:gd name="T42" fmla="*/ 55546 w 784"/>
                <a:gd name="T43" fmla="*/ 162604 h 430"/>
                <a:gd name="T44" fmla="*/ 28867 w 784"/>
                <a:gd name="T45" fmla="*/ 133040 h 430"/>
                <a:gd name="T46" fmla="*/ 28867 w 784"/>
                <a:gd name="T47" fmla="*/ 107699 h 430"/>
                <a:gd name="T48" fmla="*/ 17495 w 784"/>
                <a:gd name="T49" fmla="*/ 94500 h 430"/>
                <a:gd name="T50" fmla="*/ 18370 w 784"/>
                <a:gd name="T51" fmla="*/ 105059 h 430"/>
                <a:gd name="T52" fmla="*/ 15745 w 784"/>
                <a:gd name="T53" fmla="*/ 115090 h 430"/>
                <a:gd name="T54" fmla="*/ 13121 w 784"/>
                <a:gd name="T55" fmla="*/ 116674 h 430"/>
                <a:gd name="T56" fmla="*/ 13559 w 784"/>
                <a:gd name="T57" fmla="*/ 107171 h 430"/>
                <a:gd name="T58" fmla="*/ 11809 w 784"/>
                <a:gd name="T59" fmla="*/ 91861 h 430"/>
                <a:gd name="T60" fmla="*/ 14433 w 784"/>
                <a:gd name="T61" fmla="*/ 86053 h 430"/>
                <a:gd name="T62" fmla="*/ 17495 w 784"/>
                <a:gd name="T63" fmla="*/ 80246 h 430"/>
                <a:gd name="T64" fmla="*/ 11809 w 784"/>
                <a:gd name="T65" fmla="*/ 68104 h 430"/>
                <a:gd name="T66" fmla="*/ 3062 w 784"/>
                <a:gd name="T67" fmla="*/ 66520 h 430"/>
                <a:gd name="T68" fmla="*/ 0 w 784"/>
                <a:gd name="T69" fmla="*/ 61768 h 430"/>
                <a:gd name="T70" fmla="*/ 1312 w 784"/>
                <a:gd name="T71" fmla="*/ 54905 h 430"/>
                <a:gd name="T72" fmla="*/ 4811 w 784"/>
                <a:gd name="T73" fmla="*/ 49626 h 430"/>
                <a:gd name="T74" fmla="*/ 11809 w 784"/>
                <a:gd name="T75" fmla="*/ 48570 h 430"/>
                <a:gd name="T76" fmla="*/ 17932 w 784"/>
                <a:gd name="T77" fmla="*/ 52266 h 430"/>
                <a:gd name="T78" fmla="*/ 24930 w 784"/>
                <a:gd name="T79" fmla="*/ 54905 h 430"/>
                <a:gd name="T80" fmla="*/ 31053 w 784"/>
                <a:gd name="T81" fmla="*/ 48570 h 430"/>
                <a:gd name="T82" fmla="*/ 36302 w 784"/>
                <a:gd name="T83" fmla="*/ 40651 h 430"/>
                <a:gd name="T84" fmla="*/ 38051 w 784"/>
                <a:gd name="T85" fmla="*/ 33788 h 430"/>
                <a:gd name="T86" fmla="*/ 34115 w 784"/>
                <a:gd name="T87" fmla="*/ 29036 h 430"/>
                <a:gd name="T88" fmla="*/ 24055 w 784"/>
                <a:gd name="T89" fmla="*/ 25869 h 430"/>
                <a:gd name="T90" fmla="*/ 20557 w 784"/>
                <a:gd name="T91" fmla="*/ 21117 h 430"/>
                <a:gd name="T92" fmla="*/ 17932 w 784"/>
                <a:gd name="T93" fmla="*/ 14782 h 430"/>
                <a:gd name="T94" fmla="*/ 46799 w 784"/>
                <a:gd name="T95" fmla="*/ 22701 h 430"/>
                <a:gd name="T96" fmla="*/ 95785 w 784"/>
                <a:gd name="T97" fmla="*/ 39067 h 430"/>
                <a:gd name="T98" fmla="*/ 119403 w 784"/>
                <a:gd name="T99" fmla="*/ 0 h 430"/>
                <a:gd name="T100" fmla="*/ 163140 w 784"/>
                <a:gd name="T101" fmla="*/ 22701 h 430"/>
                <a:gd name="T102" fmla="*/ 203378 w 784"/>
                <a:gd name="T103" fmla="*/ 48570 h 430"/>
                <a:gd name="T104" fmla="*/ 258487 w 784"/>
                <a:gd name="T105" fmla="*/ 110866 h 430"/>
                <a:gd name="T106" fmla="*/ 316658 w 784"/>
                <a:gd name="T107" fmla="*/ 139903 h 430"/>
                <a:gd name="T108" fmla="*/ 340276 w 784"/>
                <a:gd name="T109" fmla="*/ 155741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0" name="Freeform 353">
              <a:extLst>
                <a:ext uri="{FF2B5EF4-FFF2-40B4-BE49-F238E27FC236}">
                  <a16:creationId xmlns:a16="http://schemas.microsoft.com/office/drawing/2014/main" id="{518E221A-C4DB-419D-9A63-FB5BADEBE6D6}"/>
                </a:ext>
              </a:extLst>
            </p:cNvPr>
            <p:cNvSpPr>
              <a:spLocks/>
            </p:cNvSpPr>
            <p:nvPr>
              <p:custDataLst>
                <p:tags r:id="rId256"/>
              </p:custDataLst>
            </p:nvPr>
          </p:nvSpPr>
          <p:spPr bwMode="auto">
            <a:xfrm>
              <a:off x="4425945" y="2203433"/>
              <a:ext cx="107950" cy="149224"/>
            </a:xfrm>
            <a:custGeom>
              <a:avLst/>
              <a:gdLst>
                <a:gd name="T0" fmla="*/ 13165 w 246"/>
                <a:gd name="T1" fmla="*/ 14187 h 284"/>
                <a:gd name="T2" fmla="*/ 12287 w 246"/>
                <a:gd name="T3" fmla="*/ 12611 h 284"/>
                <a:gd name="T4" fmla="*/ 10532 w 246"/>
                <a:gd name="T5" fmla="*/ 8932 h 284"/>
                <a:gd name="T6" fmla="*/ 15359 w 246"/>
                <a:gd name="T7" fmla="*/ 2627 h 284"/>
                <a:gd name="T8" fmla="*/ 29401 w 246"/>
                <a:gd name="T9" fmla="*/ 525 h 284"/>
                <a:gd name="T10" fmla="*/ 55291 w 246"/>
                <a:gd name="T11" fmla="*/ 6305 h 284"/>
                <a:gd name="T12" fmla="*/ 57486 w 246"/>
                <a:gd name="T13" fmla="*/ 15763 h 284"/>
                <a:gd name="T14" fmla="*/ 60996 w 246"/>
                <a:gd name="T15" fmla="*/ 24170 h 284"/>
                <a:gd name="T16" fmla="*/ 66262 w 246"/>
                <a:gd name="T17" fmla="*/ 29950 h 284"/>
                <a:gd name="T18" fmla="*/ 72405 w 246"/>
                <a:gd name="T19" fmla="*/ 35204 h 284"/>
                <a:gd name="T20" fmla="*/ 83815 w 246"/>
                <a:gd name="T21" fmla="*/ 45713 h 284"/>
                <a:gd name="T22" fmla="*/ 89081 w 246"/>
                <a:gd name="T23" fmla="*/ 53069 h 284"/>
                <a:gd name="T24" fmla="*/ 93030 w 246"/>
                <a:gd name="T25" fmla="*/ 61476 h 284"/>
                <a:gd name="T26" fmla="*/ 99174 w 246"/>
                <a:gd name="T27" fmla="*/ 61476 h 284"/>
                <a:gd name="T28" fmla="*/ 96979 w 246"/>
                <a:gd name="T29" fmla="*/ 65155 h 284"/>
                <a:gd name="T30" fmla="*/ 96979 w 246"/>
                <a:gd name="T31" fmla="*/ 67782 h 284"/>
                <a:gd name="T32" fmla="*/ 100051 w 246"/>
                <a:gd name="T33" fmla="*/ 73562 h 284"/>
                <a:gd name="T34" fmla="*/ 104878 w 246"/>
                <a:gd name="T35" fmla="*/ 80918 h 284"/>
                <a:gd name="T36" fmla="*/ 107072 w 246"/>
                <a:gd name="T37" fmla="*/ 85121 h 284"/>
                <a:gd name="T38" fmla="*/ 107950 w 246"/>
                <a:gd name="T39" fmla="*/ 90901 h 284"/>
                <a:gd name="T40" fmla="*/ 105756 w 246"/>
                <a:gd name="T41" fmla="*/ 96681 h 284"/>
                <a:gd name="T42" fmla="*/ 102245 w 246"/>
                <a:gd name="T43" fmla="*/ 100885 h 284"/>
                <a:gd name="T44" fmla="*/ 97857 w 246"/>
                <a:gd name="T45" fmla="*/ 104037 h 284"/>
                <a:gd name="T46" fmla="*/ 96541 w 246"/>
                <a:gd name="T47" fmla="*/ 107190 h 284"/>
                <a:gd name="T48" fmla="*/ 82937 w 246"/>
                <a:gd name="T49" fmla="*/ 112970 h 284"/>
                <a:gd name="T50" fmla="*/ 71967 w 246"/>
                <a:gd name="T51" fmla="*/ 120851 h 284"/>
                <a:gd name="T52" fmla="*/ 49587 w 246"/>
                <a:gd name="T53" fmla="*/ 139242 h 284"/>
                <a:gd name="T54" fmla="*/ 38616 w 246"/>
                <a:gd name="T55" fmla="*/ 121377 h 284"/>
                <a:gd name="T56" fmla="*/ 34667 w 246"/>
                <a:gd name="T57" fmla="*/ 115597 h 284"/>
                <a:gd name="T58" fmla="*/ 31595 w 246"/>
                <a:gd name="T59" fmla="*/ 113495 h 284"/>
                <a:gd name="T60" fmla="*/ 26329 w 246"/>
                <a:gd name="T61" fmla="*/ 114021 h 284"/>
                <a:gd name="T62" fmla="*/ 23696 w 246"/>
                <a:gd name="T63" fmla="*/ 116122 h 284"/>
                <a:gd name="T64" fmla="*/ 21502 w 246"/>
                <a:gd name="T65" fmla="*/ 119800 h 284"/>
                <a:gd name="T66" fmla="*/ 21063 w 246"/>
                <a:gd name="T67" fmla="*/ 124004 h 284"/>
                <a:gd name="T68" fmla="*/ 19747 w 246"/>
                <a:gd name="T69" fmla="*/ 135038 h 284"/>
                <a:gd name="T70" fmla="*/ 17992 w 246"/>
                <a:gd name="T71" fmla="*/ 141869 h 284"/>
                <a:gd name="T72" fmla="*/ 14481 w 246"/>
                <a:gd name="T73" fmla="*/ 149225 h 284"/>
                <a:gd name="T74" fmla="*/ 11409 w 246"/>
                <a:gd name="T75" fmla="*/ 127682 h 284"/>
                <a:gd name="T76" fmla="*/ 7460 w 246"/>
                <a:gd name="T77" fmla="*/ 119275 h 284"/>
                <a:gd name="T78" fmla="*/ 4827 w 246"/>
                <a:gd name="T79" fmla="*/ 116122 h 284"/>
                <a:gd name="T80" fmla="*/ 0 w 246"/>
                <a:gd name="T81" fmla="*/ 113495 h 284"/>
                <a:gd name="T82" fmla="*/ 439 w 246"/>
                <a:gd name="T83" fmla="*/ 107190 h 284"/>
                <a:gd name="T84" fmla="*/ 1755 w 246"/>
                <a:gd name="T85" fmla="*/ 101410 h 284"/>
                <a:gd name="T86" fmla="*/ 6582 w 246"/>
                <a:gd name="T87" fmla="*/ 92477 h 284"/>
                <a:gd name="T88" fmla="*/ 13603 w 246"/>
                <a:gd name="T89" fmla="*/ 84596 h 284"/>
                <a:gd name="T90" fmla="*/ 20186 w 246"/>
                <a:gd name="T91" fmla="*/ 74087 h 284"/>
                <a:gd name="T92" fmla="*/ 14481 w 246"/>
                <a:gd name="T93" fmla="*/ 23119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1" name="Freeform 354">
              <a:extLst>
                <a:ext uri="{FF2B5EF4-FFF2-40B4-BE49-F238E27FC236}">
                  <a16:creationId xmlns:a16="http://schemas.microsoft.com/office/drawing/2014/main" id="{47E288A2-FB4E-4BF9-AA2C-97C1852AC068}"/>
                </a:ext>
              </a:extLst>
            </p:cNvPr>
            <p:cNvSpPr>
              <a:spLocks/>
            </p:cNvSpPr>
            <p:nvPr>
              <p:custDataLst>
                <p:tags r:id="rId257"/>
              </p:custDataLst>
            </p:nvPr>
          </p:nvSpPr>
          <p:spPr bwMode="auto">
            <a:xfrm>
              <a:off x="4473570" y="2311382"/>
              <a:ext cx="68263" cy="60325"/>
            </a:xfrm>
            <a:custGeom>
              <a:avLst/>
              <a:gdLst>
                <a:gd name="T0" fmla="*/ 48637 w 160"/>
                <a:gd name="T1" fmla="*/ 0 h 117"/>
                <a:gd name="T2" fmla="*/ 48637 w 160"/>
                <a:gd name="T3" fmla="*/ 4640 h 117"/>
                <a:gd name="T4" fmla="*/ 48637 w 160"/>
                <a:gd name="T5" fmla="*/ 9281 h 117"/>
                <a:gd name="T6" fmla="*/ 49064 w 160"/>
                <a:gd name="T7" fmla="*/ 12890 h 117"/>
                <a:gd name="T8" fmla="*/ 49917 w 160"/>
                <a:gd name="T9" fmla="*/ 16499 h 117"/>
                <a:gd name="T10" fmla="*/ 50771 w 160"/>
                <a:gd name="T11" fmla="*/ 17530 h 117"/>
                <a:gd name="T12" fmla="*/ 51624 w 160"/>
                <a:gd name="T13" fmla="*/ 19077 h 117"/>
                <a:gd name="T14" fmla="*/ 52477 w 160"/>
                <a:gd name="T15" fmla="*/ 19593 h 117"/>
                <a:gd name="T16" fmla="*/ 54184 w 160"/>
                <a:gd name="T17" fmla="*/ 20108 h 117"/>
                <a:gd name="T18" fmla="*/ 55890 w 160"/>
                <a:gd name="T19" fmla="*/ 20624 h 117"/>
                <a:gd name="T20" fmla="*/ 57597 w 160"/>
                <a:gd name="T21" fmla="*/ 20108 h 117"/>
                <a:gd name="T22" fmla="*/ 59730 w 160"/>
                <a:gd name="T23" fmla="*/ 19593 h 117"/>
                <a:gd name="T24" fmla="*/ 62290 w 160"/>
                <a:gd name="T25" fmla="*/ 18562 h 117"/>
                <a:gd name="T26" fmla="*/ 63570 w 160"/>
                <a:gd name="T27" fmla="*/ 22171 h 117"/>
                <a:gd name="T28" fmla="*/ 65276 w 160"/>
                <a:gd name="T29" fmla="*/ 26811 h 117"/>
                <a:gd name="T30" fmla="*/ 66983 w 160"/>
                <a:gd name="T31" fmla="*/ 32998 h 117"/>
                <a:gd name="T32" fmla="*/ 68263 w 160"/>
                <a:gd name="T33" fmla="*/ 38154 h 117"/>
                <a:gd name="T34" fmla="*/ 56744 w 160"/>
                <a:gd name="T35" fmla="*/ 45373 h 117"/>
                <a:gd name="T36" fmla="*/ 45224 w 160"/>
                <a:gd name="T37" fmla="*/ 52591 h 117"/>
                <a:gd name="T38" fmla="*/ 39251 w 160"/>
                <a:gd name="T39" fmla="*/ 55169 h 117"/>
                <a:gd name="T40" fmla="*/ 32425 w 160"/>
                <a:gd name="T41" fmla="*/ 58263 h 117"/>
                <a:gd name="T42" fmla="*/ 26452 w 160"/>
                <a:gd name="T43" fmla="*/ 59809 h 117"/>
                <a:gd name="T44" fmla="*/ 20052 w 160"/>
                <a:gd name="T45" fmla="*/ 60325 h 117"/>
                <a:gd name="T46" fmla="*/ 13653 w 160"/>
                <a:gd name="T47" fmla="*/ 51044 h 117"/>
                <a:gd name="T48" fmla="*/ 8960 w 160"/>
                <a:gd name="T49" fmla="*/ 42795 h 117"/>
                <a:gd name="T50" fmla="*/ 4266 w 160"/>
                <a:gd name="T51" fmla="*/ 35576 h 117"/>
                <a:gd name="T52" fmla="*/ 0 w 160"/>
                <a:gd name="T53" fmla="*/ 28358 h 117"/>
                <a:gd name="T54" fmla="*/ 5546 w 160"/>
                <a:gd name="T55" fmla="*/ 24749 h 117"/>
                <a:gd name="T56" fmla="*/ 17492 w 160"/>
                <a:gd name="T57" fmla="*/ 16499 h 117"/>
                <a:gd name="T58" fmla="*/ 25599 w 160"/>
                <a:gd name="T59" fmla="*/ 11859 h 117"/>
                <a:gd name="T60" fmla="*/ 33278 w 160"/>
                <a:gd name="T61" fmla="*/ 7218 h 117"/>
                <a:gd name="T62" fmla="*/ 41384 w 160"/>
                <a:gd name="T63" fmla="*/ 3094 h 117"/>
                <a:gd name="T64" fmla="*/ 4863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2" name="Freeform 355">
              <a:extLst>
                <a:ext uri="{FF2B5EF4-FFF2-40B4-BE49-F238E27FC236}">
                  <a16:creationId xmlns:a16="http://schemas.microsoft.com/office/drawing/2014/main" id="{215455C7-BB64-4160-AC2B-621302737449}"/>
                </a:ext>
              </a:extLst>
            </p:cNvPr>
            <p:cNvSpPr>
              <a:spLocks/>
            </p:cNvSpPr>
            <p:nvPr>
              <p:custDataLst>
                <p:tags r:id="rId258"/>
              </p:custDataLst>
            </p:nvPr>
          </p:nvSpPr>
          <p:spPr bwMode="auto">
            <a:xfrm>
              <a:off x="4557708" y="2935265"/>
              <a:ext cx="411162" cy="61118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3" name="Freeform 356">
              <a:extLst>
                <a:ext uri="{FF2B5EF4-FFF2-40B4-BE49-F238E27FC236}">
                  <a16:creationId xmlns:a16="http://schemas.microsoft.com/office/drawing/2014/main" id="{512816B0-27DB-40CA-93BE-7846990A6DFB}"/>
                </a:ext>
              </a:extLst>
            </p:cNvPr>
            <p:cNvSpPr>
              <a:spLocks/>
            </p:cNvSpPr>
            <p:nvPr>
              <p:custDataLst>
                <p:tags r:id="rId259"/>
              </p:custDataLst>
            </p:nvPr>
          </p:nvSpPr>
          <p:spPr bwMode="auto">
            <a:xfrm>
              <a:off x="5041894" y="3274987"/>
              <a:ext cx="244474" cy="431796"/>
            </a:xfrm>
            <a:custGeom>
              <a:avLst/>
              <a:gdLst>
                <a:gd name="T0" fmla="*/ 43091 w 556"/>
                <a:gd name="T1" fmla="*/ 32688 h 819"/>
                <a:gd name="T2" fmla="*/ 49247 w 556"/>
                <a:gd name="T3" fmla="*/ 29525 h 819"/>
                <a:gd name="T4" fmla="*/ 56722 w 556"/>
                <a:gd name="T5" fmla="*/ 36379 h 819"/>
                <a:gd name="T6" fmla="*/ 65516 w 556"/>
                <a:gd name="T7" fmla="*/ 44814 h 819"/>
                <a:gd name="T8" fmla="*/ 75189 w 556"/>
                <a:gd name="T9" fmla="*/ 48505 h 819"/>
                <a:gd name="T10" fmla="*/ 94536 w 556"/>
                <a:gd name="T11" fmla="*/ 46396 h 819"/>
                <a:gd name="T12" fmla="*/ 113004 w 556"/>
                <a:gd name="T13" fmla="*/ 43233 h 819"/>
                <a:gd name="T14" fmla="*/ 127954 w 556"/>
                <a:gd name="T15" fmla="*/ 41651 h 819"/>
                <a:gd name="T16" fmla="*/ 132351 w 556"/>
                <a:gd name="T17" fmla="*/ 39015 h 819"/>
                <a:gd name="T18" fmla="*/ 132351 w 556"/>
                <a:gd name="T19" fmla="*/ 35852 h 819"/>
                <a:gd name="T20" fmla="*/ 156095 w 556"/>
                <a:gd name="T21" fmla="*/ 33215 h 819"/>
                <a:gd name="T22" fmla="*/ 190831 w 556"/>
                <a:gd name="T23" fmla="*/ 23725 h 819"/>
                <a:gd name="T24" fmla="*/ 210618 w 556"/>
                <a:gd name="T25" fmla="*/ 14762 h 819"/>
                <a:gd name="T26" fmla="*/ 226007 w 556"/>
                <a:gd name="T27" fmla="*/ 4218 h 819"/>
                <a:gd name="T28" fmla="*/ 240518 w 556"/>
                <a:gd name="T29" fmla="*/ 16344 h 819"/>
                <a:gd name="T30" fmla="*/ 244035 w 556"/>
                <a:gd name="T31" fmla="*/ 30052 h 819"/>
                <a:gd name="T32" fmla="*/ 242716 w 556"/>
                <a:gd name="T33" fmla="*/ 59577 h 819"/>
                <a:gd name="T34" fmla="*/ 233922 w 556"/>
                <a:gd name="T35" fmla="*/ 91738 h 819"/>
                <a:gd name="T36" fmla="*/ 220731 w 556"/>
                <a:gd name="T37" fmla="*/ 121790 h 819"/>
                <a:gd name="T38" fmla="*/ 196547 w 556"/>
                <a:gd name="T39" fmla="*/ 169240 h 819"/>
                <a:gd name="T40" fmla="*/ 185994 w 556"/>
                <a:gd name="T41" fmla="*/ 197711 h 819"/>
                <a:gd name="T42" fmla="*/ 180278 w 556"/>
                <a:gd name="T43" fmla="*/ 218800 h 819"/>
                <a:gd name="T44" fmla="*/ 166648 w 556"/>
                <a:gd name="T45" fmla="*/ 249379 h 819"/>
                <a:gd name="T46" fmla="*/ 145102 w 556"/>
                <a:gd name="T47" fmla="*/ 279958 h 819"/>
                <a:gd name="T48" fmla="*/ 126635 w 556"/>
                <a:gd name="T49" fmla="*/ 298411 h 819"/>
                <a:gd name="T50" fmla="*/ 105089 w 556"/>
                <a:gd name="T51" fmla="*/ 316337 h 819"/>
                <a:gd name="T52" fmla="*/ 73870 w 556"/>
                <a:gd name="T53" fmla="*/ 343226 h 819"/>
                <a:gd name="T54" fmla="*/ 62878 w 556"/>
                <a:gd name="T55" fmla="*/ 358515 h 819"/>
                <a:gd name="T56" fmla="*/ 57601 w 556"/>
                <a:gd name="T57" fmla="*/ 369060 h 819"/>
                <a:gd name="T58" fmla="*/ 51006 w 556"/>
                <a:gd name="T59" fmla="*/ 378023 h 819"/>
                <a:gd name="T60" fmla="*/ 31219 w 556"/>
                <a:gd name="T61" fmla="*/ 392785 h 819"/>
                <a:gd name="T62" fmla="*/ 8354 w 556"/>
                <a:gd name="T63" fmla="*/ 422310 h 819"/>
                <a:gd name="T64" fmla="*/ 879 w 556"/>
                <a:gd name="T65" fmla="*/ 297357 h 819"/>
                <a:gd name="T66" fmla="*/ 1319 w 556"/>
                <a:gd name="T67" fmla="*/ 292084 h 819"/>
                <a:gd name="T68" fmla="*/ 11872 w 556"/>
                <a:gd name="T69" fmla="*/ 281013 h 819"/>
                <a:gd name="T70" fmla="*/ 18468 w 556"/>
                <a:gd name="T71" fmla="*/ 272050 h 819"/>
                <a:gd name="T72" fmla="*/ 26382 w 556"/>
                <a:gd name="T73" fmla="*/ 262032 h 819"/>
                <a:gd name="T74" fmla="*/ 48807 w 556"/>
                <a:gd name="T75" fmla="*/ 253070 h 819"/>
                <a:gd name="T76" fmla="*/ 52325 w 556"/>
                <a:gd name="T77" fmla="*/ 247797 h 819"/>
                <a:gd name="T78" fmla="*/ 56722 w 556"/>
                <a:gd name="T79" fmla="*/ 238307 h 819"/>
                <a:gd name="T80" fmla="*/ 66835 w 556"/>
                <a:gd name="T81" fmla="*/ 231980 h 819"/>
                <a:gd name="T82" fmla="*/ 76508 w 556"/>
                <a:gd name="T83" fmla="*/ 231453 h 819"/>
                <a:gd name="T84" fmla="*/ 86182 w 556"/>
                <a:gd name="T85" fmla="*/ 231453 h 819"/>
                <a:gd name="T86" fmla="*/ 100252 w 556"/>
                <a:gd name="T87" fmla="*/ 226181 h 819"/>
                <a:gd name="T88" fmla="*/ 110366 w 556"/>
                <a:gd name="T89" fmla="*/ 213527 h 819"/>
                <a:gd name="T90" fmla="*/ 116521 w 556"/>
                <a:gd name="T91" fmla="*/ 199820 h 819"/>
                <a:gd name="T92" fmla="*/ 130152 w 556"/>
                <a:gd name="T93" fmla="*/ 182948 h 819"/>
                <a:gd name="T94" fmla="*/ 155655 w 556"/>
                <a:gd name="T95" fmla="*/ 154478 h 819"/>
                <a:gd name="T96" fmla="*/ 165768 w 556"/>
                <a:gd name="T97" fmla="*/ 140243 h 819"/>
                <a:gd name="T98" fmla="*/ 142464 w 556"/>
                <a:gd name="T99" fmla="*/ 129698 h 819"/>
                <a:gd name="T100" fmla="*/ 113004 w 556"/>
                <a:gd name="T101" fmla="*/ 120208 h 819"/>
                <a:gd name="T102" fmla="*/ 80905 w 556"/>
                <a:gd name="T103" fmla="*/ 110191 h 819"/>
                <a:gd name="T104" fmla="*/ 65516 w 556"/>
                <a:gd name="T105" fmla="*/ 98592 h 819"/>
                <a:gd name="T106" fmla="*/ 49247 w 556"/>
                <a:gd name="T107" fmla="*/ 81193 h 819"/>
                <a:gd name="T108" fmla="*/ 39134 w 556"/>
                <a:gd name="T109" fmla="*/ 63795 h 819"/>
                <a:gd name="T110" fmla="*/ 33857 w 556"/>
                <a:gd name="T111" fmla="*/ 42178 h 819"/>
                <a:gd name="T112" fmla="*/ 28581 w 556"/>
                <a:gd name="T113" fmla="*/ 45869 h 819"/>
                <a:gd name="T114" fmla="*/ 36935 w 556"/>
                <a:gd name="T115" fmla="*/ 35852 h 819"/>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556" h="819">
                  <a:moveTo>
                    <a:pt x="84" y="68"/>
                  </a:moveTo>
                  <a:lnTo>
                    <a:pt x="90" y="66"/>
                  </a:lnTo>
                  <a:lnTo>
                    <a:pt x="98" y="62"/>
                  </a:lnTo>
                  <a:lnTo>
                    <a:pt x="103" y="59"/>
                  </a:lnTo>
                  <a:lnTo>
                    <a:pt x="108" y="58"/>
                  </a:lnTo>
                  <a:lnTo>
                    <a:pt x="112" y="56"/>
                  </a:lnTo>
                  <a:lnTo>
                    <a:pt x="118" y="56"/>
                  </a:lnTo>
                  <a:lnTo>
                    <a:pt x="122" y="62"/>
                  </a:lnTo>
                  <a:lnTo>
                    <a:pt x="129" y="69"/>
                  </a:lnTo>
                  <a:lnTo>
                    <a:pt x="134" y="75"/>
                  </a:lnTo>
                  <a:lnTo>
                    <a:pt x="141" y="81"/>
                  </a:lnTo>
                  <a:lnTo>
                    <a:pt x="149" y="85"/>
                  </a:lnTo>
                  <a:lnTo>
                    <a:pt x="155" y="89"/>
                  </a:lnTo>
                  <a:lnTo>
                    <a:pt x="163" y="91"/>
                  </a:lnTo>
                  <a:lnTo>
                    <a:pt x="171" y="92"/>
                  </a:lnTo>
                  <a:lnTo>
                    <a:pt x="186" y="91"/>
                  </a:lnTo>
                  <a:lnTo>
                    <a:pt x="200" y="90"/>
                  </a:lnTo>
                  <a:lnTo>
                    <a:pt x="215" y="88"/>
                  </a:lnTo>
                  <a:lnTo>
                    <a:pt x="230" y="86"/>
                  </a:lnTo>
                  <a:lnTo>
                    <a:pt x="244" y="84"/>
                  </a:lnTo>
                  <a:lnTo>
                    <a:pt x="257" y="82"/>
                  </a:lnTo>
                  <a:lnTo>
                    <a:pt x="271" y="80"/>
                  </a:lnTo>
                  <a:lnTo>
                    <a:pt x="284" y="80"/>
                  </a:lnTo>
                  <a:lnTo>
                    <a:pt x="291" y="79"/>
                  </a:lnTo>
                  <a:lnTo>
                    <a:pt x="297" y="78"/>
                  </a:lnTo>
                  <a:lnTo>
                    <a:pt x="300" y="76"/>
                  </a:lnTo>
                  <a:lnTo>
                    <a:pt x="301" y="74"/>
                  </a:lnTo>
                  <a:lnTo>
                    <a:pt x="301" y="72"/>
                  </a:lnTo>
                  <a:lnTo>
                    <a:pt x="301" y="70"/>
                  </a:lnTo>
                  <a:lnTo>
                    <a:pt x="301" y="68"/>
                  </a:lnTo>
                  <a:lnTo>
                    <a:pt x="303" y="68"/>
                  </a:lnTo>
                  <a:lnTo>
                    <a:pt x="327" y="67"/>
                  </a:lnTo>
                  <a:lnTo>
                    <a:pt x="355" y="63"/>
                  </a:lnTo>
                  <a:lnTo>
                    <a:pt x="386" y="58"/>
                  </a:lnTo>
                  <a:lnTo>
                    <a:pt x="418" y="50"/>
                  </a:lnTo>
                  <a:lnTo>
                    <a:pt x="434" y="45"/>
                  </a:lnTo>
                  <a:lnTo>
                    <a:pt x="450" y="40"/>
                  </a:lnTo>
                  <a:lnTo>
                    <a:pt x="465" y="34"/>
                  </a:lnTo>
                  <a:lnTo>
                    <a:pt x="479" y="28"/>
                  </a:lnTo>
                  <a:lnTo>
                    <a:pt x="492" y="22"/>
                  </a:lnTo>
                  <a:lnTo>
                    <a:pt x="504" y="15"/>
                  </a:lnTo>
                  <a:lnTo>
                    <a:pt x="514" y="8"/>
                  </a:lnTo>
                  <a:lnTo>
                    <a:pt x="523" y="0"/>
                  </a:lnTo>
                  <a:lnTo>
                    <a:pt x="536" y="17"/>
                  </a:lnTo>
                  <a:lnTo>
                    <a:pt x="547" y="31"/>
                  </a:lnTo>
                  <a:lnTo>
                    <a:pt x="551" y="39"/>
                  </a:lnTo>
                  <a:lnTo>
                    <a:pt x="554" y="48"/>
                  </a:lnTo>
                  <a:lnTo>
                    <a:pt x="555" y="57"/>
                  </a:lnTo>
                  <a:lnTo>
                    <a:pt x="556" y="68"/>
                  </a:lnTo>
                  <a:lnTo>
                    <a:pt x="555" y="90"/>
                  </a:lnTo>
                  <a:lnTo>
                    <a:pt x="552" y="113"/>
                  </a:lnTo>
                  <a:lnTo>
                    <a:pt x="546" y="133"/>
                  </a:lnTo>
                  <a:lnTo>
                    <a:pt x="540" y="153"/>
                  </a:lnTo>
                  <a:lnTo>
                    <a:pt x="532" y="174"/>
                  </a:lnTo>
                  <a:lnTo>
                    <a:pt x="523" y="193"/>
                  </a:lnTo>
                  <a:lnTo>
                    <a:pt x="512" y="212"/>
                  </a:lnTo>
                  <a:lnTo>
                    <a:pt x="502" y="231"/>
                  </a:lnTo>
                  <a:lnTo>
                    <a:pt x="479" y="267"/>
                  </a:lnTo>
                  <a:lnTo>
                    <a:pt x="458" y="303"/>
                  </a:lnTo>
                  <a:lnTo>
                    <a:pt x="447" y="321"/>
                  </a:lnTo>
                  <a:lnTo>
                    <a:pt x="439" y="339"/>
                  </a:lnTo>
                  <a:lnTo>
                    <a:pt x="430" y="357"/>
                  </a:lnTo>
                  <a:lnTo>
                    <a:pt x="423" y="375"/>
                  </a:lnTo>
                  <a:lnTo>
                    <a:pt x="419" y="390"/>
                  </a:lnTo>
                  <a:lnTo>
                    <a:pt x="414" y="403"/>
                  </a:lnTo>
                  <a:lnTo>
                    <a:pt x="410" y="415"/>
                  </a:lnTo>
                  <a:lnTo>
                    <a:pt x="404" y="427"/>
                  </a:lnTo>
                  <a:lnTo>
                    <a:pt x="392" y="452"/>
                  </a:lnTo>
                  <a:lnTo>
                    <a:pt x="379" y="473"/>
                  </a:lnTo>
                  <a:lnTo>
                    <a:pt x="364" y="495"/>
                  </a:lnTo>
                  <a:lnTo>
                    <a:pt x="347" y="514"/>
                  </a:lnTo>
                  <a:lnTo>
                    <a:pt x="330" y="531"/>
                  </a:lnTo>
                  <a:lnTo>
                    <a:pt x="310" y="549"/>
                  </a:lnTo>
                  <a:lnTo>
                    <a:pt x="300" y="558"/>
                  </a:lnTo>
                  <a:lnTo>
                    <a:pt x="288" y="566"/>
                  </a:lnTo>
                  <a:lnTo>
                    <a:pt x="277" y="575"/>
                  </a:lnTo>
                  <a:lnTo>
                    <a:pt x="264" y="583"/>
                  </a:lnTo>
                  <a:lnTo>
                    <a:pt x="239" y="600"/>
                  </a:lnTo>
                  <a:lnTo>
                    <a:pt x="213" y="617"/>
                  </a:lnTo>
                  <a:lnTo>
                    <a:pt x="189" y="634"/>
                  </a:lnTo>
                  <a:lnTo>
                    <a:pt x="168" y="651"/>
                  </a:lnTo>
                  <a:lnTo>
                    <a:pt x="159" y="661"/>
                  </a:lnTo>
                  <a:lnTo>
                    <a:pt x="150" y="670"/>
                  </a:lnTo>
                  <a:lnTo>
                    <a:pt x="143" y="680"/>
                  </a:lnTo>
                  <a:lnTo>
                    <a:pt x="138" y="690"/>
                  </a:lnTo>
                  <a:lnTo>
                    <a:pt x="134" y="695"/>
                  </a:lnTo>
                  <a:lnTo>
                    <a:pt x="131" y="700"/>
                  </a:lnTo>
                  <a:lnTo>
                    <a:pt x="128" y="705"/>
                  </a:lnTo>
                  <a:lnTo>
                    <a:pt x="125" y="709"/>
                  </a:lnTo>
                  <a:lnTo>
                    <a:pt x="116" y="717"/>
                  </a:lnTo>
                  <a:lnTo>
                    <a:pt x="107" y="723"/>
                  </a:lnTo>
                  <a:lnTo>
                    <a:pt x="88" y="733"/>
                  </a:lnTo>
                  <a:lnTo>
                    <a:pt x="71" y="745"/>
                  </a:lnTo>
                  <a:lnTo>
                    <a:pt x="52" y="763"/>
                  </a:lnTo>
                  <a:lnTo>
                    <a:pt x="36" y="783"/>
                  </a:lnTo>
                  <a:lnTo>
                    <a:pt x="19" y="801"/>
                  </a:lnTo>
                  <a:lnTo>
                    <a:pt x="5" y="819"/>
                  </a:lnTo>
                  <a:lnTo>
                    <a:pt x="5" y="567"/>
                  </a:lnTo>
                  <a:lnTo>
                    <a:pt x="2" y="564"/>
                  </a:lnTo>
                  <a:lnTo>
                    <a:pt x="0" y="560"/>
                  </a:lnTo>
                  <a:lnTo>
                    <a:pt x="0" y="557"/>
                  </a:lnTo>
                  <a:lnTo>
                    <a:pt x="3" y="554"/>
                  </a:lnTo>
                  <a:lnTo>
                    <a:pt x="8" y="547"/>
                  </a:lnTo>
                  <a:lnTo>
                    <a:pt x="17" y="540"/>
                  </a:lnTo>
                  <a:lnTo>
                    <a:pt x="27" y="533"/>
                  </a:lnTo>
                  <a:lnTo>
                    <a:pt x="36" y="525"/>
                  </a:lnTo>
                  <a:lnTo>
                    <a:pt x="39" y="521"/>
                  </a:lnTo>
                  <a:lnTo>
                    <a:pt x="42" y="516"/>
                  </a:lnTo>
                  <a:lnTo>
                    <a:pt x="43" y="511"/>
                  </a:lnTo>
                  <a:lnTo>
                    <a:pt x="44" y="505"/>
                  </a:lnTo>
                  <a:lnTo>
                    <a:pt x="60" y="497"/>
                  </a:lnTo>
                  <a:lnTo>
                    <a:pt x="75" y="490"/>
                  </a:lnTo>
                  <a:lnTo>
                    <a:pt x="92" y="485"/>
                  </a:lnTo>
                  <a:lnTo>
                    <a:pt x="111" y="480"/>
                  </a:lnTo>
                  <a:lnTo>
                    <a:pt x="114" y="479"/>
                  </a:lnTo>
                  <a:lnTo>
                    <a:pt x="116" y="475"/>
                  </a:lnTo>
                  <a:lnTo>
                    <a:pt x="119" y="470"/>
                  </a:lnTo>
                  <a:lnTo>
                    <a:pt x="121" y="464"/>
                  </a:lnTo>
                  <a:lnTo>
                    <a:pt x="125" y="458"/>
                  </a:lnTo>
                  <a:lnTo>
                    <a:pt x="129" y="452"/>
                  </a:lnTo>
                  <a:lnTo>
                    <a:pt x="132" y="447"/>
                  </a:lnTo>
                  <a:lnTo>
                    <a:pt x="138" y="444"/>
                  </a:lnTo>
                  <a:lnTo>
                    <a:pt x="152" y="440"/>
                  </a:lnTo>
                  <a:lnTo>
                    <a:pt x="162" y="439"/>
                  </a:lnTo>
                  <a:lnTo>
                    <a:pt x="168" y="438"/>
                  </a:lnTo>
                  <a:lnTo>
                    <a:pt x="174" y="439"/>
                  </a:lnTo>
                  <a:lnTo>
                    <a:pt x="179" y="439"/>
                  </a:lnTo>
                  <a:lnTo>
                    <a:pt x="186" y="440"/>
                  </a:lnTo>
                  <a:lnTo>
                    <a:pt x="196" y="439"/>
                  </a:lnTo>
                  <a:lnTo>
                    <a:pt x="210" y="438"/>
                  </a:lnTo>
                  <a:lnTo>
                    <a:pt x="220" y="434"/>
                  </a:lnTo>
                  <a:lnTo>
                    <a:pt x="228" y="429"/>
                  </a:lnTo>
                  <a:lnTo>
                    <a:pt x="235" y="424"/>
                  </a:lnTo>
                  <a:lnTo>
                    <a:pt x="241" y="418"/>
                  </a:lnTo>
                  <a:lnTo>
                    <a:pt x="251" y="405"/>
                  </a:lnTo>
                  <a:lnTo>
                    <a:pt x="257" y="394"/>
                  </a:lnTo>
                  <a:lnTo>
                    <a:pt x="261" y="387"/>
                  </a:lnTo>
                  <a:lnTo>
                    <a:pt x="265" y="379"/>
                  </a:lnTo>
                  <a:lnTo>
                    <a:pt x="272" y="371"/>
                  </a:lnTo>
                  <a:lnTo>
                    <a:pt x="278" y="363"/>
                  </a:lnTo>
                  <a:lnTo>
                    <a:pt x="296" y="347"/>
                  </a:lnTo>
                  <a:lnTo>
                    <a:pt x="316" y="329"/>
                  </a:lnTo>
                  <a:lnTo>
                    <a:pt x="335" y="310"/>
                  </a:lnTo>
                  <a:lnTo>
                    <a:pt x="354" y="293"/>
                  </a:lnTo>
                  <a:lnTo>
                    <a:pt x="363" y="284"/>
                  </a:lnTo>
                  <a:lnTo>
                    <a:pt x="370" y="276"/>
                  </a:lnTo>
                  <a:lnTo>
                    <a:pt x="377" y="266"/>
                  </a:lnTo>
                  <a:lnTo>
                    <a:pt x="384" y="258"/>
                  </a:lnTo>
                  <a:lnTo>
                    <a:pt x="351" y="252"/>
                  </a:lnTo>
                  <a:lnTo>
                    <a:pt x="324" y="246"/>
                  </a:lnTo>
                  <a:lnTo>
                    <a:pt x="300" y="240"/>
                  </a:lnTo>
                  <a:lnTo>
                    <a:pt x="278" y="234"/>
                  </a:lnTo>
                  <a:lnTo>
                    <a:pt x="257" y="228"/>
                  </a:lnTo>
                  <a:lnTo>
                    <a:pt x="235" y="223"/>
                  </a:lnTo>
                  <a:lnTo>
                    <a:pt x="211" y="216"/>
                  </a:lnTo>
                  <a:lnTo>
                    <a:pt x="184" y="209"/>
                  </a:lnTo>
                  <a:lnTo>
                    <a:pt x="177" y="205"/>
                  </a:lnTo>
                  <a:lnTo>
                    <a:pt x="165" y="198"/>
                  </a:lnTo>
                  <a:lnTo>
                    <a:pt x="149" y="187"/>
                  </a:lnTo>
                  <a:lnTo>
                    <a:pt x="131" y="173"/>
                  </a:lnTo>
                  <a:lnTo>
                    <a:pt x="121" y="164"/>
                  </a:lnTo>
                  <a:lnTo>
                    <a:pt x="112" y="154"/>
                  </a:lnTo>
                  <a:lnTo>
                    <a:pt x="104" y="144"/>
                  </a:lnTo>
                  <a:lnTo>
                    <a:pt x="96" y="133"/>
                  </a:lnTo>
                  <a:lnTo>
                    <a:pt x="89" y="121"/>
                  </a:lnTo>
                  <a:lnTo>
                    <a:pt x="84" y="109"/>
                  </a:lnTo>
                  <a:lnTo>
                    <a:pt x="79" y="94"/>
                  </a:lnTo>
                  <a:lnTo>
                    <a:pt x="77" y="80"/>
                  </a:lnTo>
                  <a:lnTo>
                    <a:pt x="69" y="86"/>
                  </a:lnTo>
                  <a:lnTo>
                    <a:pt x="64" y="88"/>
                  </a:lnTo>
                  <a:lnTo>
                    <a:pt x="65" y="87"/>
                  </a:lnTo>
                  <a:lnTo>
                    <a:pt x="69" y="83"/>
                  </a:lnTo>
                  <a:lnTo>
                    <a:pt x="78" y="73"/>
                  </a:lnTo>
                  <a:lnTo>
                    <a:pt x="84" y="6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4" name="Freeform 357">
              <a:extLst>
                <a:ext uri="{FF2B5EF4-FFF2-40B4-BE49-F238E27FC236}">
                  <a16:creationId xmlns:a16="http://schemas.microsoft.com/office/drawing/2014/main" id="{1F6F31FA-82FB-4F29-B8DE-DF02F3EA21CE}"/>
                </a:ext>
              </a:extLst>
            </p:cNvPr>
            <p:cNvSpPr>
              <a:spLocks/>
            </p:cNvSpPr>
            <p:nvPr>
              <p:custDataLst>
                <p:tags r:id="rId260"/>
              </p:custDataLst>
            </p:nvPr>
          </p:nvSpPr>
          <p:spPr bwMode="auto">
            <a:xfrm>
              <a:off x="5049832" y="3262287"/>
              <a:ext cx="38100" cy="58737"/>
            </a:xfrm>
            <a:custGeom>
              <a:avLst/>
              <a:gdLst>
                <a:gd name="T0" fmla="*/ 26138 w 86"/>
                <a:gd name="T1" fmla="*/ 0 h 97"/>
                <a:gd name="T2" fmla="*/ 24809 w 86"/>
                <a:gd name="T3" fmla="*/ 1211 h 97"/>
                <a:gd name="T4" fmla="*/ 23037 w 86"/>
                <a:gd name="T5" fmla="*/ 1817 h 97"/>
                <a:gd name="T6" fmla="*/ 20379 w 86"/>
                <a:gd name="T7" fmla="*/ 1817 h 97"/>
                <a:gd name="T8" fmla="*/ 17721 w 86"/>
                <a:gd name="T9" fmla="*/ 1817 h 97"/>
                <a:gd name="T10" fmla="*/ 14620 w 86"/>
                <a:gd name="T11" fmla="*/ 1817 h 97"/>
                <a:gd name="T12" fmla="*/ 11962 w 86"/>
                <a:gd name="T13" fmla="*/ 1817 h 97"/>
                <a:gd name="T14" fmla="*/ 10190 w 86"/>
                <a:gd name="T15" fmla="*/ 2422 h 97"/>
                <a:gd name="T16" fmla="*/ 8860 w 86"/>
                <a:gd name="T17" fmla="*/ 3633 h 97"/>
                <a:gd name="T18" fmla="*/ 7088 w 86"/>
                <a:gd name="T19" fmla="*/ 5450 h 97"/>
                <a:gd name="T20" fmla="*/ 5759 w 86"/>
                <a:gd name="T21" fmla="*/ 7266 h 97"/>
                <a:gd name="T22" fmla="*/ 4873 w 86"/>
                <a:gd name="T23" fmla="*/ 9083 h 97"/>
                <a:gd name="T24" fmla="*/ 3544 w 86"/>
                <a:gd name="T25" fmla="*/ 12111 h 97"/>
                <a:gd name="T26" fmla="*/ 1772 w 86"/>
                <a:gd name="T27" fmla="*/ 17561 h 97"/>
                <a:gd name="T28" fmla="*/ 886 w 86"/>
                <a:gd name="T29" fmla="*/ 23010 h 97"/>
                <a:gd name="T30" fmla="*/ 0 w 86"/>
                <a:gd name="T31" fmla="*/ 34516 h 97"/>
                <a:gd name="T32" fmla="*/ 0 w 86"/>
                <a:gd name="T33" fmla="*/ 45415 h 97"/>
                <a:gd name="T34" fmla="*/ 0 w 86"/>
                <a:gd name="T35" fmla="*/ 49048 h 97"/>
                <a:gd name="T36" fmla="*/ 443 w 86"/>
                <a:gd name="T37" fmla="*/ 52076 h 97"/>
                <a:gd name="T38" fmla="*/ 1329 w 86"/>
                <a:gd name="T39" fmla="*/ 54498 h 97"/>
                <a:gd name="T40" fmla="*/ 3101 w 86"/>
                <a:gd name="T41" fmla="*/ 56315 h 97"/>
                <a:gd name="T42" fmla="*/ 4430 w 86"/>
                <a:gd name="T43" fmla="*/ 57526 h 97"/>
                <a:gd name="T44" fmla="*/ 5759 w 86"/>
                <a:gd name="T45" fmla="*/ 58131 h 97"/>
                <a:gd name="T46" fmla="*/ 7974 w 86"/>
                <a:gd name="T47" fmla="*/ 58737 h 97"/>
                <a:gd name="T48" fmla="*/ 9303 w 86"/>
                <a:gd name="T49" fmla="*/ 58737 h 97"/>
                <a:gd name="T50" fmla="*/ 17721 w 86"/>
                <a:gd name="T51" fmla="*/ 57526 h 97"/>
                <a:gd name="T52" fmla="*/ 23480 w 86"/>
                <a:gd name="T53" fmla="*/ 56315 h 97"/>
                <a:gd name="T54" fmla="*/ 38100 w 86"/>
                <a:gd name="T55" fmla="*/ 41176 h 97"/>
                <a:gd name="T56" fmla="*/ 26138 w 86"/>
                <a:gd name="T57" fmla="*/ 0 h 9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6" h="97">
                  <a:moveTo>
                    <a:pt x="59" y="0"/>
                  </a:moveTo>
                  <a:lnTo>
                    <a:pt x="56" y="2"/>
                  </a:lnTo>
                  <a:lnTo>
                    <a:pt x="52" y="3"/>
                  </a:lnTo>
                  <a:lnTo>
                    <a:pt x="46" y="3"/>
                  </a:lnTo>
                  <a:lnTo>
                    <a:pt x="40" y="3"/>
                  </a:lnTo>
                  <a:lnTo>
                    <a:pt x="33" y="3"/>
                  </a:lnTo>
                  <a:lnTo>
                    <a:pt x="27" y="3"/>
                  </a:lnTo>
                  <a:lnTo>
                    <a:pt x="23" y="4"/>
                  </a:lnTo>
                  <a:lnTo>
                    <a:pt x="20" y="6"/>
                  </a:lnTo>
                  <a:lnTo>
                    <a:pt x="16" y="9"/>
                  </a:lnTo>
                  <a:lnTo>
                    <a:pt x="13" y="12"/>
                  </a:lnTo>
                  <a:lnTo>
                    <a:pt x="11" y="15"/>
                  </a:lnTo>
                  <a:lnTo>
                    <a:pt x="8" y="20"/>
                  </a:lnTo>
                  <a:lnTo>
                    <a:pt x="4" y="29"/>
                  </a:lnTo>
                  <a:lnTo>
                    <a:pt x="2" y="38"/>
                  </a:lnTo>
                  <a:lnTo>
                    <a:pt x="0" y="57"/>
                  </a:lnTo>
                  <a:lnTo>
                    <a:pt x="0" y="75"/>
                  </a:lnTo>
                  <a:lnTo>
                    <a:pt x="0" y="81"/>
                  </a:lnTo>
                  <a:lnTo>
                    <a:pt x="1" y="86"/>
                  </a:lnTo>
                  <a:lnTo>
                    <a:pt x="3" y="90"/>
                  </a:lnTo>
                  <a:lnTo>
                    <a:pt x="7" y="93"/>
                  </a:lnTo>
                  <a:lnTo>
                    <a:pt x="10" y="95"/>
                  </a:lnTo>
                  <a:lnTo>
                    <a:pt x="13" y="96"/>
                  </a:lnTo>
                  <a:lnTo>
                    <a:pt x="18" y="97"/>
                  </a:lnTo>
                  <a:lnTo>
                    <a:pt x="21" y="97"/>
                  </a:lnTo>
                  <a:lnTo>
                    <a:pt x="40" y="95"/>
                  </a:lnTo>
                  <a:lnTo>
                    <a:pt x="53" y="93"/>
                  </a:lnTo>
                  <a:lnTo>
                    <a:pt x="86" y="68"/>
                  </a:lnTo>
                  <a:lnTo>
                    <a:pt x="59"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5" name="Freeform 358">
              <a:extLst>
                <a:ext uri="{FF2B5EF4-FFF2-40B4-BE49-F238E27FC236}">
                  <a16:creationId xmlns:a16="http://schemas.microsoft.com/office/drawing/2014/main" id="{4762A2E8-6BD4-439F-B1CF-F846755D2A23}"/>
                </a:ext>
              </a:extLst>
            </p:cNvPr>
            <p:cNvSpPr>
              <a:spLocks/>
            </p:cNvSpPr>
            <p:nvPr>
              <p:custDataLst>
                <p:tags r:id="rId261"/>
              </p:custDataLst>
            </p:nvPr>
          </p:nvSpPr>
          <p:spPr bwMode="auto">
            <a:xfrm>
              <a:off x="4848219" y="3173388"/>
              <a:ext cx="363537" cy="376234"/>
            </a:xfrm>
            <a:custGeom>
              <a:avLst/>
              <a:gdLst>
                <a:gd name="T0" fmla="*/ 78300 w 845"/>
                <a:gd name="T1" fmla="*/ 18812 h 720"/>
                <a:gd name="T2" fmla="*/ 88196 w 845"/>
                <a:gd name="T3" fmla="*/ 14631 h 720"/>
                <a:gd name="T4" fmla="*/ 106265 w 845"/>
                <a:gd name="T5" fmla="*/ 0 h 720"/>
                <a:gd name="T6" fmla="*/ 117451 w 845"/>
                <a:gd name="T7" fmla="*/ 6271 h 720"/>
                <a:gd name="T8" fmla="*/ 140683 w 845"/>
                <a:gd name="T9" fmla="*/ 19334 h 720"/>
                <a:gd name="T10" fmla="*/ 163485 w 845"/>
                <a:gd name="T11" fmla="*/ 35011 h 720"/>
                <a:gd name="T12" fmla="*/ 183275 w 845"/>
                <a:gd name="T13" fmla="*/ 51210 h 720"/>
                <a:gd name="T14" fmla="*/ 190158 w 845"/>
                <a:gd name="T15" fmla="*/ 65319 h 720"/>
                <a:gd name="T16" fmla="*/ 190589 w 845"/>
                <a:gd name="T17" fmla="*/ 73157 h 720"/>
                <a:gd name="T18" fmla="*/ 197042 w 845"/>
                <a:gd name="T19" fmla="*/ 76815 h 720"/>
                <a:gd name="T20" fmla="*/ 214681 w 845"/>
                <a:gd name="T21" fmla="*/ 93014 h 720"/>
                <a:gd name="T22" fmla="*/ 217693 w 845"/>
                <a:gd name="T23" fmla="*/ 89879 h 720"/>
                <a:gd name="T24" fmla="*/ 209949 w 845"/>
                <a:gd name="T25" fmla="*/ 96149 h 720"/>
                <a:gd name="T26" fmla="*/ 206937 w 845"/>
                <a:gd name="T27" fmla="*/ 105555 h 720"/>
                <a:gd name="T28" fmla="*/ 206937 w 845"/>
                <a:gd name="T29" fmla="*/ 131683 h 720"/>
                <a:gd name="T30" fmla="*/ 212100 w 845"/>
                <a:gd name="T31" fmla="*/ 137954 h 720"/>
                <a:gd name="T32" fmla="*/ 226297 w 845"/>
                <a:gd name="T33" fmla="*/ 138476 h 720"/>
                <a:gd name="T34" fmla="*/ 234471 w 845"/>
                <a:gd name="T35" fmla="*/ 166694 h 720"/>
                <a:gd name="T36" fmla="*/ 250820 w 845"/>
                <a:gd name="T37" fmla="*/ 188641 h 720"/>
                <a:gd name="T38" fmla="*/ 277494 w 845"/>
                <a:gd name="T39" fmla="*/ 209021 h 720"/>
                <a:gd name="T40" fmla="*/ 317504 w 845"/>
                <a:gd name="T41" fmla="*/ 224697 h 720"/>
                <a:gd name="T42" fmla="*/ 363538 w 845"/>
                <a:gd name="T43" fmla="*/ 234626 h 720"/>
                <a:gd name="T44" fmla="*/ 348910 w 845"/>
                <a:gd name="T45" fmla="*/ 251870 h 720"/>
                <a:gd name="T46" fmla="*/ 314493 w 845"/>
                <a:gd name="T47" fmla="*/ 285836 h 720"/>
                <a:gd name="T48" fmla="*/ 306318 w 845"/>
                <a:gd name="T49" fmla="*/ 302557 h 720"/>
                <a:gd name="T50" fmla="*/ 299865 w 845"/>
                <a:gd name="T51" fmla="*/ 322414 h 720"/>
                <a:gd name="T52" fmla="*/ 289970 w 845"/>
                <a:gd name="T53" fmla="*/ 328685 h 720"/>
                <a:gd name="T54" fmla="*/ 249529 w 845"/>
                <a:gd name="T55" fmla="*/ 342271 h 720"/>
                <a:gd name="T56" fmla="*/ 240494 w 845"/>
                <a:gd name="T57" fmla="*/ 350632 h 720"/>
                <a:gd name="T58" fmla="*/ 225867 w 845"/>
                <a:gd name="T59" fmla="*/ 355857 h 720"/>
                <a:gd name="T60" fmla="*/ 207367 w 845"/>
                <a:gd name="T61" fmla="*/ 362128 h 720"/>
                <a:gd name="T62" fmla="*/ 198333 w 845"/>
                <a:gd name="T63" fmla="*/ 355335 h 720"/>
                <a:gd name="T64" fmla="*/ 183705 w 845"/>
                <a:gd name="T65" fmla="*/ 354812 h 720"/>
                <a:gd name="T66" fmla="*/ 174240 w 845"/>
                <a:gd name="T67" fmla="*/ 365263 h 720"/>
                <a:gd name="T68" fmla="*/ 167787 w 845"/>
                <a:gd name="T69" fmla="*/ 373102 h 720"/>
                <a:gd name="T70" fmla="*/ 154880 w 845"/>
                <a:gd name="T71" fmla="*/ 376237 h 720"/>
                <a:gd name="T72" fmla="*/ 136811 w 845"/>
                <a:gd name="T73" fmla="*/ 373102 h 720"/>
                <a:gd name="T74" fmla="*/ 124334 w 845"/>
                <a:gd name="T75" fmla="*/ 364741 h 720"/>
                <a:gd name="T76" fmla="*/ 105835 w 845"/>
                <a:gd name="T77" fmla="*/ 350632 h 720"/>
                <a:gd name="T78" fmla="*/ 77870 w 845"/>
                <a:gd name="T79" fmla="*/ 345406 h 720"/>
                <a:gd name="T80" fmla="*/ 60231 w 845"/>
                <a:gd name="T81" fmla="*/ 341226 h 720"/>
                <a:gd name="T82" fmla="*/ 64964 w 845"/>
                <a:gd name="T83" fmla="*/ 320847 h 720"/>
                <a:gd name="T84" fmla="*/ 54638 w 845"/>
                <a:gd name="T85" fmla="*/ 311441 h 720"/>
                <a:gd name="T86" fmla="*/ 46464 w 845"/>
                <a:gd name="T87" fmla="*/ 304647 h 720"/>
                <a:gd name="T88" fmla="*/ 40011 w 845"/>
                <a:gd name="T89" fmla="*/ 287926 h 720"/>
                <a:gd name="T90" fmla="*/ 33127 w 845"/>
                <a:gd name="T91" fmla="*/ 267024 h 720"/>
                <a:gd name="T92" fmla="*/ 21081 w 845"/>
                <a:gd name="T93" fmla="*/ 255528 h 720"/>
                <a:gd name="T94" fmla="*/ 6884 w 845"/>
                <a:gd name="T95" fmla="*/ 249257 h 720"/>
                <a:gd name="T96" fmla="*/ 2151 w 845"/>
                <a:gd name="T97" fmla="*/ 246644 h 720"/>
                <a:gd name="T98" fmla="*/ 860 w 845"/>
                <a:gd name="T99" fmla="*/ 234103 h 720"/>
                <a:gd name="T100" fmla="*/ 9035 w 845"/>
                <a:gd name="T101" fmla="*/ 220517 h 720"/>
                <a:gd name="T102" fmla="*/ 23662 w 845"/>
                <a:gd name="T103" fmla="*/ 215814 h 720"/>
                <a:gd name="T104" fmla="*/ 28825 w 845"/>
                <a:gd name="T105" fmla="*/ 167739 h 720"/>
                <a:gd name="T106" fmla="*/ 35278 w 845"/>
                <a:gd name="T107" fmla="*/ 143702 h 720"/>
                <a:gd name="T108" fmla="*/ 40871 w 845"/>
                <a:gd name="T109" fmla="*/ 135863 h 720"/>
                <a:gd name="T110" fmla="*/ 44313 w 845"/>
                <a:gd name="T111" fmla="*/ 123322 h 720"/>
                <a:gd name="T112" fmla="*/ 49906 w 845"/>
                <a:gd name="T113" fmla="*/ 107646 h 720"/>
                <a:gd name="T114" fmla="*/ 63673 w 845"/>
                <a:gd name="T115" fmla="*/ 93014 h 720"/>
                <a:gd name="T116" fmla="*/ 71847 w 845"/>
                <a:gd name="T117" fmla="*/ 83608 h 72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845" h="720">
                  <a:moveTo>
                    <a:pt x="174" y="25"/>
                  </a:moveTo>
                  <a:lnTo>
                    <a:pt x="175" y="27"/>
                  </a:lnTo>
                  <a:lnTo>
                    <a:pt x="179" y="33"/>
                  </a:lnTo>
                  <a:lnTo>
                    <a:pt x="182" y="36"/>
                  </a:lnTo>
                  <a:lnTo>
                    <a:pt x="185" y="38"/>
                  </a:lnTo>
                  <a:lnTo>
                    <a:pt x="189" y="38"/>
                  </a:lnTo>
                  <a:lnTo>
                    <a:pt x="194" y="37"/>
                  </a:lnTo>
                  <a:lnTo>
                    <a:pt x="205" y="28"/>
                  </a:lnTo>
                  <a:lnTo>
                    <a:pt x="218" y="19"/>
                  </a:lnTo>
                  <a:lnTo>
                    <a:pt x="229" y="14"/>
                  </a:lnTo>
                  <a:lnTo>
                    <a:pt x="234" y="12"/>
                  </a:lnTo>
                  <a:lnTo>
                    <a:pt x="247" y="0"/>
                  </a:lnTo>
                  <a:lnTo>
                    <a:pt x="250" y="1"/>
                  </a:lnTo>
                  <a:lnTo>
                    <a:pt x="258" y="6"/>
                  </a:lnTo>
                  <a:lnTo>
                    <a:pt x="267" y="10"/>
                  </a:lnTo>
                  <a:lnTo>
                    <a:pt x="273" y="12"/>
                  </a:lnTo>
                  <a:lnTo>
                    <a:pt x="284" y="15"/>
                  </a:lnTo>
                  <a:lnTo>
                    <a:pt x="300" y="21"/>
                  </a:lnTo>
                  <a:lnTo>
                    <a:pt x="316" y="31"/>
                  </a:lnTo>
                  <a:lnTo>
                    <a:pt x="327" y="37"/>
                  </a:lnTo>
                  <a:lnTo>
                    <a:pt x="337" y="41"/>
                  </a:lnTo>
                  <a:lnTo>
                    <a:pt x="353" y="50"/>
                  </a:lnTo>
                  <a:lnTo>
                    <a:pt x="370" y="60"/>
                  </a:lnTo>
                  <a:lnTo>
                    <a:pt x="380" y="67"/>
                  </a:lnTo>
                  <a:lnTo>
                    <a:pt x="393" y="76"/>
                  </a:lnTo>
                  <a:lnTo>
                    <a:pt x="406" y="86"/>
                  </a:lnTo>
                  <a:lnTo>
                    <a:pt x="419" y="95"/>
                  </a:lnTo>
                  <a:lnTo>
                    <a:pt x="426" y="98"/>
                  </a:lnTo>
                  <a:lnTo>
                    <a:pt x="430" y="105"/>
                  </a:lnTo>
                  <a:lnTo>
                    <a:pt x="440" y="116"/>
                  </a:lnTo>
                  <a:lnTo>
                    <a:pt x="441" y="121"/>
                  </a:lnTo>
                  <a:lnTo>
                    <a:pt x="442" y="125"/>
                  </a:lnTo>
                  <a:lnTo>
                    <a:pt x="443" y="130"/>
                  </a:lnTo>
                  <a:lnTo>
                    <a:pt x="443" y="134"/>
                  </a:lnTo>
                  <a:lnTo>
                    <a:pt x="443" y="137"/>
                  </a:lnTo>
                  <a:lnTo>
                    <a:pt x="443" y="140"/>
                  </a:lnTo>
                  <a:lnTo>
                    <a:pt x="444" y="141"/>
                  </a:lnTo>
                  <a:lnTo>
                    <a:pt x="447" y="142"/>
                  </a:lnTo>
                  <a:lnTo>
                    <a:pt x="450" y="143"/>
                  </a:lnTo>
                  <a:lnTo>
                    <a:pt x="458" y="147"/>
                  </a:lnTo>
                  <a:lnTo>
                    <a:pt x="466" y="153"/>
                  </a:lnTo>
                  <a:lnTo>
                    <a:pt x="475" y="160"/>
                  </a:lnTo>
                  <a:lnTo>
                    <a:pt x="492" y="172"/>
                  </a:lnTo>
                  <a:lnTo>
                    <a:pt x="499" y="178"/>
                  </a:lnTo>
                  <a:lnTo>
                    <a:pt x="500" y="175"/>
                  </a:lnTo>
                  <a:lnTo>
                    <a:pt x="503" y="173"/>
                  </a:lnTo>
                  <a:lnTo>
                    <a:pt x="505" y="172"/>
                  </a:lnTo>
                  <a:lnTo>
                    <a:pt x="506" y="172"/>
                  </a:lnTo>
                  <a:lnTo>
                    <a:pt x="500" y="174"/>
                  </a:lnTo>
                  <a:lnTo>
                    <a:pt x="495" y="177"/>
                  </a:lnTo>
                  <a:lnTo>
                    <a:pt x="492" y="181"/>
                  </a:lnTo>
                  <a:lnTo>
                    <a:pt x="488" y="184"/>
                  </a:lnTo>
                  <a:lnTo>
                    <a:pt x="485" y="189"/>
                  </a:lnTo>
                  <a:lnTo>
                    <a:pt x="483" y="193"/>
                  </a:lnTo>
                  <a:lnTo>
                    <a:pt x="482" y="197"/>
                  </a:lnTo>
                  <a:lnTo>
                    <a:pt x="481" y="202"/>
                  </a:lnTo>
                  <a:lnTo>
                    <a:pt x="478" y="221"/>
                  </a:lnTo>
                  <a:lnTo>
                    <a:pt x="480" y="240"/>
                  </a:lnTo>
                  <a:lnTo>
                    <a:pt x="480" y="247"/>
                  </a:lnTo>
                  <a:lnTo>
                    <a:pt x="481" y="252"/>
                  </a:lnTo>
                  <a:lnTo>
                    <a:pt x="483" y="256"/>
                  </a:lnTo>
                  <a:lnTo>
                    <a:pt x="486" y="260"/>
                  </a:lnTo>
                  <a:lnTo>
                    <a:pt x="488" y="262"/>
                  </a:lnTo>
                  <a:lnTo>
                    <a:pt x="493" y="264"/>
                  </a:lnTo>
                  <a:lnTo>
                    <a:pt x="496" y="265"/>
                  </a:lnTo>
                  <a:lnTo>
                    <a:pt x="500" y="266"/>
                  </a:lnTo>
                  <a:lnTo>
                    <a:pt x="516" y="266"/>
                  </a:lnTo>
                  <a:lnTo>
                    <a:pt x="526" y="265"/>
                  </a:lnTo>
                  <a:lnTo>
                    <a:pt x="528" y="279"/>
                  </a:lnTo>
                  <a:lnTo>
                    <a:pt x="532" y="293"/>
                  </a:lnTo>
                  <a:lnTo>
                    <a:pt x="538" y="307"/>
                  </a:lnTo>
                  <a:lnTo>
                    <a:pt x="545" y="319"/>
                  </a:lnTo>
                  <a:lnTo>
                    <a:pt x="554" y="330"/>
                  </a:lnTo>
                  <a:lnTo>
                    <a:pt x="563" y="341"/>
                  </a:lnTo>
                  <a:lnTo>
                    <a:pt x="573" y="351"/>
                  </a:lnTo>
                  <a:lnTo>
                    <a:pt x="583" y="361"/>
                  </a:lnTo>
                  <a:lnTo>
                    <a:pt x="604" y="376"/>
                  </a:lnTo>
                  <a:lnTo>
                    <a:pt x="622" y="388"/>
                  </a:lnTo>
                  <a:lnTo>
                    <a:pt x="637" y="396"/>
                  </a:lnTo>
                  <a:lnTo>
                    <a:pt x="645" y="400"/>
                  </a:lnTo>
                  <a:lnTo>
                    <a:pt x="673" y="408"/>
                  </a:lnTo>
                  <a:lnTo>
                    <a:pt x="696" y="417"/>
                  </a:lnTo>
                  <a:lnTo>
                    <a:pt x="718" y="424"/>
                  </a:lnTo>
                  <a:lnTo>
                    <a:pt x="738" y="430"/>
                  </a:lnTo>
                  <a:lnTo>
                    <a:pt x="758" y="435"/>
                  </a:lnTo>
                  <a:lnTo>
                    <a:pt x="783" y="440"/>
                  </a:lnTo>
                  <a:lnTo>
                    <a:pt x="811" y="445"/>
                  </a:lnTo>
                  <a:lnTo>
                    <a:pt x="845" y="449"/>
                  </a:lnTo>
                  <a:lnTo>
                    <a:pt x="838" y="457"/>
                  </a:lnTo>
                  <a:lnTo>
                    <a:pt x="830" y="465"/>
                  </a:lnTo>
                  <a:lnTo>
                    <a:pt x="821" y="474"/>
                  </a:lnTo>
                  <a:lnTo>
                    <a:pt x="811" y="482"/>
                  </a:lnTo>
                  <a:lnTo>
                    <a:pt x="790" y="498"/>
                  </a:lnTo>
                  <a:lnTo>
                    <a:pt x="768" y="514"/>
                  </a:lnTo>
                  <a:lnTo>
                    <a:pt x="749" y="531"/>
                  </a:lnTo>
                  <a:lnTo>
                    <a:pt x="731" y="547"/>
                  </a:lnTo>
                  <a:lnTo>
                    <a:pt x="723" y="555"/>
                  </a:lnTo>
                  <a:lnTo>
                    <a:pt x="718" y="562"/>
                  </a:lnTo>
                  <a:lnTo>
                    <a:pt x="715" y="570"/>
                  </a:lnTo>
                  <a:lnTo>
                    <a:pt x="712" y="579"/>
                  </a:lnTo>
                  <a:lnTo>
                    <a:pt x="709" y="592"/>
                  </a:lnTo>
                  <a:lnTo>
                    <a:pt x="706" y="602"/>
                  </a:lnTo>
                  <a:lnTo>
                    <a:pt x="701" y="610"/>
                  </a:lnTo>
                  <a:lnTo>
                    <a:pt x="697" y="617"/>
                  </a:lnTo>
                  <a:lnTo>
                    <a:pt x="693" y="622"/>
                  </a:lnTo>
                  <a:lnTo>
                    <a:pt x="686" y="625"/>
                  </a:lnTo>
                  <a:lnTo>
                    <a:pt x="681" y="628"/>
                  </a:lnTo>
                  <a:lnTo>
                    <a:pt x="674" y="629"/>
                  </a:lnTo>
                  <a:lnTo>
                    <a:pt x="643" y="630"/>
                  </a:lnTo>
                  <a:lnTo>
                    <a:pt x="606" y="635"/>
                  </a:lnTo>
                  <a:lnTo>
                    <a:pt x="594" y="643"/>
                  </a:lnTo>
                  <a:lnTo>
                    <a:pt x="580" y="655"/>
                  </a:lnTo>
                  <a:lnTo>
                    <a:pt x="573" y="661"/>
                  </a:lnTo>
                  <a:lnTo>
                    <a:pt x="567" y="666"/>
                  </a:lnTo>
                  <a:lnTo>
                    <a:pt x="563" y="670"/>
                  </a:lnTo>
                  <a:lnTo>
                    <a:pt x="559" y="671"/>
                  </a:lnTo>
                  <a:lnTo>
                    <a:pt x="548" y="673"/>
                  </a:lnTo>
                  <a:lnTo>
                    <a:pt x="539" y="676"/>
                  </a:lnTo>
                  <a:lnTo>
                    <a:pt x="531" y="678"/>
                  </a:lnTo>
                  <a:lnTo>
                    <a:pt x="525" y="681"/>
                  </a:lnTo>
                  <a:lnTo>
                    <a:pt x="513" y="687"/>
                  </a:lnTo>
                  <a:lnTo>
                    <a:pt x="499" y="696"/>
                  </a:lnTo>
                  <a:lnTo>
                    <a:pt x="488" y="696"/>
                  </a:lnTo>
                  <a:lnTo>
                    <a:pt x="482" y="693"/>
                  </a:lnTo>
                  <a:lnTo>
                    <a:pt x="476" y="691"/>
                  </a:lnTo>
                  <a:lnTo>
                    <a:pt x="472" y="686"/>
                  </a:lnTo>
                  <a:lnTo>
                    <a:pt x="468" y="683"/>
                  </a:lnTo>
                  <a:lnTo>
                    <a:pt x="461" y="680"/>
                  </a:lnTo>
                  <a:lnTo>
                    <a:pt x="452" y="678"/>
                  </a:lnTo>
                  <a:lnTo>
                    <a:pt x="440" y="677"/>
                  </a:lnTo>
                  <a:lnTo>
                    <a:pt x="432" y="678"/>
                  </a:lnTo>
                  <a:lnTo>
                    <a:pt x="427" y="679"/>
                  </a:lnTo>
                  <a:lnTo>
                    <a:pt x="421" y="681"/>
                  </a:lnTo>
                  <a:lnTo>
                    <a:pt x="418" y="684"/>
                  </a:lnTo>
                  <a:lnTo>
                    <a:pt x="410" y="692"/>
                  </a:lnTo>
                  <a:lnTo>
                    <a:pt x="405" y="699"/>
                  </a:lnTo>
                  <a:lnTo>
                    <a:pt x="402" y="703"/>
                  </a:lnTo>
                  <a:lnTo>
                    <a:pt x="398" y="707"/>
                  </a:lnTo>
                  <a:lnTo>
                    <a:pt x="394" y="711"/>
                  </a:lnTo>
                  <a:lnTo>
                    <a:pt x="390" y="714"/>
                  </a:lnTo>
                  <a:lnTo>
                    <a:pt x="383" y="717"/>
                  </a:lnTo>
                  <a:lnTo>
                    <a:pt x="376" y="719"/>
                  </a:lnTo>
                  <a:lnTo>
                    <a:pt x="369" y="720"/>
                  </a:lnTo>
                  <a:lnTo>
                    <a:pt x="360" y="720"/>
                  </a:lnTo>
                  <a:lnTo>
                    <a:pt x="348" y="720"/>
                  </a:lnTo>
                  <a:lnTo>
                    <a:pt x="337" y="719"/>
                  </a:lnTo>
                  <a:lnTo>
                    <a:pt x="327" y="717"/>
                  </a:lnTo>
                  <a:lnTo>
                    <a:pt x="318" y="714"/>
                  </a:lnTo>
                  <a:lnTo>
                    <a:pt x="310" y="710"/>
                  </a:lnTo>
                  <a:lnTo>
                    <a:pt x="303" y="706"/>
                  </a:lnTo>
                  <a:lnTo>
                    <a:pt x="295" y="702"/>
                  </a:lnTo>
                  <a:lnTo>
                    <a:pt x="289" y="698"/>
                  </a:lnTo>
                  <a:lnTo>
                    <a:pt x="275" y="688"/>
                  </a:lnTo>
                  <a:lnTo>
                    <a:pt x="261" y="679"/>
                  </a:lnTo>
                  <a:lnTo>
                    <a:pt x="253" y="675"/>
                  </a:lnTo>
                  <a:lnTo>
                    <a:pt x="246" y="671"/>
                  </a:lnTo>
                  <a:lnTo>
                    <a:pt x="237" y="668"/>
                  </a:lnTo>
                  <a:lnTo>
                    <a:pt x="227" y="665"/>
                  </a:lnTo>
                  <a:lnTo>
                    <a:pt x="205" y="662"/>
                  </a:lnTo>
                  <a:lnTo>
                    <a:pt x="181" y="661"/>
                  </a:lnTo>
                  <a:lnTo>
                    <a:pt x="170" y="660"/>
                  </a:lnTo>
                  <a:lnTo>
                    <a:pt x="159" y="659"/>
                  </a:lnTo>
                  <a:lnTo>
                    <a:pt x="149" y="657"/>
                  </a:lnTo>
                  <a:lnTo>
                    <a:pt x="140" y="653"/>
                  </a:lnTo>
                  <a:lnTo>
                    <a:pt x="149" y="632"/>
                  </a:lnTo>
                  <a:lnTo>
                    <a:pt x="153" y="622"/>
                  </a:lnTo>
                  <a:lnTo>
                    <a:pt x="152" y="618"/>
                  </a:lnTo>
                  <a:lnTo>
                    <a:pt x="151" y="614"/>
                  </a:lnTo>
                  <a:lnTo>
                    <a:pt x="147" y="607"/>
                  </a:lnTo>
                  <a:lnTo>
                    <a:pt x="140" y="597"/>
                  </a:lnTo>
                  <a:lnTo>
                    <a:pt x="134" y="597"/>
                  </a:lnTo>
                  <a:lnTo>
                    <a:pt x="127" y="596"/>
                  </a:lnTo>
                  <a:lnTo>
                    <a:pt x="122" y="593"/>
                  </a:lnTo>
                  <a:lnTo>
                    <a:pt x="116" y="590"/>
                  </a:lnTo>
                  <a:lnTo>
                    <a:pt x="112" y="587"/>
                  </a:lnTo>
                  <a:lnTo>
                    <a:pt x="108" y="583"/>
                  </a:lnTo>
                  <a:lnTo>
                    <a:pt x="104" y="577"/>
                  </a:lnTo>
                  <a:lnTo>
                    <a:pt x="102" y="572"/>
                  </a:lnTo>
                  <a:lnTo>
                    <a:pt x="96" y="562"/>
                  </a:lnTo>
                  <a:lnTo>
                    <a:pt x="93" y="551"/>
                  </a:lnTo>
                  <a:lnTo>
                    <a:pt x="90" y="540"/>
                  </a:lnTo>
                  <a:lnTo>
                    <a:pt x="88" y="530"/>
                  </a:lnTo>
                  <a:lnTo>
                    <a:pt x="82" y="519"/>
                  </a:lnTo>
                  <a:lnTo>
                    <a:pt x="77" y="511"/>
                  </a:lnTo>
                  <a:lnTo>
                    <a:pt x="70" y="505"/>
                  </a:lnTo>
                  <a:lnTo>
                    <a:pt x="63" y="499"/>
                  </a:lnTo>
                  <a:lnTo>
                    <a:pt x="57" y="494"/>
                  </a:lnTo>
                  <a:lnTo>
                    <a:pt x="49" y="489"/>
                  </a:lnTo>
                  <a:lnTo>
                    <a:pt x="41" y="483"/>
                  </a:lnTo>
                  <a:lnTo>
                    <a:pt x="34" y="474"/>
                  </a:lnTo>
                  <a:lnTo>
                    <a:pt x="24" y="477"/>
                  </a:lnTo>
                  <a:lnTo>
                    <a:pt x="16" y="477"/>
                  </a:lnTo>
                  <a:lnTo>
                    <a:pt x="12" y="476"/>
                  </a:lnTo>
                  <a:lnTo>
                    <a:pt x="10" y="475"/>
                  </a:lnTo>
                  <a:lnTo>
                    <a:pt x="6" y="474"/>
                  </a:lnTo>
                  <a:lnTo>
                    <a:pt x="5" y="472"/>
                  </a:lnTo>
                  <a:lnTo>
                    <a:pt x="2" y="467"/>
                  </a:lnTo>
                  <a:lnTo>
                    <a:pt x="0" y="461"/>
                  </a:lnTo>
                  <a:lnTo>
                    <a:pt x="1" y="454"/>
                  </a:lnTo>
                  <a:lnTo>
                    <a:pt x="2" y="448"/>
                  </a:lnTo>
                  <a:lnTo>
                    <a:pt x="5" y="441"/>
                  </a:lnTo>
                  <a:lnTo>
                    <a:pt x="9" y="434"/>
                  </a:lnTo>
                  <a:lnTo>
                    <a:pt x="14" y="428"/>
                  </a:lnTo>
                  <a:lnTo>
                    <a:pt x="21" y="422"/>
                  </a:lnTo>
                  <a:lnTo>
                    <a:pt x="27" y="418"/>
                  </a:lnTo>
                  <a:lnTo>
                    <a:pt x="36" y="415"/>
                  </a:lnTo>
                  <a:lnTo>
                    <a:pt x="45" y="413"/>
                  </a:lnTo>
                  <a:lnTo>
                    <a:pt x="55" y="413"/>
                  </a:lnTo>
                  <a:lnTo>
                    <a:pt x="57" y="384"/>
                  </a:lnTo>
                  <a:lnTo>
                    <a:pt x="60" y="360"/>
                  </a:lnTo>
                  <a:lnTo>
                    <a:pt x="63" y="339"/>
                  </a:lnTo>
                  <a:lnTo>
                    <a:pt x="67" y="321"/>
                  </a:lnTo>
                  <a:lnTo>
                    <a:pt x="71" y="306"/>
                  </a:lnTo>
                  <a:lnTo>
                    <a:pt x="74" y="293"/>
                  </a:lnTo>
                  <a:lnTo>
                    <a:pt x="79" y="283"/>
                  </a:lnTo>
                  <a:lnTo>
                    <a:pt x="82" y="275"/>
                  </a:lnTo>
                  <a:lnTo>
                    <a:pt x="87" y="269"/>
                  </a:lnTo>
                  <a:lnTo>
                    <a:pt x="90" y="265"/>
                  </a:lnTo>
                  <a:lnTo>
                    <a:pt x="93" y="262"/>
                  </a:lnTo>
                  <a:lnTo>
                    <a:pt x="95" y="260"/>
                  </a:lnTo>
                  <a:lnTo>
                    <a:pt x="100" y="259"/>
                  </a:lnTo>
                  <a:lnTo>
                    <a:pt x="101" y="259"/>
                  </a:lnTo>
                  <a:lnTo>
                    <a:pt x="101" y="247"/>
                  </a:lnTo>
                  <a:lnTo>
                    <a:pt x="103" y="236"/>
                  </a:lnTo>
                  <a:lnTo>
                    <a:pt x="105" y="227"/>
                  </a:lnTo>
                  <a:lnTo>
                    <a:pt x="108" y="219"/>
                  </a:lnTo>
                  <a:lnTo>
                    <a:pt x="112" y="212"/>
                  </a:lnTo>
                  <a:lnTo>
                    <a:pt x="116" y="206"/>
                  </a:lnTo>
                  <a:lnTo>
                    <a:pt x="122" y="200"/>
                  </a:lnTo>
                  <a:lnTo>
                    <a:pt x="126" y="196"/>
                  </a:lnTo>
                  <a:lnTo>
                    <a:pt x="137" y="186"/>
                  </a:lnTo>
                  <a:lnTo>
                    <a:pt x="148" y="178"/>
                  </a:lnTo>
                  <a:lnTo>
                    <a:pt x="153" y="174"/>
                  </a:lnTo>
                  <a:lnTo>
                    <a:pt x="159" y="170"/>
                  </a:lnTo>
                  <a:lnTo>
                    <a:pt x="163" y="165"/>
                  </a:lnTo>
                  <a:lnTo>
                    <a:pt x="167" y="160"/>
                  </a:lnTo>
                  <a:lnTo>
                    <a:pt x="174" y="2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6" name="Line 359">
              <a:extLst>
                <a:ext uri="{FF2B5EF4-FFF2-40B4-BE49-F238E27FC236}">
                  <a16:creationId xmlns:a16="http://schemas.microsoft.com/office/drawing/2014/main" id="{B2EF95F3-AAFF-4290-8F7D-BAB70AC59672}"/>
                </a:ext>
              </a:extLst>
            </p:cNvPr>
            <p:cNvSpPr>
              <a:spLocks noChangeShapeType="1"/>
            </p:cNvSpPr>
            <p:nvPr>
              <p:custDataLst>
                <p:tags r:id="rId262"/>
              </p:custDataLst>
            </p:nvPr>
          </p:nvSpPr>
          <p:spPr bwMode="auto">
            <a:xfrm flipH="1">
              <a:off x="1708148" y="3692496"/>
              <a:ext cx="4763" cy="7938"/>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7" name="Freeform 360">
              <a:extLst>
                <a:ext uri="{FF2B5EF4-FFF2-40B4-BE49-F238E27FC236}">
                  <a16:creationId xmlns:a16="http://schemas.microsoft.com/office/drawing/2014/main" id="{9251EFCE-3BB4-4C40-9A5C-91F9EA700E44}"/>
                </a:ext>
              </a:extLst>
            </p:cNvPr>
            <p:cNvSpPr>
              <a:spLocks/>
            </p:cNvSpPr>
            <p:nvPr>
              <p:custDataLst>
                <p:tags r:id="rId263"/>
              </p:custDataLst>
            </p:nvPr>
          </p:nvSpPr>
          <p:spPr bwMode="auto">
            <a:xfrm>
              <a:off x="1708148" y="3700434"/>
              <a:ext cx="12700" cy="58737"/>
            </a:xfrm>
            <a:custGeom>
              <a:avLst/>
              <a:gdLst>
                <a:gd name="T0" fmla="*/ 0 w 33"/>
                <a:gd name="T1" fmla="*/ 0 h 6"/>
                <a:gd name="T2" fmla="*/ 2694 w 33"/>
                <a:gd name="T3" fmla="*/ 9790 h 6"/>
                <a:gd name="T4" fmla="*/ 5773 w 33"/>
                <a:gd name="T5" fmla="*/ 29369 h 6"/>
                <a:gd name="T6" fmla="*/ 8852 w 33"/>
                <a:gd name="T7" fmla="*/ 48948 h 6"/>
                <a:gd name="T8" fmla="*/ 12700 w 33"/>
                <a:gd name="T9" fmla="*/ 58737 h 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3" h="6">
                  <a:moveTo>
                    <a:pt x="0" y="0"/>
                  </a:moveTo>
                  <a:lnTo>
                    <a:pt x="7" y="1"/>
                  </a:lnTo>
                  <a:lnTo>
                    <a:pt x="15" y="3"/>
                  </a:lnTo>
                  <a:lnTo>
                    <a:pt x="23" y="5"/>
                  </a:lnTo>
                  <a:lnTo>
                    <a:pt x="33"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68" name="Freeform 361">
              <a:extLst>
                <a:ext uri="{FF2B5EF4-FFF2-40B4-BE49-F238E27FC236}">
                  <a16:creationId xmlns:a16="http://schemas.microsoft.com/office/drawing/2014/main" id="{C7ADC53C-1EA2-45EC-9245-67BAC6D37625}"/>
                </a:ext>
              </a:extLst>
            </p:cNvPr>
            <p:cNvSpPr>
              <a:spLocks/>
            </p:cNvSpPr>
            <p:nvPr>
              <p:custDataLst>
                <p:tags r:id="rId264"/>
              </p:custDataLst>
            </p:nvPr>
          </p:nvSpPr>
          <p:spPr bwMode="auto">
            <a:xfrm>
              <a:off x="1716086" y="3687734"/>
              <a:ext cx="4762" cy="57150"/>
            </a:xfrm>
            <a:custGeom>
              <a:avLst/>
              <a:gdLst>
                <a:gd name="T0" fmla="*/ 4762 w 13"/>
                <a:gd name="T1" fmla="*/ 57150 h 30"/>
                <a:gd name="T2" fmla="*/ 4762 w 13"/>
                <a:gd name="T3" fmla="*/ 0 h 30"/>
                <a:gd name="T4" fmla="*/ 0 w 13"/>
                <a:gd name="T5" fmla="*/ 0 h 30"/>
                <a:gd name="T6" fmla="*/ 0 60000 65536"/>
                <a:gd name="T7" fmla="*/ 0 60000 65536"/>
                <a:gd name="T8" fmla="*/ 0 60000 65536"/>
              </a:gdLst>
              <a:ahLst/>
              <a:cxnLst>
                <a:cxn ang="T6">
                  <a:pos x="T0" y="T1"/>
                </a:cxn>
                <a:cxn ang="T7">
                  <a:pos x="T2" y="T3"/>
                </a:cxn>
                <a:cxn ang="T8">
                  <a:pos x="T4" y="T5"/>
                </a:cxn>
              </a:cxnLst>
              <a:rect l="0" t="0" r="r" b="b"/>
              <a:pathLst>
                <a:path w="13" h="30">
                  <a:moveTo>
                    <a:pt x="13" y="30"/>
                  </a:moveTo>
                  <a:lnTo>
                    <a:pt x="13" y="0"/>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69" name="Group 362">
              <a:extLst>
                <a:ext uri="{FF2B5EF4-FFF2-40B4-BE49-F238E27FC236}">
                  <a16:creationId xmlns:a16="http://schemas.microsoft.com/office/drawing/2014/main" id="{D0208387-98CF-416E-89FA-05AEB4E18871}"/>
                </a:ext>
              </a:extLst>
            </p:cNvPr>
            <p:cNvGrpSpPr>
              <a:grpSpLocks/>
            </p:cNvGrpSpPr>
            <p:nvPr>
              <p:custDataLst>
                <p:tags r:id="rId265"/>
              </p:custDataLst>
            </p:nvPr>
          </p:nvGrpSpPr>
          <p:grpSpPr bwMode="auto">
            <a:xfrm>
              <a:off x="1708148" y="3622646"/>
              <a:ext cx="417512" cy="201612"/>
              <a:chOff x="912" y="2626"/>
              <a:chExt cx="311" cy="127"/>
            </a:xfrm>
          </p:grpSpPr>
          <p:sp>
            <p:nvSpPr>
              <p:cNvPr id="455" name="Freeform 363">
                <a:extLst>
                  <a:ext uri="{FF2B5EF4-FFF2-40B4-BE49-F238E27FC236}">
                    <a16:creationId xmlns:a16="http://schemas.microsoft.com/office/drawing/2014/main" id="{6181772D-A7C0-4CDA-98AC-024ED3D8638F}"/>
                  </a:ext>
                </a:extLst>
              </p:cNvPr>
              <p:cNvSpPr>
                <a:spLocks/>
              </p:cNvSpPr>
              <p:nvPr/>
            </p:nvSpPr>
            <p:spPr bwMode="auto">
              <a:xfrm>
                <a:off x="1110" y="2626"/>
                <a:ext cx="113" cy="127"/>
              </a:xfrm>
              <a:custGeom>
                <a:avLst/>
                <a:gdLst>
                  <a:gd name="T0" fmla="*/ 100 w 352"/>
                  <a:gd name="T1" fmla="*/ 26 h 387"/>
                  <a:gd name="T2" fmla="*/ 92 w 352"/>
                  <a:gd name="T3" fmla="*/ 26 h 387"/>
                  <a:gd name="T4" fmla="*/ 85 w 352"/>
                  <a:gd name="T5" fmla="*/ 26 h 387"/>
                  <a:gd name="T6" fmla="*/ 80 w 352"/>
                  <a:gd name="T7" fmla="*/ 24 h 387"/>
                  <a:gd name="T8" fmla="*/ 71 w 352"/>
                  <a:gd name="T9" fmla="*/ 19 h 387"/>
                  <a:gd name="T10" fmla="*/ 54 w 352"/>
                  <a:gd name="T11" fmla="*/ 7 h 387"/>
                  <a:gd name="T12" fmla="*/ 44 w 352"/>
                  <a:gd name="T13" fmla="*/ 2 h 387"/>
                  <a:gd name="T14" fmla="*/ 41 w 352"/>
                  <a:gd name="T15" fmla="*/ 6 h 387"/>
                  <a:gd name="T16" fmla="*/ 38 w 352"/>
                  <a:gd name="T17" fmla="*/ 10 h 387"/>
                  <a:gd name="T18" fmla="*/ 34 w 352"/>
                  <a:gd name="T19" fmla="*/ 11 h 387"/>
                  <a:gd name="T20" fmla="*/ 28 w 352"/>
                  <a:gd name="T21" fmla="*/ 18 h 387"/>
                  <a:gd name="T22" fmla="*/ 17 w 352"/>
                  <a:gd name="T23" fmla="*/ 32 h 387"/>
                  <a:gd name="T24" fmla="*/ 10 w 352"/>
                  <a:gd name="T25" fmla="*/ 43 h 387"/>
                  <a:gd name="T26" fmla="*/ 5 w 352"/>
                  <a:gd name="T27" fmla="*/ 51 h 387"/>
                  <a:gd name="T28" fmla="*/ 2 w 352"/>
                  <a:gd name="T29" fmla="*/ 58 h 387"/>
                  <a:gd name="T30" fmla="*/ 0 w 352"/>
                  <a:gd name="T31" fmla="*/ 65 h 387"/>
                  <a:gd name="T32" fmla="*/ 0 w 352"/>
                  <a:gd name="T33" fmla="*/ 70 h 387"/>
                  <a:gd name="T34" fmla="*/ 1 w 352"/>
                  <a:gd name="T35" fmla="*/ 73 h 387"/>
                  <a:gd name="T36" fmla="*/ 3 w 352"/>
                  <a:gd name="T37" fmla="*/ 76 h 387"/>
                  <a:gd name="T38" fmla="*/ 8 w 352"/>
                  <a:gd name="T39" fmla="*/ 79 h 387"/>
                  <a:gd name="T40" fmla="*/ 13 w 352"/>
                  <a:gd name="T41" fmla="*/ 80 h 387"/>
                  <a:gd name="T42" fmla="*/ 17 w 352"/>
                  <a:gd name="T43" fmla="*/ 80 h 387"/>
                  <a:gd name="T44" fmla="*/ 20 w 352"/>
                  <a:gd name="T45" fmla="*/ 79 h 387"/>
                  <a:gd name="T46" fmla="*/ 23 w 352"/>
                  <a:gd name="T47" fmla="*/ 77 h 387"/>
                  <a:gd name="T48" fmla="*/ 25 w 352"/>
                  <a:gd name="T49" fmla="*/ 77 h 387"/>
                  <a:gd name="T50" fmla="*/ 26 w 352"/>
                  <a:gd name="T51" fmla="*/ 78 h 387"/>
                  <a:gd name="T52" fmla="*/ 26 w 352"/>
                  <a:gd name="T53" fmla="*/ 84 h 387"/>
                  <a:gd name="T54" fmla="*/ 24 w 352"/>
                  <a:gd name="T55" fmla="*/ 92 h 387"/>
                  <a:gd name="T56" fmla="*/ 23 w 352"/>
                  <a:gd name="T57" fmla="*/ 95 h 387"/>
                  <a:gd name="T58" fmla="*/ 23 w 352"/>
                  <a:gd name="T59" fmla="*/ 101 h 387"/>
                  <a:gd name="T60" fmla="*/ 26 w 352"/>
                  <a:gd name="T61" fmla="*/ 109 h 387"/>
                  <a:gd name="T62" fmla="*/ 29 w 352"/>
                  <a:gd name="T63" fmla="*/ 115 h 387"/>
                  <a:gd name="T64" fmla="*/ 39 w 352"/>
                  <a:gd name="T65" fmla="*/ 122 h 387"/>
                  <a:gd name="T66" fmla="*/ 46 w 352"/>
                  <a:gd name="T67" fmla="*/ 126 h 387"/>
                  <a:gd name="T68" fmla="*/ 49 w 352"/>
                  <a:gd name="T69" fmla="*/ 127 h 387"/>
                  <a:gd name="T70" fmla="*/ 52 w 352"/>
                  <a:gd name="T71" fmla="*/ 124 h 387"/>
                  <a:gd name="T72" fmla="*/ 56 w 352"/>
                  <a:gd name="T73" fmla="*/ 119 h 387"/>
                  <a:gd name="T74" fmla="*/ 57 w 352"/>
                  <a:gd name="T75" fmla="*/ 115 h 387"/>
                  <a:gd name="T76" fmla="*/ 58 w 352"/>
                  <a:gd name="T77" fmla="*/ 111 h 387"/>
                  <a:gd name="T78" fmla="*/ 59 w 352"/>
                  <a:gd name="T79" fmla="*/ 106 h 387"/>
                  <a:gd name="T80" fmla="*/ 63 w 352"/>
                  <a:gd name="T81" fmla="*/ 100 h 387"/>
                  <a:gd name="T82" fmla="*/ 69 w 352"/>
                  <a:gd name="T83" fmla="*/ 92 h 387"/>
                  <a:gd name="T84" fmla="*/ 76 w 352"/>
                  <a:gd name="T85" fmla="*/ 86 h 387"/>
                  <a:gd name="T86" fmla="*/ 85 w 352"/>
                  <a:gd name="T87" fmla="*/ 82 h 387"/>
                  <a:gd name="T88" fmla="*/ 96 w 352"/>
                  <a:gd name="T89" fmla="*/ 75 h 387"/>
                  <a:gd name="T90" fmla="*/ 104 w 352"/>
                  <a:gd name="T91" fmla="*/ 70 h 387"/>
                  <a:gd name="T92" fmla="*/ 109 w 352"/>
                  <a:gd name="T93" fmla="*/ 65 h 387"/>
                  <a:gd name="T94" fmla="*/ 111 w 352"/>
                  <a:gd name="T95" fmla="*/ 61 h 387"/>
                  <a:gd name="T96" fmla="*/ 113 w 352"/>
                  <a:gd name="T97" fmla="*/ 55 h 387"/>
                  <a:gd name="T98" fmla="*/ 113 w 352"/>
                  <a:gd name="T99" fmla="*/ 49 h 387"/>
                  <a:gd name="T100" fmla="*/ 110 w 352"/>
                  <a:gd name="T101" fmla="*/ 41 h 387"/>
                  <a:gd name="T102" fmla="*/ 106 w 352"/>
                  <a:gd name="T103" fmla="*/ 30 h 38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352" h="387">
                    <a:moveTo>
                      <a:pt x="325" y="79"/>
                    </a:moveTo>
                    <a:lnTo>
                      <a:pt x="312" y="79"/>
                    </a:lnTo>
                    <a:lnTo>
                      <a:pt x="299" y="79"/>
                    </a:lnTo>
                    <a:lnTo>
                      <a:pt x="286" y="79"/>
                    </a:lnTo>
                    <a:lnTo>
                      <a:pt x="273" y="79"/>
                    </a:lnTo>
                    <a:lnTo>
                      <a:pt x="265" y="79"/>
                    </a:lnTo>
                    <a:lnTo>
                      <a:pt x="256" y="77"/>
                    </a:lnTo>
                    <a:lnTo>
                      <a:pt x="249" y="74"/>
                    </a:lnTo>
                    <a:lnTo>
                      <a:pt x="240" y="70"/>
                    </a:lnTo>
                    <a:lnTo>
                      <a:pt x="222" y="59"/>
                    </a:lnTo>
                    <a:lnTo>
                      <a:pt x="204" y="46"/>
                    </a:lnTo>
                    <a:lnTo>
                      <a:pt x="168" y="20"/>
                    </a:lnTo>
                    <a:lnTo>
                      <a:pt x="140" y="0"/>
                    </a:lnTo>
                    <a:lnTo>
                      <a:pt x="137" y="6"/>
                    </a:lnTo>
                    <a:lnTo>
                      <a:pt x="133" y="13"/>
                    </a:lnTo>
                    <a:lnTo>
                      <a:pt x="129" y="19"/>
                    </a:lnTo>
                    <a:lnTo>
                      <a:pt x="125" y="25"/>
                    </a:lnTo>
                    <a:lnTo>
                      <a:pt x="119" y="29"/>
                    </a:lnTo>
                    <a:lnTo>
                      <a:pt x="114" y="33"/>
                    </a:lnTo>
                    <a:lnTo>
                      <a:pt x="107" y="35"/>
                    </a:lnTo>
                    <a:lnTo>
                      <a:pt x="100" y="36"/>
                    </a:lnTo>
                    <a:lnTo>
                      <a:pt x="86" y="56"/>
                    </a:lnTo>
                    <a:lnTo>
                      <a:pt x="71" y="76"/>
                    </a:lnTo>
                    <a:lnTo>
                      <a:pt x="53" y="97"/>
                    </a:lnTo>
                    <a:lnTo>
                      <a:pt x="38" y="120"/>
                    </a:lnTo>
                    <a:lnTo>
                      <a:pt x="30" y="131"/>
                    </a:lnTo>
                    <a:lnTo>
                      <a:pt x="22" y="143"/>
                    </a:lnTo>
                    <a:lnTo>
                      <a:pt x="17" y="154"/>
                    </a:lnTo>
                    <a:lnTo>
                      <a:pt x="11" y="165"/>
                    </a:lnTo>
                    <a:lnTo>
                      <a:pt x="7" y="177"/>
                    </a:lnTo>
                    <a:lnTo>
                      <a:pt x="3" y="187"/>
                    </a:lnTo>
                    <a:lnTo>
                      <a:pt x="0" y="198"/>
                    </a:lnTo>
                    <a:lnTo>
                      <a:pt x="0" y="208"/>
                    </a:lnTo>
                    <a:lnTo>
                      <a:pt x="0" y="213"/>
                    </a:lnTo>
                    <a:lnTo>
                      <a:pt x="2" y="217"/>
                    </a:lnTo>
                    <a:lnTo>
                      <a:pt x="3" y="222"/>
                    </a:lnTo>
                    <a:lnTo>
                      <a:pt x="5" y="225"/>
                    </a:lnTo>
                    <a:lnTo>
                      <a:pt x="9" y="231"/>
                    </a:lnTo>
                    <a:lnTo>
                      <a:pt x="16" y="237"/>
                    </a:lnTo>
                    <a:lnTo>
                      <a:pt x="24" y="241"/>
                    </a:lnTo>
                    <a:lnTo>
                      <a:pt x="31" y="243"/>
                    </a:lnTo>
                    <a:lnTo>
                      <a:pt x="39" y="245"/>
                    </a:lnTo>
                    <a:lnTo>
                      <a:pt x="47" y="246"/>
                    </a:lnTo>
                    <a:lnTo>
                      <a:pt x="52" y="245"/>
                    </a:lnTo>
                    <a:lnTo>
                      <a:pt x="58" y="243"/>
                    </a:lnTo>
                    <a:lnTo>
                      <a:pt x="63" y="241"/>
                    </a:lnTo>
                    <a:lnTo>
                      <a:pt x="69" y="238"/>
                    </a:lnTo>
                    <a:lnTo>
                      <a:pt x="73" y="236"/>
                    </a:lnTo>
                    <a:lnTo>
                      <a:pt x="76" y="235"/>
                    </a:lnTo>
                    <a:lnTo>
                      <a:pt x="78" y="236"/>
                    </a:lnTo>
                    <a:lnTo>
                      <a:pt x="80" y="236"/>
                    </a:lnTo>
                    <a:lnTo>
                      <a:pt x="80" y="238"/>
                    </a:lnTo>
                    <a:lnTo>
                      <a:pt x="80" y="240"/>
                    </a:lnTo>
                    <a:lnTo>
                      <a:pt x="80" y="257"/>
                    </a:lnTo>
                    <a:lnTo>
                      <a:pt x="78" y="271"/>
                    </a:lnTo>
                    <a:lnTo>
                      <a:pt x="76" y="279"/>
                    </a:lnTo>
                    <a:lnTo>
                      <a:pt x="74" y="285"/>
                    </a:lnTo>
                    <a:lnTo>
                      <a:pt x="71" y="290"/>
                    </a:lnTo>
                    <a:lnTo>
                      <a:pt x="66" y="295"/>
                    </a:lnTo>
                    <a:lnTo>
                      <a:pt x="73" y="307"/>
                    </a:lnTo>
                    <a:lnTo>
                      <a:pt x="80" y="319"/>
                    </a:lnTo>
                    <a:lnTo>
                      <a:pt x="80" y="331"/>
                    </a:lnTo>
                    <a:lnTo>
                      <a:pt x="80" y="344"/>
                    </a:lnTo>
                    <a:lnTo>
                      <a:pt x="89" y="351"/>
                    </a:lnTo>
                    <a:lnTo>
                      <a:pt x="110" y="366"/>
                    </a:lnTo>
                    <a:lnTo>
                      <a:pt x="122" y="373"/>
                    </a:lnTo>
                    <a:lnTo>
                      <a:pt x="133" y="380"/>
                    </a:lnTo>
                    <a:lnTo>
                      <a:pt x="142" y="385"/>
                    </a:lnTo>
                    <a:lnTo>
                      <a:pt x="147" y="387"/>
                    </a:lnTo>
                    <a:lnTo>
                      <a:pt x="152" y="386"/>
                    </a:lnTo>
                    <a:lnTo>
                      <a:pt x="158" y="382"/>
                    </a:lnTo>
                    <a:lnTo>
                      <a:pt x="163" y="377"/>
                    </a:lnTo>
                    <a:lnTo>
                      <a:pt x="168" y="370"/>
                    </a:lnTo>
                    <a:lnTo>
                      <a:pt x="173" y="363"/>
                    </a:lnTo>
                    <a:lnTo>
                      <a:pt x="176" y="356"/>
                    </a:lnTo>
                    <a:lnTo>
                      <a:pt x="178" y="350"/>
                    </a:lnTo>
                    <a:lnTo>
                      <a:pt x="179" y="344"/>
                    </a:lnTo>
                    <a:lnTo>
                      <a:pt x="181" y="338"/>
                    </a:lnTo>
                    <a:lnTo>
                      <a:pt x="182" y="330"/>
                    </a:lnTo>
                    <a:lnTo>
                      <a:pt x="184" y="323"/>
                    </a:lnTo>
                    <a:lnTo>
                      <a:pt x="187" y="317"/>
                    </a:lnTo>
                    <a:lnTo>
                      <a:pt x="195" y="304"/>
                    </a:lnTo>
                    <a:lnTo>
                      <a:pt x="206" y="292"/>
                    </a:lnTo>
                    <a:lnTo>
                      <a:pt x="216" y="281"/>
                    </a:lnTo>
                    <a:lnTo>
                      <a:pt x="228" y="271"/>
                    </a:lnTo>
                    <a:lnTo>
                      <a:pt x="238" y="263"/>
                    </a:lnTo>
                    <a:lnTo>
                      <a:pt x="246" y="258"/>
                    </a:lnTo>
                    <a:lnTo>
                      <a:pt x="264" y="249"/>
                    </a:lnTo>
                    <a:lnTo>
                      <a:pt x="283" y="239"/>
                    </a:lnTo>
                    <a:lnTo>
                      <a:pt x="300" y="229"/>
                    </a:lnTo>
                    <a:lnTo>
                      <a:pt x="317" y="217"/>
                    </a:lnTo>
                    <a:lnTo>
                      <a:pt x="324" y="212"/>
                    </a:lnTo>
                    <a:lnTo>
                      <a:pt x="331" y="205"/>
                    </a:lnTo>
                    <a:lnTo>
                      <a:pt x="338" y="199"/>
                    </a:lnTo>
                    <a:lnTo>
                      <a:pt x="342" y="192"/>
                    </a:lnTo>
                    <a:lnTo>
                      <a:pt x="346" y="185"/>
                    </a:lnTo>
                    <a:lnTo>
                      <a:pt x="350" y="177"/>
                    </a:lnTo>
                    <a:lnTo>
                      <a:pt x="352" y="169"/>
                    </a:lnTo>
                    <a:lnTo>
                      <a:pt x="352" y="159"/>
                    </a:lnTo>
                    <a:lnTo>
                      <a:pt x="351" y="149"/>
                    </a:lnTo>
                    <a:lnTo>
                      <a:pt x="349" y="137"/>
                    </a:lnTo>
                    <a:lnTo>
                      <a:pt x="344" y="125"/>
                    </a:lnTo>
                    <a:lnTo>
                      <a:pt x="339" y="113"/>
                    </a:lnTo>
                    <a:lnTo>
                      <a:pt x="330" y="91"/>
                    </a:lnTo>
                    <a:lnTo>
                      <a:pt x="325" y="7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6" name="Freeform 364">
                <a:extLst>
                  <a:ext uri="{FF2B5EF4-FFF2-40B4-BE49-F238E27FC236}">
                    <a16:creationId xmlns:a16="http://schemas.microsoft.com/office/drawing/2014/main" id="{5EDDEF64-39F8-42CE-AA10-9332B273A4FA}"/>
                  </a:ext>
                </a:extLst>
              </p:cNvPr>
              <p:cNvSpPr>
                <a:spLocks/>
              </p:cNvSpPr>
              <p:nvPr/>
            </p:nvSpPr>
            <p:spPr bwMode="auto">
              <a:xfrm>
                <a:off x="923" y="2662"/>
                <a:ext cx="17" cy="26"/>
              </a:xfrm>
              <a:custGeom>
                <a:avLst/>
                <a:gdLst>
                  <a:gd name="T0" fmla="*/ 5 w 52"/>
                  <a:gd name="T1" fmla="*/ 0 h 78"/>
                  <a:gd name="T2" fmla="*/ 7 w 52"/>
                  <a:gd name="T3" fmla="*/ 0 h 78"/>
                  <a:gd name="T4" fmla="*/ 8 w 52"/>
                  <a:gd name="T5" fmla="*/ 1 h 78"/>
                  <a:gd name="T6" fmla="*/ 10 w 52"/>
                  <a:gd name="T7" fmla="*/ 2 h 78"/>
                  <a:gd name="T8" fmla="*/ 12 w 52"/>
                  <a:gd name="T9" fmla="*/ 3 h 78"/>
                  <a:gd name="T10" fmla="*/ 13 w 52"/>
                  <a:gd name="T11" fmla="*/ 4 h 78"/>
                  <a:gd name="T12" fmla="*/ 15 w 52"/>
                  <a:gd name="T13" fmla="*/ 6 h 78"/>
                  <a:gd name="T14" fmla="*/ 15 w 52"/>
                  <a:gd name="T15" fmla="*/ 7 h 78"/>
                  <a:gd name="T16" fmla="*/ 16 w 52"/>
                  <a:gd name="T17" fmla="*/ 8 h 78"/>
                  <a:gd name="T18" fmla="*/ 17 w 52"/>
                  <a:gd name="T19" fmla="*/ 11 h 78"/>
                  <a:gd name="T20" fmla="*/ 17 w 52"/>
                  <a:gd name="T21" fmla="*/ 14 h 78"/>
                  <a:gd name="T22" fmla="*/ 17 w 52"/>
                  <a:gd name="T23" fmla="*/ 15 h 78"/>
                  <a:gd name="T24" fmla="*/ 16 w 52"/>
                  <a:gd name="T25" fmla="*/ 17 h 78"/>
                  <a:gd name="T26" fmla="*/ 15 w 52"/>
                  <a:gd name="T27" fmla="*/ 18 h 78"/>
                  <a:gd name="T28" fmla="*/ 14 w 52"/>
                  <a:gd name="T29" fmla="*/ 20 h 78"/>
                  <a:gd name="T30" fmla="*/ 13 w 52"/>
                  <a:gd name="T31" fmla="*/ 22 h 78"/>
                  <a:gd name="T32" fmla="*/ 13 w 52"/>
                  <a:gd name="T33" fmla="*/ 24 h 78"/>
                  <a:gd name="T34" fmla="*/ 9 w 52"/>
                  <a:gd name="T35" fmla="*/ 25 h 78"/>
                  <a:gd name="T36" fmla="*/ 5 w 52"/>
                  <a:gd name="T37" fmla="*/ 26 h 78"/>
                  <a:gd name="T38" fmla="*/ 4 w 52"/>
                  <a:gd name="T39" fmla="*/ 26 h 78"/>
                  <a:gd name="T40" fmla="*/ 2 w 52"/>
                  <a:gd name="T41" fmla="*/ 26 h 78"/>
                  <a:gd name="T42" fmla="*/ 1 w 52"/>
                  <a:gd name="T43" fmla="*/ 26 h 78"/>
                  <a:gd name="T44" fmla="*/ 1 w 52"/>
                  <a:gd name="T45" fmla="*/ 26 h 78"/>
                  <a:gd name="T46" fmla="*/ 1 w 52"/>
                  <a:gd name="T47" fmla="*/ 25 h 78"/>
                  <a:gd name="T48" fmla="*/ 0 w 52"/>
                  <a:gd name="T49" fmla="*/ 24 h 78"/>
                  <a:gd name="T50" fmla="*/ 0 w 52"/>
                  <a:gd name="T51" fmla="*/ 23 h 78"/>
                  <a:gd name="T52" fmla="*/ 0 w 52"/>
                  <a:gd name="T53" fmla="*/ 21 h 78"/>
                  <a:gd name="T54" fmla="*/ 1 w 52"/>
                  <a:gd name="T55" fmla="*/ 20 h 78"/>
                  <a:gd name="T56" fmla="*/ 2 w 52"/>
                  <a:gd name="T57" fmla="*/ 19 h 78"/>
                  <a:gd name="T58" fmla="*/ 6 w 52"/>
                  <a:gd name="T59" fmla="*/ 16 h 78"/>
                  <a:gd name="T60" fmla="*/ 9 w 52"/>
                  <a:gd name="T61" fmla="*/ 14 h 78"/>
                  <a:gd name="T62" fmla="*/ 8 w 52"/>
                  <a:gd name="T63" fmla="*/ 11 h 78"/>
                  <a:gd name="T64" fmla="*/ 7 w 52"/>
                  <a:gd name="T65" fmla="*/ 7 h 78"/>
                  <a:gd name="T66" fmla="*/ 6 w 52"/>
                  <a:gd name="T67" fmla="*/ 3 h 78"/>
                  <a:gd name="T68" fmla="*/ 5 w 52"/>
                  <a:gd name="T69" fmla="*/ 0 h 7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52" h="78">
                    <a:moveTo>
                      <a:pt x="14" y="0"/>
                    </a:moveTo>
                    <a:lnTo>
                      <a:pt x="20" y="0"/>
                    </a:lnTo>
                    <a:lnTo>
                      <a:pt x="25" y="2"/>
                    </a:lnTo>
                    <a:lnTo>
                      <a:pt x="30" y="6"/>
                    </a:lnTo>
                    <a:lnTo>
                      <a:pt x="36" y="9"/>
                    </a:lnTo>
                    <a:lnTo>
                      <a:pt x="40" y="13"/>
                    </a:lnTo>
                    <a:lnTo>
                      <a:pt x="45" y="17"/>
                    </a:lnTo>
                    <a:lnTo>
                      <a:pt x="47" y="21"/>
                    </a:lnTo>
                    <a:lnTo>
                      <a:pt x="48" y="24"/>
                    </a:lnTo>
                    <a:lnTo>
                      <a:pt x="51" y="34"/>
                    </a:lnTo>
                    <a:lnTo>
                      <a:pt x="52" y="41"/>
                    </a:lnTo>
                    <a:lnTo>
                      <a:pt x="51" y="46"/>
                    </a:lnTo>
                    <a:lnTo>
                      <a:pt x="49" y="50"/>
                    </a:lnTo>
                    <a:lnTo>
                      <a:pt x="47" y="54"/>
                    </a:lnTo>
                    <a:lnTo>
                      <a:pt x="44" y="60"/>
                    </a:lnTo>
                    <a:lnTo>
                      <a:pt x="41" y="65"/>
                    </a:lnTo>
                    <a:lnTo>
                      <a:pt x="41" y="73"/>
                    </a:lnTo>
                    <a:lnTo>
                      <a:pt x="29" y="75"/>
                    </a:lnTo>
                    <a:lnTo>
                      <a:pt x="16" y="78"/>
                    </a:lnTo>
                    <a:lnTo>
                      <a:pt x="11" y="78"/>
                    </a:lnTo>
                    <a:lnTo>
                      <a:pt x="5" y="78"/>
                    </a:lnTo>
                    <a:lnTo>
                      <a:pt x="4" y="78"/>
                    </a:lnTo>
                    <a:lnTo>
                      <a:pt x="2" y="77"/>
                    </a:lnTo>
                    <a:lnTo>
                      <a:pt x="2" y="75"/>
                    </a:lnTo>
                    <a:lnTo>
                      <a:pt x="1" y="73"/>
                    </a:lnTo>
                    <a:lnTo>
                      <a:pt x="0" y="69"/>
                    </a:lnTo>
                    <a:lnTo>
                      <a:pt x="1" y="64"/>
                    </a:lnTo>
                    <a:lnTo>
                      <a:pt x="3" y="60"/>
                    </a:lnTo>
                    <a:lnTo>
                      <a:pt x="7" y="56"/>
                    </a:lnTo>
                    <a:lnTo>
                      <a:pt x="17" y="47"/>
                    </a:lnTo>
                    <a:lnTo>
                      <a:pt x="28" y="42"/>
                    </a:lnTo>
                    <a:lnTo>
                      <a:pt x="24" y="32"/>
                    </a:lnTo>
                    <a:lnTo>
                      <a:pt x="21" y="21"/>
                    </a:lnTo>
                    <a:lnTo>
                      <a:pt x="18" y="10"/>
                    </a:lnTo>
                    <a:lnTo>
                      <a:pt x="14"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7" name="Freeform 365">
                <a:extLst>
                  <a:ext uri="{FF2B5EF4-FFF2-40B4-BE49-F238E27FC236}">
                    <a16:creationId xmlns:a16="http://schemas.microsoft.com/office/drawing/2014/main" id="{60023242-D427-483F-B4A5-FB87367AE7AF}"/>
                  </a:ext>
                </a:extLst>
              </p:cNvPr>
              <p:cNvSpPr>
                <a:spLocks/>
              </p:cNvSpPr>
              <p:nvPr/>
            </p:nvSpPr>
            <p:spPr bwMode="auto">
              <a:xfrm>
                <a:off x="912" y="2666"/>
                <a:ext cx="9" cy="10"/>
              </a:xfrm>
              <a:custGeom>
                <a:avLst/>
                <a:gdLst>
                  <a:gd name="T0" fmla="*/ 4 w 33"/>
                  <a:gd name="T1" fmla="*/ 2 h 30"/>
                  <a:gd name="T2" fmla="*/ 0 w 33"/>
                  <a:gd name="T3" fmla="*/ 8 h 30"/>
                  <a:gd name="T4" fmla="*/ 2 w 33"/>
                  <a:gd name="T5" fmla="*/ 8 h 30"/>
                  <a:gd name="T6" fmla="*/ 4 w 33"/>
                  <a:gd name="T7" fmla="*/ 9 h 30"/>
                  <a:gd name="T8" fmla="*/ 6 w 33"/>
                  <a:gd name="T9" fmla="*/ 10 h 30"/>
                  <a:gd name="T10" fmla="*/ 9 w 33"/>
                  <a:gd name="T11" fmla="*/ 10 h 30"/>
                  <a:gd name="T12" fmla="*/ 9 w 33"/>
                  <a:gd name="T13" fmla="*/ 0 h 30"/>
                  <a:gd name="T14" fmla="*/ 5 w 33"/>
                  <a:gd name="T15" fmla="*/ 0 h 30"/>
                  <a:gd name="T16" fmla="*/ 4 w 33"/>
                  <a:gd name="T17" fmla="*/ 2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3" h="30">
                    <a:moveTo>
                      <a:pt x="13" y="6"/>
                    </a:moveTo>
                    <a:lnTo>
                      <a:pt x="0" y="24"/>
                    </a:lnTo>
                    <a:lnTo>
                      <a:pt x="7" y="25"/>
                    </a:lnTo>
                    <a:lnTo>
                      <a:pt x="15" y="27"/>
                    </a:lnTo>
                    <a:lnTo>
                      <a:pt x="23" y="29"/>
                    </a:lnTo>
                    <a:lnTo>
                      <a:pt x="33" y="30"/>
                    </a:lnTo>
                    <a:lnTo>
                      <a:pt x="33" y="0"/>
                    </a:lnTo>
                    <a:lnTo>
                      <a:pt x="20" y="0"/>
                    </a:lnTo>
                    <a:lnTo>
                      <a:pt x="13"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70" name="Freeform 366">
              <a:extLst>
                <a:ext uri="{FF2B5EF4-FFF2-40B4-BE49-F238E27FC236}">
                  <a16:creationId xmlns:a16="http://schemas.microsoft.com/office/drawing/2014/main" id="{EE10049F-277F-4090-B907-83986CE029BD}"/>
                </a:ext>
              </a:extLst>
            </p:cNvPr>
            <p:cNvSpPr>
              <a:spLocks/>
            </p:cNvSpPr>
            <p:nvPr>
              <p:custDataLst>
                <p:tags r:id="rId266"/>
              </p:custDataLst>
            </p:nvPr>
          </p:nvSpPr>
          <p:spPr bwMode="auto">
            <a:xfrm>
              <a:off x="5356218" y="4340190"/>
              <a:ext cx="19050" cy="58738"/>
            </a:xfrm>
            <a:custGeom>
              <a:avLst/>
              <a:gdLst>
                <a:gd name="T0" fmla="*/ 5269 w 47"/>
                <a:gd name="T1" fmla="*/ 0 h 28"/>
                <a:gd name="T2" fmla="*/ 10133 w 47"/>
                <a:gd name="T3" fmla="*/ 0 h 28"/>
                <a:gd name="T4" fmla="*/ 12565 w 47"/>
                <a:gd name="T5" fmla="*/ 4196 h 28"/>
                <a:gd name="T6" fmla="*/ 13376 w 47"/>
                <a:gd name="T7" fmla="*/ 8391 h 28"/>
                <a:gd name="T8" fmla="*/ 13376 w 47"/>
                <a:gd name="T9" fmla="*/ 12587 h 28"/>
                <a:gd name="T10" fmla="*/ 12970 w 47"/>
                <a:gd name="T11" fmla="*/ 16782 h 28"/>
                <a:gd name="T12" fmla="*/ 13376 w 47"/>
                <a:gd name="T13" fmla="*/ 20978 h 28"/>
                <a:gd name="T14" fmla="*/ 14997 w 47"/>
                <a:gd name="T15" fmla="*/ 25173 h 28"/>
                <a:gd name="T16" fmla="*/ 19050 w 47"/>
                <a:gd name="T17" fmla="*/ 25173 h 28"/>
                <a:gd name="T18" fmla="*/ 17023 w 47"/>
                <a:gd name="T19" fmla="*/ 39858 h 28"/>
                <a:gd name="T20" fmla="*/ 14997 w 47"/>
                <a:gd name="T21" fmla="*/ 52445 h 28"/>
                <a:gd name="T22" fmla="*/ 13376 w 47"/>
                <a:gd name="T23" fmla="*/ 56640 h 28"/>
                <a:gd name="T24" fmla="*/ 11349 w 47"/>
                <a:gd name="T25" fmla="*/ 58738 h 28"/>
                <a:gd name="T26" fmla="*/ 6485 w 47"/>
                <a:gd name="T27" fmla="*/ 56640 h 28"/>
                <a:gd name="T28" fmla="*/ 0 w 47"/>
                <a:gd name="T29" fmla="*/ 52445 h 28"/>
                <a:gd name="T30" fmla="*/ 405 w 47"/>
                <a:gd name="T31" fmla="*/ 39858 h 28"/>
                <a:gd name="T32" fmla="*/ 811 w 47"/>
                <a:gd name="T33" fmla="*/ 31467 h 28"/>
                <a:gd name="T34" fmla="*/ 1621 w 47"/>
                <a:gd name="T35" fmla="*/ 27271 h 28"/>
                <a:gd name="T36" fmla="*/ 2432 w 47"/>
                <a:gd name="T37" fmla="*/ 25173 h 28"/>
                <a:gd name="T38" fmla="*/ 3648 w 47"/>
                <a:gd name="T39" fmla="*/ 23076 h 28"/>
                <a:gd name="T40" fmla="*/ 4459 w 47"/>
                <a:gd name="T41" fmla="*/ 18880 h 28"/>
                <a:gd name="T42" fmla="*/ 5269 w 47"/>
                <a:gd name="T43" fmla="*/ 10489 h 28"/>
                <a:gd name="T44" fmla="*/ 5269 w 47"/>
                <a:gd name="T45" fmla="*/ 0 h 28"/>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28">
                  <a:moveTo>
                    <a:pt x="13" y="0"/>
                  </a:moveTo>
                  <a:lnTo>
                    <a:pt x="25" y="0"/>
                  </a:lnTo>
                  <a:lnTo>
                    <a:pt x="31" y="2"/>
                  </a:lnTo>
                  <a:lnTo>
                    <a:pt x="33" y="4"/>
                  </a:lnTo>
                  <a:lnTo>
                    <a:pt x="33" y="6"/>
                  </a:lnTo>
                  <a:lnTo>
                    <a:pt x="32" y="8"/>
                  </a:lnTo>
                  <a:lnTo>
                    <a:pt x="33" y="10"/>
                  </a:lnTo>
                  <a:lnTo>
                    <a:pt x="37" y="12"/>
                  </a:lnTo>
                  <a:lnTo>
                    <a:pt x="47" y="12"/>
                  </a:lnTo>
                  <a:lnTo>
                    <a:pt x="42" y="19"/>
                  </a:lnTo>
                  <a:lnTo>
                    <a:pt x="37" y="25"/>
                  </a:lnTo>
                  <a:lnTo>
                    <a:pt x="33" y="27"/>
                  </a:lnTo>
                  <a:lnTo>
                    <a:pt x="28" y="28"/>
                  </a:lnTo>
                  <a:lnTo>
                    <a:pt x="16" y="27"/>
                  </a:lnTo>
                  <a:lnTo>
                    <a:pt x="0" y="25"/>
                  </a:lnTo>
                  <a:lnTo>
                    <a:pt x="1" y="19"/>
                  </a:lnTo>
                  <a:lnTo>
                    <a:pt x="2" y="15"/>
                  </a:lnTo>
                  <a:lnTo>
                    <a:pt x="4" y="13"/>
                  </a:lnTo>
                  <a:lnTo>
                    <a:pt x="6" y="12"/>
                  </a:lnTo>
                  <a:lnTo>
                    <a:pt x="9" y="11"/>
                  </a:lnTo>
                  <a:lnTo>
                    <a:pt x="11" y="9"/>
                  </a:lnTo>
                  <a:lnTo>
                    <a:pt x="13" y="5"/>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71" name="Freeform 367">
              <a:extLst>
                <a:ext uri="{FF2B5EF4-FFF2-40B4-BE49-F238E27FC236}">
                  <a16:creationId xmlns:a16="http://schemas.microsoft.com/office/drawing/2014/main" id="{978A3E04-43C3-4CF8-9619-6AD80EBBCE61}"/>
                </a:ext>
              </a:extLst>
            </p:cNvPr>
            <p:cNvSpPr>
              <a:spLocks/>
            </p:cNvSpPr>
            <p:nvPr>
              <p:custDataLst>
                <p:tags r:id="rId267"/>
              </p:custDataLst>
            </p:nvPr>
          </p:nvSpPr>
          <p:spPr bwMode="auto">
            <a:xfrm>
              <a:off x="5327643" y="4367178"/>
              <a:ext cx="23813" cy="57150"/>
            </a:xfrm>
            <a:custGeom>
              <a:avLst/>
              <a:gdLst>
                <a:gd name="T0" fmla="*/ 5841 w 53"/>
                <a:gd name="T1" fmla="*/ 0 h 33"/>
                <a:gd name="T2" fmla="*/ 11682 w 53"/>
                <a:gd name="T3" fmla="*/ 1732 h 33"/>
                <a:gd name="T4" fmla="*/ 15276 w 53"/>
                <a:gd name="T5" fmla="*/ 1732 h 33"/>
                <a:gd name="T6" fmla="*/ 16624 w 53"/>
                <a:gd name="T7" fmla="*/ 5195 h 33"/>
                <a:gd name="T8" fmla="*/ 16624 w 53"/>
                <a:gd name="T9" fmla="*/ 6927 h 33"/>
                <a:gd name="T10" fmla="*/ 16624 w 53"/>
                <a:gd name="T11" fmla="*/ 10391 h 33"/>
                <a:gd name="T12" fmla="*/ 17523 w 53"/>
                <a:gd name="T13" fmla="*/ 13855 h 33"/>
                <a:gd name="T14" fmla="*/ 19769 w 53"/>
                <a:gd name="T15" fmla="*/ 17318 h 33"/>
                <a:gd name="T16" fmla="*/ 23813 w 53"/>
                <a:gd name="T17" fmla="*/ 20782 h 33"/>
                <a:gd name="T18" fmla="*/ 21566 w 53"/>
                <a:gd name="T19" fmla="*/ 38100 h 33"/>
                <a:gd name="T20" fmla="*/ 19769 w 53"/>
                <a:gd name="T21" fmla="*/ 48491 h 33"/>
                <a:gd name="T22" fmla="*/ 18871 w 53"/>
                <a:gd name="T23" fmla="*/ 53686 h 33"/>
                <a:gd name="T24" fmla="*/ 17073 w 53"/>
                <a:gd name="T25" fmla="*/ 55418 h 33"/>
                <a:gd name="T26" fmla="*/ 16175 w 53"/>
                <a:gd name="T27" fmla="*/ 57150 h 33"/>
                <a:gd name="T28" fmla="*/ 15276 w 53"/>
                <a:gd name="T29" fmla="*/ 57150 h 33"/>
                <a:gd name="T30" fmla="*/ 8986 w 53"/>
                <a:gd name="T31" fmla="*/ 51955 h 33"/>
                <a:gd name="T32" fmla="*/ 0 w 53"/>
                <a:gd name="T33" fmla="*/ 41564 h 33"/>
                <a:gd name="T34" fmla="*/ 0 w 53"/>
                <a:gd name="T35" fmla="*/ 32905 h 33"/>
                <a:gd name="T36" fmla="*/ 899 w 53"/>
                <a:gd name="T37" fmla="*/ 27709 h 33"/>
                <a:gd name="T38" fmla="*/ 1797 w 53"/>
                <a:gd name="T39" fmla="*/ 24245 h 33"/>
                <a:gd name="T40" fmla="*/ 3145 w 53"/>
                <a:gd name="T41" fmla="*/ 20782 h 33"/>
                <a:gd name="T42" fmla="*/ 4044 w 53"/>
                <a:gd name="T43" fmla="*/ 19050 h 33"/>
                <a:gd name="T44" fmla="*/ 4942 w 53"/>
                <a:gd name="T45" fmla="*/ 15586 h 33"/>
                <a:gd name="T46" fmla="*/ 5392 w 53"/>
                <a:gd name="T47" fmla="*/ 10391 h 33"/>
                <a:gd name="T48" fmla="*/ 5841 w 53"/>
                <a:gd name="T49" fmla="*/ 0 h 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3" h="33">
                  <a:moveTo>
                    <a:pt x="13" y="0"/>
                  </a:moveTo>
                  <a:lnTo>
                    <a:pt x="26" y="1"/>
                  </a:lnTo>
                  <a:lnTo>
                    <a:pt x="34" y="1"/>
                  </a:lnTo>
                  <a:lnTo>
                    <a:pt x="37" y="3"/>
                  </a:lnTo>
                  <a:lnTo>
                    <a:pt x="37" y="4"/>
                  </a:lnTo>
                  <a:lnTo>
                    <a:pt x="37" y="6"/>
                  </a:lnTo>
                  <a:lnTo>
                    <a:pt x="39" y="8"/>
                  </a:lnTo>
                  <a:lnTo>
                    <a:pt x="44" y="10"/>
                  </a:lnTo>
                  <a:lnTo>
                    <a:pt x="53" y="12"/>
                  </a:lnTo>
                  <a:lnTo>
                    <a:pt x="48" y="22"/>
                  </a:lnTo>
                  <a:lnTo>
                    <a:pt x="44" y="28"/>
                  </a:lnTo>
                  <a:lnTo>
                    <a:pt x="42" y="31"/>
                  </a:lnTo>
                  <a:lnTo>
                    <a:pt x="38" y="32"/>
                  </a:lnTo>
                  <a:lnTo>
                    <a:pt x="36" y="33"/>
                  </a:lnTo>
                  <a:lnTo>
                    <a:pt x="34" y="33"/>
                  </a:lnTo>
                  <a:lnTo>
                    <a:pt x="20" y="30"/>
                  </a:lnTo>
                  <a:lnTo>
                    <a:pt x="0" y="24"/>
                  </a:lnTo>
                  <a:lnTo>
                    <a:pt x="0" y="19"/>
                  </a:lnTo>
                  <a:lnTo>
                    <a:pt x="2" y="16"/>
                  </a:lnTo>
                  <a:lnTo>
                    <a:pt x="4" y="14"/>
                  </a:lnTo>
                  <a:lnTo>
                    <a:pt x="7" y="12"/>
                  </a:lnTo>
                  <a:lnTo>
                    <a:pt x="9" y="11"/>
                  </a:lnTo>
                  <a:lnTo>
                    <a:pt x="11" y="9"/>
                  </a:lnTo>
                  <a:lnTo>
                    <a:pt x="12" y="6"/>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72" name="Group 368">
              <a:extLst>
                <a:ext uri="{FF2B5EF4-FFF2-40B4-BE49-F238E27FC236}">
                  <a16:creationId xmlns:a16="http://schemas.microsoft.com/office/drawing/2014/main" id="{61744F83-432D-41C3-9669-4A13B7B1691A}"/>
                </a:ext>
              </a:extLst>
            </p:cNvPr>
            <p:cNvGrpSpPr>
              <a:grpSpLocks/>
            </p:cNvGrpSpPr>
            <p:nvPr>
              <p:custDataLst>
                <p:tags r:id="rId268"/>
              </p:custDataLst>
            </p:nvPr>
          </p:nvGrpSpPr>
          <p:grpSpPr bwMode="auto">
            <a:xfrm>
              <a:off x="5168894" y="3859182"/>
              <a:ext cx="168275" cy="103186"/>
              <a:chOff x="3481" y="2773"/>
              <a:chExt cx="125" cy="65"/>
            </a:xfrm>
          </p:grpSpPr>
          <p:sp>
            <p:nvSpPr>
              <p:cNvPr id="444" name="Freeform 369">
                <a:extLst>
                  <a:ext uri="{FF2B5EF4-FFF2-40B4-BE49-F238E27FC236}">
                    <a16:creationId xmlns:a16="http://schemas.microsoft.com/office/drawing/2014/main" id="{2EC8D46E-AB8A-43AE-9CC1-A8DE3396A1C9}"/>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18">
                    <a:moveTo>
                      <a:pt x="13" y="0"/>
                    </a:moveTo>
                    <a:lnTo>
                      <a:pt x="10" y="9"/>
                    </a:lnTo>
                    <a:lnTo>
                      <a:pt x="6" y="18"/>
                    </a:lnTo>
                    <a:lnTo>
                      <a:pt x="5" y="17"/>
                    </a:lnTo>
                    <a:lnTo>
                      <a:pt x="3" y="14"/>
                    </a:lnTo>
                    <a:lnTo>
                      <a:pt x="1" y="10"/>
                    </a:lnTo>
                    <a:lnTo>
                      <a:pt x="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5" name="Line 370">
                <a:extLst>
                  <a:ext uri="{FF2B5EF4-FFF2-40B4-BE49-F238E27FC236}">
                    <a16:creationId xmlns:a16="http://schemas.microsoft.com/office/drawing/2014/main" id="{63AB5491-4B21-438D-92C9-8DBA37EB28D9}"/>
                  </a:ext>
                </a:extLst>
              </p:cNvPr>
              <p:cNvSpPr>
                <a:spLocks noChangeShapeType="1"/>
              </p:cNvSpPr>
              <p:nvPr/>
            </p:nvSpPr>
            <p:spPr bwMode="auto">
              <a:xfrm>
                <a:off x="3583" y="2800"/>
                <a:ext cx="2" cy="1"/>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6" name="Freeform 371">
                <a:extLst>
                  <a:ext uri="{FF2B5EF4-FFF2-40B4-BE49-F238E27FC236}">
                    <a16:creationId xmlns:a16="http://schemas.microsoft.com/office/drawing/2014/main" id="{FBAE0EE2-7F42-4B78-B0E8-668F7818FD93}"/>
                  </a:ext>
                </a:extLst>
              </p:cNvPr>
              <p:cNvSpPr>
                <a:spLocks/>
              </p:cNvSpPr>
              <p:nvPr/>
            </p:nvSpPr>
            <p:spPr bwMode="auto">
              <a:xfrm>
                <a:off x="3554" y="2819"/>
                <a:ext cx="5" cy="6"/>
              </a:xfrm>
              <a:custGeom>
                <a:avLst/>
                <a:gdLst>
                  <a:gd name="T0" fmla="*/ 5 w 14"/>
                  <a:gd name="T1" fmla="*/ 6 h 19"/>
                  <a:gd name="T2" fmla="*/ 0 w 14"/>
                  <a:gd name="T3" fmla="*/ 0 h 19"/>
                  <a:gd name="T4" fmla="*/ 5 w 14"/>
                  <a:gd name="T5" fmla="*/ 6 h 19"/>
                  <a:gd name="T6" fmla="*/ 0 60000 65536"/>
                  <a:gd name="T7" fmla="*/ 0 60000 65536"/>
                  <a:gd name="T8" fmla="*/ 0 60000 65536"/>
                </a:gdLst>
                <a:ahLst/>
                <a:cxnLst>
                  <a:cxn ang="T6">
                    <a:pos x="T0" y="T1"/>
                  </a:cxn>
                  <a:cxn ang="T7">
                    <a:pos x="T2" y="T3"/>
                  </a:cxn>
                  <a:cxn ang="T8">
                    <a:pos x="T4" y="T5"/>
                  </a:cxn>
                </a:cxnLst>
                <a:rect l="0" t="0" r="r" b="b"/>
                <a:pathLst>
                  <a:path w="14" h="19">
                    <a:moveTo>
                      <a:pt x="14" y="19"/>
                    </a:moveTo>
                    <a:lnTo>
                      <a:pt x="0" y="0"/>
                    </a:lnTo>
                    <a:lnTo>
                      <a:pt x="14" y="1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7" name="Freeform 372">
                <a:extLst>
                  <a:ext uri="{FF2B5EF4-FFF2-40B4-BE49-F238E27FC236}">
                    <a16:creationId xmlns:a16="http://schemas.microsoft.com/office/drawing/2014/main" id="{6035E5A8-DD0A-420B-A89D-D8BE20E51CA4}"/>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7" h="18">
                    <a:moveTo>
                      <a:pt x="0" y="6"/>
                    </a:moveTo>
                    <a:lnTo>
                      <a:pt x="7" y="18"/>
                    </a:lnTo>
                    <a:lnTo>
                      <a:pt x="0" y="18"/>
                    </a:lnTo>
                    <a:lnTo>
                      <a:pt x="0" y="0"/>
                    </a:lnTo>
                    <a:lnTo>
                      <a:pt x="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8" name="Freeform 373">
                <a:extLst>
                  <a:ext uri="{FF2B5EF4-FFF2-40B4-BE49-F238E27FC236}">
                    <a16:creationId xmlns:a16="http://schemas.microsoft.com/office/drawing/2014/main" id="{9056A8A2-B30E-4ADC-A89C-C7A76EA9CF05}"/>
                  </a:ext>
                </a:extLst>
              </p:cNvPr>
              <p:cNvSpPr>
                <a:spLocks/>
              </p:cNvSpPr>
              <p:nvPr/>
            </p:nvSpPr>
            <p:spPr bwMode="auto">
              <a:xfrm>
                <a:off x="3599" y="2773"/>
                <a:ext cx="7" cy="4"/>
              </a:xfrm>
              <a:custGeom>
                <a:avLst/>
                <a:gdLst>
                  <a:gd name="T0" fmla="*/ 7 w 20"/>
                  <a:gd name="T1" fmla="*/ 4 h 12"/>
                  <a:gd name="T2" fmla="*/ 4 w 20"/>
                  <a:gd name="T3" fmla="*/ 3 h 12"/>
                  <a:gd name="T4" fmla="*/ 0 w 20"/>
                  <a:gd name="T5" fmla="*/ 2 h 12"/>
                  <a:gd name="T6" fmla="*/ 0 w 20"/>
                  <a:gd name="T7" fmla="*/ 2 h 12"/>
                  <a:gd name="T8" fmla="*/ 1 w 20"/>
                  <a:gd name="T9" fmla="*/ 1 h 12"/>
                  <a:gd name="T10" fmla="*/ 3 w 20"/>
                  <a:gd name="T11" fmla="*/ 0 h 12"/>
                  <a:gd name="T12" fmla="*/ 5 w 20"/>
                  <a:gd name="T13" fmla="*/ 0 h 1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0" h="12">
                    <a:moveTo>
                      <a:pt x="20" y="12"/>
                    </a:moveTo>
                    <a:lnTo>
                      <a:pt x="10" y="9"/>
                    </a:lnTo>
                    <a:lnTo>
                      <a:pt x="0" y="6"/>
                    </a:lnTo>
                    <a:lnTo>
                      <a:pt x="1" y="5"/>
                    </a:lnTo>
                    <a:lnTo>
                      <a:pt x="3" y="3"/>
                    </a:lnTo>
                    <a:lnTo>
                      <a:pt x="8" y="1"/>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9" name="Line 374">
                <a:extLst>
                  <a:ext uri="{FF2B5EF4-FFF2-40B4-BE49-F238E27FC236}">
                    <a16:creationId xmlns:a16="http://schemas.microsoft.com/office/drawing/2014/main" id="{E4DC5C76-17B8-4D32-8195-B15FE187EB26}"/>
                  </a:ext>
                </a:extLst>
              </p:cNvPr>
              <p:cNvSpPr>
                <a:spLocks noChangeShapeType="1"/>
              </p:cNvSpPr>
              <p:nvPr/>
            </p:nvSpPr>
            <p:spPr bwMode="auto">
              <a:xfrm>
                <a:off x="3603" y="2773"/>
                <a:ext cx="1" cy="2"/>
              </a:xfrm>
              <a:prstGeom prst="line">
                <a:avLst/>
              </a:prstGeom>
              <a:noFill/>
              <a:ln w="9525">
                <a:solidFill>
                  <a:srgbClr val="FFFFFF"/>
                </a:solidFill>
                <a:round/>
                <a:headEnd/>
                <a:tailEnd/>
              </a:ln>
              <a:extLst>
                <a:ext uri="{909E8E84-426E-40DD-AFC4-6F175D3DCCD1}">
                  <a14:hiddenFill xmlns:a14="http://schemas.microsoft.com/office/drawing/2010/main">
                    <a:noFill/>
                  </a14:hiddenFill>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0" name="Freeform 375">
                <a:extLst>
                  <a:ext uri="{FF2B5EF4-FFF2-40B4-BE49-F238E27FC236}">
                    <a16:creationId xmlns:a16="http://schemas.microsoft.com/office/drawing/2014/main" id="{3BDD3FB1-0819-489F-B47D-EA8F92B309B4}"/>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0 60000 65536"/>
                  <a:gd name="T7" fmla="*/ 0 60000 65536"/>
                  <a:gd name="T8" fmla="*/ 0 60000 65536"/>
                </a:gdLst>
                <a:ahLst/>
                <a:cxnLst>
                  <a:cxn ang="T6">
                    <a:pos x="T0" y="T1"/>
                  </a:cxn>
                  <a:cxn ang="T7">
                    <a:pos x="T2" y="T3"/>
                  </a:cxn>
                  <a:cxn ang="T8">
                    <a:pos x="T4" y="T5"/>
                  </a:cxn>
                </a:cxnLst>
                <a:rect l="0" t="0" r="r" b="b"/>
                <a:pathLst>
                  <a:path w="20" h="18">
                    <a:moveTo>
                      <a:pt x="0" y="0"/>
                    </a:moveTo>
                    <a:lnTo>
                      <a:pt x="0" y="18"/>
                    </a:lnTo>
                    <a:lnTo>
                      <a:pt x="20" y="18"/>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1" name="Freeform 376">
                <a:extLst>
                  <a:ext uri="{FF2B5EF4-FFF2-40B4-BE49-F238E27FC236}">
                    <a16:creationId xmlns:a16="http://schemas.microsoft.com/office/drawing/2014/main" id="{F1CB516A-7095-4D96-8677-0449F971F88F}"/>
                  </a:ext>
                </a:extLst>
              </p:cNvPr>
              <p:cNvSpPr>
                <a:spLocks/>
              </p:cNvSpPr>
              <p:nvPr/>
            </p:nvSpPr>
            <p:spPr bwMode="auto">
              <a:xfrm>
                <a:off x="3485" y="2830"/>
                <a:ext cx="3" cy="4"/>
              </a:xfrm>
              <a:custGeom>
                <a:avLst/>
                <a:gdLst>
                  <a:gd name="T0" fmla="*/ 3 w 7"/>
                  <a:gd name="T1" fmla="*/ 4 h 12"/>
                  <a:gd name="T2" fmla="*/ 2 w 7"/>
                  <a:gd name="T3" fmla="*/ 2 h 12"/>
                  <a:gd name="T4" fmla="*/ 0 w 7"/>
                  <a:gd name="T5" fmla="*/ 0 h 12"/>
                  <a:gd name="T6" fmla="*/ 0 60000 65536"/>
                  <a:gd name="T7" fmla="*/ 0 60000 65536"/>
                  <a:gd name="T8" fmla="*/ 0 60000 65536"/>
                </a:gdLst>
                <a:ahLst/>
                <a:cxnLst>
                  <a:cxn ang="T6">
                    <a:pos x="T0" y="T1"/>
                  </a:cxn>
                  <a:cxn ang="T7">
                    <a:pos x="T2" y="T3"/>
                  </a:cxn>
                  <a:cxn ang="T8">
                    <a:pos x="T4" y="T5"/>
                  </a:cxn>
                </a:cxnLst>
                <a:rect l="0" t="0" r="r" b="b"/>
                <a:pathLst>
                  <a:path w="7" h="12">
                    <a:moveTo>
                      <a:pt x="7" y="12"/>
                    </a:moveTo>
                    <a:lnTo>
                      <a:pt x="4" y="6"/>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2" name="Freeform 377">
                <a:extLst>
                  <a:ext uri="{FF2B5EF4-FFF2-40B4-BE49-F238E27FC236}">
                    <a16:creationId xmlns:a16="http://schemas.microsoft.com/office/drawing/2014/main" id="{553718F2-C7FC-41CE-B5EA-66863465586F}"/>
                  </a:ext>
                </a:extLst>
              </p:cNvPr>
              <p:cNvSpPr>
                <a:spLocks/>
              </p:cNvSpPr>
              <p:nvPr/>
            </p:nvSpPr>
            <p:spPr bwMode="auto">
              <a:xfrm>
                <a:off x="3481" y="2828"/>
                <a:ext cx="7" cy="6"/>
              </a:xfrm>
              <a:custGeom>
                <a:avLst/>
                <a:gdLst>
                  <a:gd name="T0" fmla="*/ 0 w 20"/>
                  <a:gd name="T1" fmla="*/ 0 h 18"/>
                  <a:gd name="T2" fmla="*/ 0 w 20"/>
                  <a:gd name="T3" fmla="*/ 6 h 18"/>
                  <a:gd name="T4" fmla="*/ 7 w 20"/>
                  <a:gd name="T5" fmla="*/ 6 h 18"/>
                  <a:gd name="T6" fmla="*/ 6 w 20"/>
                  <a:gd name="T7" fmla="*/ 4 h 18"/>
                  <a:gd name="T8" fmla="*/ 5 w 20"/>
                  <a:gd name="T9" fmla="*/ 2 h 18"/>
                  <a:gd name="T10" fmla="*/ 0 w 20"/>
                  <a:gd name="T11" fmla="*/ 0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18">
                    <a:moveTo>
                      <a:pt x="0" y="0"/>
                    </a:moveTo>
                    <a:lnTo>
                      <a:pt x="0" y="18"/>
                    </a:lnTo>
                    <a:lnTo>
                      <a:pt x="20" y="18"/>
                    </a:lnTo>
                    <a:lnTo>
                      <a:pt x="17" y="12"/>
                    </a:lnTo>
                    <a:lnTo>
                      <a:pt x="13" y="6"/>
                    </a:lnTo>
                    <a:lnTo>
                      <a:pt x="0"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3" name="Freeform 378">
                <a:extLst>
                  <a:ext uri="{FF2B5EF4-FFF2-40B4-BE49-F238E27FC236}">
                    <a16:creationId xmlns:a16="http://schemas.microsoft.com/office/drawing/2014/main" id="{12B9DFC7-486F-41E9-B74D-73090BB9C5AD}"/>
                  </a:ext>
                </a:extLst>
              </p:cNvPr>
              <p:cNvSpPr>
                <a:spLocks/>
              </p:cNvSpPr>
              <p:nvPr/>
            </p:nvSpPr>
            <p:spPr bwMode="auto">
              <a:xfrm>
                <a:off x="3528" y="2832"/>
                <a:ext cx="2" cy="6"/>
              </a:xfrm>
              <a:custGeom>
                <a:avLst/>
                <a:gdLst>
                  <a:gd name="T0" fmla="*/ 0 w 7"/>
                  <a:gd name="T1" fmla="*/ 2 h 18"/>
                  <a:gd name="T2" fmla="*/ 2 w 7"/>
                  <a:gd name="T3" fmla="*/ 6 h 18"/>
                  <a:gd name="T4" fmla="*/ 0 w 7"/>
                  <a:gd name="T5" fmla="*/ 6 h 18"/>
                  <a:gd name="T6" fmla="*/ 0 w 7"/>
                  <a:gd name="T7" fmla="*/ 0 h 18"/>
                  <a:gd name="T8" fmla="*/ 2 w 7"/>
                  <a:gd name="T9" fmla="*/ 0 h 18"/>
                  <a:gd name="T10" fmla="*/ 0 w 7"/>
                  <a:gd name="T11" fmla="*/ 2 h 1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7" h="18">
                    <a:moveTo>
                      <a:pt x="0" y="6"/>
                    </a:moveTo>
                    <a:lnTo>
                      <a:pt x="7" y="18"/>
                    </a:lnTo>
                    <a:lnTo>
                      <a:pt x="0" y="18"/>
                    </a:lnTo>
                    <a:lnTo>
                      <a:pt x="0" y="0"/>
                    </a:lnTo>
                    <a:lnTo>
                      <a:pt x="7" y="0"/>
                    </a:lnTo>
                    <a:lnTo>
                      <a:pt x="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54" name="Freeform 379">
                <a:extLst>
                  <a:ext uri="{FF2B5EF4-FFF2-40B4-BE49-F238E27FC236}">
                    <a16:creationId xmlns:a16="http://schemas.microsoft.com/office/drawing/2014/main" id="{AD1B1F8A-9642-4425-8142-6CA549937A7A}"/>
                  </a:ext>
                </a:extLst>
              </p:cNvPr>
              <p:cNvSpPr>
                <a:spLocks/>
              </p:cNvSpPr>
              <p:nvPr/>
            </p:nvSpPr>
            <p:spPr bwMode="auto">
              <a:xfrm>
                <a:off x="3583" y="2798"/>
                <a:ext cx="5" cy="6"/>
              </a:xfrm>
              <a:custGeom>
                <a:avLst/>
                <a:gdLst>
                  <a:gd name="T0" fmla="*/ 5 w 13"/>
                  <a:gd name="T1" fmla="*/ 0 h 18"/>
                  <a:gd name="T2" fmla="*/ 4 w 13"/>
                  <a:gd name="T3" fmla="*/ 3 h 18"/>
                  <a:gd name="T4" fmla="*/ 2 w 13"/>
                  <a:gd name="T5" fmla="*/ 6 h 18"/>
                  <a:gd name="T6" fmla="*/ 2 w 13"/>
                  <a:gd name="T7" fmla="*/ 6 h 18"/>
                  <a:gd name="T8" fmla="*/ 1 w 13"/>
                  <a:gd name="T9" fmla="*/ 5 h 18"/>
                  <a:gd name="T10" fmla="*/ 0 w 13"/>
                  <a:gd name="T11" fmla="*/ 3 h 18"/>
                  <a:gd name="T12" fmla="*/ 0 w 13"/>
                  <a:gd name="T13" fmla="*/ 2 h 18"/>
                  <a:gd name="T14" fmla="*/ 2 w 13"/>
                  <a:gd name="T15" fmla="*/ 2 h 18"/>
                  <a:gd name="T16" fmla="*/ 5 w 13"/>
                  <a:gd name="T17" fmla="*/ 0 h 1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13" h="18">
                    <a:moveTo>
                      <a:pt x="13" y="0"/>
                    </a:moveTo>
                    <a:lnTo>
                      <a:pt x="10" y="9"/>
                    </a:lnTo>
                    <a:lnTo>
                      <a:pt x="6" y="18"/>
                    </a:lnTo>
                    <a:lnTo>
                      <a:pt x="5" y="17"/>
                    </a:lnTo>
                    <a:lnTo>
                      <a:pt x="3" y="14"/>
                    </a:lnTo>
                    <a:lnTo>
                      <a:pt x="1" y="10"/>
                    </a:lnTo>
                    <a:lnTo>
                      <a:pt x="0" y="6"/>
                    </a:lnTo>
                    <a:lnTo>
                      <a:pt x="6" y="6"/>
                    </a:lnTo>
                    <a:lnTo>
                      <a:pt x="13"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73" name="Freeform 380">
              <a:extLst>
                <a:ext uri="{FF2B5EF4-FFF2-40B4-BE49-F238E27FC236}">
                  <a16:creationId xmlns:a16="http://schemas.microsoft.com/office/drawing/2014/main" id="{5E35D944-8274-42CD-8CA7-590F8B3D223A}"/>
                </a:ext>
              </a:extLst>
            </p:cNvPr>
            <p:cNvSpPr>
              <a:spLocks/>
            </p:cNvSpPr>
            <p:nvPr>
              <p:custDataLst>
                <p:tags r:id="rId269"/>
              </p:custDataLst>
            </p:nvPr>
          </p:nvSpPr>
          <p:spPr bwMode="auto">
            <a:xfrm>
              <a:off x="4297358" y="3851244"/>
              <a:ext cx="319087" cy="379410"/>
            </a:xfrm>
            <a:custGeom>
              <a:avLst/>
              <a:gdLst>
                <a:gd name="T0" fmla="*/ 26013 w 736"/>
                <a:gd name="T1" fmla="*/ 360469 h 721"/>
                <a:gd name="T2" fmla="*/ 39452 w 736"/>
                <a:gd name="T3" fmla="*/ 351523 h 721"/>
                <a:gd name="T4" fmla="*/ 54626 w 736"/>
                <a:gd name="T5" fmla="*/ 351523 h 721"/>
                <a:gd name="T6" fmla="*/ 84974 w 736"/>
                <a:gd name="T7" fmla="*/ 364152 h 721"/>
                <a:gd name="T8" fmla="*/ 106218 w 736"/>
                <a:gd name="T9" fmla="*/ 370993 h 721"/>
                <a:gd name="T10" fmla="*/ 126594 w 736"/>
                <a:gd name="T11" fmla="*/ 369941 h 721"/>
                <a:gd name="T12" fmla="*/ 264894 w 736"/>
                <a:gd name="T13" fmla="*/ 377308 h 721"/>
                <a:gd name="T14" fmla="*/ 282236 w 736"/>
                <a:gd name="T15" fmla="*/ 372046 h 721"/>
                <a:gd name="T16" fmla="*/ 271831 w 736"/>
                <a:gd name="T17" fmla="*/ 345734 h 721"/>
                <a:gd name="T18" fmla="*/ 287872 w 736"/>
                <a:gd name="T19" fmla="*/ 227858 h 721"/>
                <a:gd name="T20" fmla="*/ 307381 w 736"/>
                <a:gd name="T21" fmla="*/ 225753 h 721"/>
                <a:gd name="T22" fmla="*/ 313451 w 736"/>
                <a:gd name="T23" fmla="*/ 218912 h 721"/>
                <a:gd name="T24" fmla="*/ 318220 w 736"/>
                <a:gd name="T25" fmla="*/ 189443 h 721"/>
                <a:gd name="T26" fmla="*/ 313017 w 736"/>
                <a:gd name="T27" fmla="*/ 158922 h 721"/>
                <a:gd name="T28" fmla="*/ 306948 w 736"/>
                <a:gd name="T29" fmla="*/ 159974 h 721"/>
                <a:gd name="T30" fmla="*/ 293074 w 736"/>
                <a:gd name="T31" fmla="*/ 157869 h 721"/>
                <a:gd name="T32" fmla="*/ 274866 w 736"/>
                <a:gd name="T33" fmla="*/ 157343 h 721"/>
                <a:gd name="T34" fmla="*/ 270097 w 736"/>
                <a:gd name="T35" fmla="*/ 152607 h 721"/>
                <a:gd name="T36" fmla="*/ 267495 w 736"/>
                <a:gd name="T37" fmla="*/ 133137 h 721"/>
                <a:gd name="T38" fmla="*/ 263160 w 736"/>
                <a:gd name="T39" fmla="*/ 115245 h 721"/>
                <a:gd name="T40" fmla="*/ 258825 w 736"/>
                <a:gd name="T41" fmla="*/ 97879 h 721"/>
                <a:gd name="T42" fmla="*/ 263160 w 736"/>
                <a:gd name="T43" fmla="*/ 87881 h 721"/>
                <a:gd name="T44" fmla="*/ 267495 w 736"/>
                <a:gd name="T45" fmla="*/ 77882 h 721"/>
                <a:gd name="T46" fmla="*/ 264894 w 736"/>
                <a:gd name="T47" fmla="*/ 52623 h 721"/>
                <a:gd name="T48" fmla="*/ 235847 w 736"/>
                <a:gd name="T49" fmla="*/ 36836 h 721"/>
                <a:gd name="T50" fmla="*/ 206800 w 736"/>
                <a:gd name="T51" fmla="*/ 34731 h 721"/>
                <a:gd name="T52" fmla="*/ 204198 w 736"/>
                <a:gd name="T53" fmla="*/ 42625 h 721"/>
                <a:gd name="T54" fmla="*/ 200730 w 736"/>
                <a:gd name="T55" fmla="*/ 53149 h 721"/>
                <a:gd name="T56" fmla="*/ 190759 w 736"/>
                <a:gd name="T57" fmla="*/ 64200 h 721"/>
                <a:gd name="T58" fmla="*/ 169949 w 736"/>
                <a:gd name="T59" fmla="*/ 68410 h 721"/>
                <a:gd name="T60" fmla="*/ 157809 w 736"/>
                <a:gd name="T61" fmla="*/ 60517 h 721"/>
                <a:gd name="T62" fmla="*/ 146971 w 736"/>
                <a:gd name="T63" fmla="*/ 43151 h 721"/>
                <a:gd name="T64" fmla="*/ 138300 w 736"/>
                <a:gd name="T65" fmla="*/ 20523 h 721"/>
                <a:gd name="T66" fmla="*/ 135265 w 736"/>
                <a:gd name="T67" fmla="*/ 0 h 721"/>
                <a:gd name="T68" fmla="*/ 13006 w 736"/>
                <a:gd name="T69" fmla="*/ 7893 h 721"/>
                <a:gd name="T70" fmla="*/ 20376 w 736"/>
                <a:gd name="T71" fmla="*/ 15261 h 721"/>
                <a:gd name="T72" fmla="*/ 32516 w 736"/>
                <a:gd name="T73" fmla="*/ 39467 h 721"/>
                <a:gd name="T74" fmla="*/ 44221 w 736"/>
                <a:gd name="T75" fmla="*/ 68410 h 721"/>
                <a:gd name="T76" fmla="*/ 44655 w 736"/>
                <a:gd name="T77" fmla="*/ 89986 h 721"/>
                <a:gd name="T78" fmla="*/ 40319 w 736"/>
                <a:gd name="T79" fmla="*/ 106825 h 721"/>
                <a:gd name="T80" fmla="*/ 41620 w 736"/>
                <a:gd name="T81" fmla="*/ 120507 h 721"/>
                <a:gd name="T82" fmla="*/ 51592 w 736"/>
                <a:gd name="T83" fmla="*/ 143135 h 721"/>
                <a:gd name="T84" fmla="*/ 56794 w 736"/>
                <a:gd name="T85" fmla="*/ 161553 h 721"/>
                <a:gd name="T86" fmla="*/ 55060 w 736"/>
                <a:gd name="T87" fmla="*/ 185234 h 721"/>
                <a:gd name="T88" fmla="*/ 45955 w 736"/>
                <a:gd name="T89" fmla="*/ 212071 h 721"/>
                <a:gd name="T90" fmla="*/ 33383 w 736"/>
                <a:gd name="T91" fmla="*/ 234699 h 721"/>
                <a:gd name="T92" fmla="*/ 17775 w 736"/>
                <a:gd name="T93" fmla="*/ 251012 h 721"/>
                <a:gd name="T94" fmla="*/ 10839 w 736"/>
                <a:gd name="T95" fmla="*/ 311003 h 721"/>
                <a:gd name="T96" fmla="*/ 4769 w 736"/>
                <a:gd name="T97" fmla="*/ 329947 h 72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736" h="721">
                  <a:moveTo>
                    <a:pt x="0" y="691"/>
                  </a:moveTo>
                  <a:lnTo>
                    <a:pt x="46" y="697"/>
                  </a:lnTo>
                  <a:lnTo>
                    <a:pt x="53" y="690"/>
                  </a:lnTo>
                  <a:lnTo>
                    <a:pt x="60" y="685"/>
                  </a:lnTo>
                  <a:lnTo>
                    <a:pt x="68" y="679"/>
                  </a:lnTo>
                  <a:lnTo>
                    <a:pt x="75" y="674"/>
                  </a:lnTo>
                  <a:lnTo>
                    <a:pt x="83" y="671"/>
                  </a:lnTo>
                  <a:lnTo>
                    <a:pt x="91" y="668"/>
                  </a:lnTo>
                  <a:lnTo>
                    <a:pt x="97" y="666"/>
                  </a:lnTo>
                  <a:lnTo>
                    <a:pt x="105" y="666"/>
                  </a:lnTo>
                  <a:lnTo>
                    <a:pt x="116" y="666"/>
                  </a:lnTo>
                  <a:lnTo>
                    <a:pt x="126" y="668"/>
                  </a:lnTo>
                  <a:lnTo>
                    <a:pt x="137" y="671"/>
                  </a:lnTo>
                  <a:lnTo>
                    <a:pt x="149" y="674"/>
                  </a:lnTo>
                  <a:lnTo>
                    <a:pt x="172" y="683"/>
                  </a:lnTo>
                  <a:lnTo>
                    <a:pt x="196" y="692"/>
                  </a:lnTo>
                  <a:lnTo>
                    <a:pt x="208" y="696"/>
                  </a:lnTo>
                  <a:lnTo>
                    <a:pt x="220" y="700"/>
                  </a:lnTo>
                  <a:lnTo>
                    <a:pt x="232" y="703"/>
                  </a:lnTo>
                  <a:lnTo>
                    <a:pt x="245" y="705"/>
                  </a:lnTo>
                  <a:lnTo>
                    <a:pt x="257" y="706"/>
                  </a:lnTo>
                  <a:lnTo>
                    <a:pt x="269" y="707"/>
                  </a:lnTo>
                  <a:lnTo>
                    <a:pt x="280" y="706"/>
                  </a:lnTo>
                  <a:lnTo>
                    <a:pt x="292" y="703"/>
                  </a:lnTo>
                  <a:lnTo>
                    <a:pt x="411" y="703"/>
                  </a:lnTo>
                  <a:lnTo>
                    <a:pt x="411" y="721"/>
                  </a:lnTo>
                  <a:lnTo>
                    <a:pt x="604" y="721"/>
                  </a:lnTo>
                  <a:lnTo>
                    <a:pt x="611" y="717"/>
                  </a:lnTo>
                  <a:lnTo>
                    <a:pt x="619" y="714"/>
                  </a:lnTo>
                  <a:lnTo>
                    <a:pt x="627" y="712"/>
                  </a:lnTo>
                  <a:lnTo>
                    <a:pt x="634" y="710"/>
                  </a:lnTo>
                  <a:lnTo>
                    <a:pt x="651" y="707"/>
                  </a:lnTo>
                  <a:lnTo>
                    <a:pt x="671" y="703"/>
                  </a:lnTo>
                  <a:lnTo>
                    <a:pt x="658" y="691"/>
                  </a:lnTo>
                  <a:lnTo>
                    <a:pt x="643" y="674"/>
                  </a:lnTo>
                  <a:lnTo>
                    <a:pt x="627" y="657"/>
                  </a:lnTo>
                  <a:lnTo>
                    <a:pt x="610" y="641"/>
                  </a:lnTo>
                  <a:lnTo>
                    <a:pt x="610" y="432"/>
                  </a:lnTo>
                  <a:lnTo>
                    <a:pt x="631" y="433"/>
                  </a:lnTo>
                  <a:lnTo>
                    <a:pt x="664" y="433"/>
                  </a:lnTo>
                  <a:lnTo>
                    <a:pt x="680" y="433"/>
                  </a:lnTo>
                  <a:lnTo>
                    <a:pt x="696" y="432"/>
                  </a:lnTo>
                  <a:lnTo>
                    <a:pt x="703" y="431"/>
                  </a:lnTo>
                  <a:lnTo>
                    <a:pt x="709" y="429"/>
                  </a:lnTo>
                  <a:lnTo>
                    <a:pt x="713" y="428"/>
                  </a:lnTo>
                  <a:lnTo>
                    <a:pt x="717" y="426"/>
                  </a:lnTo>
                  <a:lnTo>
                    <a:pt x="720" y="421"/>
                  </a:lnTo>
                  <a:lnTo>
                    <a:pt x="723" y="416"/>
                  </a:lnTo>
                  <a:lnTo>
                    <a:pt x="725" y="408"/>
                  </a:lnTo>
                  <a:lnTo>
                    <a:pt x="728" y="400"/>
                  </a:lnTo>
                  <a:lnTo>
                    <a:pt x="732" y="380"/>
                  </a:lnTo>
                  <a:lnTo>
                    <a:pt x="734" y="360"/>
                  </a:lnTo>
                  <a:lnTo>
                    <a:pt x="736" y="324"/>
                  </a:lnTo>
                  <a:lnTo>
                    <a:pt x="736" y="309"/>
                  </a:lnTo>
                  <a:lnTo>
                    <a:pt x="728" y="304"/>
                  </a:lnTo>
                  <a:lnTo>
                    <a:pt x="722" y="302"/>
                  </a:lnTo>
                  <a:lnTo>
                    <a:pt x="718" y="302"/>
                  </a:lnTo>
                  <a:lnTo>
                    <a:pt x="714" y="303"/>
                  </a:lnTo>
                  <a:lnTo>
                    <a:pt x="711" y="304"/>
                  </a:lnTo>
                  <a:lnTo>
                    <a:pt x="708" y="304"/>
                  </a:lnTo>
                  <a:lnTo>
                    <a:pt x="703" y="302"/>
                  </a:lnTo>
                  <a:lnTo>
                    <a:pt x="697" y="297"/>
                  </a:lnTo>
                  <a:lnTo>
                    <a:pt x="685" y="298"/>
                  </a:lnTo>
                  <a:lnTo>
                    <a:pt x="676" y="300"/>
                  </a:lnTo>
                  <a:lnTo>
                    <a:pt x="666" y="302"/>
                  </a:lnTo>
                  <a:lnTo>
                    <a:pt x="650" y="303"/>
                  </a:lnTo>
                  <a:lnTo>
                    <a:pt x="641" y="302"/>
                  </a:lnTo>
                  <a:lnTo>
                    <a:pt x="634" y="299"/>
                  </a:lnTo>
                  <a:lnTo>
                    <a:pt x="631" y="298"/>
                  </a:lnTo>
                  <a:lnTo>
                    <a:pt x="628" y="295"/>
                  </a:lnTo>
                  <a:lnTo>
                    <a:pt x="626" y="293"/>
                  </a:lnTo>
                  <a:lnTo>
                    <a:pt x="623" y="290"/>
                  </a:lnTo>
                  <a:lnTo>
                    <a:pt x="620" y="282"/>
                  </a:lnTo>
                  <a:lnTo>
                    <a:pt x="619" y="274"/>
                  </a:lnTo>
                  <a:lnTo>
                    <a:pt x="618" y="264"/>
                  </a:lnTo>
                  <a:lnTo>
                    <a:pt x="617" y="253"/>
                  </a:lnTo>
                  <a:lnTo>
                    <a:pt x="616" y="244"/>
                  </a:lnTo>
                  <a:lnTo>
                    <a:pt x="613" y="236"/>
                  </a:lnTo>
                  <a:lnTo>
                    <a:pt x="610" y="227"/>
                  </a:lnTo>
                  <a:lnTo>
                    <a:pt x="607" y="219"/>
                  </a:lnTo>
                  <a:lnTo>
                    <a:pt x="604" y="211"/>
                  </a:lnTo>
                  <a:lnTo>
                    <a:pt x="600" y="203"/>
                  </a:lnTo>
                  <a:lnTo>
                    <a:pt x="598" y="195"/>
                  </a:lnTo>
                  <a:lnTo>
                    <a:pt x="597" y="186"/>
                  </a:lnTo>
                  <a:lnTo>
                    <a:pt x="598" y="181"/>
                  </a:lnTo>
                  <a:lnTo>
                    <a:pt x="600" y="177"/>
                  </a:lnTo>
                  <a:lnTo>
                    <a:pt x="604" y="171"/>
                  </a:lnTo>
                  <a:lnTo>
                    <a:pt x="607" y="167"/>
                  </a:lnTo>
                  <a:lnTo>
                    <a:pt x="610" y="162"/>
                  </a:lnTo>
                  <a:lnTo>
                    <a:pt x="613" y="157"/>
                  </a:lnTo>
                  <a:lnTo>
                    <a:pt x="616" y="153"/>
                  </a:lnTo>
                  <a:lnTo>
                    <a:pt x="617" y="148"/>
                  </a:lnTo>
                  <a:lnTo>
                    <a:pt x="616" y="136"/>
                  </a:lnTo>
                  <a:lnTo>
                    <a:pt x="612" y="120"/>
                  </a:lnTo>
                  <a:lnTo>
                    <a:pt x="611" y="109"/>
                  </a:lnTo>
                  <a:lnTo>
                    <a:pt x="611" y="100"/>
                  </a:lnTo>
                  <a:lnTo>
                    <a:pt x="613" y="90"/>
                  </a:lnTo>
                  <a:lnTo>
                    <a:pt x="617" y="81"/>
                  </a:lnTo>
                  <a:lnTo>
                    <a:pt x="594" y="77"/>
                  </a:lnTo>
                  <a:lnTo>
                    <a:pt x="544" y="70"/>
                  </a:lnTo>
                  <a:lnTo>
                    <a:pt x="517" y="67"/>
                  </a:lnTo>
                  <a:lnTo>
                    <a:pt x="494" y="66"/>
                  </a:lnTo>
                  <a:lnTo>
                    <a:pt x="484" y="65"/>
                  </a:lnTo>
                  <a:lnTo>
                    <a:pt x="477" y="66"/>
                  </a:lnTo>
                  <a:lnTo>
                    <a:pt x="473" y="67"/>
                  </a:lnTo>
                  <a:lnTo>
                    <a:pt x="471" y="69"/>
                  </a:lnTo>
                  <a:lnTo>
                    <a:pt x="471" y="73"/>
                  </a:lnTo>
                  <a:lnTo>
                    <a:pt x="471" y="81"/>
                  </a:lnTo>
                  <a:lnTo>
                    <a:pt x="470" y="86"/>
                  </a:lnTo>
                  <a:lnTo>
                    <a:pt x="469" y="91"/>
                  </a:lnTo>
                  <a:lnTo>
                    <a:pt x="466" y="96"/>
                  </a:lnTo>
                  <a:lnTo>
                    <a:pt x="463" y="101"/>
                  </a:lnTo>
                  <a:lnTo>
                    <a:pt x="460" y="107"/>
                  </a:lnTo>
                  <a:lnTo>
                    <a:pt x="454" y="112"/>
                  </a:lnTo>
                  <a:lnTo>
                    <a:pt x="448" y="117"/>
                  </a:lnTo>
                  <a:lnTo>
                    <a:pt x="440" y="122"/>
                  </a:lnTo>
                  <a:lnTo>
                    <a:pt x="430" y="125"/>
                  </a:lnTo>
                  <a:lnTo>
                    <a:pt x="419" y="128"/>
                  </a:lnTo>
                  <a:lnTo>
                    <a:pt x="406" y="130"/>
                  </a:lnTo>
                  <a:lnTo>
                    <a:pt x="392" y="130"/>
                  </a:lnTo>
                  <a:lnTo>
                    <a:pt x="385" y="129"/>
                  </a:lnTo>
                  <a:lnTo>
                    <a:pt x="378" y="127"/>
                  </a:lnTo>
                  <a:lnTo>
                    <a:pt x="372" y="122"/>
                  </a:lnTo>
                  <a:lnTo>
                    <a:pt x="364" y="115"/>
                  </a:lnTo>
                  <a:lnTo>
                    <a:pt x="358" y="108"/>
                  </a:lnTo>
                  <a:lnTo>
                    <a:pt x="351" y="100"/>
                  </a:lnTo>
                  <a:lnTo>
                    <a:pt x="344" y="91"/>
                  </a:lnTo>
                  <a:lnTo>
                    <a:pt x="339" y="82"/>
                  </a:lnTo>
                  <a:lnTo>
                    <a:pt x="333" y="72"/>
                  </a:lnTo>
                  <a:lnTo>
                    <a:pt x="328" y="60"/>
                  </a:lnTo>
                  <a:lnTo>
                    <a:pt x="324" y="50"/>
                  </a:lnTo>
                  <a:lnTo>
                    <a:pt x="319" y="39"/>
                  </a:lnTo>
                  <a:lnTo>
                    <a:pt x="316" y="29"/>
                  </a:lnTo>
                  <a:lnTo>
                    <a:pt x="314" y="19"/>
                  </a:lnTo>
                  <a:lnTo>
                    <a:pt x="312" y="10"/>
                  </a:lnTo>
                  <a:lnTo>
                    <a:pt x="312" y="0"/>
                  </a:lnTo>
                  <a:lnTo>
                    <a:pt x="26" y="0"/>
                  </a:lnTo>
                  <a:lnTo>
                    <a:pt x="26" y="5"/>
                  </a:lnTo>
                  <a:lnTo>
                    <a:pt x="28" y="10"/>
                  </a:lnTo>
                  <a:lnTo>
                    <a:pt x="30" y="15"/>
                  </a:lnTo>
                  <a:lnTo>
                    <a:pt x="34" y="19"/>
                  </a:lnTo>
                  <a:lnTo>
                    <a:pt x="38" y="22"/>
                  </a:lnTo>
                  <a:lnTo>
                    <a:pt x="42" y="26"/>
                  </a:lnTo>
                  <a:lnTo>
                    <a:pt x="47" y="29"/>
                  </a:lnTo>
                  <a:lnTo>
                    <a:pt x="52" y="31"/>
                  </a:lnTo>
                  <a:lnTo>
                    <a:pt x="58" y="47"/>
                  </a:lnTo>
                  <a:lnTo>
                    <a:pt x="67" y="61"/>
                  </a:lnTo>
                  <a:lnTo>
                    <a:pt x="75" y="75"/>
                  </a:lnTo>
                  <a:lnTo>
                    <a:pt x="84" y="89"/>
                  </a:lnTo>
                  <a:lnTo>
                    <a:pt x="92" y="104"/>
                  </a:lnTo>
                  <a:lnTo>
                    <a:pt x="98" y="121"/>
                  </a:lnTo>
                  <a:lnTo>
                    <a:pt x="102" y="130"/>
                  </a:lnTo>
                  <a:lnTo>
                    <a:pt x="104" y="139"/>
                  </a:lnTo>
                  <a:lnTo>
                    <a:pt x="105" y="150"/>
                  </a:lnTo>
                  <a:lnTo>
                    <a:pt x="105" y="161"/>
                  </a:lnTo>
                  <a:lnTo>
                    <a:pt x="103" y="171"/>
                  </a:lnTo>
                  <a:lnTo>
                    <a:pt x="98" y="183"/>
                  </a:lnTo>
                  <a:lnTo>
                    <a:pt x="96" y="190"/>
                  </a:lnTo>
                  <a:lnTo>
                    <a:pt x="94" y="196"/>
                  </a:lnTo>
                  <a:lnTo>
                    <a:pt x="93" y="203"/>
                  </a:lnTo>
                  <a:lnTo>
                    <a:pt x="92" y="210"/>
                  </a:lnTo>
                  <a:lnTo>
                    <a:pt x="93" y="217"/>
                  </a:lnTo>
                  <a:lnTo>
                    <a:pt x="94" y="223"/>
                  </a:lnTo>
                  <a:lnTo>
                    <a:pt x="96" y="229"/>
                  </a:lnTo>
                  <a:lnTo>
                    <a:pt x="98" y="236"/>
                  </a:lnTo>
                  <a:lnTo>
                    <a:pt x="105" y="248"/>
                  </a:lnTo>
                  <a:lnTo>
                    <a:pt x="112" y="260"/>
                  </a:lnTo>
                  <a:lnTo>
                    <a:pt x="119" y="272"/>
                  </a:lnTo>
                  <a:lnTo>
                    <a:pt x="126" y="285"/>
                  </a:lnTo>
                  <a:lnTo>
                    <a:pt x="128" y="293"/>
                  </a:lnTo>
                  <a:lnTo>
                    <a:pt x="130" y="300"/>
                  </a:lnTo>
                  <a:lnTo>
                    <a:pt x="131" y="307"/>
                  </a:lnTo>
                  <a:lnTo>
                    <a:pt x="133" y="315"/>
                  </a:lnTo>
                  <a:lnTo>
                    <a:pt x="131" y="326"/>
                  </a:lnTo>
                  <a:lnTo>
                    <a:pt x="129" y="338"/>
                  </a:lnTo>
                  <a:lnTo>
                    <a:pt x="127" y="352"/>
                  </a:lnTo>
                  <a:lnTo>
                    <a:pt x="123" y="364"/>
                  </a:lnTo>
                  <a:lnTo>
                    <a:pt x="118" y="377"/>
                  </a:lnTo>
                  <a:lnTo>
                    <a:pt x="113" y="389"/>
                  </a:lnTo>
                  <a:lnTo>
                    <a:pt x="106" y="403"/>
                  </a:lnTo>
                  <a:lnTo>
                    <a:pt x="100" y="414"/>
                  </a:lnTo>
                  <a:lnTo>
                    <a:pt x="92" y="426"/>
                  </a:lnTo>
                  <a:lnTo>
                    <a:pt x="84" y="436"/>
                  </a:lnTo>
                  <a:lnTo>
                    <a:pt x="77" y="446"/>
                  </a:lnTo>
                  <a:lnTo>
                    <a:pt x="68" y="457"/>
                  </a:lnTo>
                  <a:lnTo>
                    <a:pt x="59" y="465"/>
                  </a:lnTo>
                  <a:lnTo>
                    <a:pt x="50" y="471"/>
                  </a:lnTo>
                  <a:lnTo>
                    <a:pt x="41" y="477"/>
                  </a:lnTo>
                  <a:lnTo>
                    <a:pt x="33" y="481"/>
                  </a:lnTo>
                  <a:lnTo>
                    <a:pt x="33" y="586"/>
                  </a:lnTo>
                  <a:lnTo>
                    <a:pt x="28" y="588"/>
                  </a:lnTo>
                  <a:lnTo>
                    <a:pt x="25" y="591"/>
                  </a:lnTo>
                  <a:lnTo>
                    <a:pt x="23" y="595"/>
                  </a:lnTo>
                  <a:lnTo>
                    <a:pt x="19" y="600"/>
                  </a:lnTo>
                  <a:lnTo>
                    <a:pt x="15" y="612"/>
                  </a:lnTo>
                  <a:lnTo>
                    <a:pt x="11" y="627"/>
                  </a:lnTo>
                  <a:lnTo>
                    <a:pt x="4" y="659"/>
                  </a:lnTo>
                  <a:lnTo>
                    <a:pt x="0" y="69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74" name="Freeform 381">
              <a:extLst>
                <a:ext uri="{FF2B5EF4-FFF2-40B4-BE49-F238E27FC236}">
                  <a16:creationId xmlns:a16="http://schemas.microsoft.com/office/drawing/2014/main" id="{3BF69221-5B32-4432-B52D-D3CF3F8BE1A3}"/>
                </a:ext>
              </a:extLst>
            </p:cNvPr>
            <p:cNvSpPr>
              <a:spLocks/>
            </p:cNvSpPr>
            <p:nvPr>
              <p:custDataLst>
                <p:tags r:id="rId270"/>
              </p:custDataLst>
            </p:nvPr>
          </p:nvSpPr>
          <p:spPr bwMode="auto">
            <a:xfrm>
              <a:off x="4308470" y="3824258"/>
              <a:ext cx="15875" cy="60325"/>
            </a:xfrm>
            <a:custGeom>
              <a:avLst/>
              <a:gdLst>
                <a:gd name="T0" fmla="*/ 0 w 39"/>
                <a:gd name="T1" fmla="*/ 60325 h 31"/>
                <a:gd name="T2" fmla="*/ 4885 w 39"/>
                <a:gd name="T3" fmla="*/ 54487 h 31"/>
                <a:gd name="T4" fmla="*/ 8955 w 39"/>
                <a:gd name="T5" fmla="*/ 54487 h 31"/>
                <a:gd name="T6" fmla="*/ 10583 w 39"/>
                <a:gd name="T7" fmla="*/ 54487 h 31"/>
                <a:gd name="T8" fmla="*/ 12212 w 39"/>
                <a:gd name="T9" fmla="*/ 54487 h 31"/>
                <a:gd name="T10" fmla="*/ 14247 w 39"/>
                <a:gd name="T11" fmla="*/ 52541 h 31"/>
                <a:gd name="T12" fmla="*/ 15875 w 39"/>
                <a:gd name="T13" fmla="*/ 48649 h 31"/>
                <a:gd name="T14" fmla="*/ 15875 w 39"/>
                <a:gd name="T15" fmla="*/ 0 h 31"/>
                <a:gd name="T16" fmla="*/ 10583 w 39"/>
                <a:gd name="T17" fmla="*/ 0 h 31"/>
                <a:gd name="T18" fmla="*/ 6920 w 39"/>
                <a:gd name="T19" fmla="*/ 0 h 31"/>
                <a:gd name="T20" fmla="*/ 3256 w 39"/>
                <a:gd name="T21" fmla="*/ 0 h 31"/>
                <a:gd name="T22" fmla="*/ 0 w 39"/>
                <a:gd name="T23" fmla="*/ 0 h 31"/>
                <a:gd name="T24" fmla="*/ 0 w 39"/>
                <a:gd name="T25" fmla="*/ 60325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31"/>
                  </a:moveTo>
                  <a:lnTo>
                    <a:pt x="12" y="28"/>
                  </a:lnTo>
                  <a:lnTo>
                    <a:pt x="22" y="28"/>
                  </a:lnTo>
                  <a:lnTo>
                    <a:pt x="26" y="28"/>
                  </a:lnTo>
                  <a:lnTo>
                    <a:pt x="30" y="28"/>
                  </a:lnTo>
                  <a:lnTo>
                    <a:pt x="35" y="27"/>
                  </a:lnTo>
                  <a:lnTo>
                    <a:pt x="39" y="25"/>
                  </a:lnTo>
                  <a:lnTo>
                    <a:pt x="39" y="0"/>
                  </a:lnTo>
                  <a:lnTo>
                    <a:pt x="26" y="0"/>
                  </a:lnTo>
                  <a:lnTo>
                    <a:pt x="17" y="0"/>
                  </a:lnTo>
                  <a:lnTo>
                    <a:pt x="8" y="0"/>
                  </a:lnTo>
                  <a:lnTo>
                    <a:pt x="0" y="0"/>
                  </a:lnTo>
                  <a:lnTo>
                    <a:pt x="0" y="3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75" name="Freeform 382">
              <a:extLst>
                <a:ext uri="{FF2B5EF4-FFF2-40B4-BE49-F238E27FC236}">
                  <a16:creationId xmlns:a16="http://schemas.microsoft.com/office/drawing/2014/main" id="{C801C819-4F86-41E3-AEE6-7BBEE7741F91}"/>
                </a:ext>
              </a:extLst>
            </p:cNvPr>
            <p:cNvSpPr>
              <a:spLocks/>
            </p:cNvSpPr>
            <p:nvPr>
              <p:custDataLst>
                <p:tags r:id="rId271"/>
              </p:custDataLst>
            </p:nvPr>
          </p:nvSpPr>
          <p:spPr bwMode="auto">
            <a:xfrm>
              <a:off x="4410070" y="4367178"/>
              <a:ext cx="396875" cy="398459"/>
            </a:xfrm>
            <a:custGeom>
              <a:avLst/>
              <a:gdLst>
                <a:gd name="T0" fmla="*/ 395117 w 903"/>
                <a:gd name="T1" fmla="*/ 152770 h 759"/>
                <a:gd name="T2" fmla="*/ 379295 w 903"/>
                <a:gd name="T3" fmla="*/ 203693 h 759"/>
                <a:gd name="T4" fmla="*/ 365670 w 903"/>
                <a:gd name="T5" fmla="*/ 217343 h 759"/>
                <a:gd name="T6" fmla="*/ 334465 w 903"/>
                <a:gd name="T7" fmla="*/ 266166 h 759"/>
                <a:gd name="T8" fmla="*/ 316445 w 903"/>
                <a:gd name="T9" fmla="*/ 294515 h 759"/>
                <a:gd name="T10" fmla="*/ 284361 w 903"/>
                <a:gd name="T11" fmla="*/ 321815 h 759"/>
                <a:gd name="T12" fmla="*/ 256233 w 903"/>
                <a:gd name="T13" fmla="*/ 349639 h 759"/>
                <a:gd name="T14" fmla="*/ 244806 w 903"/>
                <a:gd name="T15" fmla="*/ 366438 h 759"/>
                <a:gd name="T16" fmla="*/ 228544 w 903"/>
                <a:gd name="T17" fmla="*/ 370113 h 759"/>
                <a:gd name="T18" fmla="*/ 217996 w 903"/>
                <a:gd name="T19" fmla="*/ 372738 h 759"/>
                <a:gd name="T20" fmla="*/ 213161 w 903"/>
                <a:gd name="T21" fmla="*/ 381663 h 759"/>
                <a:gd name="T22" fmla="*/ 163497 w 903"/>
                <a:gd name="T23" fmla="*/ 381663 h 759"/>
                <a:gd name="T24" fmla="*/ 148993 w 903"/>
                <a:gd name="T25" fmla="*/ 384287 h 759"/>
                <a:gd name="T26" fmla="*/ 138884 w 903"/>
                <a:gd name="T27" fmla="*/ 384287 h 759"/>
                <a:gd name="T28" fmla="*/ 125699 w 903"/>
                <a:gd name="T29" fmla="*/ 381663 h 759"/>
                <a:gd name="T30" fmla="*/ 115590 w 903"/>
                <a:gd name="T31" fmla="*/ 386912 h 759"/>
                <a:gd name="T32" fmla="*/ 64168 w 903"/>
                <a:gd name="T33" fmla="*/ 398462 h 759"/>
                <a:gd name="T34" fmla="*/ 50983 w 903"/>
                <a:gd name="T35" fmla="*/ 395312 h 759"/>
                <a:gd name="T36" fmla="*/ 39556 w 903"/>
                <a:gd name="T37" fmla="*/ 387962 h 759"/>
                <a:gd name="T38" fmla="*/ 33403 w 903"/>
                <a:gd name="T39" fmla="*/ 377463 h 759"/>
                <a:gd name="T40" fmla="*/ 34721 w 903"/>
                <a:gd name="T41" fmla="*/ 365913 h 759"/>
                <a:gd name="T42" fmla="*/ 32963 w 903"/>
                <a:gd name="T43" fmla="*/ 329689 h 759"/>
                <a:gd name="T44" fmla="*/ 34721 w 903"/>
                <a:gd name="T45" fmla="*/ 319190 h 759"/>
                <a:gd name="T46" fmla="*/ 29886 w 903"/>
                <a:gd name="T47" fmla="*/ 300290 h 759"/>
                <a:gd name="T48" fmla="*/ 9669 w 903"/>
                <a:gd name="T49" fmla="*/ 270891 h 759"/>
                <a:gd name="T50" fmla="*/ 5274 w 903"/>
                <a:gd name="T51" fmla="*/ 254092 h 759"/>
                <a:gd name="T52" fmla="*/ 4395 w 903"/>
                <a:gd name="T53" fmla="*/ 230467 h 759"/>
                <a:gd name="T54" fmla="*/ 0 w 903"/>
                <a:gd name="T55" fmla="*/ 197919 h 759"/>
                <a:gd name="T56" fmla="*/ 17141 w 903"/>
                <a:gd name="T57" fmla="*/ 197919 h 759"/>
                <a:gd name="T58" fmla="*/ 25052 w 903"/>
                <a:gd name="T59" fmla="*/ 207893 h 759"/>
                <a:gd name="T60" fmla="*/ 41314 w 903"/>
                <a:gd name="T61" fmla="*/ 215243 h 759"/>
                <a:gd name="T62" fmla="*/ 59333 w 903"/>
                <a:gd name="T63" fmla="*/ 215768 h 759"/>
                <a:gd name="T64" fmla="*/ 70321 w 903"/>
                <a:gd name="T65" fmla="*/ 209993 h 759"/>
                <a:gd name="T66" fmla="*/ 79990 w 903"/>
                <a:gd name="T67" fmla="*/ 195294 h 759"/>
                <a:gd name="T68" fmla="*/ 86583 w 903"/>
                <a:gd name="T69" fmla="*/ 120221 h 759"/>
                <a:gd name="T70" fmla="*/ 89659 w 903"/>
                <a:gd name="T71" fmla="*/ 96597 h 759"/>
                <a:gd name="T72" fmla="*/ 92297 w 903"/>
                <a:gd name="T73" fmla="*/ 88197 h 759"/>
                <a:gd name="T74" fmla="*/ 105042 w 903"/>
                <a:gd name="T75" fmla="*/ 93447 h 759"/>
                <a:gd name="T76" fmla="*/ 107679 w 903"/>
                <a:gd name="T77" fmla="*/ 124946 h 759"/>
                <a:gd name="T78" fmla="*/ 108558 w 903"/>
                <a:gd name="T79" fmla="*/ 143845 h 759"/>
                <a:gd name="T80" fmla="*/ 112514 w 903"/>
                <a:gd name="T81" fmla="*/ 150670 h 759"/>
                <a:gd name="T82" fmla="*/ 126139 w 903"/>
                <a:gd name="T83" fmla="*/ 154870 h 759"/>
                <a:gd name="T84" fmla="*/ 137126 w 903"/>
                <a:gd name="T85" fmla="*/ 153820 h 759"/>
                <a:gd name="T86" fmla="*/ 146356 w 903"/>
                <a:gd name="T87" fmla="*/ 142795 h 759"/>
                <a:gd name="T88" fmla="*/ 153828 w 903"/>
                <a:gd name="T89" fmla="*/ 122846 h 759"/>
                <a:gd name="T90" fmla="*/ 161739 w 903"/>
                <a:gd name="T91" fmla="*/ 105522 h 759"/>
                <a:gd name="T92" fmla="*/ 170089 w 903"/>
                <a:gd name="T93" fmla="*/ 100272 h 759"/>
                <a:gd name="T94" fmla="*/ 181956 w 903"/>
                <a:gd name="T95" fmla="*/ 101322 h 759"/>
                <a:gd name="T96" fmla="*/ 198218 w 903"/>
                <a:gd name="T97" fmla="*/ 109196 h 759"/>
                <a:gd name="T98" fmla="*/ 210084 w 903"/>
                <a:gd name="T99" fmla="*/ 113396 h 759"/>
                <a:gd name="T100" fmla="*/ 225028 w 903"/>
                <a:gd name="T101" fmla="*/ 111821 h 759"/>
                <a:gd name="T102" fmla="*/ 233378 w 903"/>
                <a:gd name="T103" fmla="*/ 104997 h 759"/>
                <a:gd name="T104" fmla="*/ 247882 w 903"/>
                <a:gd name="T105" fmla="*/ 66673 h 759"/>
                <a:gd name="T106" fmla="*/ 272494 w 903"/>
                <a:gd name="T107" fmla="*/ 41999 h 759"/>
                <a:gd name="T108" fmla="*/ 321719 w 903"/>
                <a:gd name="T109" fmla="*/ 5775 h 759"/>
                <a:gd name="T110" fmla="*/ 354243 w 903"/>
                <a:gd name="T111" fmla="*/ 1575 h 759"/>
                <a:gd name="T112" fmla="*/ 364791 w 903"/>
                <a:gd name="T113" fmla="*/ 3150 h 759"/>
                <a:gd name="T114" fmla="*/ 375339 w 903"/>
                <a:gd name="T115" fmla="*/ 18374 h 759"/>
                <a:gd name="T116" fmla="*/ 383690 w 903"/>
                <a:gd name="T117" fmla="*/ 37274 h 759"/>
                <a:gd name="T118" fmla="*/ 388085 w 903"/>
                <a:gd name="T119" fmla="*/ 56173 h 759"/>
                <a:gd name="T120" fmla="*/ 381492 w 903"/>
                <a:gd name="T121" fmla="*/ 108671 h 759"/>
                <a:gd name="T122" fmla="*/ 364791 w 903"/>
                <a:gd name="T123" fmla="*/ 107097 h 759"/>
                <a:gd name="T124" fmla="*/ 363033 w 903"/>
                <a:gd name="T125" fmla="*/ 147520 h 759"/>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903" h="759">
                  <a:moveTo>
                    <a:pt x="870" y="296"/>
                  </a:moveTo>
                  <a:lnTo>
                    <a:pt x="875" y="295"/>
                  </a:lnTo>
                  <a:lnTo>
                    <a:pt x="886" y="293"/>
                  </a:lnTo>
                  <a:lnTo>
                    <a:pt x="899" y="291"/>
                  </a:lnTo>
                  <a:lnTo>
                    <a:pt x="903" y="290"/>
                  </a:lnTo>
                  <a:lnTo>
                    <a:pt x="863" y="364"/>
                  </a:lnTo>
                  <a:lnTo>
                    <a:pt x="863" y="376"/>
                  </a:lnTo>
                  <a:lnTo>
                    <a:pt x="863" y="388"/>
                  </a:lnTo>
                  <a:lnTo>
                    <a:pt x="857" y="392"/>
                  </a:lnTo>
                  <a:lnTo>
                    <a:pt x="849" y="397"/>
                  </a:lnTo>
                  <a:lnTo>
                    <a:pt x="840" y="405"/>
                  </a:lnTo>
                  <a:lnTo>
                    <a:pt x="832" y="414"/>
                  </a:lnTo>
                  <a:lnTo>
                    <a:pt x="813" y="436"/>
                  </a:lnTo>
                  <a:lnTo>
                    <a:pt x="794" y="460"/>
                  </a:lnTo>
                  <a:lnTo>
                    <a:pt x="776" y="485"/>
                  </a:lnTo>
                  <a:lnTo>
                    <a:pt x="761" y="507"/>
                  </a:lnTo>
                  <a:lnTo>
                    <a:pt x="749" y="525"/>
                  </a:lnTo>
                  <a:lnTo>
                    <a:pt x="744" y="537"/>
                  </a:lnTo>
                  <a:lnTo>
                    <a:pt x="732" y="550"/>
                  </a:lnTo>
                  <a:lnTo>
                    <a:pt x="720" y="561"/>
                  </a:lnTo>
                  <a:lnTo>
                    <a:pt x="706" y="571"/>
                  </a:lnTo>
                  <a:lnTo>
                    <a:pt x="694" y="581"/>
                  </a:lnTo>
                  <a:lnTo>
                    <a:pt x="670" y="598"/>
                  </a:lnTo>
                  <a:lnTo>
                    <a:pt x="647" y="613"/>
                  </a:lnTo>
                  <a:lnTo>
                    <a:pt x="624" y="628"/>
                  </a:lnTo>
                  <a:lnTo>
                    <a:pt x="603" y="646"/>
                  </a:lnTo>
                  <a:lnTo>
                    <a:pt x="592" y="655"/>
                  </a:lnTo>
                  <a:lnTo>
                    <a:pt x="583" y="666"/>
                  </a:lnTo>
                  <a:lnTo>
                    <a:pt x="574" y="677"/>
                  </a:lnTo>
                  <a:lnTo>
                    <a:pt x="565" y="690"/>
                  </a:lnTo>
                  <a:lnTo>
                    <a:pt x="561" y="694"/>
                  </a:lnTo>
                  <a:lnTo>
                    <a:pt x="557" y="698"/>
                  </a:lnTo>
                  <a:lnTo>
                    <a:pt x="553" y="700"/>
                  </a:lnTo>
                  <a:lnTo>
                    <a:pt x="546" y="702"/>
                  </a:lnTo>
                  <a:lnTo>
                    <a:pt x="534" y="704"/>
                  </a:lnTo>
                  <a:lnTo>
                    <a:pt x="520" y="705"/>
                  </a:lnTo>
                  <a:lnTo>
                    <a:pt x="513" y="705"/>
                  </a:lnTo>
                  <a:lnTo>
                    <a:pt x="507" y="706"/>
                  </a:lnTo>
                  <a:lnTo>
                    <a:pt x="501" y="708"/>
                  </a:lnTo>
                  <a:lnTo>
                    <a:pt x="496" y="710"/>
                  </a:lnTo>
                  <a:lnTo>
                    <a:pt x="491" y="713"/>
                  </a:lnTo>
                  <a:lnTo>
                    <a:pt x="488" y="716"/>
                  </a:lnTo>
                  <a:lnTo>
                    <a:pt x="486" y="721"/>
                  </a:lnTo>
                  <a:lnTo>
                    <a:pt x="485" y="727"/>
                  </a:lnTo>
                  <a:lnTo>
                    <a:pt x="444" y="727"/>
                  </a:lnTo>
                  <a:lnTo>
                    <a:pt x="415" y="727"/>
                  </a:lnTo>
                  <a:lnTo>
                    <a:pt x="395" y="727"/>
                  </a:lnTo>
                  <a:lnTo>
                    <a:pt x="372" y="727"/>
                  </a:lnTo>
                  <a:lnTo>
                    <a:pt x="359" y="727"/>
                  </a:lnTo>
                  <a:lnTo>
                    <a:pt x="348" y="729"/>
                  </a:lnTo>
                  <a:lnTo>
                    <a:pt x="344" y="730"/>
                  </a:lnTo>
                  <a:lnTo>
                    <a:pt x="339" y="732"/>
                  </a:lnTo>
                  <a:lnTo>
                    <a:pt x="332" y="735"/>
                  </a:lnTo>
                  <a:lnTo>
                    <a:pt x="325" y="739"/>
                  </a:lnTo>
                  <a:lnTo>
                    <a:pt x="320" y="735"/>
                  </a:lnTo>
                  <a:lnTo>
                    <a:pt x="316" y="732"/>
                  </a:lnTo>
                  <a:lnTo>
                    <a:pt x="310" y="730"/>
                  </a:lnTo>
                  <a:lnTo>
                    <a:pt x="306" y="729"/>
                  </a:lnTo>
                  <a:lnTo>
                    <a:pt x="296" y="727"/>
                  </a:lnTo>
                  <a:lnTo>
                    <a:pt x="286" y="727"/>
                  </a:lnTo>
                  <a:lnTo>
                    <a:pt x="283" y="730"/>
                  </a:lnTo>
                  <a:lnTo>
                    <a:pt x="278" y="732"/>
                  </a:lnTo>
                  <a:lnTo>
                    <a:pt x="272" y="735"/>
                  </a:lnTo>
                  <a:lnTo>
                    <a:pt x="263" y="737"/>
                  </a:lnTo>
                  <a:lnTo>
                    <a:pt x="242" y="742"/>
                  </a:lnTo>
                  <a:lnTo>
                    <a:pt x="218" y="747"/>
                  </a:lnTo>
                  <a:lnTo>
                    <a:pt x="173" y="756"/>
                  </a:lnTo>
                  <a:lnTo>
                    <a:pt x="146" y="759"/>
                  </a:lnTo>
                  <a:lnTo>
                    <a:pt x="139" y="758"/>
                  </a:lnTo>
                  <a:lnTo>
                    <a:pt x="131" y="757"/>
                  </a:lnTo>
                  <a:lnTo>
                    <a:pt x="123" y="756"/>
                  </a:lnTo>
                  <a:lnTo>
                    <a:pt x="116" y="753"/>
                  </a:lnTo>
                  <a:lnTo>
                    <a:pt x="109" y="750"/>
                  </a:lnTo>
                  <a:lnTo>
                    <a:pt x="103" y="746"/>
                  </a:lnTo>
                  <a:lnTo>
                    <a:pt x="96" y="743"/>
                  </a:lnTo>
                  <a:lnTo>
                    <a:pt x="90" y="739"/>
                  </a:lnTo>
                  <a:lnTo>
                    <a:pt x="85" y="734"/>
                  </a:lnTo>
                  <a:lnTo>
                    <a:pt x="82" y="730"/>
                  </a:lnTo>
                  <a:lnTo>
                    <a:pt x="78" y="725"/>
                  </a:lnTo>
                  <a:lnTo>
                    <a:pt x="76" y="719"/>
                  </a:lnTo>
                  <a:lnTo>
                    <a:pt x="75" y="714"/>
                  </a:lnTo>
                  <a:lnTo>
                    <a:pt x="75" y="708"/>
                  </a:lnTo>
                  <a:lnTo>
                    <a:pt x="76" y="703"/>
                  </a:lnTo>
                  <a:lnTo>
                    <a:pt x="79" y="697"/>
                  </a:lnTo>
                  <a:lnTo>
                    <a:pt x="60" y="648"/>
                  </a:lnTo>
                  <a:lnTo>
                    <a:pt x="65" y="639"/>
                  </a:lnTo>
                  <a:lnTo>
                    <a:pt x="72" y="632"/>
                  </a:lnTo>
                  <a:lnTo>
                    <a:pt x="75" y="628"/>
                  </a:lnTo>
                  <a:lnTo>
                    <a:pt x="77" y="625"/>
                  </a:lnTo>
                  <a:lnTo>
                    <a:pt x="79" y="621"/>
                  </a:lnTo>
                  <a:lnTo>
                    <a:pt x="79" y="616"/>
                  </a:lnTo>
                  <a:lnTo>
                    <a:pt x="79" y="608"/>
                  </a:lnTo>
                  <a:lnTo>
                    <a:pt x="78" y="600"/>
                  </a:lnTo>
                  <a:lnTo>
                    <a:pt x="76" y="592"/>
                  </a:lnTo>
                  <a:lnTo>
                    <a:pt x="74" y="584"/>
                  </a:lnTo>
                  <a:lnTo>
                    <a:pt x="68" y="572"/>
                  </a:lnTo>
                  <a:lnTo>
                    <a:pt x="61" y="561"/>
                  </a:lnTo>
                  <a:lnTo>
                    <a:pt x="43" y="542"/>
                  </a:lnTo>
                  <a:lnTo>
                    <a:pt x="27" y="524"/>
                  </a:lnTo>
                  <a:lnTo>
                    <a:pt x="22" y="516"/>
                  </a:lnTo>
                  <a:lnTo>
                    <a:pt x="18" y="509"/>
                  </a:lnTo>
                  <a:lnTo>
                    <a:pt x="16" y="502"/>
                  </a:lnTo>
                  <a:lnTo>
                    <a:pt x="14" y="496"/>
                  </a:lnTo>
                  <a:lnTo>
                    <a:pt x="12" y="484"/>
                  </a:lnTo>
                  <a:lnTo>
                    <a:pt x="11" y="472"/>
                  </a:lnTo>
                  <a:lnTo>
                    <a:pt x="11" y="461"/>
                  </a:lnTo>
                  <a:lnTo>
                    <a:pt x="11" y="450"/>
                  </a:lnTo>
                  <a:lnTo>
                    <a:pt x="10" y="439"/>
                  </a:lnTo>
                  <a:lnTo>
                    <a:pt x="7" y="426"/>
                  </a:lnTo>
                  <a:lnTo>
                    <a:pt x="6" y="412"/>
                  </a:lnTo>
                  <a:lnTo>
                    <a:pt x="4" y="395"/>
                  </a:lnTo>
                  <a:lnTo>
                    <a:pt x="0" y="377"/>
                  </a:lnTo>
                  <a:lnTo>
                    <a:pt x="0" y="364"/>
                  </a:lnTo>
                  <a:lnTo>
                    <a:pt x="33" y="364"/>
                  </a:lnTo>
                  <a:lnTo>
                    <a:pt x="36" y="371"/>
                  </a:lnTo>
                  <a:lnTo>
                    <a:pt x="39" y="377"/>
                  </a:lnTo>
                  <a:lnTo>
                    <a:pt x="43" y="382"/>
                  </a:lnTo>
                  <a:lnTo>
                    <a:pt x="48" y="387"/>
                  </a:lnTo>
                  <a:lnTo>
                    <a:pt x="52" y="392"/>
                  </a:lnTo>
                  <a:lnTo>
                    <a:pt x="57" y="396"/>
                  </a:lnTo>
                  <a:lnTo>
                    <a:pt x="63" y="399"/>
                  </a:lnTo>
                  <a:lnTo>
                    <a:pt x="68" y="402"/>
                  </a:lnTo>
                  <a:lnTo>
                    <a:pt x="81" y="407"/>
                  </a:lnTo>
                  <a:lnTo>
                    <a:pt x="94" y="410"/>
                  </a:lnTo>
                  <a:lnTo>
                    <a:pt x="107" y="412"/>
                  </a:lnTo>
                  <a:lnTo>
                    <a:pt x="119" y="413"/>
                  </a:lnTo>
                  <a:lnTo>
                    <a:pt x="128" y="412"/>
                  </a:lnTo>
                  <a:lnTo>
                    <a:pt x="135" y="411"/>
                  </a:lnTo>
                  <a:lnTo>
                    <a:pt x="142" y="409"/>
                  </a:lnTo>
                  <a:lnTo>
                    <a:pt x="149" y="407"/>
                  </a:lnTo>
                  <a:lnTo>
                    <a:pt x="154" y="404"/>
                  </a:lnTo>
                  <a:lnTo>
                    <a:pt x="160" y="400"/>
                  </a:lnTo>
                  <a:lnTo>
                    <a:pt x="164" y="396"/>
                  </a:lnTo>
                  <a:lnTo>
                    <a:pt x="168" y="392"/>
                  </a:lnTo>
                  <a:lnTo>
                    <a:pt x="176" y="382"/>
                  </a:lnTo>
                  <a:lnTo>
                    <a:pt x="182" y="372"/>
                  </a:lnTo>
                  <a:lnTo>
                    <a:pt x="187" y="361"/>
                  </a:lnTo>
                  <a:lnTo>
                    <a:pt x="193" y="351"/>
                  </a:lnTo>
                  <a:lnTo>
                    <a:pt x="193" y="240"/>
                  </a:lnTo>
                  <a:lnTo>
                    <a:pt x="197" y="229"/>
                  </a:lnTo>
                  <a:lnTo>
                    <a:pt x="199" y="217"/>
                  </a:lnTo>
                  <a:lnTo>
                    <a:pt x="201" y="206"/>
                  </a:lnTo>
                  <a:lnTo>
                    <a:pt x="202" y="194"/>
                  </a:lnTo>
                  <a:lnTo>
                    <a:pt x="204" y="184"/>
                  </a:lnTo>
                  <a:lnTo>
                    <a:pt x="206" y="176"/>
                  </a:lnTo>
                  <a:lnTo>
                    <a:pt x="207" y="173"/>
                  </a:lnTo>
                  <a:lnTo>
                    <a:pt x="208" y="170"/>
                  </a:lnTo>
                  <a:lnTo>
                    <a:pt x="210" y="168"/>
                  </a:lnTo>
                  <a:lnTo>
                    <a:pt x="212" y="167"/>
                  </a:lnTo>
                  <a:lnTo>
                    <a:pt x="220" y="171"/>
                  </a:lnTo>
                  <a:lnTo>
                    <a:pt x="229" y="175"/>
                  </a:lnTo>
                  <a:lnTo>
                    <a:pt x="239" y="178"/>
                  </a:lnTo>
                  <a:lnTo>
                    <a:pt x="245" y="179"/>
                  </a:lnTo>
                  <a:lnTo>
                    <a:pt x="245" y="201"/>
                  </a:lnTo>
                  <a:lnTo>
                    <a:pt x="245" y="219"/>
                  </a:lnTo>
                  <a:lnTo>
                    <a:pt x="245" y="238"/>
                  </a:lnTo>
                  <a:lnTo>
                    <a:pt x="245" y="259"/>
                  </a:lnTo>
                  <a:lnTo>
                    <a:pt x="246" y="265"/>
                  </a:lnTo>
                  <a:lnTo>
                    <a:pt x="246" y="270"/>
                  </a:lnTo>
                  <a:lnTo>
                    <a:pt x="247" y="274"/>
                  </a:lnTo>
                  <a:lnTo>
                    <a:pt x="250" y="278"/>
                  </a:lnTo>
                  <a:lnTo>
                    <a:pt x="252" y="281"/>
                  </a:lnTo>
                  <a:lnTo>
                    <a:pt x="254" y="284"/>
                  </a:lnTo>
                  <a:lnTo>
                    <a:pt x="256" y="287"/>
                  </a:lnTo>
                  <a:lnTo>
                    <a:pt x="260" y="289"/>
                  </a:lnTo>
                  <a:lnTo>
                    <a:pt x="267" y="292"/>
                  </a:lnTo>
                  <a:lnTo>
                    <a:pt x="276" y="294"/>
                  </a:lnTo>
                  <a:lnTo>
                    <a:pt x="287" y="295"/>
                  </a:lnTo>
                  <a:lnTo>
                    <a:pt x="299" y="296"/>
                  </a:lnTo>
                  <a:lnTo>
                    <a:pt x="303" y="295"/>
                  </a:lnTo>
                  <a:lnTo>
                    <a:pt x="308" y="295"/>
                  </a:lnTo>
                  <a:lnTo>
                    <a:pt x="312" y="293"/>
                  </a:lnTo>
                  <a:lnTo>
                    <a:pt x="316" y="291"/>
                  </a:lnTo>
                  <a:lnTo>
                    <a:pt x="322" y="286"/>
                  </a:lnTo>
                  <a:lnTo>
                    <a:pt x="329" y="280"/>
                  </a:lnTo>
                  <a:lnTo>
                    <a:pt x="333" y="272"/>
                  </a:lnTo>
                  <a:lnTo>
                    <a:pt x="337" y="263"/>
                  </a:lnTo>
                  <a:lnTo>
                    <a:pt x="342" y="254"/>
                  </a:lnTo>
                  <a:lnTo>
                    <a:pt x="345" y="243"/>
                  </a:lnTo>
                  <a:lnTo>
                    <a:pt x="350" y="234"/>
                  </a:lnTo>
                  <a:lnTo>
                    <a:pt x="353" y="224"/>
                  </a:lnTo>
                  <a:lnTo>
                    <a:pt x="357" y="216"/>
                  </a:lnTo>
                  <a:lnTo>
                    <a:pt x="363" y="208"/>
                  </a:lnTo>
                  <a:lnTo>
                    <a:pt x="368" y="201"/>
                  </a:lnTo>
                  <a:lnTo>
                    <a:pt x="375" y="195"/>
                  </a:lnTo>
                  <a:lnTo>
                    <a:pt x="378" y="193"/>
                  </a:lnTo>
                  <a:lnTo>
                    <a:pt x="382" y="192"/>
                  </a:lnTo>
                  <a:lnTo>
                    <a:pt x="387" y="191"/>
                  </a:lnTo>
                  <a:lnTo>
                    <a:pt x="392" y="191"/>
                  </a:lnTo>
                  <a:lnTo>
                    <a:pt x="400" y="191"/>
                  </a:lnTo>
                  <a:lnTo>
                    <a:pt x="408" y="192"/>
                  </a:lnTo>
                  <a:lnTo>
                    <a:pt x="414" y="193"/>
                  </a:lnTo>
                  <a:lnTo>
                    <a:pt x="421" y="195"/>
                  </a:lnTo>
                  <a:lnTo>
                    <a:pt x="431" y="200"/>
                  </a:lnTo>
                  <a:lnTo>
                    <a:pt x="441" y="204"/>
                  </a:lnTo>
                  <a:lnTo>
                    <a:pt x="451" y="208"/>
                  </a:lnTo>
                  <a:lnTo>
                    <a:pt x="460" y="212"/>
                  </a:lnTo>
                  <a:lnTo>
                    <a:pt x="466" y="214"/>
                  </a:lnTo>
                  <a:lnTo>
                    <a:pt x="471" y="215"/>
                  </a:lnTo>
                  <a:lnTo>
                    <a:pt x="478" y="216"/>
                  </a:lnTo>
                  <a:lnTo>
                    <a:pt x="485" y="216"/>
                  </a:lnTo>
                  <a:lnTo>
                    <a:pt x="496" y="216"/>
                  </a:lnTo>
                  <a:lnTo>
                    <a:pt x="504" y="215"/>
                  </a:lnTo>
                  <a:lnTo>
                    <a:pt x="512" y="213"/>
                  </a:lnTo>
                  <a:lnTo>
                    <a:pt x="518" y="211"/>
                  </a:lnTo>
                  <a:lnTo>
                    <a:pt x="523" y="208"/>
                  </a:lnTo>
                  <a:lnTo>
                    <a:pt x="527" y="204"/>
                  </a:lnTo>
                  <a:lnTo>
                    <a:pt x="531" y="200"/>
                  </a:lnTo>
                  <a:lnTo>
                    <a:pt x="534" y="194"/>
                  </a:lnTo>
                  <a:lnTo>
                    <a:pt x="544" y="169"/>
                  </a:lnTo>
                  <a:lnTo>
                    <a:pt x="558" y="135"/>
                  </a:lnTo>
                  <a:lnTo>
                    <a:pt x="564" y="127"/>
                  </a:lnTo>
                  <a:lnTo>
                    <a:pt x="572" y="119"/>
                  </a:lnTo>
                  <a:lnTo>
                    <a:pt x="582" y="110"/>
                  </a:lnTo>
                  <a:lnTo>
                    <a:pt x="593" y="100"/>
                  </a:lnTo>
                  <a:lnTo>
                    <a:pt x="620" y="80"/>
                  </a:lnTo>
                  <a:lnTo>
                    <a:pt x="649" y="61"/>
                  </a:lnTo>
                  <a:lnTo>
                    <a:pt x="679" y="43"/>
                  </a:lnTo>
                  <a:lnTo>
                    <a:pt x="708" y="25"/>
                  </a:lnTo>
                  <a:lnTo>
                    <a:pt x="732" y="11"/>
                  </a:lnTo>
                  <a:lnTo>
                    <a:pt x="750" y="0"/>
                  </a:lnTo>
                  <a:lnTo>
                    <a:pt x="777" y="1"/>
                  </a:lnTo>
                  <a:lnTo>
                    <a:pt x="798" y="3"/>
                  </a:lnTo>
                  <a:lnTo>
                    <a:pt x="806" y="3"/>
                  </a:lnTo>
                  <a:lnTo>
                    <a:pt x="815" y="3"/>
                  </a:lnTo>
                  <a:lnTo>
                    <a:pt x="823" y="2"/>
                  </a:lnTo>
                  <a:lnTo>
                    <a:pt x="830" y="0"/>
                  </a:lnTo>
                  <a:lnTo>
                    <a:pt x="830" y="6"/>
                  </a:lnTo>
                  <a:lnTo>
                    <a:pt x="850" y="6"/>
                  </a:lnTo>
                  <a:lnTo>
                    <a:pt x="850" y="17"/>
                  </a:lnTo>
                  <a:lnTo>
                    <a:pt x="851" y="26"/>
                  </a:lnTo>
                  <a:lnTo>
                    <a:pt x="854" y="35"/>
                  </a:lnTo>
                  <a:lnTo>
                    <a:pt x="856" y="41"/>
                  </a:lnTo>
                  <a:lnTo>
                    <a:pt x="861" y="52"/>
                  </a:lnTo>
                  <a:lnTo>
                    <a:pt x="867" y="62"/>
                  </a:lnTo>
                  <a:lnTo>
                    <a:pt x="873" y="71"/>
                  </a:lnTo>
                  <a:lnTo>
                    <a:pt x="879" y="82"/>
                  </a:lnTo>
                  <a:lnTo>
                    <a:pt x="880" y="90"/>
                  </a:lnTo>
                  <a:lnTo>
                    <a:pt x="882" y="98"/>
                  </a:lnTo>
                  <a:lnTo>
                    <a:pt x="883" y="107"/>
                  </a:lnTo>
                  <a:lnTo>
                    <a:pt x="883" y="117"/>
                  </a:lnTo>
                  <a:lnTo>
                    <a:pt x="883" y="204"/>
                  </a:lnTo>
                  <a:lnTo>
                    <a:pt x="875" y="206"/>
                  </a:lnTo>
                  <a:lnTo>
                    <a:pt x="868" y="207"/>
                  </a:lnTo>
                  <a:lnTo>
                    <a:pt x="860" y="207"/>
                  </a:lnTo>
                  <a:lnTo>
                    <a:pt x="852" y="206"/>
                  </a:lnTo>
                  <a:lnTo>
                    <a:pt x="838" y="205"/>
                  </a:lnTo>
                  <a:lnTo>
                    <a:pt x="830" y="204"/>
                  </a:lnTo>
                  <a:lnTo>
                    <a:pt x="826" y="236"/>
                  </a:lnTo>
                  <a:lnTo>
                    <a:pt x="825" y="262"/>
                  </a:lnTo>
                  <a:lnTo>
                    <a:pt x="826" y="272"/>
                  </a:lnTo>
                  <a:lnTo>
                    <a:pt x="826" y="281"/>
                  </a:lnTo>
                  <a:lnTo>
                    <a:pt x="828" y="289"/>
                  </a:lnTo>
                  <a:lnTo>
                    <a:pt x="830" y="296"/>
                  </a:lnTo>
                  <a:lnTo>
                    <a:pt x="870" y="29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76" name="Freeform 383">
              <a:extLst>
                <a:ext uri="{FF2B5EF4-FFF2-40B4-BE49-F238E27FC236}">
                  <a16:creationId xmlns:a16="http://schemas.microsoft.com/office/drawing/2014/main" id="{F1E141B9-87BE-4AC9-AA1E-EA646D69936B}"/>
                </a:ext>
              </a:extLst>
            </p:cNvPr>
            <p:cNvSpPr>
              <a:spLocks/>
            </p:cNvSpPr>
            <p:nvPr>
              <p:custDataLst>
                <p:tags r:id="rId272"/>
              </p:custDataLst>
            </p:nvPr>
          </p:nvSpPr>
          <p:spPr bwMode="auto">
            <a:xfrm>
              <a:off x="4557708" y="2935265"/>
              <a:ext cx="411162" cy="611182"/>
            </a:xfrm>
            <a:custGeom>
              <a:avLst/>
              <a:gdLst>
                <a:gd name="T0" fmla="*/ 323523 w 943"/>
                <a:gd name="T1" fmla="*/ 2607 h 1172"/>
                <a:gd name="T2" fmla="*/ 333551 w 943"/>
                <a:gd name="T3" fmla="*/ 11994 h 1172"/>
                <a:gd name="T4" fmla="*/ 350120 w 943"/>
                <a:gd name="T5" fmla="*/ 15645 h 1172"/>
                <a:gd name="T6" fmla="*/ 354916 w 943"/>
                <a:gd name="T7" fmla="*/ 28682 h 1172"/>
                <a:gd name="T8" fmla="*/ 364072 w 943"/>
                <a:gd name="T9" fmla="*/ 56842 h 1172"/>
                <a:gd name="T10" fmla="*/ 364944 w 943"/>
                <a:gd name="T11" fmla="*/ 97519 h 1172"/>
                <a:gd name="T12" fmla="*/ 373665 w 943"/>
                <a:gd name="T13" fmla="*/ 126722 h 1172"/>
                <a:gd name="T14" fmla="*/ 402006 w 943"/>
                <a:gd name="T15" fmla="*/ 152275 h 1172"/>
                <a:gd name="T16" fmla="*/ 383257 w 943"/>
                <a:gd name="T17" fmla="*/ 188258 h 1172"/>
                <a:gd name="T18" fmla="*/ 371049 w 943"/>
                <a:gd name="T19" fmla="*/ 213811 h 1172"/>
                <a:gd name="T20" fmla="*/ 352736 w 943"/>
                <a:gd name="T21" fmla="*/ 331147 h 1172"/>
                <a:gd name="T22" fmla="*/ 335731 w 943"/>
                <a:gd name="T23" fmla="*/ 353049 h 1172"/>
                <a:gd name="T24" fmla="*/ 332679 w 943"/>
                <a:gd name="T25" fmla="*/ 375995 h 1172"/>
                <a:gd name="T26" fmla="*/ 324831 w 943"/>
                <a:gd name="T27" fmla="*/ 383296 h 1172"/>
                <a:gd name="T28" fmla="*/ 315239 w 943"/>
                <a:gd name="T29" fmla="*/ 416150 h 1172"/>
                <a:gd name="T30" fmla="*/ 301722 w 943"/>
                <a:gd name="T31" fmla="*/ 457347 h 1172"/>
                <a:gd name="T32" fmla="*/ 288642 w 943"/>
                <a:gd name="T33" fmla="*/ 470906 h 1172"/>
                <a:gd name="T34" fmla="*/ 289514 w 943"/>
                <a:gd name="T35" fmla="*/ 487072 h 1172"/>
                <a:gd name="T36" fmla="*/ 299106 w 943"/>
                <a:gd name="T37" fmla="*/ 489680 h 1172"/>
                <a:gd name="T38" fmla="*/ 309135 w 943"/>
                <a:gd name="T39" fmla="*/ 495416 h 1172"/>
                <a:gd name="T40" fmla="*/ 323523 w 943"/>
                <a:gd name="T41" fmla="*/ 506367 h 1172"/>
                <a:gd name="T42" fmla="*/ 329627 w 943"/>
                <a:gd name="T43" fmla="*/ 525141 h 1172"/>
                <a:gd name="T44" fmla="*/ 337912 w 943"/>
                <a:gd name="T45" fmla="*/ 543915 h 1172"/>
                <a:gd name="T46" fmla="*/ 350120 w 943"/>
                <a:gd name="T47" fmla="*/ 549130 h 1172"/>
                <a:gd name="T48" fmla="*/ 352736 w 943"/>
                <a:gd name="T49" fmla="*/ 570511 h 1172"/>
                <a:gd name="T50" fmla="*/ 313059 w 943"/>
                <a:gd name="T51" fmla="*/ 581462 h 1172"/>
                <a:gd name="T52" fmla="*/ 299542 w 943"/>
                <a:gd name="T53" fmla="*/ 603365 h 1172"/>
                <a:gd name="T54" fmla="*/ 260737 w 943"/>
                <a:gd name="T55" fmla="*/ 610144 h 1172"/>
                <a:gd name="T56" fmla="*/ 224548 w 943"/>
                <a:gd name="T57" fmla="*/ 603886 h 1172"/>
                <a:gd name="T58" fmla="*/ 202311 w 943"/>
                <a:gd name="T59" fmla="*/ 585634 h 1172"/>
                <a:gd name="T60" fmla="*/ 170046 w 943"/>
                <a:gd name="T61" fmla="*/ 586677 h 1172"/>
                <a:gd name="T62" fmla="*/ 139089 w 943"/>
                <a:gd name="T63" fmla="*/ 584069 h 1172"/>
                <a:gd name="T64" fmla="*/ 129496 w 943"/>
                <a:gd name="T65" fmla="*/ 575726 h 1172"/>
                <a:gd name="T66" fmla="*/ 128188 w 943"/>
                <a:gd name="T67" fmla="*/ 560602 h 1172"/>
                <a:gd name="T68" fmla="*/ 119468 w 943"/>
                <a:gd name="T69" fmla="*/ 536614 h 1172"/>
                <a:gd name="T70" fmla="*/ 94179 w 943"/>
                <a:gd name="T71" fmla="*/ 507932 h 1172"/>
                <a:gd name="T72" fmla="*/ 84151 w 943"/>
                <a:gd name="T73" fmla="*/ 482379 h 1172"/>
                <a:gd name="T74" fmla="*/ 66274 w 943"/>
                <a:gd name="T75" fmla="*/ 470906 h 1172"/>
                <a:gd name="T76" fmla="*/ 52322 w 943"/>
                <a:gd name="T77" fmla="*/ 441181 h 1172"/>
                <a:gd name="T78" fmla="*/ 42293 w 943"/>
                <a:gd name="T79" fmla="*/ 410935 h 1172"/>
                <a:gd name="T80" fmla="*/ 28341 w 943"/>
                <a:gd name="T81" fmla="*/ 395290 h 1172"/>
                <a:gd name="T82" fmla="*/ 14388 w 943"/>
                <a:gd name="T83" fmla="*/ 352528 h 1172"/>
                <a:gd name="T84" fmla="*/ 1744 w 943"/>
                <a:gd name="T85" fmla="*/ 318631 h 1172"/>
                <a:gd name="T86" fmla="*/ 7848 w 943"/>
                <a:gd name="T87" fmla="*/ 300900 h 1172"/>
                <a:gd name="T88" fmla="*/ 12644 w 943"/>
                <a:gd name="T89" fmla="*/ 271697 h 1172"/>
                <a:gd name="T90" fmla="*/ 27905 w 943"/>
                <a:gd name="T91" fmla="*/ 247187 h 1172"/>
                <a:gd name="T92" fmla="*/ 49270 w 943"/>
                <a:gd name="T93" fmla="*/ 115771 h 1172"/>
                <a:gd name="T94" fmla="*/ 53630 w 943"/>
                <a:gd name="T95" fmla="*/ 93347 h 1172"/>
                <a:gd name="T96" fmla="*/ 66710 w 943"/>
                <a:gd name="T97" fmla="*/ 89175 h 1172"/>
                <a:gd name="T98" fmla="*/ 69762 w 943"/>
                <a:gd name="T99" fmla="*/ 63622 h 1172"/>
                <a:gd name="T100" fmla="*/ 69326 w 943"/>
                <a:gd name="T101" fmla="*/ 34940 h 1172"/>
                <a:gd name="T102" fmla="*/ 296054 w 943"/>
                <a:gd name="T103" fmla="*/ 35983 h 1172"/>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943" h="1172">
                  <a:moveTo>
                    <a:pt x="711" y="30"/>
                  </a:moveTo>
                  <a:lnTo>
                    <a:pt x="715" y="25"/>
                  </a:lnTo>
                  <a:lnTo>
                    <a:pt x="728" y="15"/>
                  </a:lnTo>
                  <a:lnTo>
                    <a:pt x="735" y="9"/>
                  </a:lnTo>
                  <a:lnTo>
                    <a:pt x="742" y="5"/>
                  </a:lnTo>
                  <a:lnTo>
                    <a:pt x="747" y="1"/>
                  </a:lnTo>
                  <a:lnTo>
                    <a:pt x="751" y="0"/>
                  </a:lnTo>
                  <a:lnTo>
                    <a:pt x="755" y="10"/>
                  </a:lnTo>
                  <a:lnTo>
                    <a:pt x="759" y="17"/>
                  </a:lnTo>
                  <a:lnTo>
                    <a:pt x="765" y="23"/>
                  </a:lnTo>
                  <a:lnTo>
                    <a:pt x="769" y="26"/>
                  </a:lnTo>
                  <a:lnTo>
                    <a:pt x="776" y="28"/>
                  </a:lnTo>
                  <a:lnTo>
                    <a:pt x="784" y="30"/>
                  </a:lnTo>
                  <a:lnTo>
                    <a:pt x="792" y="30"/>
                  </a:lnTo>
                  <a:lnTo>
                    <a:pt x="803" y="30"/>
                  </a:lnTo>
                  <a:lnTo>
                    <a:pt x="804" y="40"/>
                  </a:lnTo>
                  <a:lnTo>
                    <a:pt x="808" y="48"/>
                  </a:lnTo>
                  <a:lnTo>
                    <a:pt x="810" y="51"/>
                  </a:lnTo>
                  <a:lnTo>
                    <a:pt x="812" y="53"/>
                  </a:lnTo>
                  <a:lnTo>
                    <a:pt x="814" y="55"/>
                  </a:lnTo>
                  <a:lnTo>
                    <a:pt x="816" y="55"/>
                  </a:lnTo>
                  <a:lnTo>
                    <a:pt x="823" y="76"/>
                  </a:lnTo>
                  <a:lnTo>
                    <a:pt x="830" y="94"/>
                  </a:lnTo>
                  <a:lnTo>
                    <a:pt x="832" y="102"/>
                  </a:lnTo>
                  <a:lnTo>
                    <a:pt x="835" y="109"/>
                  </a:lnTo>
                  <a:lnTo>
                    <a:pt x="836" y="116"/>
                  </a:lnTo>
                  <a:lnTo>
                    <a:pt x="837" y="123"/>
                  </a:lnTo>
                  <a:lnTo>
                    <a:pt x="836" y="150"/>
                  </a:lnTo>
                  <a:lnTo>
                    <a:pt x="836" y="175"/>
                  </a:lnTo>
                  <a:lnTo>
                    <a:pt x="837" y="187"/>
                  </a:lnTo>
                  <a:lnTo>
                    <a:pt x="838" y="200"/>
                  </a:lnTo>
                  <a:lnTo>
                    <a:pt x="842" y="211"/>
                  </a:lnTo>
                  <a:lnTo>
                    <a:pt x="845" y="222"/>
                  </a:lnTo>
                  <a:lnTo>
                    <a:pt x="851" y="232"/>
                  </a:lnTo>
                  <a:lnTo>
                    <a:pt x="857" y="243"/>
                  </a:lnTo>
                  <a:lnTo>
                    <a:pt x="866" y="253"/>
                  </a:lnTo>
                  <a:lnTo>
                    <a:pt x="876" y="264"/>
                  </a:lnTo>
                  <a:lnTo>
                    <a:pt x="889" y="273"/>
                  </a:lnTo>
                  <a:lnTo>
                    <a:pt x="904" y="283"/>
                  </a:lnTo>
                  <a:lnTo>
                    <a:pt x="922" y="292"/>
                  </a:lnTo>
                  <a:lnTo>
                    <a:pt x="943" y="301"/>
                  </a:lnTo>
                  <a:lnTo>
                    <a:pt x="928" y="314"/>
                  </a:lnTo>
                  <a:lnTo>
                    <a:pt x="913" y="328"/>
                  </a:lnTo>
                  <a:lnTo>
                    <a:pt x="896" y="344"/>
                  </a:lnTo>
                  <a:lnTo>
                    <a:pt x="879" y="361"/>
                  </a:lnTo>
                  <a:lnTo>
                    <a:pt x="871" y="370"/>
                  </a:lnTo>
                  <a:lnTo>
                    <a:pt x="865" y="380"/>
                  </a:lnTo>
                  <a:lnTo>
                    <a:pt x="859" y="389"/>
                  </a:lnTo>
                  <a:lnTo>
                    <a:pt x="854" y="399"/>
                  </a:lnTo>
                  <a:lnTo>
                    <a:pt x="851" y="410"/>
                  </a:lnTo>
                  <a:lnTo>
                    <a:pt x="849" y="420"/>
                  </a:lnTo>
                  <a:lnTo>
                    <a:pt x="848" y="432"/>
                  </a:lnTo>
                  <a:lnTo>
                    <a:pt x="851" y="443"/>
                  </a:lnTo>
                  <a:lnTo>
                    <a:pt x="830" y="616"/>
                  </a:lnTo>
                  <a:lnTo>
                    <a:pt x="809" y="635"/>
                  </a:lnTo>
                  <a:lnTo>
                    <a:pt x="787" y="652"/>
                  </a:lnTo>
                  <a:lnTo>
                    <a:pt x="782" y="658"/>
                  </a:lnTo>
                  <a:lnTo>
                    <a:pt x="778" y="663"/>
                  </a:lnTo>
                  <a:lnTo>
                    <a:pt x="774" y="670"/>
                  </a:lnTo>
                  <a:lnTo>
                    <a:pt x="770" y="677"/>
                  </a:lnTo>
                  <a:lnTo>
                    <a:pt x="767" y="686"/>
                  </a:lnTo>
                  <a:lnTo>
                    <a:pt x="766" y="696"/>
                  </a:lnTo>
                  <a:lnTo>
                    <a:pt x="764" y="708"/>
                  </a:lnTo>
                  <a:lnTo>
                    <a:pt x="764" y="721"/>
                  </a:lnTo>
                  <a:lnTo>
                    <a:pt x="763" y="721"/>
                  </a:lnTo>
                  <a:lnTo>
                    <a:pt x="758" y="721"/>
                  </a:lnTo>
                  <a:lnTo>
                    <a:pt x="755" y="723"/>
                  </a:lnTo>
                  <a:lnTo>
                    <a:pt x="752" y="726"/>
                  </a:lnTo>
                  <a:lnTo>
                    <a:pt x="748" y="730"/>
                  </a:lnTo>
                  <a:lnTo>
                    <a:pt x="745" y="735"/>
                  </a:lnTo>
                  <a:lnTo>
                    <a:pt x="741" y="743"/>
                  </a:lnTo>
                  <a:lnTo>
                    <a:pt x="736" y="752"/>
                  </a:lnTo>
                  <a:lnTo>
                    <a:pt x="732" y="766"/>
                  </a:lnTo>
                  <a:lnTo>
                    <a:pt x="728" y="780"/>
                  </a:lnTo>
                  <a:lnTo>
                    <a:pt x="723" y="798"/>
                  </a:lnTo>
                  <a:lnTo>
                    <a:pt x="719" y="821"/>
                  </a:lnTo>
                  <a:lnTo>
                    <a:pt x="714" y="845"/>
                  </a:lnTo>
                  <a:lnTo>
                    <a:pt x="711" y="875"/>
                  </a:lnTo>
                  <a:lnTo>
                    <a:pt x="701" y="875"/>
                  </a:lnTo>
                  <a:lnTo>
                    <a:pt x="692" y="877"/>
                  </a:lnTo>
                  <a:lnTo>
                    <a:pt x="684" y="880"/>
                  </a:lnTo>
                  <a:lnTo>
                    <a:pt x="677" y="884"/>
                  </a:lnTo>
                  <a:lnTo>
                    <a:pt x="670" y="890"/>
                  </a:lnTo>
                  <a:lnTo>
                    <a:pt x="665" y="896"/>
                  </a:lnTo>
                  <a:lnTo>
                    <a:pt x="662" y="903"/>
                  </a:lnTo>
                  <a:lnTo>
                    <a:pt x="659" y="910"/>
                  </a:lnTo>
                  <a:lnTo>
                    <a:pt x="658" y="917"/>
                  </a:lnTo>
                  <a:lnTo>
                    <a:pt x="658" y="924"/>
                  </a:lnTo>
                  <a:lnTo>
                    <a:pt x="661" y="929"/>
                  </a:lnTo>
                  <a:lnTo>
                    <a:pt x="664" y="934"/>
                  </a:lnTo>
                  <a:lnTo>
                    <a:pt x="666" y="936"/>
                  </a:lnTo>
                  <a:lnTo>
                    <a:pt x="669" y="937"/>
                  </a:lnTo>
                  <a:lnTo>
                    <a:pt x="673" y="938"/>
                  </a:lnTo>
                  <a:lnTo>
                    <a:pt x="677" y="939"/>
                  </a:lnTo>
                  <a:lnTo>
                    <a:pt x="686" y="939"/>
                  </a:lnTo>
                  <a:lnTo>
                    <a:pt x="697" y="936"/>
                  </a:lnTo>
                  <a:lnTo>
                    <a:pt x="700" y="941"/>
                  </a:lnTo>
                  <a:lnTo>
                    <a:pt x="702" y="944"/>
                  </a:lnTo>
                  <a:lnTo>
                    <a:pt x="706" y="947"/>
                  </a:lnTo>
                  <a:lnTo>
                    <a:pt x="709" y="950"/>
                  </a:lnTo>
                  <a:lnTo>
                    <a:pt x="717" y="955"/>
                  </a:lnTo>
                  <a:lnTo>
                    <a:pt x="724" y="958"/>
                  </a:lnTo>
                  <a:lnTo>
                    <a:pt x="731" y="963"/>
                  </a:lnTo>
                  <a:lnTo>
                    <a:pt x="739" y="968"/>
                  </a:lnTo>
                  <a:lnTo>
                    <a:pt x="742" y="971"/>
                  </a:lnTo>
                  <a:lnTo>
                    <a:pt x="745" y="975"/>
                  </a:lnTo>
                  <a:lnTo>
                    <a:pt x="747" y="981"/>
                  </a:lnTo>
                  <a:lnTo>
                    <a:pt x="751" y="986"/>
                  </a:lnTo>
                  <a:lnTo>
                    <a:pt x="753" y="996"/>
                  </a:lnTo>
                  <a:lnTo>
                    <a:pt x="756" y="1007"/>
                  </a:lnTo>
                  <a:lnTo>
                    <a:pt x="759" y="1018"/>
                  </a:lnTo>
                  <a:lnTo>
                    <a:pt x="765" y="1028"/>
                  </a:lnTo>
                  <a:lnTo>
                    <a:pt x="767" y="1033"/>
                  </a:lnTo>
                  <a:lnTo>
                    <a:pt x="771" y="1039"/>
                  </a:lnTo>
                  <a:lnTo>
                    <a:pt x="775" y="1043"/>
                  </a:lnTo>
                  <a:lnTo>
                    <a:pt x="779" y="1046"/>
                  </a:lnTo>
                  <a:lnTo>
                    <a:pt x="785" y="1049"/>
                  </a:lnTo>
                  <a:lnTo>
                    <a:pt x="790" y="1052"/>
                  </a:lnTo>
                  <a:lnTo>
                    <a:pt x="797" y="1053"/>
                  </a:lnTo>
                  <a:lnTo>
                    <a:pt x="803" y="1053"/>
                  </a:lnTo>
                  <a:lnTo>
                    <a:pt x="810" y="1063"/>
                  </a:lnTo>
                  <a:lnTo>
                    <a:pt x="814" y="1071"/>
                  </a:lnTo>
                  <a:lnTo>
                    <a:pt x="815" y="1076"/>
                  </a:lnTo>
                  <a:lnTo>
                    <a:pt x="815" y="1081"/>
                  </a:lnTo>
                  <a:lnTo>
                    <a:pt x="809" y="1094"/>
                  </a:lnTo>
                  <a:lnTo>
                    <a:pt x="797" y="1115"/>
                  </a:lnTo>
                  <a:lnTo>
                    <a:pt x="776" y="1115"/>
                  </a:lnTo>
                  <a:lnTo>
                    <a:pt x="755" y="1115"/>
                  </a:lnTo>
                  <a:lnTo>
                    <a:pt x="734" y="1115"/>
                  </a:lnTo>
                  <a:lnTo>
                    <a:pt x="718" y="1115"/>
                  </a:lnTo>
                  <a:lnTo>
                    <a:pt x="718" y="1127"/>
                  </a:lnTo>
                  <a:lnTo>
                    <a:pt x="718" y="1139"/>
                  </a:lnTo>
                  <a:lnTo>
                    <a:pt x="711" y="1143"/>
                  </a:lnTo>
                  <a:lnTo>
                    <a:pt x="697" y="1152"/>
                  </a:lnTo>
                  <a:lnTo>
                    <a:pt x="687" y="1157"/>
                  </a:lnTo>
                  <a:lnTo>
                    <a:pt x="675" y="1161"/>
                  </a:lnTo>
                  <a:lnTo>
                    <a:pt x="663" y="1163"/>
                  </a:lnTo>
                  <a:lnTo>
                    <a:pt x="651" y="1164"/>
                  </a:lnTo>
                  <a:lnTo>
                    <a:pt x="628" y="1166"/>
                  </a:lnTo>
                  <a:lnTo>
                    <a:pt x="598" y="1170"/>
                  </a:lnTo>
                  <a:lnTo>
                    <a:pt x="583" y="1171"/>
                  </a:lnTo>
                  <a:lnTo>
                    <a:pt x="566" y="1172"/>
                  </a:lnTo>
                  <a:lnTo>
                    <a:pt x="549" y="1172"/>
                  </a:lnTo>
                  <a:lnTo>
                    <a:pt x="531" y="1170"/>
                  </a:lnTo>
                  <a:lnTo>
                    <a:pt x="515" y="1158"/>
                  </a:lnTo>
                  <a:lnTo>
                    <a:pt x="496" y="1141"/>
                  </a:lnTo>
                  <a:lnTo>
                    <a:pt x="486" y="1133"/>
                  </a:lnTo>
                  <a:lnTo>
                    <a:pt x="475" y="1127"/>
                  </a:lnTo>
                  <a:lnTo>
                    <a:pt x="470" y="1124"/>
                  </a:lnTo>
                  <a:lnTo>
                    <a:pt x="464" y="1123"/>
                  </a:lnTo>
                  <a:lnTo>
                    <a:pt x="457" y="1121"/>
                  </a:lnTo>
                  <a:lnTo>
                    <a:pt x="452" y="1121"/>
                  </a:lnTo>
                  <a:lnTo>
                    <a:pt x="432" y="1122"/>
                  </a:lnTo>
                  <a:lnTo>
                    <a:pt x="405" y="1124"/>
                  </a:lnTo>
                  <a:lnTo>
                    <a:pt x="390" y="1125"/>
                  </a:lnTo>
                  <a:lnTo>
                    <a:pt x="375" y="1126"/>
                  </a:lnTo>
                  <a:lnTo>
                    <a:pt x="360" y="1126"/>
                  </a:lnTo>
                  <a:lnTo>
                    <a:pt x="345" y="1125"/>
                  </a:lnTo>
                  <a:lnTo>
                    <a:pt x="331" y="1123"/>
                  </a:lnTo>
                  <a:lnTo>
                    <a:pt x="319" y="1120"/>
                  </a:lnTo>
                  <a:lnTo>
                    <a:pt x="314" y="1117"/>
                  </a:lnTo>
                  <a:lnTo>
                    <a:pt x="308" y="1115"/>
                  </a:lnTo>
                  <a:lnTo>
                    <a:pt x="304" y="1112"/>
                  </a:lnTo>
                  <a:lnTo>
                    <a:pt x="300" y="1108"/>
                  </a:lnTo>
                  <a:lnTo>
                    <a:pt x="297" y="1104"/>
                  </a:lnTo>
                  <a:lnTo>
                    <a:pt x="295" y="1100"/>
                  </a:lnTo>
                  <a:lnTo>
                    <a:pt x="293" y="1095"/>
                  </a:lnTo>
                  <a:lnTo>
                    <a:pt x="292" y="1088"/>
                  </a:lnTo>
                  <a:lnTo>
                    <a:pt x="293" y="1082"/>
                  </a:lnTo>
                  <a:lnTo>
                    <a:pt x="294" y="1075"/>
                  </a:lnTo>
                  <a:lnTo>
                    <a:pt x="295" y="1068"/>
                  </a:lnTo>
                  <a:lnTo>
                    <a:pt x="298" y="1060"/>
                  </a:lnTo>
                  <a:lnTo>
                    <a:pt x="291" y="1049"/>
                  </a:lnTo>
                  <a:lnTo>
                    <a:pt x="283" y="1039"/>
                  </a:lnTo>
                  <a:lnTo>
                    <a:pt x="274" y="1029"/>
                  </a:lnTo>
                  <a:lnTo>
                    <a:pt x="265" y="1021"/>
                  </a:lnTo>
                  <a:lnTo>
                    <a:pt x="248" y="1005"/>
                  </a:lnTo>
                  <a:lnTo>
                    <a:pt x="230" y="990"/>
                  </a:lnTo>
                  <a:lnTo>
                    <a:pt x="222" y="983"/>
                  </a:lnTo>
                  <a:lnTo>
                    <a:pt x="216" y="974"/>
                  </a:lnTo>
                  <a:lnTo>
                    <a:pt x="209" y="966"/>
                  </a:lnTo>
                  <a:lnTo>
                    <a:pt x="204" y="957"/>
                  </a:lnTo>
                  <a:lnTo>
                    <a:pt x="198" y="947"/>
                  </a:lnTo>
                  <a:lnTo>
                    <a:pt x="195" y="937"/>
                  </a:lnTo>
                  <a:lnTo>
                    <a:pt x="193" y="925"/>
                  </a:lnTo>
                  <a:lnTo>
                    <a:pt x="193" y="911"/>
                  </a:lnTo>
                  <a:lnTo>
                    <a:pt x="180" y="911"/>
                  </a:lnTo>
                  <a:lnTo>
                    <a:pt x="169" y="909"/>
                  </a:lnTo>
                  <a:lnTo>
                    <a:pt x="160" y="907"/>
                  </a:lnTo>
                  <a:lnTo>
                    <a:pt x="152" y="903"/>
                  </a:lnTo>
                  <a:lnTo>
                    <a:pt x="146" y="898"/>
                  </a:lnTo>
                  <a:lnTo>
                    <a:pt x="140" y="893"/>
                  </a:lnTo>
                  <a:lnTo>
                    <a:pt x="136" y="887"/>
                  </a:lnTo>
                  <a:lnTo>
                    <a:pt x="131" y="880"/>
                  </a:lnTo>
                  <a:lnTo>
                    <a:pt x="120" y="846"/>
                  </a:lnTo>
                  <a:lnTo>
                    <a:pt x="106" y="806"/>
                  </a:lnTo>
                  <a:lnTo>
                    <a:pt x="105" y="801"/>
                  </a:lnTo>
                  <a:lnTo>
                    <a:pt x="103" y="796"/>
                  </a:lnTo>
                  <a:lnTo>
                    <a:pt x="99" y="792"/>
                  </a:lnTo>
                  <a:lnTo>
                    <a:pt x="97" y="788"/>
                  </a:lnTo>
                  <a:lnTo>
                    <a:pt x="90" y="780"/>
                  </a:lnTo>
                  <a:lnTo>
                    <a:pt x="83" y="774"/>
                  </a:lnTo>
                  <a:lnTo>
                    <a:pt x="75" y="768"/>
                  </a:lnTo>
                  <a:lnTo>
                    <a:pt x="69" y="761"/>
                  </a:lnTo>
                  <a:lnTo>
                    <a:pt x="65" y="758"/>
                  </a:lnTo>
                  <a:lnTo>
                    <a:pt x="63" y="753"/>
                  </a:lnTo>
                  <a:lnTo>
                    <a:pt x="61" y="749"/>
                  </a:lnTo>
                  <a:lnTo>
                    <a:pt x="60" y="745"/>
                  </a:lnTo>
                  <a:lnTo>
                    <a:pt x="46" y="711"/>
                  </a:lnTo>
                  <a:lnTo>
                    <a:pt x="33" y="676"/>
                  </a:lnTo>
                  <a:lnTo>
                    <a:pt x="25" y="659"/>
                  </a:lnTo>
                  <a:lnTo>
                    <a:pt x="17" y="643"/>
                  </a:lnTo>
                  <a:lnTo>
                    <a:pt x="9" y="628"/>
                  </a:lnTo>
                  <a:lnTo>
                    <a:pt x="0" y="616"/>
                  </a:lnTo>
                  <a:lnTo>
                    <a:pt x="4" y="611"/>
                  </a:lnTo>
                  <a:lnTo>
                    <a:pt x="8" y="607"/>
                  </a:lnTo>
                  <a:lnTo>
                    <a:pt x="11" y="602"/>
                  </a:lnTo>
                  <a:lnTo>
                    <a:pt x="13" y="598"/>
                  </a:lnTo>
                  <a:lnTo>
                    <a:pt x="16" y="587"/>
                  </a:lnTo>
                  <a:lnTo>
                    <a:pt x="18" y="577"/>
                  </a:lnTo>
                  <a:lnTo>
                    <a:pt x="19" y="567"/>
                  </a:lnTo>
                  <a:lnTo>
                    <a:pt x="20" y="555"/>
                  </a:lnTo>
                  <a:lnTo>
                    <a:pt x="23" y="543"/>
                  </a:lnTo>
                  <a:lnTo>
                    <a:pt x="26" y="529"/>
                  </a:lnTo>
                  <a:lnTo>
                    <a:pt x="29" y="521"/>
                  </a:lnTo>
                  <a:lnTo>
                    <a:pt x="33" y="514"/>
                  </a:lnTo>
                  <a:lnTo>
                    <a:pt x="37" y="507"/>
                  </a:lnTo>
                  <a:lnTo>
                    <a:pt x="41" y="500"/>
                  </a:lnTo>
                  <a:lnTo>
                    <a:pt x="52" y="487"/>
                  </a:lnTo>
                  <a:lnTo>
                    <a:pt x="64" y="474"/>
                  </a:lnTo>
                  <a:lnTo>
                    <a:pt x="78" y="464"/>
                  </a:lnTo>
                  <a:lnTo>
                    <a:pt x="90" y="456"/>
                  </a:lnTo>
                  <a:lnTo>
                    <a:pt x="102" y="449"/>
                  </a:lnTo>
                  <a:lnTo>
                    <a:pt x="113" y="443"/>
                  </a:lnTo>
                  <a:lnTo>
                    <a:pt x="113" y="222"/>
                  </a:lnTo>
                  <a:lnTo>
                    <a:pt x="113" y="212"/>
                  </a:lnTo>
                  <a:lnTo>
                    <a:pt x="113" y="200"/>
                  </a:lnTo>
                  <a:lnTo>
                    <a:pt x="113" y="188"/>
                  </a:lnTo>
                  <a:lnTo>
                    <a:pt x="113" y="178"/>
                  </a:lnTo>
                  <a:lnTo>
                    <a:pt x="123" y="179"/>
                  </a:lnTo>
                  <a:lnTo>
                    <a:pt x="131" y="179"/>
                  </a:lnTo>
                  <a:lnTo>
                    <a:pt x="139" y="178"/>
                  </a:lnTo>
                  <a:lnTo>
                    <a:pt x="146" y="176"/>
                  </a:lnTo>
                  <a:lnTo>
                    <a:pt x="150" y="174"/>
                  </a:lnTo>
                  <a:lnTo>
                    <a:pt x="153" y="171"/>
                  </a:lnTo>
                  <a:lnTo>
                    <a:pt x="157" y="167"/>
                  </a:lnTo>
                  <a:lnTo>
                    <a:pt x="159" y="162"/>
                  </a:lnTo>
                  <a:lnTo>
                    <a:pt x="160" y="152"/>
                  </a:lnTo>
                  <a:lnTo>
                    <a:pt x="160" y="137"/>
                  </a:lnTo>
                  <a:lnTo>
                    <a:pt x="160" y="122"/>
                  </a:lnTo>
                  <a:lnTo>
                    <a:pt x="159" y="105"/>
                  </a:lnTo>
                  <a:lnTo>
                    <a:pt x="159" y="93"/>
                  </a:lnTo>
                  <a:lnTo>
                    <a:pt x="159" y="83"/>
                  </a:lnTo>
                  <a:lnTo>
                    <a:pt x="159" y="76"/>
                  </a:lnTo>
                  <a:lnTo>
                    <a:pt x="159" y="67"/>
                  </a:lnTo>
                  <a:lnTo>
                    <a:pt x="664" y="73"/>
                  </a:lnTo>
                  <a:lnTo>
                    <a:pt x="668" y="74"/>
                  </a:lnTo>
                  <a:lnTo>
                    <a:pt x="672" y="73"/>
                  </a:lnTo>
                  <a:lnTo>
                    <a:pt x="676" y="72"/>
                  </a:lnTo>
                  <a:lnTo>
                    <a:pt x="679" y="69"/>
                  </a:lnTo>
                  <a:lnTo>
                    <a:pt x="688" y="63"/>
                  </a:lnTo>
                  <a:lnTo>
                    <a:pt x="695" y="54"/>
                  </a:lnTo>
                  <a:lnTo>
                    <a:pt x="707" y="38"/>
                  </a:lnTo>
                  <a:lnTo>
                    <a:pt x="711" y="3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77" name="Group 384">
              <a:extLst>
                <a:ext uri="{FF2B5EF4-FFF2-40B4-BE49-F238E27FC236}">
                  <a16:creationId xmlns:a16="http://schemas.microsoft.com/office/drawing/2014/main" id="{ADAFEDEC-A004-443F-AFD3-E1B246EBF2A9}"/>
                </a:ext>
              </a:extLst>
            </p:cNvPr>
            <p:cNvGrpSpPr>
              <a:grpSpLocks/>
            </p:cNvGrpSpPr>
            <p:nvPr>
              <p:custDataLst>
                <p:tags r:id="rId273"/>
              </p:custDataLst>
            </p:nvPr>
          </p:nvGrpSpPr>
          <p:grpSpPr bwMode="auto">
            <a:xfrm>
              <a:off x="3341684" y="3136875"/>
              <a:ext cx="80962" cy="82549"/>
              <a:chOff x="2352" y="2343"/>
              <a:chExt cx="65" cy="53"/>
            </a:xfrm>
          </p:grpSpPr>
          <p:sp>
            <p:nvSpPr>
              <p:cNvPr id="438" name="Freeform 385">
                <a:extLst>
                  <a:ext uri="{FF2B5EF4-FFF2-40B4-BE49-F238E27FC236}">
                    <a16:creationId xmlns:a16="http://schemas.microsoft.com/office/drawing/2014/main" id="{BD89DB6B-B6B0-4B99-B050-9937BF13B4B8}"/>
                  </a:ext>
                </a:extLst>
              </p:cNvPr>
              <p:cNvSpPr>
                <a:spLocks/>
              </p:cNvSpPr>
              <p:nvPr/>
            </p:nvSpPr>
            <p:spPr bwMode="auto">
              <a:xfrm>
                <a:off x="2352" y="2343"/>
                <a:ext cx="16" cy="11"/>
              </a:xfrm>
              <a:custGeom>
                <a:avLst/>
                <a:gdLst>
                  <a:gd name="T0" fmla="*/ 14 w 51"/>
                  <a:gd name="T1" fmla="*/ 0 h 33"/>
                  <a:gd name="T2" fmla="*/ 0 w 51"/>
                  <a:gd name="T3" fmla="*/ 2 h 33"/>
                  <a:gd name="T4" fmla="*/ 1 w 51"/>
                  <a:gd name="T5" fmla="*/ 9 h 33"/>
                  <a:gd name="T6" fmla="*/ 3 w 51"/>
                  <a:gd name="T7" fmla="*/ 11 h 33"/>
                  <a:gd name="T8" fmla="*/ 11 w 51"/>
                  <a:gd name="T9" fmla="*/ 8 h 33"/>
                  <a:gd name="T10" fmla="*/ 15 w 51"/>
                  <a:gd name="T11" fmla="*/ 5 h 33"/>
                  <a:gd name="T12" fmla="*/ 16 w 51"/>
                  <a:gd name="T13" fmla="*/ 3 h 33"/>
                  <a:gd name="T14" fmla="*/ 14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9" name="Freeform 386">
                <a:extLst>
                  <a:ext uri="{FF2B5EF4-FFF2-40B4-BE49-F238E27FC236}">
                    <a16:creationId xmlns:a16="http://schemas.microsoft.com/office/drawing/2014/main" id="{10A120EE-2011-4C84-AB00-406C93C52CA8}"/>
                  </a:ext>
                </a:extLst>
              </p:cNvPr>
              <p:cNvSpPr>
                <a:spLocks/>
              </p:cNvSpPr>
              <p:nvPr/>
            </p:nvSpPr>
            <p:spPr bwMode="auto">
              <a:xfrm>
                <a:off x="2372" y="2354"/>
                <a:ext cx="20" cy="7"/>
              </a:xfrm>
              <a:custGeom>
                <a:avLst/>
                <a:gdLst>
                  <a:gd name="T0" fmla="*/ 20 w 61"/>
                  <a:gd name="T1" fmla="*/ 2 h 20"/>
                  <a:gd name="T2" fmla="*/ 17 w 61"/>
                  <a:gd name="T3" fmla="*/ 1 h 20"/>
                  <a:gd name="T4" fmla="*/ 0 w 61"/>
                  <a:gd name="T5" fmla="*/ 0 h 20"/>
                  <a:gd name="T6" fmla="*/ 1 w 61"/>
                  <a:gd name="T7" fmla="*/ 5 h 20"/>
                  <a:gd name="T8" fmla="*/ 2 w 61"/>
                  <a:gd name="T9" fmla="*/ 7 h 20"/>
                  <a:gd name="T10" fmla="*/ 6 w 61"/>
                  <a:gd name="T11" fmla="*/ 5 h 20"/>
                  <a:gd name="T12" fmla="*/ 20 w 61"/>
                  <a:gd name="T13" fmla="*/ 2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0" name="Freeform 387">
                <a:extLst>
                  <a:ext uri="{FF2B5EF4-FFF2-40B4-BE49-F238E27FC236}">
                    <a16:creationId xmlns:a16="http://schemas.microsoft.com/office/drawing/2014/main" id="{8CB46834-AC37-4CF9-9785-015D59A61AA9}"/>
                  </a:ext>
                </a:extLst>
              </p:cNvPr>
              <p:cNvSpPr>
                <a:spLocks/>
              </p:cNvSpPr>
              <p:nvPr/>
            </p:nvSpPr>
            <p:spPr bwMode="auto">
              <a:xfrm>
                <a:off x="2407" y="2346"/>
                <a:ext cx="5" cy="12"/>
              </a:xfrm>
              <a:custGeom>
                <a:avLst/>
                <a:gdLst>
                  <a:gd name="T0" fmla="*/ 1 w 15"/>
                  <a:gd name="T1" fmla="*/ 0 h 36"/>
                  <a:gd name="T2" fmla="*/ 0 w 15"/>
                  <a:gd name="T3" fmla="*/ 7 h 36"/>
                  <a:gd name="T4" fmla="*/ 0 w 15"/>
                  <a:gd name="T5" fmla="*/ 12 h 36"/>
                  <a:gd name="T6" fmla="*/ 4 w 15"/>
                  <a:gd name="T7" fmla="*/ 12 h 36"/>
                  <a:gd name="T8" fmla="*/ 5 w 15"/>
                  <a:gd name="T9" fmla="*/ 5 h 36"/>
                  <a:gd name="T10" fmla="*/ 1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1" name="Freeform 388">
                <a:extLst>
                  <a:ext uri="{FF2B5EF4-FFF2-40B4-BE49-F238E27FC236}">
                    <a16:creationId xmlns:a16="http://schemas.microsoft.com/office/drawing/2014/main" id="{95655EDF-1526-442A-8BA9-D889D4FDA97C}"/>
                  </a:ext>
                </a:extLst>
              </p:cNvPr>
              <p:cNvSpPr>
                <a:spLocks/>
              </p:cNvSpPr>
              <p:nvPr/>
            </p:nvSpPr>
            <p:spPr bwMode="auto">
              <a:xfrm>
                <a:off x="2406" y="2361"/>
                <a:ext cx="11" cy="11"/>
              </a:xfrm>
              <a:custGeom>
                <a:avLst/>
                <a:gdLst>
                  <a:gd name="T0" fmla="*/ 1 w 37"/>
                  <a:gd name="T1" fmla="*/ 1 h 33"/>
                  <a:gd name="T2" fmla="*/ 7 w 37"/>
                  <a:gd name="T3" fmla="*/ 0 h 33"/>
                  <a:gd name="T4" fmla="*/ 10 w 37"/>
                  <a:gd name="T5" fmla="*/ 2 h 33"/>
                  <a:gd name="T6" fmla="*/ 11 w 37"/>
                  <a:gd name="T7" fmla="*/ 7 h 33"/>
                  <a:gd name="T8" fmla="*/ 7 w 37"/>
                  <a:gd name="T9" fmla="*/ 11 h 33"/>
                  <a:gd name="T10" fmla="*/ 3 w 37"/>
                  <a:gd name="T11" fmla="*/ 11 h 33"/>
                  <a:gd name="T12" fmla="*/ 1 w 37"/>
                  <a:gd name="T13" fmla="*/ 8 h 33"/>
                  <a:gd name="T14" fmla="*/ 0 w 37"/>
                  <a:gd name="T15" fmla="*/ 5 h 33"/>
                  <a:gd name="T16" fmla="*/ 1 w 37"/>
                  <a:gd name="T17" fmla="*/ 1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2" name="Freeform 389">
                <a:extLst>
                  <a:ext uri="{FF2B5EF4-FFF2-40B4-BE49-F238E27FC236}">
                    <a16:creationId xmlns:a16="http://schemas.microsoft.com/office/drawing/2014/main" id="{9B2CDF3C-5897-40F9-B812-0BB952FE36FF}"/>
                  </a:ext>
                </a:extLst>
              </p:cNvPr>
              <p:cNvSpPr>
                <a:spLocks/>
              </p:cNvSpPr>
              <p:nvPr/>
            </p:nvSpPr>
            <p:spPr bwMode="auto">
              <a:xfrm>
                <a:off x="2388" y="2378"/>
                <a:ext cx="16" cy="18"/>
              </a:xfrm>
              <a:custGeom>
                <a:avLst/>
                <a:gdLst>
                  <a:gd name="T0" fmla="*/ 1 w 49"/>
                  <a:gd name="T1" fmla="*/ 0 h 54"/>
                  <a:gd name="T2" fmla="*/ 0 w 49"/>
                  <a:gd name="T3" fmla="*/ 0 h 54"/>
                  <a:gd name="T4" fmla="*/ 1 w 49"/>
                  <a:gd name="T5" fmla="*/ 17 h 54"/>
                  <a:gd name="T6" fmla="*/ 6 w 49"/>
                  <a:gd name="T7" fmla="*/ 18 h 54"/>
                  <a:gd name="T8" fmla="*/ 14 w 49"/>
                  <a:gd name="T9" fmla="*/ 15 h 54"/>
                  <a:gd name="T10" fmla="*/ 16 w 49"/>
                  <a:gd name="T11" fmla="*/ 10 h 54"/>
                  <a:gd name="T12" fmla="*/ 13 w 49"/>
                  <a:gd name="T13" fmla="*/ 7 h 54"/>
                  <a:gd name="T14" fmla="*/ 6 w 49"/>
                  <a:gd name="T15" fmla="*/ 3 h 54"/>
                  <a:gd name="T16" fmla="*/ 1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43" name="Freeform 390">
                <a:extLst>
                  <a:ext uri="{FF2B5EF4-FFF2-40B4-BE49-F238E27FC236}">
                    <a16:creationId xmlns:a16="http://schemas.microsoft.com/office/drawing/2014/main" id="{C5A84F2B-BF49-4339-B8B2-C29A7ABE1B2A}"/>
                  </a:ext>
                </a:extLst>
              </p:cNvPr>
              <p:cNvSpPr>
                <a:spLocks/>
              </p:cNvSpPr>
              <p:nvPr/>
            </p:nvSpPr>
            <p:spPr bwMode="auto">
              <a:xfrm>
                <a:off x="2374" y="2388"/>
                <a:ext cx="9" cy="7"/>
              </a:xfrm>
              <a:custGeom>
                <a:avLst/>
                <a:gdLst>
                  <a:gd name="T0" fmla="*/ 6 w 26"/>
                  <a:gd name="T1" fmla="*/ 0 h 22"/>
                  <a:gd name="T2" fmla="*/ 1 w 26"/>
                  <a:gd name="T3" fmla="*/ 1 h 22"/>
                  <a:gd name="T4" fmla="*/ 0 w 26"/>
                  <a:gd name="T5" fmla="*/ 5 h 22"/>
                  <a:gd name="T6" fmla="*/ 2 w 26"/>
                  <a:gd name="T7" fmla="*/ 7 h 22"/>
                  <a:gd name="T8" fmla="*/ 7 w 26"/>
                  <a:gd name="T9" fmla="*/ 7 h 22"/>
                  <a:gd name="T10" fmla="*/ 9 w 26"/>
                  <a:gd name="T11" fmla="*/ 4 h 22"/>
                  <a:gd name="T12" fmla="*/ 6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grpSp>
          <p:nvGrpSpPr>
            <p:cNvPr id="278" name="Group 391">
              <a:extLst>
                <a:ext uri="{FF2B5EF4-FFF2-40B4-BE49-F238E27FC236}">
                  <a16:creationId xmlns:a16="http://schemas.microsoft.com/office/drawing/2014/main" id="{C8B5053C-A632-4C19-A862-F2321E357980}"/>
                </a:ext>
              </a:extLst>
            </p:cNvPr>
            <p:cNvGrpSpPr>
              <a:grpSpLocks/>
            </p:cNvGrpSpPr>
            <p:nvPr>
              <p:custDataLst>
                <p:tags r:id="rId274"/>
              </p:custDataLst>
            </p:nvPr>
          </p:nvGrpSpPr>
          <p:grpSpPr bwMode="auto">
            <a:xfrm>
              <a:off x="1187449" y="1196966"/>
              <a:ext cx="1897061" cy="1133466"/>
              <a:chOff x="527" y="1110"/>
              <a:chExt cx="1410" cy="709"/>
            </a:xfrm>
          </p:grpSpPr>
          <p:sp>
            <p:nvSpPr>
              <p:cNvPr id="396" name="Freeform 392">
                <a:extLst>
                  <a:ext uri="{FF2B5EF4-FFF2-40B4-BE49-F238E27FC236}">
                    <a16:creationId xmlns:a16="http://schemas.microsoft.com/office/drawing/2014/main" id="{D83FBD44-D96F-4EA0-A482-FE097863173B}"/>
                  </a:ext>
                </a:extLst>
              </p:cNvPr>
              <p:cNvSpPr>
                <a:spLocks/>
              </p:cNvSpPr>
              <p:nvPr/>
            </p:nvSpPr>
            <p:spPr bwMode="auto">
              <a:xfrm>
                <a:off x="1401" y="1427"/>
                <a:ext cx="31" cy="17"/>
              </a:xfrm>
              <a:custGeom>
                <a:avLst/>
                <a:gdLst>
                  <a:gd name="T0" fmla="*/ 0 w 98"/>
                  <a:gd name="T1" fmla="*/ 13 h 54"/>
                  <a:gd name="T2" fmla="*/ 2 w 98"/>
                  <a:gd name="T3" fmla="*/ 14 h 54"/>
                  <a:gd name="T4" fmla="*/ 4 w 98"/>
                  <a:gd name="T5" fmla="*/ 16 h 54"/>
                  <a:gd name="T6" fmla="*/ 7 w 98"/>
                  <a:gd name="T7" fmla="*/ 17 h 54"/>
                  <a:gd name="T8" fmla="*/ 10 w 98"/>
                  <a:gd name="T9" fmla="*/ 17 h 54"/>
                  <a:gd name="T10" fmla="*/ 12 w 98"/>
                  <a:gd name="T11" fmla="*/ 17 h 54"/>
                  <a:gd name="T12" fmla="*/ 14 w 98"/>
                  <a:gd name="T13" fmla="*/ 17 h 54"/>
                  <a:gd name="T14" fmla="*/ 16 w 98"/>
                  <a:gd name="T15" fmla="*/ 16 h 54"/>
                  <a:gd name="T16" fmla="*/ 18 w 98"/>
                  <a:gd name="T17" fmla="*/ 15 h 54"/>
                  <a:gd name="T18" fmla="*/ 21 w 98"/>
                  <a:gd name="T19" fmla="*/ 13 h 54"/>
                  <a:gd name="T20" fmla="*/ 24 w 98"/>
                  <a:gd name="T21" fmla="*/ 11 h 54"/>
                  <a:gd name="T22" fmla="*/ 27 w 98"/>
                  <a:gd name="T23" fmla="*/ 9 h 54"/>
                  <a:gd name="T24" fmla="*/ 29 w 98"/>
                  <a:gd name="T25" fmla="*/ 6 h 54"/>
                  <a:gd name="T26" fmla="*/ 30 w 98"/>
                  <a:gd name="T27" fmla="*/ 4 h 54"/>
                  <a:gd name="T28" fmla="*/ 31 w 98"/>
                  <a:gd name="T29" fmla="*/ 1 h 54"/>
                  <a:gd name="T30" fmla="*/ 29 w 98"/>
                  <a:gd name="T31" fmla="*/ 1 h 54"/>
                  <a:gd name="T32" fmla="*/ 26 w 98"/>
                  <a:gd name="T33" fmla="*/ 0 h 54"/>
                  <a:gd name="T34" fmla="*/ 24 w 98"/>
                  <a:gd name="T35" fmla="*/ 0 h 54"/>
                  <a:gd name="T36" fmla="*/ 22 w 98"/>
                  <a:gd name="T37" fmla="*/ 0 h 54"/>
                  <a:gd name="T38" fmla="*/ 19 w 98"/>
                  <a:gd name="T39" fmla="*/ 0 h 54"/>
                  <a:gd name="T40" fmla="*/ 16 w 98"/>
                  <a:gd name="T41" fmla="*/ 1 h 54"/>
                  <a:gd name="T42" fmla="*/ 14 w 98"/>
                  <a:gd name="T43" fmla="*/ 2 h 54"/>
                  <a:gd name="T44" fmla="*/ 12 w 98"/>
                  <a:gd name="T45" fmla="*/ 3 h 54"/>
                  <a:gd name="T46" fmla="*/ 7 w 98"/>
                  <a:gd name="T47" fmla="*/ 5 h 54"/>
                  <a:gd name="T48" fmla="*/ 4 w 98"/>
                  <a:gd name="T49" fmla="*/ 8 h 54"/>
                  <a:gd name="T50" fmla="*/ 2 w 98"/>
                  <a:gd name="T51" fmla="*/ 9 h 54"/>
                  <a:gd name="T52" fmla="*/ 1 w 98"/>
                  <a:gd name="T53" fmla="*/ 10 h 54"/>
                  <a:gd name="T54" fmla="*/ 0 w 98"/>
                  <a:gd name="T55" fmla="*/ 12 h 54"/>
                  <a:gd name="T56" fmla="*/ 0 w 98"/>
                  <a:gd name="T57" fmla="*/ 13 h 54"/>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98" h="54">
                    <a:moveTo>
                      <a:pt x="0" y="41"/>
                    </a:moveTo>
                    <a:lnTo>
                      <a:pt x="5" y="46"/>
                    </a:lnTo>
                    <a:lnTo>
                      <a:pt x="13" y="50"/>
                    </a:lnTo>
                    <a:lnTo>
                      <a:pt x="23" y="53"/>
                    </a:lnTo>
                    <a:lnTo>
                      <a:pt x="32" y="54"/>
                    </a:lnTo>
                    <a:lnTo>
                      <a:pt x="38" y="54"/>
                    </a:lnTo>
                    <a:lnTo>
                      <a:pt x="45" y="53"/>
                    </a:lnTo>
                    <a:lnTo>
                      <a:pt x="50" y="51"/>
                    </a:lnTo>
                    <a:lnTo>
                      <a:pt x="56" y="49"/>
                    </a:lnTo>
                    <a:lnTo>
                      <a:pt x="67" y="42"/>
                    </a:lnTo>
                    <a:lnTo>
                      <a:pt x="75" y="35"/>
                    </a:lnTo>
                    <a:lnTo>
                      <a:pt x="84" y="28"/>
                    </a:lnTo>
                    <a:lnTo>
                      <a:pt x="91" y="20"/>
                    </a:lnTo>
                    <a:lnTo>
                      <a:pt x="95" y="12"/>
                    </a:lnTo>
                    <a:lnTo>
                      <a:pt x="98" y="4"/>
                    </a:lnTo>
                    <a:lnTo>
                      <a:pt x="91" y="2"/>
                    </a:lnTo>
                    <a:lnTo>
                      <a:pt x="83" y="0"/>
                    </a:lnTo>
                    <a:lnTo>
                      <a:pt x="75" y="0"/>
                    </a:lnTo>
                    <a:lnTo>
                      <a:pt x="68" y="0"/>
                    </a:lnTo>
                    <a:lnTo>
                      <a:pt x="59" y="1"/>
                    </a:lnTo>
                    <a:lnTo>
                      <a:pt x="51" y="3"/>
                    </a:lnTo>
                    <a:lnTo>
                      <a:pt x="43" y="6"/>
                    </a:lnTo>
                    <a:lnTo>
                      <a:pt x="37" y="9"/>
                    </a:lnTo>
                    <a:lnTo>
                      <a:pt x="23" y="17"/>
                    </a:lnTo>
                    <a:lnTo>
                      <a:pt x="12" y="25"/>
                    </a:lnTo>
                    <a:lnTo>
                      <a:pt x="7" y="29"/>
                    </a:lnTo>
                    <a:lnTo>
                      <a:pt x="4" y="33"/>
                    </a:lnTo>
                    <a:lnTo>
                      <a:pt x="1" y="37"/>
                    </a:lnTo>
                    <a:lnTo>
                      <a:pt x="0" y="4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7" name="Freeform 393">
                <a:extLst>
                  <a:ext uri="{FF2B5EF4-FFF2-40B4-BE49-F238E27FC236}">
                    <a16:creationId xmlns:a16="http://schemas.microsoft.com/office/drawing/2014/main" id="{804BEB57-512B-4C83-97AD-1FAA19064430}"/>
                  </a:ext>
                </a:extLst>
              </p:cNvPr>
              <p:cNvSpPr>
                <a:spLocks/>
              </p:cNvSpPr>
              <p:nvPr/>
            </p:nvSpPr>
            <p:spPr bwMode="auto">
              <a:xfrm>
                <a:off x="1387" y="1551"/>
                <a:ext cx="21" cy="8"/>
              </a:xfrm>
              <a:custGeom>
                <a:avLst/>
                <a:gdLst>
                  <a:gd name="T0" fmla="*/ 0 w 67"/>
                  <a:gd name="T1" fmla="*/ 8 h 28"/>
                  <a:gd name="T2" fmla="*/ 3 w 67"/>
                  <a:gd name="T3" fmla="*/ 8 h 28"/>
                  <a:gd name="T4" fmla="*/ 7 w 67"/>
                  <a:gd name="T5" fmla="*/ 8 h 28"/>
                  <a:gd name="T6" fmla="*/ 10 w 67"/>
                  <a:gd name="T7" fmla="*/ 7 h 28"/>
                  <a:gd name="T8" fmla="*/ 13 w 67"/>
                  <a:gd name="T9" fmla="*/ 6 h 28"/>
                  <a:gd name="T10" fmla="*/ 15 w 67"/>
                  <a:gd name="T11" fmla="*/ 5 h 28"/>
                  <a:gd name="T12" fmla="*/ 18 w 67"/>
                  <a:gd name="T13" fmla="*/ 3 h 28"/>
                  <a:gd name="T14" fmla="*/ 20 w 67"/>
                  <a:gd name="T15" fmla="*/ 2 h 28"/>
                  <a:gd name="T16" fmla="*/ 21 w 67"/>
                  <a:gd name="T17" fmla="*/ 1 h 28"/>
                  <a:gd name="T18" fmla="*/ 18 w 67"/>
                  <a:gd name="T19" fmla="*/ 0 h 28"/>
                  <a:gd name="T20" fmla="*/ 14 w 67"/>
                  <a:gd name="T21" fmla="*/ 0 h 28"/>
                  <a:gd name="T22" fmla="*/ 11 w 67"/>
                  <a:gd name="T23" fmla="*/ 0 h 28"/>
                  <a:gd name="T24" fmla="*/ 8 w 67"/>
                  <a:gd name="T25" fmla="*/ 1 h 28"/>
                  <a:gd name="T26" fmla="*/ 5 w 67"/>
                  <a:gd name="T27" fmla="*/ 2 h 28"/>
                  <a:gd name="T28" fmla="*/ 3 w 67"/>
                  <a:gd name="T29" fmla="*/ 3 h 28"/>
                  <a:gd name="T30" fmla="*/ 2 w 67"/>
                  <a:gd name="T31" fmla="*/ 4 h 28"/>
                  <a:gd name="T32" fmla="*/ 1 w 67"/>
                  <a:gd name="T33" fmla="*/ 5 h 28"/>
                  <a:gd name="T34" fmla="*/ 1 w 67"/>
                  <a:gd name="T35" fmla="*/ 6 h 28"/>
                  <a:gd name="T36" fmla="*/ 0 w 67"/>
                  <a:gd name="T37" fmla="*/ 8 h 28"/>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67" h="28">
                    <a:moveTo>
                      <a:pt x="0" y="27"/>
                    </a:moveTo>
                    <a:lnTo>
                      <a:pt x="11" y="28"/>
                    </a:lnTo>
                    <a:lnTo>
                      <a:pt x="21" y="27"/>
                    </a:lnTo>
                    <a:lnTo>
                      <a:pt x="31" y="25"/>
                    </a:lnTo>
                    <a:lnTo>
                      <a:pt x="41" y="21"/>
                    </a:lnTo>
                    <a:lnTo>
                      <a:pt x="49" y="17"/>
                    </a:lnTo>
                    <a:lnTo>
                      <a:pt x="57" y="12"/>
                    </a:lnTo>
                    <a:lnTo>
                      <a:pt x="63" y="7"/>
                    </a:lnTo>
                    <a:lnTo>
                      <a:pt x="67" y="3"/>
                    </a:lnTo>
                    <a:lnTo>
                      <a:pt x="57" y="1"/>
                    </a:lnTo>
                    <a:lnTo>
                      <a:pt x="46" y="0"/>
                    </a:lnTo>
                    <a:lnTo>
                      <a:pt x="36" y="1"/>
                    </a:lnTo>
                    <a:lnTo>
                      <a:pt x="26" y="3"/>
                    </a:lnTo>
                    <a:lnTo>
                      <a:pt x="17" y="7"/>
                    </a:lnTo>
                    <a:lnTo>
                      <a:pt x="10" y="12"/>
                    </a:lnTo>
                    <a:lnTo>
                      <a:pt x="7" y="15"/>
                    </a:lnTo>
                    <a:lnTo>
                      <a:pt x="4" y="19"/>
                    </a:lnTo>
                    <a:lnTo>
                      <a:pt x="2" y="22"/>
                    </a:lnTo>
                    <a:lnTo>
                      <a:pt x="0" y="2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8" name="Freeform 394">
                <a:extLst>
                  <a:ext uri="{FF2B5EF4-FFF2-40B4-BE49-F238E27FC236}">
                    <a16:creationId xmlns:a16="http://schemas.microsoft.com/office/drawing/2014/main" id="{8DCB010C-6BB4-468F-9A26-E9B4B4CB9D8D}"/>
                  </a:ext>
                </a:extLst>
              </p:cNvPr>
              <p:cNvSpPr>
                <a:spLocks/>
              </p:cNvSpPr>
              <p:nvPr/>
            </p:nvSpPr>
            <p:spPr bwMode="auto">
              <a:xfrm>
                <a:off x="1332" y="1608"/>
                <a:ext cx="11" cy="11"/>
              </a:xfrm>
              <a:custGeom>
                <a:avLst/>
                <a:gdLst>
                  <a:gd name="T0" fmla="*/ 0 w 32"/>
                  <a:gd name="T1" fmla="*/ 6 h 36"/>
                  <a:gd name="T2" fmla="*/ 0 w 32"/>
                  <a:gd name="T3" fmla="*/ 7 h 36"/>
                  <a:gd name="T4" fmla="*/ 1 w 32"/>
                  <a:gd name="T5" fmla="*/ 9 h 36"/>
                  <a:gd name="T6" fmla="*/ 2 w 32"/>
                  <a:gd name="T7" fmla="*/ 10 h 36"/>
                  <a:gd name="T8" fmla="*/ 3 w 32"/>
                  <a:gd name="T9" fmla="*/ 10 h 36"/>
                  <a:gd name="T10" fmla="*/ 4 w 32"/>
                  <a:gd name="T11" fmla="*/ 11 h 36"/>
                  <a:gd name="T12" fmla="*/ 4 w 32"/>
                  <a:gd name="T13" fmla="*/ 11 h 36"/>
                  <a:gd name="T14" fmla="*/ 11 w 32"/>
                  <a:gd name="T15" fmla="*/ 11 h 36"/>
                  <a:gd name="T16" fmla="*/ 11 w 32"/>
                  <a:gd name="T17" fmla="*/ 7 h 36"/>
                  <a:gd name="T18" fmla="*/ 11 w 32"/>
                  <a:gd name="T19" fmla="*/ 4 h 36"/>
                  <a:gd name="T20" fmla="*/ 10 w 32"/>
                  <a:gd name="T21" fmla="*/ 2 h 36"/>
                  <a:gd name="T22" fmla="*/ 9 w 32"/>
                  <a:gd name="T23" fmla="*/ 0 h 36"/>
                  <a:gd name="T24" fmla="*/ 7 w 32"/>
                  <a:gd name="T25" fmla="*/ 1 h 36"/>
                  <a:gd name="T26" fmla="*/ 4 w 32"/>
                  <a:gd name="T27" fmla="*/ 2 h 36"/>
                  <a:gd name="T28" fmla="*/ 2 w 32"/>
                  <a:gd name="T29" fmla="*/ 3 h 36"/>
                  <a:gd name="T30" fmla="*/ 1 w 32"/>
                  <a:gd name="T31" fmla="*/ 4 h 36"/>
                  <a:gd name="T32" fmla="*/ 0 w 32"/>
                  <a:gd name="T33" fmla="*/ 5 h 36"/>
                  <a:gd name="T34" fmla="*/ 0 w 32"/>
                  <a:gd name="T35" fmla="*/ 6 h 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32" h="36">
                    <a:moveTo>
                      <a:pt x="0" y="18"/>
                    </a:moveTo>
                    <a:lnTo>
                      <a:pt x="1" y="24"/>
                    </a:lnTo>
                    <a:lnTo>
                      <a:pt x="4" y="29"/>
                    </a:lnTo>
                    <a:lnTo>
                      <a:pt x="6" y="32"/>
                    </a:lnTo>
                    <a:lnTo>
                      <a:pt x="8" y="34"/>
                    </a:lnTo>
                    <a:lnTo>
                      <a:pt x="11" y="36"/>
                    </a:lnTo>
                    <a:lnTo>
                      <a:pt x="13" y="36"/>
                    </a:lnTo>
                    <a:lnTo>
                      <a:pt x="32" y="36"/>
                    </a:lnTo>
                    <a:lnTo>
                      <a:pt x="32" y="22"/>
                    </a:lnTo>
                    <a:lnTo>
                      <a:pt x="31" y="14"/>
                    </a:lnTo>
                    <a:lnTo>
                      <a:pt x="30" y="7"/>
                    </a:lnTo>
                    <a:lnTo>
                      <a:pt x="26" y="0"/>
                    </a:lnTo>
                    <a:lnTo>
                      <a:pt x="19" y="2"/>
                    </a:lnTo>
                    <a:lnTo>
                      <a:pt x="11" y="7"/>
                    </a:lnTo>
                    <a:lnTo>
                      <a:pt x="6" y="10"/>
                    </a:lnTo>
                    <a:lnTo>
                      <a:pt x="3" y="13"/>
                    </a:lnTo>
                    <a:lnTo>
                      <a:pt x="1" y="16"/>
                    </a:lnTo>
                    <a:lnTo>
                      <a:pt x="0"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9" name="Freeform 395">
                <a:extLst>
                  <a:ext uri="{FF2B5EF4-FFF2-40B4-BE49-F238E27FC236}">
                    <a16:creationId xmlns:a16="http://schemas.microsoft.com/office/drawing/2014/main" id="{E0932702-2B69-4273-A23F-BF1CC2934386}"/>
                  </a:ext>
                </a:extLst>
              </p:cNvPr>
              <p:cNvSpPr>
                <a:spLocks/>
              </p:cNvSpPr>
              <p:nvPr/>
            </p:nvSpPr>
            <p:spPr bwMode="auto">
              <a:xfrm>
                <a:off x="1279" y="1314"/>
                <a:ext cx="46" cy="17"/>
              </a:xfrm>
              <a:custGeom>
                <a:avLst/>
                <a:gdLst>
                  <a:gd name="T0" fmla="*/ 0 w 146"/>
                  <a:gd name="T1" fmla="*/ 14 h 52"/>
                  <a:gd name="T2" fmla="*/ 3 w 146"/>
                  <a:gd name="T3" fmla="*/ 15 h 52"/>
                  <a:gd name="T4" fmla="*/ 7 w 146"/>
                  <a:gd name="T5" fmla="*/ 16 h 52"/>
                  <a:gd name="T6" fmla="*/ 10 w 146"/>
                  <a:gd name="T7" fmla="*/ 17 h 52"/>
                  <a:gd name="T8" fmla="*/ 14 w 146"/>
                  <a:gd name="T9" fmla="*/ 17 h 52"/>
                  <a:gd name="T10" fmla="*/ 20 w 146"/>
                  <a:gd name="T11" fmla="*/ 17 h 52"/>
                  <a:gd name="T12" fmla="*/ 26 w 146"/>
                  <a:gd name="T13" fmla="*/ 17 h 52"/>
                  <a:gd name="T14" fmla="*/ 37 w 146"/>
                  <a:gd name="T15" fmla="*/ 15 h 52"/>
                  <a:gd name="T16" fmla="*/ 46 w 146"/>
                  <a:gd name="T17" fmla="*/ 14 h 52"/>
                  <a:gd name="T18" fmla="*/ 45 w 146"/>
                  <a:gd name="T19" fmla="*/ 12 h 52"/>
                  <a:gd name="T20" fmla="*/ 45 w 146"/>
                  <a:gd name="T21" fmla="*/ 10 h 52"/>
                  <a:gd name="T22" fmla="*/ 44 w 146"/>
                  <a:gd name="T23" fmla="*/ 8 h 52"/>
                  <a:gd name="T24" fmla="*/ 43 w 146"/>
                  <a:gd name="T25" fmla="*/ 6 h 52"/>
                  <a:gd name="T26" fmla="*/ 42 w 146"/>
                  <a:gd name="T27" fmla="*/ 5 h 52"/>
                  <a:gd name="T28" fmla="*/ 41 w 146"/>
                  <a:gd name="T29" fmla="*/ 4 h 52"/>
                  <a:gd name="T30" fmla="*/ 39 w 146"/>
                  <a:gd name="T31" fmla="*/ 3 h 52"/>
                  <a:gd name="T32" fmla="*/ 38 w 146"/>
                  <a:gd name="T33" fmla="*/ 2 h 52"/>
                  <a:gd name="T34" fmla="*/ 35 w 146"/>
                  <a:gd name="T35" fmla="*/ 1 h 52"/>
                  <a:gd name="T36" fmla="*/ 32 w 146"/>
                  <a:gd name="T37" fmla="*/ 0 h 52"/>
                  <a:gd name="T38" fmla="*/ 28 w 146"/>
                  <a:gd name="T39" fmla="*/ 0 h 52"/>
                  <a:gd name="T40" fmla="*/ 25 w 146"/>
                  <a:gd name="T41" fmla="*/ 1 h 52"/>
                  <a:gd name="T42" fmla="*/ 21 w 146"/>
                  <a:gd name="T43" fmla="*/ 2 h 52"/>
                  <a:gd name="T44" fmla="*/ 17 w 146"/>
                  <a:gd name="T45" fmla="*/ 3 h 52"/>
                  <a:gd name="T46" fmla="*/ 14 w 146"/>
                  <a:gd name="T47" fmla="*/ 5 h 52"/>
                  <a:gd name="T48" fmla="*/ 10 w 146"/>
                  <a:gd name="T49" fmla="*/ 6 h 52"/>
                  <a:gd name="T50" fmla="*/ 7 w 146"/>
                  <a:gd name="T51" fmla="*/ 8 h 52"/>
                  <a:gd name="T52" fmla="*/ 4 w 146"/>
                  <a:gd name="T53" fmla="*/ 10 h 52"/>
                  <a:gd name="T54" fmla="*/ 2 w 146"/>
                  <a:gd name="T55" fmla="*/ 12 h 52"/>
                  <a:gd name="T56" fmla="*/ 0 w 146"/>
                  <a:gd name="T57" fmla="*/ 14 h 5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146" h="52">
                    <a:moveTo>
                      <a:pt x="0" y="43"/>
                    </a:moveTo>
                    <a:lnTo>
                      <a:pt x="11" y="46"/>
                    </a:lnTo>
                    <a:lnTo>
                      <a:pt x="22" y="48"/>
                    </a:lnTo>
                    <a:lnTo>
                      <a:pt x="33" y="51"/>
                    </a:lnTo>
                    <a:lnTo>
                      <a:pt x="43" y="52"/>
                    </a:lnTo>
                    <a:lnTo>
                      <a:pt x="63" y="52"/>
                    </a:lnTo>
                    <a:lnTo>
                      <a:pt x="82" y="51"/>
                    </a:lnTo>
                    <a:lnTo>
                      <a:pt x="117" y="46"/>
                    </a:lnTo>
                    <a:lnTo>
                      <a:pt x="146" y="43"/>
                    </a:lnTo>
                    <a:lnTo>
                      <a:pt x="144" y="36"/>
                    </a:lnTo>
                    <a:lnTo>
                      <a:pt x="142" y="30"/>
                    </a:lnTo>
                    <a:lnTo>
                      <a:pt x="139" y="24"/>
                    </a:lnTo>
                    <a:lnTo>
                      <a:pt x="137" y="19"/>
                    </a:lnTo>
                    <a:lnTo>
                      <a:pt x="134" y="15"/>
                    </a:lnTo>
                    <a:lnTo>
                      <a:pt x="129" y="11"/>
                    </a:lnTo>
                    <a:lnTo>
                      <a:pt x="125" y="8"/>
                    </a:lnTo>
                    <a:lnTo>
                      <a:pt x="121" y="6"/>
                    </a:lnTo>
                    <a:lnTo>
                      <a:pt x="111" y="2"/>
                    </a:lnTo>
                    <a:lnTo>
                      <a:pt x="101" y="0"/>
                    </a:lnTo>
                    <a:lnTo>
                      <a:pt x="89" y="1"/>
                    </a:lnTo>
                    <a:lnTo>
                      <a:pt x="78" y="2"/>
                    </a:lnTo>
                    <a:lnTo>
                      <a:pt x="66" y="5"/>
                    </a:lnTo>
                    <a:lnTo>
                      <a:pt x="54" y="9"/>
                    </a:lnTo>
                    <a:lnTo>
                      <a:pt x="43" y="14"/>
                    </a:lnTo>
                    <a:lnTo>
                      <a:pt x="32" y="19"/>
                    </a:lnTo>
                    <a:lnTo>
                      <a:pt x="22" y="25"/>
                    </a:lnTo>
                    <a:lnTo>
                      <a:pt x="13" y="31"/>
                    </a:lnTo>
                    <a:lnTo>
                      <a:pt x="5" y="37"/>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0" name="Freeform 396">
                <a:extLst>
                  <a:ext uri="{FF2B5EF4-FFF2-40B4-BE49-F238E27FC236}">
                    <a16:creationId xmlns:a16="http://schemas.microsoft.com/office/drawing/2014/main" id="{9BCE41DF-C226-47F2-A1B7-D5E80CA32A5E}"/>
                  </a:ext>
                </a:extLst>
              </p:cNvPr>
              <p:cNvSpPr>
                <a:spLocks/>
              </p:cNvSpPr>
              <p:nvPr/>
            </p:nvSpPr>
            <p:spPr bwMode="auto">
              <a:xfrm>
                <a:off x="1261" y="1252"/>
                <a:ext cx="20" cy="10"/>
              </a:xfrm>
              <a:custGeom>
                <a:avLst/>
                <a:gdLst>
                  <a:gd name="T0" fmla="*/ 20 w 60"/>
                  <a:gd name="T1" fmla="*/ 0 h 31"/>
                  <a:gd name="T2" fmla="*/ 16 w 60"/>
                  <a:gd name="T3" fmla="*/ 0 h 31"/>
                  <a:gd name="T4" fmla="*/ 13 w 60"/>
                  <a:gd name="T5" fmla="*/ 0 h 31"/>
                  <a:gd name="T6" fmla="*/ 10 w 60"/>
                  <a:gd name="T7" fmla="*/ 0 h 31"/>
                  <a:gd name="T8" fmla="*/ 9 w 60"/>
                  <a:gd name="T9" fmla="*/ 0 h 31"/>
                  <a:gd name="T10" fmla="*/ 6 w 60"/>
                  <a:gd name="T11" fmla="*/ 0 h 31"/>
                  <a:gd name="T12" fmla="*/ 3 w 60"/>
                  <a:gd name="T13" fmla="*/ 1 h 31"/>
                  <a:gd name="T14" fmla="*/ 2 w 60"/>
                  <a:gd name="T15" fmla="*/ 1 h 31"/>
                  <a:gd name="T16" fmla="*/ 1 w 60"/>
                  <a:gd name="T17" fmla="*/ 2 h 31"/>
                  <a:gd name="T18" fmla="*/ 0 w 60"/>
                  <a:gd name="T19" fmla="*/ 3 h 31"/>
                  <a:gd name="T20" fmla="*/ 0 w 60"/>
                  <a:gd name="T21" fmla="*/ 4 h 31"/>
                  <a:gd name="T22" fmla="*/ 0 w 60"/>
                  <a:gd name="T23" fmla="*/ 5 h 31"/>
                  <a:gd name="T24" fmla="*/ 1 w 60"/>
                  <a:gd name="T25" fmla="*/ 6 h 31"/>
                  <a:gd name="T26" fmla="*/ 2 w 60"/>
                  <a:gd name="T27" fmla="*/ 7 h 31"/>
                  <a:gd name="T28" fmla="*/ 3 w 60"/>
                  <a:gd name="T29" fmla="*/ 8 h 31"/>
                  <a:gd name="T30" fmla="*/ 4 w 60"/>
                  <a:gd name="T31" fmla="*/ 9 h 31"/>
                  <a:gd name="T32" fmla="*/ 6 w 60"/>
                  <a:gd name="T33" fmla="*/ 9 h 31"/>
                  <a:gd name="T34" fmla="*/ 7 w 60"/>
                  <a:gd name="T35" fmla="*/ 10 h 31"/>
                  <a:gd name="T36" fmla="*/ 9 w 60"/>
                  <a:gd name="T37" fmla="*/ 10 h 31"/>
                  <a:gd name="T38" fmla="*/ 11 w 60"/>
                  <a:gd name="T39" fmla="*/ 10 h 31"/>
                  <a:gd name="T40" fmla="*/ 12 w 60"/>
                  <a:gd name="T41" fmla="*/ 9 h 31"/>
                  <a:gd name="T42" fmla="*/ 14 w 60"/>
                  <a:gd name="T43" fmla="*/ 8 h 31"/>
                  <a:gd name="T44" fmla="*/ 16 w 60"/>
                  <a:gd name="T45" fmla="*/ 6 h 31"/>
                  <a:gd name="T46" fmla="*/ 19 w 60"/>
                  <a:gd name="T47" fmla="*/ 3 h 31"/>
                  <a:gd name="T48" fmla="*/ 20 w 60"/>
                  <a:gd name="T49" fmla="*/ 2 h 31"/>
                  <a:gd name="T50" fmla="*/ 20 w 60"/>
                  <a:gd name="T51" fmla="*/ 0 h 3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60" h="31">
                    <a:moveTo>
                      <a:pt x="60" y="0"/>
                    </a:moveTo>
                    <a:lnTo>
                      <a:pt x="49" y="0"/>
                    </a:lnTo>
                    <a:lnTo>
                      <a:pt x="38" y="0"/>
                    </a:lnTo>
                    <a:lnTo>
                      <a:pt x="31" y="0"/>
                    </a:lnTo>
                    <a:lnTo>
                      <a:pt x="27" y="0"/>
                    </a:lnTo>
                    <a:lnTo>
                      <a:pt x="18" y="0"/>
                    </a:lnTo>
                    <a:lnTo>
                      <a:pt x="9" y="2"/>
                    </a:lnTo>
                    <a:lnTo>
                      <a:pt x="5" y="3"/>
                    </a:lnTo>
                    <a:lnTo>
                      <a:pt x="2" y="5"/>
                    </a:lnTo>
                    <a:lnTo>
                      <a:pt x="1" y="8"/>
                    </a:lnTo>
                    <a:lnTo>
                      <a:pt x="0" y="12"/>
                    </a:lnTo>
                    <a:lnTo>
                      <a:pt x="1" y="15"/>
                    </a:lnTo>
                    <a:lnTo>
                      <a:pt x="2" y="18"/>
                    </a:lnTo>
                    <a:lnTo>
                      <a:pt x="5" y="22"/>
                    </a:lnTo>
                    <a:lnTo>
                      <a:pt x="9" y="24"/>
                    </a:lnTo>
                    <a:lnTo>
                      <a:pt x="12" y="27"/>
                    </a:lnTo>
                    <a:lnTo>
                      <a:pt x="18" y="29"/>
                    </a:lnTo>
                    <a:lnTo>
                      <a:pt x="22" y="31"/>
                    </a:lnTo>
                    <a:lnTo>
                      <a:pt x="27" y="31"/>
                    </a:lnTo>
                    <a:lnTo>
                      <a:pt x="32" y="30"/>
                    </a:lnTo>
                    <a:lnTo>
                      <a:pt x="37" y="28"/>
                    </a:lnTo>
                    <a:lnTo>
                      <a:pt x="43" y="24"/>
                    </a:lnTo>
                    <a:lnTo>
                      <a:pt x="48" y="18"/>
                    </a:lnTo>
                    <a:lnTo>
                      <a:pt x="57" y="10"/>
                    </a:lnTo>
                    <a:lnTo>
                      <a:pt x="60" y="6"/>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1" name="Freeform 397">
                <a:extLst>
                  <a:ext uri="{FF2B5EF4-FFF2-40B4-BE49-F238E27FC236}">
                    <a16:creationId xmlns:a16="http://schemas.microsoft.com/office/drawing/2014/main" id="{8523D374-0446-4F5C-B11B-97FAA4BC287A}"/>
                  </a:ext>
                </a:extLst>
              </p:cNvPr>
              <p:cNvSpPr>
                <a:spLocks/>
              </p:cNvSpPr>
              <p:nvPr/>
            </p:nvSpPr>
            <p:spPr bwMode="auto">
              <a:xfrm>
                <a:off x="1730" y="1713"/>
                <a:ext cx="26" cy="20"/>
              </a:xfrm>
              <a:custGeom>
                <a:avLst/>
                <a:gdLst>
                  <a:gd name="T0" fmla="*/ 0 w 80"/>
                  <a:gd name="T1" fmla="*/ 14 h 62"/>
                  <a:gd name="T2" fmla="*/ 0 w 80"/>
                  <a:gd name="T3" fmla="*/ 15 h 62"/>
                  <a:gd name="T4" fmla="*/ 0 w 80"/>
                  <a:gd name="T5" fmla="*/ 16 h 62"/>
                  <a:gd name="T6" fmla="*/ 1 w 80"/>
                  <a:gd name="T7" fmla="*/ 16 h 62"/>
                  <a:gd name="T8" fmla="*/ 1 w 80"/>
                  <a:gd name="T9" fmla="*/ 17 h 62"/>
                  <a:gd name="T10" fmla="*/ 3 w 80"/>
                  <a:gd name="T11" fmla="*/ 18 h 62"/>
                  <a:gd name="T12" fmla="*/ 5 w 80"/>
                  <a:gd name="T13" fmla="*/ 19 h 62"/>
                  <a:gd name="T14" fmla="*/ 9 w 80"/>
                  <a:gd name="T15" fmla="*/ 20 h 62"/>
                  <a:gd name="T16" fmla="*/ 13 w 80"/>
                  <a:gd name="T17" fmla="*/ 20 h 62"/>
                  <a:gd name="T18" fmla="*/ 15 w 80"/>
                  <a:gd name="T19" fmla="*/ 20 h 62"/>
                  <a:gd name="T20" fmla="*/ 16 w 80"/>
                  <a:gd name="T21" fmla="*/ 19 h 62"/>
                  <a:gd name="T22" fmla="*/ 18 w 80"/>
                  <a:gd name="T23" fmla="*/ 18 h 62"/>
                  <a:gd name="T24" fmla="*/ 19 w 80"/>
                  <a:gd name="T25" fmla="*/ 17 h 62"/>
                  <a:gd name="T26" fmla="*/ 21 w 80"/>
                  <a:gd name="T27" fmla="*/ 15 h 62"/>
                  <a:gd name="T28" fmla="*/ 23 w 80"/>
                  <a:gd name="T29" fmla="*/ 12 h 62"/>
                  <a:gd name="T30" fmla="*/ 24 w 80"/>
                  <a:gd name="T31" fmla="*/ 9 h 62"/>
                  <a:gd name="T32" fmla="*/ 25 w 80"/>
                  <a:gd name="T33" fmla="*/ 6 h 62"/>
                  <a:gd name="T34" fmla="*/ 26 w 80"/>
                  <a:gd name="T35" fmla="*/ 3 h 62"/>
                  <a:gd name="T36" fmla="*/ 26 w 80"/>
                  <a:gd name="T37" fmla="*/ 0 h 62"/>
                  <a:gd name="T38" fmla="*/ 23 w 80"/>
                  <a:gd name="T39" fmla="*/ 0 h 62"/>
                  <a:gd name="T40" fmla="*/ 19 w 80"/>
                  <a:gd name="T41" fmla="*/ 1 h 62"/>
                  <a:gd name="T42" fmla="*/ 15 w 80"/>
                  <a:gd name="T43" fmla="*/ 3 h 62"/>
                  <a:gd name="T44" fmla="*/ 11 w 80"/>
                  <a:gd name="T45" fmla="*/ 4 h 62"/>
                  <a:gd name="T46" fmla="*/ 7 w 80"/>
                  <a:gd name="T47" fmla="*/ 6 h 62"/>
                  <a:gd name="T48" fmla="*/ 3 w 80"/>
                  <a:gd name="T49" fmla="*/ 8 h 62"/>
                  <a:gd name="T50" fmla="*/ 2 w 80"/>
                  <a:gd name="T51" fmla="*/ 10 h 62"/>
                  <a:gd name="T52" fmla="*/ 1 w 80"/>
                  <a:gd name="T53" fmla="*/ 11 h 62"/>
                  <a:gd name="T54" fmla="*/ 0 w 80"/>
                  <a:gd name="T55" fmla="*/ 13 h 62"/>
                  <a:gd name="T56" fmla="*/ 0 w 80"/>
                  <a:gd name="T57" fmla="*/ 14 h 6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80" h="62">
                    <a:moveTo>
                      <a:pt x="0" y="43"/>
                    </a:moveTo>
                    <a:lnTo>
                      <a:pt x="1" y="46"/>
                    </a:lnTo>
                    <a:lnTo>
                      <a:pt x="1" y="49"/>
                    </a:lnTo>
                    <a:lnTo>
                      <a:pt x="3" y="51"/>
                    </a:lnTo>
                    <a:lnTo>
                      <a:pt x="4" y="53"/>
                    </a:lnTo>
                    <a:lnTo>
                      <a:pt x="10" y="57"/>
                    </a:lnTo>
                    <a:lnTo>
                      <a:pt x="15" y="59"/>
                    </a:lnTo>
                    <a:lnTo>
                      <a:pt x="28" y="62"/>
                    </a:lnTo>
                    <a:lnTo>
                      <a:pt x="40" y="62"/>
                    </a:lnTo>
                    <a:lnTo>
                      <a:pt x="45" y="62"/>
                    </a:lnTo>
                    <a:lnTo>
                      <a:pt x="49" y="59"/>
                    </a:lnTo>
                    <a:lnTo>
                      <a:pt x="54" y="57"/>
                    </a:lnTo>
                    <a:lnTo>
                      <a:pt x="58" y="54"/>
                    </a:lnTo>
                    <a:lnTo>
                      <a:pt x="65" y="47"/>
                    </a:lnTo>
                    <a:lnTo>
                      <a:pt x="70" y="38"/>
                    </a:lnTo>
                    <a:lnTo>
                      <a:pt x="74" y="28"/>
                    </a:lnTo>
                    <a:lnTo>
                      <a:pt x="78" y="18"/>
                    </a:lnTo>
                    <a:lnTo>
                      <a:pt x="79" y="8"/>
                    </a:lnTo>
                    <a:lnTo>
                      <a:pt x="80" y="0"/>
                    </a:lnTo>
                    <a:lnTo>
                      <a:pt x="71" y="0"/>
                    </a:lnTo>
                    <a:lnTo>
                      <a:pt x="59" y="3"/>
                    </a:lnTo>
                    <a:lnTo>
                      <a:pt x="46" y="8"/>
                    </a:lnTo>
                    <a:lnTo>
                      <a:pt x="33" y="13"/>
                    </a:lnTo>
                    <a:lnTo>
                      <a:pt x="21" y="19"/>
                    </a:lnTo>
                    <a:lnTo>
                      <a:pt x="10" y="26"/>
                    </a:lnTo>
                    <a:lnTo>
                      <a:pt x="6" y="30"/>
                    </a:lnTo>
                    <a:lnTo>
                      <a:pt x="3" y="34"/>
                    </a:lnTo>
                    <a:lnTo>
                      <a:pt x="1" y="39"/>
                    </a:lnTo>
                    <a:lnTo>
                      <a:pt x="0" y="4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2" name="Freeform 398">
                <a:extLst>
                  <a:ext uri="{FF2B5EF4-FFF2-40B4-BE49-F238E27FC236}">
                    <a16:creationId xmlns:a16="http://schemas.microsoft.com/office/drawing/2014/main" id="{BAACD587-7D28-4734-AADD-D5DC30CEB270}"/>
                  </a:ext>
                </a:extLst>
              </p:cNvPr>
              <p:cNvSpPr>
                <a:spLocks/>
              </p:cNvSpPr>
              <p:nvPr/>
            </p:nvSpPr>
            <p:spPr bwMode="auto">
              <a:xfrm>
                <a:off x="1583" y="1674"/>
                <a:ext cx="33" cy="16"/>
              </a:xfrm>
              <a:custGeom>
                <a:avLst/>
                <a:gdLst>
                  <a:gd name="T0" fmla="*/ 25 w 106"/>
                  <a:gd name="T1" fmla="*/ 4 h 49"/>
                  <a:gd name="T2" fmla="*/ 22 w 106"/>
                  <a:gd name="T3" fmla="*/ 4 h 49"/>
                  <a:gd name="T4" fmla="*/ 21 w 106"/>
                  <a:gd name="T5" fmla="*/ 4 h 49"/>
                  <a:gd name="T6" fmla="*/ 18 w 106"/>
                  <a:gd name="T7" fmla="*/ 3 h 49"/>
                  <a:gd name="T8" fmla="*/ 17 w 106"/>
                  <a:gd name="T9" fmla="*/ 2 h 49"/>
                  <a:gd name="T10" fmla="*/ 15 w 106"/>
                  <a:gd name="T11" fmla="*/ 1 h 49"/>
                  <a:gd name="T12" fmla="*/ 13 w 106"/>
                  <a:gd name="T13" fmla="*/ 1 h 49"/>
                  <a:gd name="T14" fmla="*/ 11 w 106"/>
                  <a:gd name="T15" fmla="*/ 0 h 49"/>
                  <a:gd name="T16" fmla="*/ 8 w 106"/>
                  <a:gd name="T17" fmla="*/ 0 h 49"/>
                  <a:gd name="T18" fmla="*/ 5 w 106"/>
                  <a:gd name="T19" fmla="*/ 0 h 49"/>
                  <a:gd name="T20" fmla="*/ 0 w 106"/>
                  <a:gd name="T21" fmla="*/ 0 h 49"/>
                  <a:gd name="T22" fmla="*/ 3 w 106"/>
                  <a:gd name="T23" fmla="*/ 4 h 49"/>
                  <a:gd name="T24" fmla="*/ 5 w 106"/>
                  <a:gd name="T25" fmla="*/ 7 h 49"/>
                  <a:gd name="T26" fmla="*/ 8 w 106"/>
                  <a:gd name="T27" fmla="*/ 9 h 49"/>
                  <a:gd name="T28" fmla="*/ 11 w 106"/>
                  <a:gd name="T29" fmla="*/ 12 h 49"/>
                  <a:gd name="T30" fmla="*/ 13 w 106"/>
                  <a:gd name="T31" fmla="*/ 14 h 49"/>
                  <a:gd name="T32" fmla="*/ 16 w 106"/>
                  <a:gd name="T33" fmla="*/ 15 h 49"/>
                  <a:gd name="T34" fmla="*/ 19 w 106"/>
                  <a:gd name="T35" fmla="*/ 16 h 49"/>
                  <a:gd name="T36" fmla="*/ 22 w 106"/>
                  <a:gd name="T37" fmla="*/ 16 h 49"/>
                  <a:gd name="T38" fmla="*/ 25 w 106"/>
                  <a:gd name="T39" fmla="*/ 16 h 49"/>
                  <a:gd name="T40" fmla="*/ 27 w 106"/>
                  <a:gd name="T41" fmla="*/ 15 h 49"/>
                  <a:gd name="T42" fmla="*/ 30 w 106"/>
                  <a:gd name="T43" fmla="*/ 13 h 49"/>
                  <a:gd name="T44" fmla="*/ 33 w 106"/>
                  <a:gd name="T45" fmla="*/ 10 h 49"/>
                  <a:gd name="T46" fmla="*/ 31 w 106"/>
                  <a:gd name="T47" fmla="*/ 10 h 49"/>
                  <a:gd name="T48" fmla="*/ 31 w 106"/>
                  <a:gd name="T49" fmla="*/ 9 h 49"/>
                  <a:gd name="T50" fmla="*/ 29 w 106"/>
                  <a:gd name="T51" fmla="*/ 8 h 49"/>
                  <a:gd name="T52" fmla="*/ 28 w 106"/>
                  <a:gd name="T53" fmla="*/ 7 h 49"/>
                  <a:gd name="T54" fmla="*/ 27 w 106"/>
                  <a:gd name="T55" fmla="*/ 6 h 49"/>
                  <a:gd name="T56" fmla="*/ 26 w 106"/>
                  <a:gd name="T57" fmla="*/ 5 h 49"/>
                  <a:gd name="T58" fmla="*/ 26 w 106"/>
                  <a:gd name="T59" fmla="*/ 5 h 49"/>
                  <a:gd name="T60" fmla="*/ 25 w 106"/>
                  <a:gd name="T61" fmla="*/ 4 h 4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06" h="49">
                    <a:moveTo>
                      <a:pt x="80" y="13"/>
                    </a:moveTo>
                    <a:lnTo>
                      <a:pt x="72" y="12"/>
                    </a:lnTo>
                    <a:lnTo>
                      <a:pt x="66" y="11"/>
                    </a:lnTo>
                    <a:lnTo>
                      <a:pt x="59" y="8"/>
                    </a:lnTo>
                    <a:lnTo>
                      <a:pt x="53" y="6"/>
                    </a:lnTo>
                    <a:lnTo>
                      <a:pt x="47" y="4"/>
                    </a:lnTo>
                    <a:lnTo>
                      <a:pt x="41" y="2"/>
                    </a:lnTo>
                    <a:lnTo>
                      <a:pt x="34" y="0"/>
                    </a:lnTo>
                    <a:lnTo>
                      <a:pt x="26" y="0"/>
                    </a:lnTo>
                    <a:lnTo>
                      <a:pt x="15" y="0"/>
                    </a:lnTo>
                    <a:lnTo>
                      <a:pt x="0" y="0"/>
                    </a:lnTo>
                    <a:lnTo>
                      <a:pt x="9" y="11"/>
                    </a:lnTo>
                    <a:lnTo>
                      <a:pt x="17" y="21"/>
                    </a:lnTo>
                    <a:lnTo>
                      <a:pt x="26" y="29"/>
                    </a:lnTo>
                    <a:lnTo>
                      <a:pt x="34" y="36"/>
                    </a:lnTo>
                    <a:lnTo>
                      <a:pt x="42" y="42"/>
                    </a:lnTo>
                    <a:lnTo>
                      <a:pt x="52" y="46"/>
                    </a:lnTo>
                    <a:lnTo>
                      <a:pt x="61" y="48"/>
                    </a:lnTo>
                    <a:lnTo>
                      <a:pt x="72" y="49"/>
                    </a:lnTo>
                    <a:lnTo>
                      <a:pt x="79" y="48"/>
                    </a:lnTo>
                    <a:lnTo>
                      <a:pt x="87" y="45"/>
                    </a:lnTo>
                    <a:lnTo>
                      <a:pt x="97" y="39"/>
                    </a:lnTo>
                    <a:lnTo>
                      <a:pt x="106" y="31"/>
                    </a:lnTo>
                    <a:lnTo>
                      <a:pt x="101" y="30"/>
                    </a:lnTo>
                    <a:lnTo>
                      <a:pt x="98" y="28"/>
                    </a:lnTo>
                    <a:lnTo>
                      <a:pt x="93" y="25"/>
                    </a:lnTo>
                    <a:lnTo>
                      <a:pt x="90" y="22"/>
                    </a:lnTo>
                    <a:lnTo>
                      <a:pt x="88" y="19"/>
                    </a:lnTo>
                    <a:lnTo>
                      <a:pt x="84" y="16"/>
                    </a:lnTo>
                    <a:lnTo>
                      <a:pt x="82" y="14"/>
                    </a:lnTo>
                    <a:lnTo>
                      <a:pt x="8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3" name="Freeform 399">
                <a:extLst>
                  <a:ext uri="{FF2B5EF4-FFF2-40B4-BE49-F238E27FC236}">
                    <a16:creationId xmlns:a16="http://schemas.microsoft.com/office/drawing/2014/main" id="{ED87BBC3-0488-4BE6-AFC9-B35F634775D9}"/>
                  </a:ext>
                </a:extLst>
              </p:cNvPr>
              <p:cNvSpPr>
                <a:spLocks/>
              </p:cNvSpPr>
              <p:nvPr/>
            </p:nvSpPr>
            <p:spPr bwMode="auto">
              <a:xfrm>
                <a:off x="1599" y="1713"/>
                <a:ext cx="15" cy="7"/>
              </a:xfrm>
              <a:custGeom>
                <a:avLst/>
                <a:gdLst>
                  <a:gd name="T0" fmla="*/ 0 w 47"/>
                  <a:gd name="T1" fmla="*/ 6 h 22"/>
                  <a:gd name="T2" fmla="*/ 2 w 47"/>
                  <a:gd name="T3" fmla="*/ 7 h 22"/>
                  <a:gd name="T4" fmla="*/ 4 w 47"/>
                  <a:gd name="T5" fmla="*/ 7 h 22"/>
                  <a:gd name="T6" fmla="*/ 6 w 47"/>
                  <a:gd name="T7" fmla="*/ 7 h 22"/>
                  <a:gd name="T8" fmla="*/ 8 w 47"/>
                  <a:gd name="T9" fmla="*/ 7 h 22"/>
                  <a:gd name="T10" fmla="*/ 11 w 47"/>
                  <a:gd name="T11" fmla="*/ 6 h 22"/>
                  <a:gd name="T12" fmla="*/ 12 w 47"/>
                  <a:gd name="T13" fmla="*/ 5 h 22"/>
                  <a:gd name="T14" fmla="*/ 13 w 47"/>
                  <a:gd name="T15" fmla="*/ 4 h 22"/>
                  <a:gd name="T16" fmla="*/ 14 w 47"/>
                  <a:gd name="T17" fmla="*/ 3 h 22"/>
                  <a:gd name="T18" fmla="*/ 14 w 47"/>
                  <a:gd name="T19" fmla="*/ 2 h 22"/>
                  <a:gd name="T20" fmla="*/ 15 w 47"/>
                  <a:gd name="T21" fmla="*/ 0 h 22"/>
                  <a:gd name="T22" fmla="*/ 0 w 47"/>
                  <a:gd name="T23" fmla="*/ 6 h 2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7" h="22">
                    <a:moveTo>
                      <a:pt x="0" y="19"/>
                    </a:moveTo>
                    <a:lnTo>
                      <a:pt x="5" y="21"/>
                    </a:lnTo>
                    <a:lnTo>
                      <a:pt x="12" y="22"/>
                    </a:lnTo>
                    <a:lnTo>
                      <a:pt x="18" y="22"/>
                    </a:lnTo>
                    <a:lnTo>
                      <a:pt x="26" y="21"/>
                    </a:lnTo>
                    <a:lnTo>
                      <a:pt x="33" y="19"/>
                    </a:lnTo>
                    <a:lnTo>
                      <a:pt x="38" y="15"/>
                    </a:lnTo>
                    <a:lnTo>
                      <a:pt x="41" y="12"/>
                    </a:lnTo>
                    <a:lnTo>
                      <a:pt x="44" y="9"/>
                    </a:lnTo>
                    <a:lnTo>
                      <a:pt x="45" y="5"/>
                    </a:lnTo>
                    <a:lnTo>
                      <a:pt x="47" y="0"/>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4" name="Freeform 400">
                <a:extLst>
                  <a:ext uri="{FF2B5EF4-FFF2-40B4-BE49-F238E27FC236}">
                    <a16:creationId xmlns:a16="http://schemas.microsoft.com/office/drawing/2014/main" id="{BD55158D-A2D8-4EA3-B287-38CFBD1D73F8}"/>
                  </a:ext>
                </a:extLst>
              </p:cNvPr>
              <p:cNvSpPr>
                <a:spLocks/>
              </p:cNvSpPr>
              <p:nvPr/>
            </p:nvSpPr>
            <p:spPr bwMode="auto">
              <a:xfrm>
                <a:off x="1608" y="1742"/>
                <a:ext cx="17" cy="11"/>
              </a:xfrm>
              <a:custGeom>
                <a:avLst/>
                <a:gdLst>
                  <a:gd name="T0" fmla="*/ 17 w 53"/>
                  <a:gd name="T1" fmla="*/ 0 h 32"/>
                  <a:gd name="T2" fmla="*/ 12 w 53"/>
                  <a:gd name="T3" fmla="*/ 3 h 32"/>
                  <a:gd name="T4" fmla="*/ 7 w 53"/>
                  <a:gd name="T5" fmla="*/ 6 h 32"/>
                  <a:gd name="T6" fmla="*/ 4 w 53"/>
                  <a:gd name="T7" fmla="*/ 9 h 32"/>
                  <a:gd name="T8" fmla="*/ 0 w 53"/>
                  <a:gd name="T9" fmla="*/ 11 h 32"/>
                  <a:gd name="T10" fmla="*/ 4 w 53"/>
                  <a:gd name="T11" fmla="*/ 11 h 32"/>
                  <a:gd name="T12" fmla="*/ 8 w 53"/>
                  <a:gd name="T13" fmla="*/ 11 h 32"/>
                  <a:gd name="T14" fmla="*/ 13 w 53"/>
                  <a:gd name="T15" fmla="*/ 11 h 32"/>
                  <a:gd name="T16" fmla="*/ 17 w 53"/>
                  <a:gd name="T17" fmla="*/ 11 h 32"/>
                  <a:gd name="T18" fmla="*/ 17 w 53"/>
                  <a:gd name="T19" fmla="*/ 8 h 32"/>
                  <a:gd name="T20" fmla="*/ 17 w 53"/>
                  <a:gd name="T21" fmla="*/ 6 h 32"/>
                  <a:gd name="T22" fmla="*/ 17 w 53"/>
                  <a:gd name="T23" fmla="*/ 3 h 32"/>
                  <a:gd name="T24" fmla="*/ 17 w 53"/>
                  <a:gd name="T25" fmla="*/ 0 h 3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32">
                    <a:moveTo>
                      <a:pt x="53" y="0"/>
                    </a:moveTo>
                    <a:lnTo>
                      <a:pt x="37" y="9"/>
                    </a:lnTo>
                    <a:lnTo>
                      <a:pt x="23" y="18"/>
                    </a:lnTo>
                    <a:lnTo>
                      <a:pt x="11" y="26"/>
                    </a:lnTo>
                    <a:lnTo>
                      <a:pt x="0" y="32"/>
                    </a:lnTo>
                    <a:lnTo>
                      <a:pt x="13" y="32"/>
                    </a:lnTo>
                    <a:lnTo>
                      <a:pt x="26" y="32"/>
                    </a:lnTo>
                    <a:lnTo>
                      <a:pt x="39" y="32"/>
                    </a:lnTo>
                    <a:lnTo>
                      <a:pt x="53" y="32"/>
                    </a:lnTo>
                    <a:lnTo>
                      <a:pt x="53" y="24"/>
                    </a:lnTo>
                    <a:lnTo>
                      <a:pt x="53" y="16"/>
                    </a:lnTo>
                    <a:lnTo>
                      <a:pt x="53" y="9"/>
                    </a:lnTo>
                    <a:lnTo>
                      <a:pt x="5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5" name="Freeform 401">
                <a:extLst>
                  <a:ext uri="{FF2B5EF4-FFF2-40B4-BE49-F238E27FC236}">
                    <a16:creationId xmlns:a16="http://schemas.microsoft.com/office/drawing/2014/main" id="{26534631-CCC9-4F05-8AFF-49D93EEA0520}"/>
                  </a:ext>
                </a:extLst>
              </p:cNvPr>
              <p:cNvSpPr>
                <a:spLocks/>
              </p:cNvSpPr>
              <p:nvPr/>
            </p:nvSpPr>
            <p:spPr bwMode="auto">
              <a:xfrm>
                <a:off x="1450" y="1438"/>
                <a:ext cx="14" cy="12"/>
              </a:xfrm>
              <a:custGeom>
                <a:avLst/>
                <a:gdLst>
                  <a:gd name="T0" fmla="*/ 8 w 46"/>
                  <a:gd name="T1" fmla="*/ 1 h 34"/>
                  <a:gd name="T2" fmla="*/ 0 w 46"/>
                  <a:gd name="T3" fmla="*/ 6 h 34"/>
                  <a:gd name="T4" fmla="*/ 0 w 46"/>
                  <a:gd name="T5" fmla="*/ 12 h 34"/>
                  <a:gd name="T6" fmla="*/ 8 w 46"/>
                  <a:gd name="T7" fmla="*/ 12 h 34"/>
                  <a:gd name="T8" fmla="*/ 9 w 46"/>
                  <a:gd name="T9" fmla="*/ 11 h 34"/>
                  <a:gd name="T10" fmla="*/ 11 w 46"/>
                  <a:gd name="T11" fmla="*/ 10 h 34"/>
                  <a:gd name="T12" fmla="*/ 12 w 46"/>
                  <a:gd name="T13" fmla="*/ 9 h 34"/>
                  <a:gd name="T14" fmla="*/ 13 w 46"/>
                  <a:gd name="T15" fmla="*/ 7 h 34"/>
                  <a:gd name="T16" fmla="*/ 13 w 46"/>
                  <a:gd name="T17" fmla="*/ 6 h 34"/>
                  <a:gd name="T18" fmla="*/ 14 w 46"/>
                  <a:gd name="T19" fmla="*/ 5 h 34"/>
                  <a:gd name="T20" fmla="*/ 14 w 46"/>
                  <a:gd name="T21" fmla="*/ 3 h 34"/>
                  <a:gd name="T22" fmla="*/ 14 w 46"/>
                  <a:gd name="T23" fmla="*/ 1 h 34"/>
                  <a:gd name="T24" fmla="*/ 14 w 46"/>
                  <a:gd name="T25" fmla="*/ 0 h 34"/>
                  <a:gd name="T26" fmla="*/ 13 w 46"/>
                  <a:gd name="T27" fmla="*/ 0 h 34"/>
                  <a:gd name="T28" fmla="*/ 13 w 46"/>
                  <a:gd name="T29" fmla="*/ 0 h 34"/>
                  <a:gd name="T30" fmla="*/ 12 w 46"/>
                  <a:gd name="T31" fmla="*/ 0 h 34"/>
                  <a:gd name="T32" fmla="*/ 10 w 46"/>
                  <a:gd name="T33" fmla="*/ 1 h 34"/>
                  <a:gd name="T34" fmla="*/ 8 w 46"/>
                  <a:gd name="T35" fmla="*/ 1 h 3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46" h="34">
                    <a:moveTo>
                      <a:pt x="27" y="3"/>
                    </a:moveTo>
                    <a:lnTo>
                      <a:pt x="0" y="16"/>
                    </a:lnTo>
                    <a:lnTo>
                      <a:pt x="0" y="34"/>
                    </a:lnTo>
                    <a:lnTo>
                      <a:pt x="27" y="34"/>
                    </a:lnTo>
                    <a:lnTo>
                      <a:pt x="31" y="32"/>
                    </a:lnTo>
                    <a:lnTo>
                      <a:pt x="35" y="28"/>
                    </a:lnTo>
                    <a:lnTo>
                      <a:pt x="39" y="25"/>
                    </a:lnTo>
                    <a:lnTo>
                      <a:pt x="42" y="21"/>
                    </a:lnTo>
                    <a:lnTo>
                      <a:pt x="44" y="17"/>
                    </a:lnTo>
                    <a:lnTo>
                      <a:pt x="45" y="13"/>
                    </a:lnTo>
                    <a:lnTo>
                      <a:pt x="46" y="8"/>
                    </a:lnTo>
                    <a:lnTo>
                      <a:pt x="46" y="3"/>
                    </a:lnTo>
                    <a:lnTo>
                      <a:pt x="46" y="1"/>
                    </a:lnTo>
                    <a:lnTo>
                      <a:pt x="44" y="0"/>
                    </a:lnTo>
                    <a:lnTo>
                      <a:pt x="42" y="0"/>
                    </a:lnTo>
                    <a:lnTo>
                      <a:pt x="39" y="0"/>
                    </a:lnTo>
                    <a:lnTo>
                      <a:pt x="32" y="2"/>
                    </a:lnTo>
                    <a:lnTo>
                      <a:pt x="27"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6" name="Freeform 402">
                <a:extLst>
                  <a:ext uri="{FF2B5EF4-FFF2-40B4-BE49-F238E27FC236}">
                    <a16:creationId xmlns:a16="http://schemas.microsoft.com/office/drawing/2014/main" id="{895E0760-0DF5-4976-AC75-704303FAA940}"/>
                  </a:ext>
                </a:extLst>
              </p:cNvPr>
              <p:cNvSpPr>
                <a:spLocks/>
              </p:cNvSpPr>
              <p:nvPr/>
            </p:nvSpPr>
            <p:spPr bwMode="auto">
              <a:xfrm>
                <a:off x="1305" y="1224"/>
                <a:ext cx="16" cy="8"/>
              </a:xfrm>
              <a:custGeom>
                <a:avLst/>
                <a:gdLst>
                  <a:gd name="T0" fmla="*/ 0 w 48"/>
                  <a:gd name="T1" fmla="*/ 8 h 25"/>
                  <a:gd name="T2" fmla="*/ 5 w 48"/>
                  <a:gd name="T3" fmla="*/ 8 h 25"/>
                  <a:gd name="T4" fmla="*/ 9 w 48"/>
                  <a:gd name="T5" fmla="*/ 8 h 25"/>
                  <a:gd name="T6" fmla="*/ 10 w 48"/>
                  <a:gd name="T7" fmla="*/ 8 h 25"/>
                  <a:gd name="T8" fmla="*/ 11 w 48"/>
                  <a:gd name="T9" fmla="*/ 7 h 25"/>
                  <a:gd name="T10" fmla="*/ 12 w 48"/>
                  <a:gd name="T11" fmla="*/ 6 h 25"/>
                  <a:gd name="T12" fmla="*/ 13 w 48"/>
                  <a:gd name="T13" fmla="*/ 5 h 25"/>
                  <a:gd name="T14" fmla="*/ 15 w 48"/>
                  <a:gd name="T15" fmla="*/ 2 h 25"/>
                  <a:gd name="T16" fmla="*/ 16 w 48"/>
                  <a:gd name="T17" fmla="*/ 0 h 25"/>
                  <a:gd name="T18" fmla="*/ 13 w 48"/>
                  <a:gd name="T19" fmla="*/ 0 h 25"/>
                  <a:gd name="T20" fmla="*/ 11 w 48"/>
                  <a:gd name="T21" fmla="*/ 1 h 25"/>
                  <a:gd name="T22" fmla="*/ 9 w 48"/>
                  <a:gd name="T23" fmla="*/ 2 h 25"/>
                  <a:gd name="T24" fmla="*/ 7 w 48"/>
                  <a:gd name="T25" fmla="*/ 3 h 25"/>
                  <a:gd name="T26" fmla="*/ 4 w 48"/>
                  <a:gd name="T27" fmla="*/ 5 h 25"/>
                  <a:gd name="T28" fmla="*/ 0 w 48"/>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25">
                    <a:moveTo>
                      <a:pt x="0" y="25"/>
                    </a:moveTo>
                    <a:lnTo>
                      <a:pt x="14" y="25"/>
                    </a:lnTo>
                    <a:lnTo>
                      <a:pt x="28" y="25"/>
                    </a:lnTo>
                    <a:lnTo>
                      <a:pt x="30" y="24"/>
                    </a:lnTo>
                    <a:lnTo>
                      <a:pt x="33" y="22"/>
                    </a:lnTo>
                    <a:lnTo>
                      <a:pt x="37" y="18"/>
                    </a:lnTo>
                    <a:lnTo>
                      <a:pt x="40" y="15"/>
                    </a:lnTo>
                    <a:lnTo>
                      <a:pt x="45" y="7"/>
                    </a:lnTo>
                    <a:lnTo>
                      <a:pt x="48" y="0"/>
                    </a:lnTo>
                    <a:lnTo>
                      <a:pt x="40" y="1"/>
                    </a:lnTo>
                    <a:lnTo>
                      <a:pt x="33" y="2"/>
                    </a:lnTo>
                    <a:lnTo>
                      <a:pt x="28" y="5"/>
                    </a:lnTo>
                    <a:lnTo>
                      <a:pt x="21" y="8"/>
                    </a:lnTo>
                    <a:lnTo>
                      <a:pt x="11" y="16"/>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7" name="Freeform 403">
                <a:extLst>
                  <a:ext uri="{FF2B5EF4-FFF2-40B4-BE49-F238E27FC236}">
                    <a16:creationId xmlns:a16="http://schemas.microsoft.com/office/drawing/2014/main" id="{136FC0A1-4C7B-4994-B74A-0D5787FF1C5F}"/>
                  </a:ext>
                </a:extLst>
              </p:cNvPr>
              <p:cNvSpPr>
                <a:spLocks/>
              </p:cNvSpPr>
              <p:nvPr/>
            </p:nvSpPr>
            <p:spPr bwMode="auto">
              <a:xfrm>
                <a:off x="1343" y="1188"/>
                <a:ext cx="8" cy="11"/>
              </a:xfrm>
              <a:custGeom>
                <a:avLst/>
                <a:gdLst>
                  <a:gd name="T0" fmla="*/ 0 w 30"/>
                  <a:gd name="T1" fmla="*/ 0 h 37"/>
                  <a:gd name="T2" fmla="*/ 0 w 30"/>
                  <a:gd name="T3" fmla="*/ 11 h 37"/>
                  <a:gd name="T4" fmla="*/ 3 w 30"/>
                  <a:gd name="T5" fmla="*/ 11 h 37"/>
                  <a:gd name="T6" fmla="*/ 5 w 30"/>
                  <a:gd name="T7" fmla="*/ 10 h 37"/>
                  <a:gd name="T8" fmla="*/ 6 w 30"/>
                  <a:gd name="T9" fmla="*/ 10 h 37"/>
                  <a:gd name="T10" fmla="*/ 7 w 30"/>
                  <a:gd name="T11" fmla="*/ 10 h 37"/>
                  <a:gd name="T12" fmla="*/ 7 w 30"/>
                  <a:gd name="T13" fmla="*/ 9 h 37"/>
                  <a:gd name="T14" fmla="*/ 8 w 30"/>
                  <a:gd name="T15" fmla="*/ 8 h 37"/>
                  <a:gd name="T16" fmla="*/ 8 w 30"/>
                  <a:gd name="T17" fmla="*/ 7 h 37"/>
                  <a:gd name="T18" fmla="*/ 8 w 30"/>
                  <a:gd name="T19" fmla="*/ 5 h 37"/>
                  <a:gd name="T20" fmla="*/ 8 w 30"/>
                  <a:gd name="T21" fmla="*/ 3 h 37"/>
                  <a:gd name="T22" fmla="*/ 7 w 30"/>
                  <a:gd name="T23" fmla="*/ 0 h 37"/>
                  <a:gd name="T24" fmla="*/ 0 w 30"/>
                  <a:gd name="T25" fmla="*/ 0 h 3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0" h="37">
                    <a:moveTo>
                      <a:pt x="0" y="0"/>
                    </a:moveTo>
                    <a:lnTo>
                      <a:pt x="0" y="37"/>
                    </a:lnTo>
                    <a:lnTo>
                      <a:pt x="11" y="36"/>
                    </a:lnTo>
                    <a:lnTo>
                      <a:pt x="20" y="34"/>
                    </a:lnTo>
                    <a:lnTo>
                      <a:pt x="22" y="33"/>
                    </a:lnTo>
                    <a:lnTo>
                      <a:pt x="26" y="32"/>
                    </a:lnTo>
                    <a:lnTo>
                      <a:pt x="28" y="30"/>
                    </a:lnTo>
                    <a:lnTo>
                      <a:pt x="29" y="28"/>
                    </a:lnTo>
                    <a:lnTo>
                      <a:pt x="30" y="23"/>
                    </a:lnTo>
                    <a:lnTo>
                      <a:pt x="30" y="16"/>
                    </a:lnTo>
                    <a:lnTo>
                      <a:pt x="29" y="9"/>
                    </a:lnTo>
                    <a:lnTo>
                      <a:pt x="27"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8" name="Freeform 404">
                <a:extLst>
                  <a:ext uri="{FF2B5EF4-FFF2-40B4-BE49-F238E27FC236}">
                    <a16:creationId xmlns:a16="http://schemas.microsoft.com/office/drawing/2014/main" id="{E4906DF6-77B7-4234-93B6-1C3C59EF69E2}"/>
                  </a:ext>
                </a:extLst>
              </p:cNvPr>
              <p:cNvSpPr>
                <a:spLocks/>
              </p:cNvSpPr>
              <p:nvPr/>
            </p:nvSpPr>
            <p:spPr bwMode="auto">
              <a:xfrm>
                <a:off x="1334" y="1208"/>
                <a:ext cx="36" cy="16"/>
              </a:xfrm>
              <a:custGeom>
                <a:avLst/>
                <a:gdLst>
                  <a:gd name="T0" fmla="*/ 11 w 113"/>
                  <a:gd name="T1" fmla="*/ 1 h 46"/>
                  <a:gd name="T2" fmla="*/ 7 w 113"/>
                  <a:gd name="T3" fmla="*/ 1 h 46"/>
                  <a:gd name="T4" fmla="*/ 4 w 113"/>
                  <a:gd name="T5" fmla="*/ 2 h 46"/>
                  <a:gd name="T6" fmla="*/ 2 w 113"/>
                  <a:gd name="T7" fmla="*/ 2 h 46"/>
                  <a:gd name="T8" fmla="*/ 1 w 113"/>
                  <a:gd name="T9" fmla="*/ 4 h 46"/>
                  <a:gd name="T10" fmla="*/ 0 w 113"/>
                  <a:gd name="T11" fmla="*/ 5 h 46"/>
                  <a:gd name="T12" fmla="*/ 0 w 113"/>
                  <a:gd name="T13" fmla="*/ 7 h 46"/>
                  <a:gd name="T14" fmla="*/ 2 w 113"/>
                  <a:gd name="T15" fmla="*/ 9 h 46"/>
                  <a:gd name="T16" fmla="*/ 3 w 113"/>
                  <a:gd name="T17" fmla="*/ 11 h 46"/>
                  <a:gd name="T18" fmla="*/ 5 w 113"/>
                  <a:gd name="T19" fmla="*/ 13 h 46"/>
                  <a:gd name="T20" fmla="*/ 6 w 113"/>
                  <a:gd name="T21" fmla="*/ 14 h 46"/>
                  <a:gd name="T22" fmla="*/ 8 w 113"/>
                  <a:gd name="T23" fmla="*/ 15 h 46"/>
                  <a:gd name="T24" fmla="*/ 10 w 113"/>
                  <a:gd name="T25" fmla="*/ 16 h 46"/>
                  <a:gd name="T26" fmla="*/ 11 w 113"/>
                  <a:gd name="T27" fmla="*/ 16 h 46"/>
                  <a:gd name="T28" fmla="*/ 13 w 113"/>
                  <a:gd name="T29" fmla="*/ 16 h 46"/>
                  <a:gd name="T30" fmla="*/ 18 w 113"/>
                  <a:gd name="T31" fmla="*/ 16 h 46"/>
                  <a:gd name="T32" fmla="*/ 22 w 113"/>
                  <a:gd name="T33" fmla="*/ 15 h 46"/>
                  <a:gd name="T34" fmla="*/ 24 w 113"/>
                  <a:gd name="T35" fmla="*/ 14 h 46"/>
                  <a:gd name="T36" fmla="*/ 26 w 113"/>
                  <a:gd name="T37" fmla="*/ 13 h 46"/>
                  <a:gd name="T38" fmla="*/ 28 w 113"/>
                  <a:gd name="T39" fmla="*/ 13 h 46"/>
                  <a:gd name="T40" fmla="*/ 29 w 113"/>
                  <a:gd name="T41" fmla="*/ 11 h 46"/>
                  <a:gd name="T42" fmla="*/ 32 w 113"/>
                  <a:gd name="T43" fmla="*/ 9 h 46"/>
                  <a:gd name="T44" fmla="*/ 34 w 113"/>
                  <a:gd name="T45" fmla="*/ 7 h 46"/>
                  <a:gd name="T46" fmla="*/ 35 w 113"/>
                  <a:gd name="T47" fmla="*/ 4 h 46"/>
                  <a:gd name="T48" fmla="*/ 36 w 113"/>
                  <a:gd name="T49" fmla="*/ 1 h 46"/>
                  <a:gd name="T50" fmla="*/ 32 w 113"/>
                  <a:gd name="T51" fmla="*/ 0 h 46"/>
                  <a:gd name="T52" fmla="*/ 28 w 113"/>
                  <a:gd name="T53" fmla="*/ 0 h 46"/>
                  <a:gd name="T54" fmla="*/ 24 w 113"/>
                  <a:gd name="T55" fmla="*/ 0 h 46"/>
                  <a:gd name="T56" fmla="*/ 21 w 113"/>
                  <a:gd name="T57" fmla="*/ 0 h 46"/>
                  <a:gd name="T58" fmla="*/ 15 w 113"/>
                  <a:gd name="T59" fmla="*/ 1 h 46"/>
                  <a:gd name="T60" fmla="*/ 11 w 113"/>
                  <a:gd name="T61" fmla="*/ 1 h 4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13" h="46">
                    <a:moveTo>
                      <a:pt x="33" y="3"/>
                    </a:moveTo>
                    <a:lnTo>
                      <a:pt x="22" y="3"/>
                    </a:lnTo>
                    <a:lnTo>
                      <a:pt x="12" y="5"/>
                    </a:lnTo>
                    <a:lnTo>
                      <a:pt x="7" y="7"/>
                    </a:lnTo>
                    <a:lnTo>
                      <a:pt x="3" y="11"/>
                    </a:lnTo>
                    <a:lnTo>
                      <a:pt x="1" y="15"/>
                    </a:lnTo>
                    <a:lnTo>
                      <a:pt x="0" y="21"/>
                    </a:lnTo>
                    <a:lnTo>
                      <a:pt x="6" y="27"/>
                    </a:lnTo>
                    <a:lnTo>
                      <a:pt x="10" y="33"/>
                    </a:lnTo>
                    <a:lnTo>
                      <a:pt x="16" y="37"/>
                    </a:lnTo>
                    <a:lnTo>
                      <a:pt x="20" y="41"/>
                    </a:lnTo>
                    <a:lnTo>
                      <a:pt x="25" y="43"/>
                    </a:lnTo>
                    <a:lnTo>
                      <a:pt x="30" y="45"/>
                    </a:lnTo>
                    <a:lnTo>
                      <a:pt x="35" y="46"/>
                    </a:lnTo>
                    <a:lnTo>
                      <a:pt x="40" y="46"/>
                    </a:lnTo>
                    <a:lnTo>
                      <a:pt x="56" y="46"/>
                    </a:lnTo>
                    <a:lnTo>
                      <a:pt x="70" y="43"/>
                    </a:lnTo>
                    <a:lnTo>
                      <a:pt x="76" y="41"/>
                    </a:lnTo>
                    <a:lnTo>
                      <a:pt x="81" y="38"/>
                    </a:lnTo>
                    <a:lnTo>
                      <a:pt x="87" y="36"/>
                    </a:lnTo>
                    <a:lnTo>
                      <a:pt x="91" y="33"/>
                    </a:lnTo>
                    <a:lnTo>
                      <a:pt x="99" y="27"/>
                    </a:lnTo>
                    <a:lnTo>
                      <a:pt x="106" y="20"/>
                    </a:lnTo>
                    <a:lnTo>
                      <a:pt x="110" y="12"/>
                    </a:lnTo>
                    <a:lnTo>
                      <a:pt x="113" y="3"/>
                    </a:lnTo>
                    <a:lnTo>
                      <a:pt x="99" y="1"/>
                    </a:lnTo>
                    <a:lnTo>
                      <a:pt x="87" y="0"/>
                    </a:lnTo>
                    <a:lnTo>
                      <a:pt x="76" y="0"/>
                    </a:lnTo>
                    <a:lnTo>
                      <a:pt x="66" y="1"/>
                    </a:lnTo>
                    <a:lnTo>
                      <a:pt x="48" y="2"/>
                    </a:lnTo>
                    <a:lnTo>
                      <a:pt x="33"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09" name="Freeform 405">
                <a:extLst>
                  <a:ext uri="{FF2B5EF4-FFF2-40B4-BE49-F238E27FC236}">
                    <a16:creationId xmlns:a16="http://schemas.microsoft.com/office/drawing/2014/main" id="{9FA92863-BEF1-4738-89D8-59CC23EEA933}"/>
                  </a:ext>
                </a:extLst>
              </p:cNvPr>
              <p:cNvSpPr>
                <a:spLocks/>
              </p:cNvSpPr>
              <p:nvPr/>
            </p:nvSpPr>
            <p:spPr bwMode="auto">
              <a:xfrm>
                <a:off x="1365" y="1201"/>
                <a:ext cx="49" cy="28"/>
              </a:xfrm>
              <a:custGeom>
                <a:avLst/>
                <a:gdLst>
                  <a:gd name="T0" fmla="*/ 0 w 153"/>
                  <a:gd name="T1" fmla="*/ 27 h 82"/>
                  <a:gd name="T2" fmla="*/ 1 w 153"/>
                  <a:gd name="T3" fmla="*/ 28 h 82"/>
                  <a:gd name="T4" fmla="*/ 2 w 153"/>
                  <a:gd name="T5" fmla="*/ 28 h 82"/>
                  <a:gd name="T6" fmla="*/ 3 w 153"/>
                  <a:gd name="T7" fmla="*/ 28 h 82"/>
                  <a:gd name="T8" fmla="*/ 4 w 153"/>
                  <a:gd name="T9" fmla="*/ 28 h 82"/>
                  <a:gd name="T10" fmla="*/ 7 w 153"/>
                  <a:gd name="T11" fmla="*/ 27 h 82"/>
                  <a:gd name="T12" fmla="*/ 11 w 153"/>
                  <a:gd name="T13" fmla="*/ 27 h 82"/>
                  <a:gd name="T14" fmla="*/ 13 w 153"/>
                  <a:gd name="T15" fmla="*/ 27 h 82"/>
                  <a:gd name="T16" fmla="*/ 15 w 153"/>
                  <a:gd name="T17" fmla="*/ 27 h 82"/>
                  <a:gd name="T18" fmla="*/ 18 w 153"/>
                  <a:gd name="T19" fmla="*/ 26 h 82"/>
                  <a:gd name="T20" fmla="*/ 21 w 153"/>
                  <a:gd name="T21" fmla="*/ 25 h 82"/>
                  <a:gd name="T22" fmla="*/ 27 w 153"/>
                  <a:gd name="T23" fmla="*/ 23 h 82"/>
                  <a:gd name="T24" fmla="*/ 33 w 153"/>
                  <a:gd name="T25" fmla="*/ 20 h 82"/>
                  <a:gd name="T26" fmla="*/ 36 w 153"/>
                  <a:gd name="T27" fmla="*/ 18 h 82"/>
                  <a:gd name="T28" fmla="*/ 39 w 153"/>
                  <a:gd name="T29" fmla="*/ 17 h 82"/>
                  <a:gd name="T30" fmla="*/ 41 w 153"/>
                  <a:gd name="T31" fmla="*/ 15 h 82"/>
                  <a:gd name="T32" fmla="*/ 44 w 153"/>
                  <a:gd name="T33" fmla="*/ 13 h 82"/>
                  <a:gd name="T34" fmla="*/ 45 w 153"/>
                  <a:gd name="T35" fmla="*/ 11 h 82"/>
                  <a:gd name="T36" fmla="*/ 47 w 153"/>
                  <a:gd name="T37" fmla="*/ 9 h 82"/>
                  <a:gd name="T38" fmla="*/ 48 w 153"/>
                  <a:gd name="T39" fmla="*/ 6 h 82"/>
                  <a:gd name="T40" fmla="*/ 49 w 153"/>
                  <a:gd name="T41" fmla="*/ 4 h 82"/>
                  <a:gd name="T42" fmla="*/ 43 w 153"/>
                  <a:gd name="T43" fmla="*/ 3 h 82"/>
                  <a:gd name="T44" fmla="*/ 37 w 153"/>
                  <a:gd name="T45" fmla="*/ 1 h 82"/>
                  <a:gd name="T46" fmla="*/ 31 w 153"/>
                  <a:gd name="T47" fmla="*/ 0 h 82"/>
                  <a:gd name="T48" fmla="*/ 25 w 153"/>
                  <a:gd name="T49" fmla="*/ 0 h 82"/>
                  <a:gd name="T50" fmla="*/ 22 w 153"/>
                  <a:gd name="T51" fmla="*/ 0 h 82"/>
                  <a:gd name="T52" fmla="*/ 19 w 153"/>
                  <a:gd name="T53" fmla="*/ 0 h 82"/>
                  <a:gd name="T54" fmla="*/ 17 w 153"/>
                  <a:gd name="T55" fmla="*/ 1 h 82"/>
                  <a:gd name="T56" fmla="*/ 14 w 153"/>
                  <a:gd name="T57" fmla="*/ 1 h 82"/>
                  <a:gd name="T58" fmla="*/ 12 w 153"/>
                  <a:gd name="T59" fmla="*/ 2 h 82"/>
                  <a:gd name="T60" fmla="*/ 11 w 153"/>
                  <a:gd name="T61" fmla="*/ 3 h 82"/>
                  <a:gd name="T62" fmla="*/ 10 w 153"/>
                  <a:gd name="T63" fmla="*/ 5 h 82"/>
                  <a:gd name="T64" fmla="*/ 8 w 153"/>
                  <a:gd name="T65" fmla="*/ 6 h 82"/>
                  <a:gd name="T66" fmla="*/ 10 w 153"/>
                  <a:gd name="T67" fmla="*/ 8 h 82"/>
                  <a:gd name="T68" fmla="*/ 12 w 153"/>
                  <a:gd name="T69" fmla="*/ 10 h 82"/>
                  <a:gd name="T70" fmla="*/ 12 w 153"/>
                  <a:gd name="T71" fmla="*/ 11 h 82"/>
                  <a:gd name="T72" fmla="*/ 13 w 153"/>
                  <a:gd name="T73" fmla="*/ 12 h 82"/>
                  <a:gd name="T74" fmla="*/ 14 w 153"/>
                  <a:gd name="T75" fmla="*/ 12 h 82"/>
                  <a:gd name="T76" fmla="*/ 15 w 153"/>
                  <a:gd name="T77" fmla="*/ 12 h 82"/>
                  <a:gd name="T78" fmla="*/ 13 w 153"/>
                  <a:gd name="T79" fmla="*/ 14 h 82"/>
                  <a:gd name="T80" fmla="*/ 11 w 153"/>
                  <a:gd name="T81" fmla="*/ 16 h 82"/>
                  <a:gd name="T82" fmla="*/ 9 w 153"/>
                  <a:gd name="T83" fmla="*/ 18 h 82"/>
                  <a:gd name="T84" fmla="*/ 7 w 153"/>
                  <a:gd name="T85" fmla="*/ 19 h 82"/>
                  <a:gd name="T86" fmla="*/ 6 w 153"/>
                  <a:gd name="T87" fmla="*/ 22 h 82"/>
                  <a:gd name="T88" fmla="*/ 4 w 153"/>
                  <a:gd name="T89" fmla="*/ 24 h 82"/>
                  <a:gd name="T90" fmla="*/ 2 w 153"/>
                  <a:gd name="T91" fmla="*/ 26 h 82"/>
                  <a:gd name="T92" fmla="*/ 0 w 153"/>
                  <a:gd name="T93" fmla="*/ 27 h 8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53" h="82">
                    <a:moveTo>
                      <a:pt x="0" y="79"/>
                    </a:moveTo>
                    <a:lnTo>
                      <a:pt x="2" y="81"/>
                    </a:lnTo>
                    <a:lnTo>
                      <a:pt x="6" y="82"/>
                    </a:lnTo>
                    <a:lnTo>
                      <a:pt x="10" y="82"/>
                    </a:lnTo>
                    <a:lnTo>
                      <a:pt x="14" y="82"/>
                    </a:lnTo>
                    <a:lnTo>
                      <a:pt x="23" y="80"/>
                    </a:lnTo>
                    <a:lnTo>
                      <a:pt x="33" y="79"/>
                    </a:lnTo>
                    <a:lnTo>
                      <a:pt x="40" y="79"/>
                    </a:lnTo>
                    <a:lnTo>
                      <a:pt x="47" y="78"/>
                    </a:lnTo>
                    <a:lnTo>
                      <a:pt x="56" y="76"/>
                    </a:lnTo>
                    <a:lnTo>
                      <a:pt x="65" y="74"/>
                    </a:lnTo>
                    <a:lnTo>
                      <a:pt x="83" y="68"/>
                    </a:lnTo>
                    <a:lnTo>
                      <a:pt x="103" y="59"/>
                    </a:lnTo>
                    <a:lnTo>
                      <a:pt x="112" y="54"/>
                    </a:lnTo>
                    <a:lnTo>
                      <a:pt x="121" y="49"/>
                    </a:lnTo>
                    <a:lnTo>
                      <a:pt x="129" y="43"/>
                    </a:lnTo>
                    <a:lnTo>
                      <a:pt x="136" y="38"/>
                    </a:lnTo>
                    <a:lnTo>
                      <a:pt x="142" y="32"/>
                    </a:lnTo>
                    <a:lnTo>
                      <a:pt x="147" y="25"/>
                    </a:lnTo>
                    <a:lnTo>
                      <a:pt x="150" y="19"/>
                    </a:lnTo>
                    <a:lnTo>
                      <a:pt x="153" y="12"/>
                    </a:lnTo>
                    <a:lnTo>
                      <a:pt x="134" y="8"/>
                    </a:lnTo>
                    <a:lnTo>
                      <a:pt x="115" y="3"/>
                    </a:lnTo>
                    <a:lnTo>
                      <a:pt x="96" y="1"/>
                    </a:lnTo>
                    <a:lnTo>
                      <a:pt x="77" y="0"/>
                    </a:lnTo>
                    <a:lnTo>
                      <a:pt x="68" y="1"/>
                    </a:lnTo>
                    <a:lnTo>
                      <a:pt x="60" y="1"/>
                    </a:lnTo>
                    <a:lnTo>
                      <a:pt x="52" y="2"/>
                    </a:lnTo>
                    <a:lnTo>
                      <a:pt x="45" y="4"/>
                    </a:lnTo>
                    <a:lnTo>
                      <a:pt x="38" y="7"/>
                    </a:lnTo>
                    <a:lnTo>
                      <a:pt x="34" y="10"/>
                    </a:lnTo>
                    <a:lnTo>
                      <a:pt x="30" y="14"/>
                    </a:lnTo>
                    <a:lnTo>
                      <a:pt x="26" y="18"/>
                    </a:lnTo>
                    <a:lnTo>
                      <a:pt x="32" y="23"/>
                    </a:lnTo>
                    <a:lnTo>
                      <a:pt x="36" y="29"/>
                    </a:lnTo>
                    <a:lnTo>
                      <a:pt x="38" y="32"/>
                    </a:lnTo>
                    <a:lnTo>
                      <a:pt x="42" y="34"/>
                    </a:lnTo>
                    <a:lnTo>
                      <a:pt x="44" y="36"/>
                    </a:lnTo>
                    <a:lnTo>
                      <a:pt x="46" y="36"/>
                    </a:lnTo>
                    <a:lnTo>
                      <a:pt x="40" y="41"/>
                    </a:lnTo>
                    <a:lnTo>
                      <a:pt x="33" y="46"/>
                    </a:lnTo>
                    <a:lnTo>
                      <a:pt x="29" y="52"/>
                    </a:lnTo>
                    <a:lnTo>
                      <a:pt x="23" y="57"/>
                    </a:lnTo>
                    <a:lnTo>
                      <a:pt x="18" y="64"/>
                    </a:lnTo>
                    <a:lnTo>
                      <a:pt x="13" y="69"/>
                    </a:lnTo>
                    <a:lnTo>
                      <a:pt x="7" y="75"/>
                    </a:lnTo>
                    <a:lnTo>
                      <a:pt x="0" y="7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0" name="Freeform 406">
                <a:extLst>
                  <a:ext uri="{FF2B5EF4-FFF2-40B4-BE49-F238E27FC236}">
                    <a16:creationId xmlns:a16="http://schemas.microsoft.com/office/drawing/2014/main" id="{B9A11928-0ABF-4110-97FC-F8EA43967F02}"/>
                  </a:ext>
                </a:extLst>
              </p:cNvPr>
              <p:cNvSpPr>
                <a:spLocks/>
              </p:cNvSpPr>
              <p:nvPr/>
            </p:nvSpPr>
            <p:spPr bwMode="auto">
              <a:xfrm>
                <a:off x="1414" y="1217"/>
                <a:ext cx="29" cy="17"/>
              </a:xfrm>
              <a:custGeom>
                <a:avLst/>
                <a:gdLst>
                  <a:gd name="T0" fmla="*/ 0 w 86"/>
                  <a:gd name="T1" fmla="*/ 13 h 50"/>
                  <a:gd name="T2" fmla="*/ 2 w 86"/>
                  <a:gd name="T3" fmla="*/ 14 h 50"/>
                  <a:gd name="T4" fmla="*/ 4 w 86"/>
                  <a:gd name="T5" fmla="*/ 15 h 50"/>
                  <a:gd name="T6" fmla="*/ 5 w 86"/>
                  <a:gd name="T7" fmla="*/ 16 h 50"/>
                  <a:gd name="T8" fmla="*/ 8 w 86"/>
                  <a:gd name="T9" fmla="*/ 16 h 50"/>
                  <a:gd name="T10" fmla="*/ 12 w 86"/>
                  <a:gd name="T11" fmla="*/ 17 h 50"/>
                  <a:gd name="T12" fmla="*/ 16 w 86"/>
                  <a:gd name="T13" fmla="*/ 17 h 50"/>
                  <a:gd name="T14" fmla="*/ 20 w 86"/>
                  <a:gd name="T15" fmla="*/ 17 h 50"/>
                  <a:gd name="T16" fmla="*/ 23 w 86"/>
                  <a:gd name="T17" fmla="*/ 16 h 50"/>
                  <a:gd name="T18" fmla="*/ 25 w 86"/>
                  <a:gd name="T19" fmla="*/ 16 h 50"/>
                  <a:gd name="T20" fmla="*/ 27 w 86"/>
                  <a:gd name="T21" fmla="*/ 15 h 50"/>
                  <a:gd name="T22" fmla="*/ 28 w 86"/>
                  <a:gd name="T23" fmla="*/ 14 h 50"/>
                  <a:gd name="T24" fmla="*/ 28 w 86"/>
                  <a:gd name="T25" fmla="*/ 13 h 50"/>
                  <a:gd name="T26" fmla="*/ 29 w 86"/>
                  <a:gd name="T27" fmla="*/ 11 h 50"/>
                  <a:gd name="T28" fmla="*/ 29 w 86"/>
                  <a:gd name="T29" fmla="*/ 9 h 50"/>
                  <a:gd name="T30" fmla="*/ 29 w 86"/>
                  <a:gd name="T31" fmla="*/ 6 h 50"/>
                  <a:gd name="T32" fmla="*/ 28 w 86"/>
                  <a:gd name="T33" fmla="*/ 3 h 50"/>
                  <a:gd name="T34" fmla="*/ 28 w 86"/>
                  <a:gd name="T35" fmla="*/ 2 h 50"/>
                  <a:gd name="T36" fmla="*/ 27 w 86"/>
                  <a:gd name="T37" fmla="*/ 2 h 50"/>
                  <a:gd name="T38" fmla="*/ 26 w 86"/>
                  <a:gd name="T39" fmla="*/ 1 h 50"/>
                  <a:gd name="T40" fmla="*/ 25 w 86"/>
                  <a:gd name="T41" fmla="*/ 0 h 50"/>
                  <a:gd name="T42" fmla="*/ 0 w 86"/>
                  <a:gd name="T43" fmla="*/ 13 h 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86" h="50">
                    <a:moveTo>
                      <a:pt x="0" y="37"/>
                    </a:moveTo>
                    <a:lnTo>
                      <a:pt x="5" y="41"/>
                    </a:lnTo>
                    <a:lnTo>
                      <a:pt x="11" y="44"/>
                    </a:lnTo>
                    <a:lnTo>
                      <a:pt x="16" y="47"/>
                    </a:lnTo>
                    <a:lnTo>
                      <a:pt x="23" y="48"/>
                    </a:lnTo>
                    <a:lnTo>
                      <a:pt x="35" y="49"/>
                    </a:lnTo>
                    <a:lnTo>
                      <a:pt x="46" y="50"/>
                    </a:lnTo>
                    <a:lnTo>
                      <a:pt x="58" y="49"/>
                    </a:lnTo>
                    <a:lnTo>
                      <a:pt x="67" y="48"/>
                    </a:lnTo>
                    <a:lnTo>
                      <a:pt x="73" y="47"/>
                    </a:lnTo>
                    <a:lnTo>
                      <a:pt x="79" y="44"/>
                    </a:lnTo>
                    <a:lnTo>
                      <a:pt x="82" y="41"/>
                    </a:lnTo>
                    <a:lnTo>
                      <a:pt x="84" y="37"/>
                    </a:lnTo>
                    <a:lnTo>
                      <a:pt x="85" y="32"/>
                    </a:lnTo>
                    <a:lnTo>
                      <a:pt x="86" y="25"/>
                    </a:lnTo>
                    <a:lnTo>
                      <a:pt x="85" y="17"/>
                    </a:lnTo>
                    <a:lnTo>
                      <a:pt x="84" y="10"/>
                    </a:lnTo>
                    <a:lnTo>
                      <a:pt x="83" y="7"/>
                    </a:lnTo>
                    <a:lnTo>
                      <a:pt x="81" y="5"/>
                    </a:lnTo>
                    <a:lnTo>
                      <a:pt x="77" y="2"/>
                    </a:lnTo>
                    <a:lnTo>
                      <a:pt x="73" y="0"/>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1" name="Freeform 407">
                <a:extLst>
                  <a:ext uri="{FF2B5EF4-FFF2-40B4-BE49-F238E27FC236}">
                    <a16:creationId xmlns:a16="http://schemas.microsoft.com/office/drawing/2014/main" id="{3DDF39E7-81D7-4945-8AC9-7395C1BDB55E}"/>
                  </a:ext>
                </a:extLst>
              </p:cNvPr>
              <p:cNvSpPr>
                <a:spLocks/>
              </p:cNvSpPr>
              <p:nvPr/>
            </p:nvSpPr>
            <p:spPr bwMode="auto">
              <a:xfrm>
                <a:off x="1379" y="1163"/>
                <a:ext cx="55" cy="25"/>
              </a:xfrm>
              <a:custGeom>
                <a:avLst/>
                <a:gdLst>
                  <a:gd name="T0" fmla="*/ 38 w 172"/>
                  <a:gd name="T1" fmla="*/ 21 h 74"/>
                  <a:gd name="T2" fmla="*/ 35 w 172"/>
                  <a:gd name="T3" fmla="*/ 21 h 74"/>
                  <a:gd name="T4" fmla="*/ 32 w 172"/>
                  <a:gd name="T5" fmla="*/ 21 h 74"/>
                  <a:gd name="T6" fmla="*/ 29 w 172"/>
                  <a:gd name="T7" fmla="*/ 21 h 74"/>
                  <a:gd name="T8" fmla="*/ 26 w 172"/>
                  <a:gd name="T9" fmla="*/ 21 h 74"/>
                  <a:gd name="T10" fmla="*/ 19 w 172"/>
                  <a:gd name="T11" fmla="*/ 25 h 74"/>
                  <a:gd name="T12" fmla="*/ 11 w 172"/>
                  <a:gd name="T13" fmla="*/ 25 h 74"/>
                  <a:gd name="T14" fmla="*/ 12 w 172"/>
                  <a:gd name="T15" fmla="*/ 21 h 74"/>
                  <a:gd name="T16" fmla="*/ 12 w 172"/>
                  <a:gd name="T17" fmla="*/ 17 h 74"/>
                  <a:gd name="T18" fmla="*/ 10 w 172"/>
                  <a:gd name="T19" fmla="*/ 17 h 74"/>
                  <a:gd name="T20" fmla="*/ 7 w 172"/>
                  <a:gd name="T21" fmla="*/ 16 h 74"/>
                  <a:gd name="T22" fmla="*/ 5 w 172"/>
                  <a:gd name="T23" fmla="*/ 16 h 74"/>
                  <a:gd name="T24" fmla="*/ 3 w 172"/>
                  <a:gd name="T25" fmla="*/ 15 h 74"/>
                  <a:gd name="T26" fmla="*/ 2 w 172"/>
                  <a:gd name="T27" fmla="*/ 14 h 74"/>
                  <a:gd name="T28" fmla="*/ 1 w 172"/>
                  <a:gd name="T29" fmla="*/ 13 h 74"/>
                  <a:gd name="T30" fmla="*/ 0 w 172"/>
                  <a:gd name="T31" fmla="*/ 12 h 74"/>
                  <a:gd name="T32" fmla="*/ 0 w 172"/>
                  <a:gd name="T33" fmla="*/ 10 h 74"/>
                  <a:gd name="T34" fmla="*/ 0 w 172"/>
                  <a:gd name="T35" fmla="*/ 9 h 74"/>
                  <a:gd name="T36" fmla="*/ 1 w 172"/>
                  <a:gd name="T37" fmla="*/ 7 h 74"/>
                  <a:gd name="T38" fmla="*/ 2 w 172"/>
                  <a:gd name="T39" fmla="*/ 6 h 74"/>
                  <a:gd name="T40" fmla="*/ 3 w 172"/>
                  <a:gd name="T41" fmla="*/ 5 h 74"/>
                  <a:gd name="T42" fmla="*/ 4 w 172"/>
                  <a:gd name="T43" fmla="*/ 3 h 74"/>
                  <a:gd name="T44" fmla="*/ 6 w 172"/>
                  <a:gd name="T45" fmla="*/ 2 h 74"/>
                  <a:gd name="T46" fmla="*/ 8 w 172"/>
                  <a:gd name="T47" fmla="*/ 2 h 74"/>
                  <a:gd name="T48" fmla="*/ 9 w 172"/>
                  <a:gd name="T49" fmla="*/ 1 h 74"/>
                  <a:gd name="T50" fmla="*/ 13 w 172"/>
                  <a:gd name="T51" fmla="*/ 0 h 74"/>
                  <a:gd name="T52" fmla="*/ 18 w 172"/>
                  <a:gd name="T53" fmla="*/ 0 h 74"/>
                  <a:gd name="T54" fmla="*/ 22 w 172"/>
                  <a:gd name="T55" fmla="*/ 0 h 74"/>
                  <a:gd name="T56" fmla="*/ 26 w 172"/>
                  <a:gd name="T57" fmla="*/ 0 h 74"/>
                  <a:gd name="T58" fmla="*/ 30 w 172"/>
                  <a:gd name="T59" fmla="*/ 0 h 74"/>
                  <a:gd name="T60" fmla="*/ 34 w 172"/>
                  <a:gd name="T61" fmla="*/ 1 h 74"/>
                  <a:gd name="T62" fmla="*/ 37 w 172"/>
                  <a:gd name="T63" fmla="*/ 2 h 74"/>
                  <a:gd name="T64" fmla="*/ 41 w 172"/>
                  <a:gd name="T65" fmla="*/ 4 h 74"/>
                  <a:gd name="T66" fmla="*/ 44 w 172"/>
                  <a:gd name="T67" fmla="*/ 6 h 74"/>
                  <a:gd name="T68" fmla="*/ 48 w 172"/>
                  <a:gd name="T69" fmla="*/ 7 h 74"/>
                  <a:gd name="T70" fmla="*/ 51 w 172"/>
                  <a:gd name="T71" fmla="*/ 8 h 74"/>
                  <a:gd name="T72" fmla="*/ 55 w 172"/>
                  <a:gd name="T73" fmla="*/ 8 h 74"/>
                  <a:gd name="T74" fmla="*/ 55 w 172"/>
                  <a:gd name="T75" fmla="*/ 15 h 74"/>
                  <a:gd name="T76" fmla="*/ 54 w 172"/>
                  <a:gd name="T77" fmla="*/ 16 h 74"/>
                  <a:gd name="T78" fmla="*/ 53 w 172"/>
                  <a:gd name="T79" fmla="*/ 18 h 74"/>
                  <a:gd name="T80" fmla="*/ 51 w 172"/>
                  <a:gd name="T81" fmla="*/ 19 h 74"/>
                  <a:gd name="T82" fmla="*/ 51 w 172"/>
                  <a:gd name="T83" fmla="*/ 20 h 74"/>
                  <a:gd name="T84" fmla="*/ 49 w 172"/>
                  <a:gd name="T85" fmla="*/ 21 h 74"/>
                  <a:gd name="T86" fmla="*/ 48 w 172"/>
                  <a:gd name="T87" fmla="*/ 21 h 74"/>
                  <a:gd name="T88" fmla="*/ 47 w 172"/>
                  <a:gd name="T89" fmla="*/ 22 h 74"/>
                  <a:gd name="T90" fmla="*/ 45 w 172"/>
                  <a:gd name="T91" fmla="*/ 22 h 74"/>
                  <a:gd name="T92" fmla="*/ 42 w 172"/>
                  <a:gd name="T93" fmla="*/ 22 h 74"/>
                  <a:gd name="T94" fmla="*/ 39 w 172"/>
                  <a:gd name="T95" fmla="*/ 21 h 74"/>
                  <a:gd name="T96" fmla="*/ 36 w 172"/>
                  <a:gd name="T97" fmla="*/ 20 h 74"/>
                  <a:gd name="T98" fmla="*/ 32 w 172"/>
                  <a:gd name="T99" fmla="*/ 19 h 74"/>
                  <a:gd name="T100" fmla="*/ 34 w 172"/>
                  <a:gd name="T101" fmla="*/ 19 h 74"/>
                  <a:gd name="T102" fmla="*/ 38 w 172"/>
                  <a:gd name="T103" fmla="*/ 21 h 7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72" h="74">
                    <a:moveTo>
                      <a:pt x="119" y="61"/>
                    </a:moveTo>
                    <a:lnTo>
                      <a:pt x="109" y="61"/>
                    </a:lnTo>
                    <a:lnTo>
                      <a:pt x="99" y="61"/>
                    </a:lnTo>
                    <a:lnTo>
                      <a:pt x="90" y="61"/>
                    </a:lnTo>
                    <a:lnTo>
                      <a:pt x="80" y="61"/>
                    </a:lnTo>
                    <a:lnTo>
                      <a:pt x="60" y="74"/>
                    </a:lnTo>
                    <a:lnTo>
                      <a:pt x="33" y="74"/>
                    </a:lnTo>
                    <a:lnTo>
                      <a:pt x="36" y="61"/>
                    </a:lnTo>
                    <a:lnTo>
                      <a:pt x="39" y="49"/>
                    </a:lnTo>
                    <a:lnTo>
                      <a:pt x="30" y="49"/>
                    </a:lnTo>
                    <a:lnTo>
                      <a:pt x="23" y="48"/>
                    </a:lnTo>
                    <a:lnTo>
                      <a:pt x="15" y="47"/>
                    </a:lnTo>
                    <a:lnTo>
                      <a:pt x="9" y="45"/>
                    </a:lnTo>
                    <a:lnTo>
                      <a:pt x="5" y="42"/>
                    </a:lnTo>
                    <a:lnTo>
                      <a:pt x="2" y="39"/>
                    </a:lnTo>
                    <a:lnTo>
                      <a:pt x="1" y="35"/>
                    </a:lnTo>
                    <a:lnTo>
                      <a:pt x="0" y="31"/>
                    </a:lnTo>
                    <a:lnTo>
                      <a:pt x="1" y="26"/>
                    </a:lnTo>
                    <a:lnTo>
                      <a:pt x="2" y="21"/>
                    </a:lnTo>
                    <a:lnTo>
                      <a:pt x="5" y="17"/>
                    </a:lnTo>
                    <a:lnTo>
                      <a:pt x="8" y="14"/>
                    </a:lnTo>
                    <a:lnTo>
                      <a:pt x="13" y="10"/>
                    </a:lnTo>
                    <a:lnTo>
                      <a:pt x="18" y="7"/>
                    </a:lnTo>
                    <a:lnTo>
                      <a:pt x="24" y="5"/>
                    </a:lnTo>
                    <a:lnTo>
                      <a:pt x="29" y="4"/>
                    </a:lnTo>
                    <a:lnTo>
                      <a:pt x="42" y="1"/>
                    </a:lnTo>
                    <a:lnTo>
                      <a:pt x="56" y="0"/>
                    </a:lnTo>
                    <a:lnTo>
                      <a:pt x="69" y="0"/>
                    </a:lnTo>
                    <a:lnTo>
                      <a:pt x="80" y="0"/>
                    </a:lnTo>
                    <a:lnTo>
                      <a:pt x="94" y="1"/>
                    </a:lnTo>
                    <a:lnTo>
                      <a:pt x="106" y="4"/>
                    </a:lnTo>
                    <a:lnTo>
                      <a:pt x="117" y="7"/>
                    </a:lnTo>
                    <a:lnTo>
                      <a:pt x="128" y="13"/>
                    </a:lnTo>
                    <a:lnTo>
                      <a:pt x="139" y="17"/>
                    </a:lnTo>
                    <a:lnTo>
                      <a:pt x="150" y="21"/>
                    </a:lnTo>
                    <a:lnTo>
                      <a:pt x="161" y="24"/>
                    </a:lnTo>
                    <a:lnTo>
                      <a:pt x="172" y="25"/>
                    </a:lnTo>
                    <a:lnTo>
                      <a:pt x="172" y="43"/>
                    </a:lnTo>
                    <a:lnTo>
                      <a:pt x="169" y="48"/>
                    </a:lnTo>
                    <a:lnTo>
                      <a:pt x="165" y="53"/>
                    </a:lnTo>
                    <a:lnTo>
                      <a:pt x="161" y="57"/>
                    </a:lnTo>
                    <a:lnTo>
                      <a:pt x="158" y="60"/>
                    </a:lnTo>
                    <a:lnTo>
                      <a:pt x="153" y="62"/>
                    </a:lnTo>
                    <a:lnTo>
                      <a:pt x="149" y="63"/>
                    </a:lnTo>
                    <a:lnTo>
                      <a:pt x="146" y="65"/>
                    </a:lnTo>
                    <a:lnTo>
                      <a:pt x="141" y="65"/>
                    </a:lnTo>
                    <a:lnTo>
                      <a:pt x="131" y="65"/>
                    </a:lnTo>
                    <a:lnTo>
                      <a:pt x="121" y="63"/>
                    </a:lnTo>
                    <a:lnTo>
                      <a:pt x="112" y="59"/>
                    </a:lnTo>
                    <a:lnTo>
                      <a:pt x="99" y="55"/>
                    </a:lnTo>
                    <a:lnTo>
                      <a:pt x="106" y="55"/>
                    </a:lnTo>
                    <a:lnTo>
                      <a:pt x="119" y="6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2" name="Freeform 408">
                <a:extLst>
                  <a:ext uri="{FF2B5EF4-FFF2-40B4-BE49-F238E27FC236}">
                    <a16:creationId xmlns:a16="http://schemas.microsoft.com/office/drawing/2014/main" id="{663F2F35-137E-4964-BF58-E508974D0BB5}"/>
                  </a:ext>
                </a:extLst>
              </p:cNvPr>
              <p:cNvSpPr>
                <a:spLocks/>
              </p:cNvSpPr>
              <p:nvPr/>
            </p:nvSpPr>
            <p:spPr bwMode="auto">
              <a:xfrm>
                <a:off x="1450" y="1171"/>
                <a:ext cx="38" cy="17"/>
              </a:xfrm>
              <a:custGeom>
                <a:avLst/>
                <a:gdLst>
                  <a:gd name="T0" fmla="*/ 9 w 120"/>
                  <a:gd name="T1" fmla="*/ 17 h 49"/>
                  <a:gd name="T2" fmla="*/ 15 w 120"/>
                  <a:gd name="T3" fmla="*/ 17 h 49"/>
                  <a:gd name="T4" fmla="*/ 20 w 120"/>
                  <a:gd name="T5" fmla="*/ 17 h 49"/>
                  <a:gd name="T6" fmla="*/ 25 w 120"/>
                  <a:gd name="T7" fmla="*/ 16 h 49"/>
                  <a:gd name="T8" fmla="*/ 29 w 120"/>
                  <a:gd name="T9" fmla="*/ 15 h 49"/>
                  <a:gd name="T10" fmla="*/ 30 w 120"/>
                  <a:gd name="T11" fmla="*/ 14 h 49"/>
                  <a:gd name="T12" fmla="*/ 32 w 120"/>
                  <a:gd name="T13" fmla="*/ 13 h 49"/>
                  <a:gd name="T14" fmla="*/ 33 w 120"/>
                  <a:gd name="T15" fmla="*/ 12 h 49"/>
                  <a:gd name="T16" fmla="*/ 34 w 120"/>
                  <a:gd name="T17" fmla="*/ 11 h 49"/>
                  <a:gd name="T18" fmla="*/ 36 w 120"/>
                  <a:gd name="T19" fmla="*/ 8 h 49"/>
                  <a:gd name="T20" fmla="*/ 38 w 120"/>
                  <a:gd name="T21" fmla="*/ 4 h 49"/>
                  <a:gd name="T22" fmla="*/ 32 w 120"/>
                  <a:gd name="T23" fmla="*/ 2 h 49"/>
                  <a:gd name="T24" fmla="*/ 27 w 120"/>
                  <a:gd name="T25" fmla="*/ 1 h 49"/>
                  <a:gd name="T26" fmla="*/ 21 w 120"/>
                  <a:gd name="T27" fmla="*/ 0 h 49"/>
                  <a:gd name="T28" fmla="*/ 16 w 120"/>
                  <a:gd name="T29" fmla="*/ 0 h 49"/>
                  <a:gd name="T30" fmla="*/ 11 w 120"/>
                  <a:gd name="T31" fmla="*/ 0 h 49"/>
                  <a:gd name="T32" fmla="*/ 6 w 120"/>
                  <a:gd name="T33" fmla="*/ 1 h 49"/>
                  <a:gd name="T34" fmla="*/ 3 w 120"/>
                  <a:gd name="T35" fmla="*/ 1 h 49"/>
                  <a:gd name="T36" fmla="*/ 0 w 120"/>
                  <a:gd name="T37" fmla="*/ 2 h 49"/>
                  <a:gd name="T38" fmla="*/ 0 w 120"/>
                  <a:gd name="T39" fmla="*/ 10 h 49"/>
                  <a:gd name="T40" fmla="*/ 1 w 120"/>
                  <a:gd name="T41" fmla="*/ 12 h 49"/>
                  <a:gd name="T42" fmla="*/ 2 w 120"/>
                  <a:gd name="T43" fmla="*/ 13 h 49"/>
                  <a:gd name="T44" fmla="*/ 3 w 120"/>
                  <a:gd name="T45" fmla="*/ 14 h 49"/>
                  <a:gd name="T46" fmla="*/ 4 w 120"/>
                  <a:gd name="T47" fmla="*/ 16 h 49"/>
                  <a:gd name="T48" fmla="*/ 6 w 120"/>
                  <a:gd name="T49" fmla="*/ 17 h 49"/>
                  <a:gd name="T50" fmla="*/ 9 w 120"/>
                  <a:gd name="T51" fmla="*/ 17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20" h="49">
                    <a:moveTo>
                      <a:pt x="27" y="49"/>
                    </a:moveTo>
                    <a:lnTo>
                      <a:pt x="47" y="49"/>
                    </a:lnTo>
                    <a:lnTo>
                      <a:pt x="64" y="48"/>
                    </a:lnTo>
                    <a:lnTo>
                      <a:pt x="78" y="46"/>
                    </a:lnTo>
                    <a:lnTo>
                      <a:pt x="90" y="43"/>
                    </a:lnTo>
                    <a:lnTo>
                      <a:pt x="96" y="39"/>
                    </a:lnTo>
                    <a:lnTo>
                      <a:pt x="100" y="37"/>
                    </a:lnTo>
                    <a:lnTo>
                      <a:pt x="104" y="34"/>
                    </a:lnTo>
                    <a:lnTo>
                      <a:pt x="108" y="31"/>
                    </a:lnTo>
                    <a:lnTo>
                      <a:pt x="114" y="22"/>
                    </a:lnTo>
                    <a:lnTo>
                      <a:pt x="120" y="12"/>
                    </a:lnTo>
                    <a:lnTo>
                      <a:pt x="102" y="6"/>
                    </a:lnTo>
                    <a:lnTo>
                      <a:pt x="84" y="3"/>
                    </a:lnTo>
                    <a:lnTo>
                      <a:pt x="66" y="1"/>
                    </a:lnTo>
                    <a:lnTo>
                      <a:pt x="50" y="0"/>
                    </a:lnTo>
                    <a:lnTo>
                      <a:pt x="34" y="1"/>
                    </a:lnTo>
                    <a:lnTo>
                      <a:pt x="20" y="2"/>
                    </a:lnTo>
                    <a:lnTo>
                      <a:pt x="9" y="4"/>
                    </a:lnTo>
                    <a:lnTo>
                      <a:pt x="0" y="6"/>
                    </a:lnTo>
                    <a:lnTo>
                      <a:pt x="0" y="30"/>
                    </a:lnTo>
                    <a:lnTo>
                      <a:pt x="2" y="35"/>
                    </a:lnTo>
                    <a:lnTo>
                      <a:pt x="6" y="38"/>
                    </a:lnTo>
                    <a:lnTo>
                      <a:pt x="9" y="41"/>
                    </a:lnTo>
                    <a:lnTo>
                      <a:pt x="13" y="45"/>
                    </a:lnTo>
                    <a:lnTo>
                      <a:pt x="20" y="48"/>
                    </a:lnTo>
                    <a:lnTo>
                      <a:pt x="27"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3" name="Freeform 409">
                <a:extLst>
                  <a:ext uri="{FF2B5EF4-FFF2-40B4-BE49-F238E27FC236}">
                    <a16:creationId xmlns:a16="http://schemas.microsoft.com/office/drawing/2014/main" id="{AA12B93F-2777-4DA6-9AC1-B0CC54152B18}"/>
                  </a:ext>
                </a:extLst>
              </p:cNvPr>
              <p:cNvSpPr>
                <a:spLocks/>
              </p:cNvSpPr>
              <p:nvPr/>
            </p:nvSpPr>
            <p:spPr bwMode="auto">
              <a:xfrm>
                <a:off x="1441" y="1194"/>
                <a:ext cx="26" cy="19"/>
              </a:xfrm>
              <a:custGeom>
                <a:avLst/>
                <a:gdLst>
                  <a:gd name="T0" fmla="*/ 10 w 85"/>
                  <a:gd name="T1" fmla="*/ 0 h 61"/>
                  <a:gd name="T2" fmla="*/ 7 w 85"/>
                  <a:gd name="T3" fmla="*/ 2 h 61"/>
                  <a:gd name="T4" fmla="*/ 3 w 85"/>
                  <a:gd name="T5" fmla="*/ 4 h 61"/>
                  <a:gd name="T6" fmla="*/ 2 w 85"/>
                  <a:gd name="T7" fmla="*/ 5 h 61"/>
                  <a:gd name="T8" fmla="*/ 1 w 85"/>
                  <a:gd name="T9" fmla="*/ 7 h 61"/>
                  <a:gd name="T10" fmla="*/ 0 w 85"/>
                  <a:gd name="T11" fmla="*/ 8 h 61"/>
                  <a:gd name="T12" fmla="*/ 0 w 85"/>
                  <a:gd name="T13" fmla="*/ 10 h 61"/>
                  <a:gd name="T14" fmla="*/ 0 w 85"/>
                  <a:gd name="T15" fmla="*/ 11 h 61"/>
                  <a:gd name="T16" fmla="*/ 0 w 85"/>
                  <a:gd name="T17" fmla="*/ 12 h 61"/>
                  <a:gd name="T18" fmla="*/ 1 w 85"/>
                  <a:gd name="T19" fmla="*/ 12 h 61"/>
                  <a:gd name="T20" fmla="*/ 2 w 85"/>
                  <a:gd name="T21" fmla="*/ 13 h 61"/>
                  <a:gd name="T22" fmla="*/ 3 w 85"/>
                  <a:gd name="T23" fmla="*/ 15 h 61"/>
                  <a:gd name="T24" fmla="*/ 6 w 85"/>
                  <a:gd name="T25" fmla="*/ 17 h 61"/>
                  <a:gd name="T26" fmla="*/ 8 w 85"/>
                  <a:gd name="T27" fmla="*/ 17 h 61"/>
                  <a:gd name="T28" fmla="*/ 11 w 85"/>
                  <a:gd name="T29" fmla="*/ 18 h 61"/>
                  <a:gd name="T30" fmla="*/ 14 w 85"/>
                  <a:gd name="T31" fmla="*/ 19 h 61"/>
                  <a:gd name="T32" fmla="*/ 16 w 85"/>
                  <a:gd name="T33" fmla="*/ 19 h 61"/>
                  <a:gd name="T34" fmla="*/ 17 w 85"/>
                  <a:gd name="T35" fmla="*/ 19 h 61"/>
                  <a:gd name="T36" fmla="*/ 18 w 85"/>
                  <a:gd name="T37" fmla="*/ 19 h 61"/>
                  <a:gd name="T38" fmla="*/ 19 w 85"/>
                  <a:gd name="T39" fmla="*/ 18 h 61"/>
                  <a:gd name="T40" fmla="*/ 20 w 85"/>
                  <a:gd name="T41" fmla="*/ 18 h 61"/>
                  <a:gd name="T42" fmla="*/ 22 w 85"/>
                  <a:gd name="T43" fmla="*/ 16 h 61"/>
                  <a:gd name="T44" fmla="*/ 24 w 85"/>
                  <a:gd name="T45" fmla="*/ 15 h 61"/>
                  <a:gd name="T46" fmla="*/ 24 w 85"/>
                  <a:gd name="T47" fmla="*/ 12 h 61"/>
                  <a:gd name="T48" fmla="*/ 25 w 85"/>
                  <a:gd name="T49" fmla="*/ 10 h 61"/>
                  <a:gd name="T50" fmla="*/ 26 w 85"/>
                  <a:gd name="T51" fmla="*/ 8 h 61"/>
                  <a:gd name="T52" fmla="*/ 26 w 85"/>
                  <a:gd name="T53" fmla="*/ 6 h 61"/>
                  <a:gd name="T54" fmla="*/ 10 w 85"/>
                  <a:gd name="T55" fmla="*/ 0 h 6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5" h="61">
                    <a:moveTo>
                      <a:pt x="33" y="0"/>
                    </a:moveTo>
                    <a:lnTo>
                      <a:pt x="22" y="5"/>
                    </a:lnTo>
                    <a:lnTo>
                      <a:pt x="11" y="12"/>
                    </a:lnTo>
                    <a:lnTo>
                      <a:pt x="6" y="17"/>
                    </a:lnTo>
                    <a:lnTo>
                      <a:pt x="3" y="21"/>
                    </a:lnTo>
                    <a:lnTo>
                      <a:pt x="0" y="25"/>
                    </a:lnTo>
                    <a:lnTo>
                      <a:pt x="0" y="31"/>
                    </a:lnTo>
                    <a:lnTo>
                      <a:pt x="0" y="34"/>
                    </a:lnTo>
                    <a:lnTo>
                      <a:pt x="1" y="37"/>
                    </a:lnTo>
                    <a:lnTo>
                      <a:pt x="2" y="40"/>
                    </a:lnTo>
                    <a:lnTo>
                      <a:pt x="5" y="43"/>
                    </a:lnTo>
                    <a:lnTo>
                      <a:pt x="11" y="48"/>
                    </a:lnTo>
                    <a:lnTo>
                      <a:pt x="18" y="53"/>
                    </a:lnTo>
                    <a:lnTo>
                      <a:pt x="27" y="56"/>
                    </a:lnTo>
                    <a:lnTo>
                      <a:pt x="36" y="59"/>
                    </a:lnTo>
                    <a:lnTo>
                      <a:pt x="45" y="61"/>
                    </a:lnTo>
                    <a:lnTo>
                      <a:pt x="53" y="61"/>
                    </a:lnTo>
                    <a:lnTo>
                      <a:pt x="56" y="61"/>
                    </a:lnTo>
                    <a:lnTo>
                      <a:pt x="59" y="60"/>
                    </a:lnTo>
                    <a:lnTo>
                      <a:pt x="62" y="59"/>
                    </a:lnTo>
                    <a:lnTo>
                      <a:pt x="66" y="57"/>
                    </a:lnTo>
                    <a:lnTo>
                      <a:pt x="72" y="52"/>
                    </a:lnTo>
                    <a:lnTo>
                      <a:pt x="77" y="47"/>
                    </a:lnTo>
                    <a:lnTo>
                      <a:pt x="80" y="40"/>
                    </a:lnTo>
                    <a:lnTo>
                      <a:pt x="83" y="33"/>
                    </a:lnTo>
                    <a:lnTo>
                      <a:pt x="85" y="25"/>
                    </a:lnTo>
                    <a:lnTo>
                      <a:pt x="85" y="18"/>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4" name="Freeform 410">
                <a:extLst>
                  <a:ext uri="{FF2B5EF4-FFF2-40B4-BE49-F238E27FC236}">
                    <a16:creationId xmlns:a16="http://schemas.microsoft.com/office/drawing/2014/main" id="{C6F36B60-9CA9-46B9-B6C5-A3BD3B6EEA44}"/>
                  </a:ext>
                </a:extLst>
              </p:cNvPr>
              <p:cNvSpPr>
                <a:spLocks/>
              </p:cNvSpPr>
              <p:nvPr/>
            </p:nvSpPr>
            <p:spPr bwMode="auto">
              <a:xfrm>
                <a:off x="1254" y="1188"/>
                <a:ext cx="31" cy="6"/>
              </a:xfrm>
              <a:custGeom>
                <a:avLst/>
                <a:gdLst>
                  <a:gd name="T0" fmla="*/ 0 w 100"/>
                  <a:gd name="T1" fmla="*/ 2 h 19"/>
                  <a:gd name="T2" fmla="*/ 2 w 100"/>
                  <a:gd name="T3" fmla="*/ 3 h 19"/>
                  <a:gd name="T4" fmla="*/ 4 w 100"/>
                  <a:gd name="T5" fmla="*/ 5 h 19"/>
                  <a:gd name="T6" fmla="*/ 7 w 100"/>
                  <a:gd name="T7" fmla="*/ 6 h 19"/>
                  <a:gd name="T8" fmla="*/ 8 w 100"/>
                  <a:gd name="T9" fmla="*/ 6 h 19"/>
                  <a:gd name="T10" fmla="*/ 31 w 100"/>
                  <a:gd name="T11" fmla="*/ 2 h 19"/>
                  <a:gd name="T12" fmla="*/ 23 w 100"/>
                  <a:gd name="T13" fmla="*/ 1 h 19"/>
                  <a:gd name="T14" fmla="*/ 15 w 100"/>
                  <a:gd name="T15" fmla="*/ 0 h 19"/>
                  <a:gd name="T16" fmla="*/ 11 w 100"/>
                  <a:gd name="T17" fmla="*/ 0 h 19"/>
                  <a:gd name="T18" fmla="*/ 7 w 100"/>
                  <a:gd name="T19" fmla="*/ 0 h 19"/>
                  <a:gd name="T20" fmla="*/ 4 w 100"/>
                  <a:gd name="T21" fmla="*/ 1 h 19"/>
                  <a:gd name="T22" fmla="*/ 0 w 100"/>
                  <a:gd name="T23" fmla="*/ 2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100" h="19">
                    <a:moveTo>
                      <a:pt x="0" y="6"/>
                    </a:moveTo>
                    <a:lnTo>
                      <a:pt x="7" y="11"/>
                    </a:lnTo>
                    <a:lnTo>
                      <a:pt x="13" y="15"/>
                    </a:lnTo>
                    <a:lnTo>
                      <a:pt x="21" y="18"/>
                    </a:lnTo>
                    <a:lnTo>
                      <a:pt x="27" y="19"/>
                    </a:lnTo>
                    <a:lnTo>
                      <a:pt x="100" y="6"/>
                    </a:lnTo>
                    <a:lnTo>
                      <a:pt x="73" y="2"/>
                    </a:lnTo>
                    <a:lnTo>
                      <a:pt x="47" y="0"/>
                    </a:lnTo>
                    <a:lnTo>
                      <a:pt x="36" y="0"/>
                    </a:lnTo>
                    <a:lnTo>
                      <a:pt x="24" y="1"/>
                    </a:lnTo>
                    <a:lnTo>
                      <a:pt x="12" y="3"/>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5" name="Freeform 411">
                <a:extLst>
                  <a:ext uri="{FF2B5EF4-FFF2-40B4-BE49-F238E27FC236}">
                    <a16:creationId xmlns:a16="http://schemas.microsoft.com/office/drawing/2014/main" id="{0B4FB065-59FF-4B54-B6AA-4464BFDAD74B}"/>
                  </a:ext>
                </a:extLst>
              </p:cNvPr>
              <p:cNvSpPr>
                <a:spLocks/>
              </p:cNvSpPr>
              <p:nvPr/>
            </p:nvSpPr>
            <p:spPr bwMode="auto">
              <a:xfrm>
                <a:off x="1272" y="1168"/>
                <a:ext cx="53" cy="15"/>
              </a:xfrm>
              <a:custGeom>
                <a:avLst/>
                <a:gdLst>
                  <a:gd name="T0" fmla="*/ 0 w 166"/>
                  <a:gd name="T1" fmla="*/ 9 h 45"/>
                  <a:gd name="T2" fmla="*/ 0 w 166"/>
                  <a:gd name="T3" fmla="*/ 10 h 45"/>
                  <a:gd name="T4" fmla="*/ 1 w 166"/>
                  <a:gd name="T5" fmla="*/ 10 h 45"/>
                  <a:gd name="T6" fmla="*/ 3 w 166"/>
                  <a:gd name="T7" fmla="*/ 11 h 45"/>
                  <a:gd name="T8" fmla="*/ 4 w 166"/>
                  <a:gd name="T9" fmla="*/ 12 h 45"/>
                  <a:gd name="T10" fmla="*/ 9 w 166"/>
                  <a:gd name="T11" fmla="*/ 13 h 45"/>
                  <a:gd name="T12" fmla="*/ 14 w 166"/>
                  <a:gd name="T13" fmla="*/ 14 h 45"/>
                  <a:gd name="T14" fmla="*/ 24 w 166"/>
                  <a:gd name="T15" fmla="*/ 15 h 45"/>
                  <a:gd name="T16" fmla="*/ 29 w 166"/>
                  <a:gd name="T17" fmla="*/ 15 h 45"/>
                  <a:gd name="T18" fmla="*/ 53 w 166"/>
                  <a:gd name="T19" fmla="*/ 9 h 45"/>
                  <a:gd name="T20" fmla="*/ 50 w 166"/>
                  <a:gd name="T21" fmla="*/ 8 h 45"/>
                  <a:gd name="T22" fmla="*/ 44 w 166"/>
                  <a:gd name="T23" fmla="*/ 6 h 45"/>
                  <a:gd name="T24" fmla="*/ 35 w 166"/>
                  <a:gd name="T25" fmla="*/ 4 h 45"/>
                  <a:gd name="T26" fmla="*/ 26 w 166"/>
                  <a:gd name="T27" fmla="*/ 1 h 45"/>
                  <a:gd name="T28" fmla="*/ 21 w 166"/>
                  <a:gd name="T29" fmla="*/ 1 h 45"/>
                  <a:gd name="T30" fmla="*/ 16 w 166"/>
                  <a:gd name="T31" fmla="*/ 0 h 45"/>
                  <a:gd name="T32" fmla="*/ 11 w 166"/>
                  <a:gd name="T33" fmla="*/ 0 h 45"/>
                  <a:gd name="T34" fmla="*/ 8 w 166"/>
                  <a:gd name="T35" fmla="*/ 1 h 45"/>
                  <a:gd name="T36" fmla="*/ 6 w 166"/>
                  <a:gd name="T37" fmla="*/ 1 h 45"/>
                  <a:gd name="T38" fmla="*/ 4 w 166"/>
                  <a:gd name="T39" fmla="*/ 2 h 45"/>
                  <a:gd name="T40" fmla="*/ 3 w 166"/>
                  <a:gd name="T41" fmla="*/ 2 h 45"/>
                  <a:gd name="T42" fmla="*/ 2 w 166"/>
                  <a:gd name="T43" fmla="*/ 3 h 45"/>
                  <a:gd name="T44" fmla="*/ 1 w 166"/>
                  <a:gd name="T45" fmla="*/ 4 h 45"/>
                  <a:gd name="T46" fmla="*/ 0 w 166"/>
                  <a:gd name="T47" fmla="*/ 6 h 45"/>
                  <a:gd name="T48" fmla="*/ 0 w 166"/>
                  <a:gd name="T49" fmla="*/ 7 h 45"/>
                  <a:gd name="T50" fmla="*/ 0 w 166"/>
                  <a:gd name="T51" fmla="*/ 9 h 4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66" h="45">
                    <a:moveTo>
                      <a:pt x="0" y="27"/>
                    </a:moveTo>
                    <a:lnTo>
                      <a:pt x="0" y="29"/>
                    </a:lnTo>
                    <a:lnTo>
                      <a:pt x="3" y="31"/>
                    </a:lnTo>
                    <a:lnTo>
                      <a:pt x="8" y="33"/>
                    </a:lnTo>
                    <a:lnTo>
                      <a:pt x="13" y="35"/>
                    </a:lnTo>
                    <a:lnTo>
                      <a:pt x="27" y="38"/>
                    </a:lnTo>
                    <a:lnTo>
                      <a:pt x="44" y="41"/>
                    </a:lnTo>
                    <a:lnTo>
                      <a:pt x="75" y="44"/>
                    </a:lnTo>
                    <a:lnTo>
                      <a:pt x="92" y="45"/>
                    </a:lnTo>
                    <a:lnTo>
                      <a:pt x="166" y="27"/>
                    </a:lnTo>
                    <a:lnTo>
                      <a:pt x="157" y="25"/>
                    </a:lnTo>
                    <a:lnTo>
                      <a:pt x="137" y="19"/>
                    </a:lnTo>
                    <a:lnTo>
                      <a:pt x="110" y="11"/>
                    </a:lnTo>
                    <a:lnTo>
                      <a:pt x="80" y="4"/>
                    </a:lnTo>
                    <a:lnTo>
                      <a:pt x="65" y="2"/>
                    </a:lnTo>
                    <a:lnTo>
                      <a:pt x="50" y="1"/>
                    </a:lnTo>
                    <a:lnTo>
                      <a:pt x="36" y="0"/>
                    </a:lnTo>
                    <a:lnTo>
                      <a:pt x="24" y="2"/>
                    </a:lnTo>
                    <a:lnTo>
                      <a:pt x="19" y="3"/>
                    </a:lnTo>
                    <a:lnTo>
                      <a:pt x="14" y="5"/>
                    </a:lnTo>
                    <a:lnTo>
                      <a:pt x="10" y="7"/>
                    </a:lnTo>
                    <a:lnTo>
                      <a:pt x="7" y="10"/>
                    </a:lnTo>
                    <a:lnTo>
                      <a:pt x="3" y="13"/>
                    </a:lnTo>
                    <a:lnTo>
                      <a:pt x="1" y="17"/>
                    </a:lnTo>
                    <a:lnTo>
                      <a:pt x="0" y="22"/>
                    </a:lnTo>
                    <a:lnTo>
                      <a:pt x="0" y="27"/>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6" name="Freeform 412">
                <a:extLst>
                  <a:ext uri="{FF2B5EF4-FFF2-40B4-BE49-F238E27FC236}">
                    <a16:creationId xmlns:a16="http://schemas.microsoft.com/office/drawing/2014/main" id="{C5FF73C1-3D8E-41CA-ADAC-3E1E782CDC8C}"/>
                  </a:ext>
                </a:extLst>
              </p:cNvPr>
              <p:cNvSpPr>
                <a:spLocks/>
              </p:cNvSpPr>
              <p:nvPr/>
            </p:nvSpPr>
            <p:spPr bwMode="auto">
              <a:xfrm>
                <a:off x="1488" y="1422"/>
                <a:ext cx="11" cy="8"/>
              </a:xfrm>
              <a:custGeom>
                <a:avLst/>
                <a:gdLst>
                  <a:gd name="T0" fmla="*/ 0 w 33"/>
                  <a:gd name="T1" fmla="*/ 0 h 25"/>
                  <a:gd name="T2" fmla="*/ 0 w 33"/>
                  <a:gd name="T3" fmla="*/ 3 h 25"/>
                  <a:gd name="T4" fmla="*/ 1 w 33"/>
                  <a:gd name="T5" fmla="*/ 5 h 25"/>
                  <a:gd name="T6" fmla="*/ 2 w 33"/>
                  <a:gd name="T7" fmla="*/ 6 h 25"/>
                  <a:gd name="T8" fmla="*/ 4 w 33"/>
                  <a:gd name="T9" fmla="*/ 7 h 25"/>
                  <a:gd name="T10" fmla="*/ 5 w 33"/>
                  <a:gd name="T11" fmla="*/ 8 h 25"/>
                  <a:gd name="T12" fmla="*/ 7 w 33"/>
                  <a:gd name="T13" fmla="*/ 8 h 25"/>
                  <a:gd name="T14" fmla="*/ 9 w 33"/>
                  <a:gd name="T15" fmla="*/ 8 h 25"/>
                  <a:gd name="T16" fmla="*/ 11 w 33"/>
                  <a:gd name="T17" fmla="*/ 8 h 25"/>
                  <a:gd name="T18" fmla="*/ 11 w 33"/>
                  <a:gd name="T19" fmla="*/ 0 h 25"/>
                  <a:gd name="T20" fmla="*/ 8 w 33"/>
                  <a:gd name="T21" fmla="*/ 0 h 25"/>
                  <a:gd name="T22" fmla="*/ 5 w 33"/>
                  <a:gd name="T23" fmla="*/ 0 h 25"/>
                  <a:gd name="T24" fmla="*/ 3 w 33"/>
                  <a:gd name="T25" fmla="*/ 0 h 25"/>
                  <a:gd name="T26" fmla="*/ 0 w 33"/>
                  <a:gd name="T27" fmla="*/ 0 h 2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33" h="25">
                    <a:moveTo>
                      <a:pt x="0" y="0"/>
                    </a:moveTo>
                    <a:lnTo>
                      <a:pt x="0" y="9"/>
                    </a:lnTo>
                    <a:lnTo>
                      <a:pt x="3" y="15"/>
                    </a:lnTo>
                    <a:lnTo>
                      <a:pt x="6" y="20"/>
                    </a:lnTo>
                    <a:lnTo>
                      <a:pt x="11" y="22"/>
                    </a:lnTo>
                    <a:lnTo>
                      <a:pt x="16" y="24"/>
                    </a:lnTo>
                    <a:lnTo>
                      <a:pt x="22" y="25"/>
                    </a:lnTo>
                    <a:lnTo>
                      <a:pt x="27" y="25"/>
                    </a:lnTo>
                    <a:lnTo>
                      <a:pt x="33" y="25"/>
                    </a:lnTo>
                    <a:lnTo>
                      <a:pt x="33" y="0"/>
                    </a:lnTo>
                    <a:lnTo>
                      <a:pt x="24" y="0"/>
                    </a:lnTo>
                    <a:lnTo>
                      <a:pt x="16" y="0"/>
                    </a:lnTo>
                    <a:lnTo>
                      <a:pt x="9"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7" name="Freeform 413">
                <a:extLst>
                  <a:ext uri="{FF2B5EF4-FFF2-40B4-BE49-F238E27FC236}">
                    <a16:creationId xmlns:a16="http://schemas.microsoft.com/office/drawing/2014/main" id="{943C3BFD-822E-4FF2-A3DE-D88B6695FF2E}"/>
                  </a:ext>
                </a:extLst>
              </p:cNvPr>
              <p:cNvSpPr>
                <a:spLocks/>
              </p:cNvSpPr>
              <p:nvPr/>
            </p:nvSpPr>
            <p:spPr bwMode="auto">
              <a:xfrm>
                <a:off x="1605" y="1729"/>
                <a:ext cx="16" cy="20"/>
              </a:xfrm>
              <a:custGeom>
                <a:avLst/>
                <a:gdLst>
                  <a:gd name="T0" fmla="*/ 0 w 48"/>
                  <a:gd name="T1" fmla="*/ 20 h 62"/>
                  <a:gd name="T2" fmla="*/ 4 w 48"/>
                  <a:gd name="T3" fmla="*/ 18 h 62"/>
                  <a:gd name="T4" fmla="*/ 7 w 48"/>
                  <a:gd name="T5" fmla="*/ 16 h 62"/>
                  <a:gd name="T6" fmla="*/ 10 w 48"/>
                  <a:gd name="T7" fmla="*/ 14 h 62"/>
                  <a:gd name="T8" fmla="*/ 12 w 48"/>
                  <a:gd name="T9" fmla="*/ 12 h 62"/>
                  <a:gd name="T10" fmla="*/ 14 w 48"/>
                  <a:gd name="T11" fmla="*/ 9 h 62"/>
                  <a:gd name="T12" fmla="*/ 15 w 48"/>
                  <a:gd name="T13" fmla="*/ 6 h 62"/>
                  <a:gd name="T14" fmla="*/ 16 w 48"/>
                  <a:gd name="T15" fmla="*/ 3 h 62"/>
                  <a:gd name="T16" fmla="*/ 16 w 48"/>
                  <a:gd name="T17" fmla="*/ 0 h 62"/>
                  <a:gd name="T18" fmla="*/ 13 w 48"/>
                  <a:gd name="T19" fmla="*/ 1 h 62"/>
                  <a:gd name="T20" fmla="*/ 11 w 48"/>
                  <a:gd name="T21" fmla="*/ 2 h 62"/>
                  <a:gd name="T22" fmla="*/ 8 w 48"/>
                  <a:gd name="T23" fmla="*/ 3 h 62"/>
                  <a:gd name="T24" fmla="*/ 6 w 48"/>
                  <a:gd name="T25" fmla="*/ 5 h 62"/>
                  <a:gd name="T26" fmla="*/ 3 w 48"/>
                  <a:gd name="T27" fmla="*/ 7 h 62"/>
                  <a:gd name="T28" fmla="*/ 2 w 48"/>
                  <a:gd name="T29" fmla="*/ 9 h 62"/>
                  <a:gd name="T30" fmla="*/ 1 w 48"/>
                  <a:gd name="T31" fmla="*/ 10 h 62"/>
                  <a:gd name="T32" fmla="*/ 1 w 48"/>
                  <a:gd name="T33" fmla="*/ 11 h 62"/>
                  <a:gd name="T34" fmla="*/ 0 w 48"/>
                  <a:gd name="T35" fmla="*/ 13 h 62"/>
                  <a:gd name="T36" fmla="*/ 0 w 48"/>
                  <a:gd name="T37" fmla="*/ 14 h 62"/>
                  <a:gd name="T38" fmla="*/ 0 w 48"/>
                  <a:gd name="T39" fmla="*/ 17 h 62"/>
                  <a:gd name="T40" fmla="*/ 0 w 48"/>
                  <a:gd name="T41" fmla="*/ 20 h 6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48" h="62">
                    <a:moveTo>
                      <a:pt x="0" y="62"/>
                    </a:moveTo>
                    <a:lnTo>
                      <a:pt x="12" y="56"/>
                    </a:lnTo>
                    <a:lnTo>
                      <a:pt x="22" y="50"/>
                    </a:lnTo>
                    <a:lnTo>
                      <a:pt x="30" y="43"/>
                    </a:lnTo>
                    <a:lnTo>
                      <a:pt x="37" y="36"/>
                    </a:lnTo>
                    <a:lnTo>
                      <a:pt x="41" y="28"/>
                    </a:lnTo>
                    <a:lnTo>
                      <a:pt x="44" y="19"/>
                    </a:lnTo>
                    <a:lnTo>
                      <a:pt x="47" y="9"/>
                    </a:lnTo>
                    <a:lnTo>
                      <a:pt x="48" y="0"/>
                    </a:lnTo>
                    <a:lnTo>
                      <a:pt x="40" y="3"/>
                    </a:lnTo>
                    <a:lnTo>
                      <a:pt x="32" y="6"/>
                    </a:lnTo>
                    <a:lnTo>
                      <a:pt x="23" y="10"/>
                    </a:lnTo>
                    <a:lnTo>
                      <a:pt x="17" y="15"/>
                    </a:lnTo>
                    <a:lnTo>
                      <a:pt x="10" y="21"/>
                    </a:lnTo>
                    <a:lnTo>
                      <a:pt x="6" y="27"/>
                    </a:lnTo>
                    <a:lnTo>
                      <a:pt x="4" y="31"/>
                    </a:lnTo>
                    <a:lnTo>
                      <a:pt x="3" y="35"/>
                    </a:lnTo>
                    <a:lnTo>
                      <a:pt x="1" y="39"/>
                    </a:lnTo>
                    <a:lnTo>
                      <a:pt x="0" y="43"/>
                    </a:lnTo>
                    <a:lnTo>
                      <a:pt x="0" y="52"/>
                    </a:lnTo>
                    <a:lnTo>
                      <a:pt x="0" y="6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8" name="Freeform 414">
                <a:extLst>
                  <a:ext uri="{FF2B5EF4-FFF2-40B4-BE49-F238E27FC236}">
                    <a16:creationId xmlns:a16="http://schemas.microsoft.com/office/drawing/2014/main" id="{B721A233-A84D-4F09-BCD4-66C19B382574}"/>
                  </a:ext>
                </a:extLst>
              </p:cNvPr>
              <p:cNvSpPr>
                <a:spLocks/>
              </p:cNvSpPr>
              <p:nvPr/>
            </p:nvSpPr>
            <p:spPr bwMode="auto">
              <a:xfrm>
                <a:off x="1554" y="1729"/>
                <a:ext cx="36" cy="20"/>
              </a:xfrm>
              <a:custGeom>
                <a:avLst/>
                <a:gdLst>
                  <a:gd name="T0" fmla="*/ 15 w 113"/>
                  <a:gd name="T1" fmla="*/ 0 h 62"/>
                  <a:gd name="T2" fmla="*/ 11 w 113"/>
                  <a:gd name="T3" fmla="*/ 2 h 62"/>
                  <a:gd name="T4" fmla="*/ 7 w 113"/>
                  <a:gd name="T5" fmla="*/ 5 h 62"/>
                  <a:gd name="T6" fmla="*/ 4 w 113"/>
                  <a:gd name="T7" fmla="*/ 9 h 62"/>
                  <a:gd name="T8" fmla="*/ 0 w 113"/>
                  <a:gd name="T9" fmla="*/ 12 h 62"/>
                  <a:gd name="T10" fmla="*/ 7 w 113"/>
                  <a:gd name="T11" fmla="*/ 15 h 62"/>
                  <a:gd name="T12" fmla="*/ 13 w 113"/>
                  <a:gd name="T13" fmla="*/ 17 h 62"/>
                  <a:gd name="T14" fmla="*/ 16 w 113"/>
                  <a:gd name="T15" fmla="*/ 18 h 62"/>
                  <a:gd name="T16" fmla="*/ 20 w 113"/>
                  <a:gd name="T17" fmla="*/ 19 h 62"/>
                  <a:gd name="T18" fmla="*/ 23 w 113"/>
                  <a:gd name="T19" fmla="*/ 20 h 62"/>
                  <a:gd name="T20" fmla="*/ 28 w 113"/>
                  <a:gd name="T21" fmla="*/ 20 h 62"/>
                  <a:gd name="T22" fmla="*/ 31 w 113"/>
                  <a:gd name="T23" fmla="*/ 20 h 62"/>
                  <a:gd name="T24" fmla="*/ 34 w 113"/>
                  <a:gd name="T25" fmla="*/ 19 h 62"/>
                  <a:gd name="T26" fmla="*/ 35 w 113"/>
                  <a:gd name="T27" fmla="*/ 18 h 62"/>
                  <a:gd name="T28" fmla="*/ 35 w 113"/>
                  <a:gd name="T29" fmla="*/ 17 h 62"/>
                  <a:gd name="T30" fmla="*/ 36 w 113"/>
                  <a:gd name="T31" fmla="*/ 17 h 62"/>
                  <a:gd name="T32" fmla="*/ 36 w 113"/>
                  <a:gd name="T33" fmla="*/ 16 h 62"/>
                  <a:gd name="T34" fmla="*/ 29 w 113"/>
                  <a:gd name="T35" fmla="*/ 13 h 62"/>
                  <a:gd name="T36" fmla="*/ 22 w 113"/>
                  <a:gd name="T37" fmla="*/ 10 h 62"/>
                  <a:gd name="T38" fmla="*/ 21 w 113"/>
                  <a:gd name="T39" fmla="*/ 9 h 62"/>
                  <a:gd name="T40" fmla="*/ 19 w 113"/>
                  <a:gd name="T41" fmla="*/ 8 h 62"/>
                  <a:gd name="T42" fmla="*/ 18 w 113"/>
                  <a:gd name="T43" fmla="*/ 7 h 62"/>
                  <a:gd name="T44" fmla="*/ 17 w 113"/>
                  <a:gd name="T45" fmla="*/ 6 h 62"/>
                  <a:gd name="T46" fmla="*/ 16 w 113"/>
                  <a:gd name="T47" fmla="*/ 5 h 62"/>
                  <a:gd name="T48" fmla="*/ 15 w 113"/>
                  <a:gd name="T49" fmla="*/ 3 h 62"/>
                  <a:gd name="T50" fmla="*/ 15 w 113"/>
                  <a:gd name="T51" fmla="*/ 2 h 62"/>
                  <a:gd name="T52" fmla="*/ 15 w 113"/>
                  <a:gd name="T53" fmla="*/ 0 h 6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13" h="62">
                    <a:moveTo>
                      <a:pt x="47" y="0"/>
                    </a:moveTo>
                    <a:lnTo>
                      <a:pt x="36" y="7"/>
                    </a:lnTo>
                    <a:lnTo>
                      <a:pt x="23" y="17"/>
                    </a:lnTo>
                    <a:lnTo>
                      <a:pt x="11" y="27"/>
                    </a:lnTo>
                    <a:lnTo>
                      <a:pt x="0" y="37"/>
                    </a:lnTo>
                    <a:lnTo>
                      <a:pt x="22" y="46"/>
                    </a:lnTo>
                    <a:lnTo>
                      <a:pt x="41" y="54"/>
                    </a:lnTo>
                    <a:lnTo>
                      <a:pt x="51" y="57"/>
                    </a:lnTo>
                    <a:lnTo>
                      <a:pt x="62" y="59"/>
                    </a:lnTo>
                    <a:lnTo>
                      <a:pt x="73" y="61"/>
                    </a:lnTo>
                    <a:lnTo>
                      <a:pt x="87" y="62"/>
                    </a:lnTo>
                    <a:lnTo>
                      <a:pt x="97" y="61"/>
                    </a:lnTo>
                    <a:lnTo>
                      <a:pt x="106" y="58"/>
                    </a:lnTo>
                    <a:lnTo>
                      <a:pt x="109" y="56"/>
                    </a:lnTo>
                    <a:lnTo>
                      <a:pt x="111" y="54"/>
                    </a:lnTo>
                    <a:lnTo>
                      <a:pt x="113" y="52"/>
                    </a:lnTo>
                    <a:lnTo>
                      <a:pt x="113" y="49"/>
                    </a:lnTo>
                    <a:lnTo>
                      <a:pt x="91" y="41"/>
                    </a:lnTo>
                    <a:lnTo>
                      <a:pt x="70" y="32"/>
                    </a:lnTo>
                    <a:lnTo>
                      <a:pt x="65" y="29"/>
                    </a:lnTo>
                    <a:lnTo>
                      <a:pt x="61" y="26"/>
                    </a:lnTo>
                    <a:lnTo>
                      <a:pt x="57" y="23"/>
                    </a:lnTo>
                    <a:lnTo>
                      <a:pt x="54" y="20"/>
                    </a:lnTo>
                    <a:lnTo>
                      <a:pt x="51" y="16"/>
                    </a:lnTo>
                    <a:lnTo>
                      <a:pt x="48" y="10"/>
                    </a:lnTo>
                    <a:lnTo>
                      <a:pt x="47" y="5"/>
                    </a:lnTo>
                    <a:lnTo>
                      <a:pt x="47"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19" name="Freeform 415">
                <a:extLst>
                  <a:ext uri="{FF2B5EF4-FFF2-40B4-BE49-F238E27FC236}">
                    <a16:creationId xmlns:a16="http://schemas.microsoft.com/office/drawing/2014/main" id="{2CDFD649-6610-455F-8EF0-BF8D6B91975A}"/>
                  </a:ext>
                </a:extLst>
              </p:cNvPr>
              <p:cNvSpPr>
                <a:spLocks/>
              </p:cNvSpPr>
              <p:nvPr/>
            </p:nvSpPr>
            <p:spPr bwMode="auto">
              <a:xfrm>
                <a:off x="1748" y="1188"/>
                <a:ext cx="29" cy="15"/>
              </a:xfrm>
              <a:custGeom>
                <a:avLst/>
                <a:gdLst>
                  <a:gd name="T0" fmla="*/ 0 w 93"/>
                  <a:gd name="T1" fmla="*/ 0 h 50"/>
                  <a:gd name="T2" fmla="*/ 5 w 93"/>
                  <a:gd name="T3" fmla="*/ 0 h 50"/>
                  <a:gd name="T4" fmla="*/ 9 w 93"/>
                  <a:gd name="T5" fmla="*/ 0 h 50"/>
                  <a:gd name="T6" fmla="*/ 14 w 93"/>
                  <a:gd name="T7" fmla="*/ 1 h 50"/>
                  <a:gd name="T8" fmla="*/ 18 w 93"/>
                  <a:gd name="T9" fmla="*/ 2 h 50"/>
                  <a:gd name="T10" fmla="*/ 20 w 93"/>
                  <a:gd name="T11" fmla="*/ 2 h 50"/>
                  <a:gd name="T12" fmla="*/ 22 w 93"/>
                  <a:gd name="T13" fmla="*/ 3 h 50"/>
                  <a:gd name="T14" fmla="*/ 23 w 93"/>
                  <a:gd name="T15" fmla="*/ 4 h 50"/>
                  <a:gd name="T16" fmla="*/ 25 w 93"/>
                  <a:gd name="T17" fmla="*/ 5 h 50"/>
                  <a:gd name="T18" fmla="*/ 27 w 93"/>
                  <a:gd name="T19" fmla="*/ 6 h 50"/>
                  <a:gd name="T20" fmla="*/ 28 w 93"/>
                  <a:gd name="T21" fmla="*/ 8 h 50"/>
                  <a:gd name="T22" fmla="*/ 28 w 93"/>
                  <a:gd name="T23" fmla="*/ 9 h 50"/>
                  <a:gd name="T24" fmla="*/ 29 w 93"/>
                  <a:gd name="T25" fmla="*/ 11 h 50"/>
                  <a:gd name="T26" fmla="*/ 25 w 93"/>
                  <a:gd name="T27" fmla="*/ 11 h 50"/>
                  <a:gd name="T28" fmla="*/ 21 w 93"/>
                  <a:gd name="T29" fmla="*/ 12 h 50"/>
                  <a:gd name="T30" fmla="*/ 19 w 93"/>
                  <a:gd name="T31" fmla="*/ 12 h 50"/>
                  <a:gd name="T32" fmla="*/ 16 w 93"/>
                  <a:gd name="T33" fmla="*/ 13 h 50"/>
                  <a:gd name="T34" fmla="*/ 13 w 93"/>
                  <a:gd name="T35" fmla="*/ 14 h 50"/>
                  <a:gd name="T36" fmla="*/ 10 w 93"/>
                  <a:gd name="T37" fmla="*/ 15 h 50"/>
                  <a:gd name="T38" fmla="*/ 9 w 93"/>
                  <a:gd name="T39" fmla="*/ 15 h 50"/>
                  <a:gd name="T40" fmla="*/ 9 w 93"/>
                  <a:gd name="T41" fmla="*/ 14 h 50"/>
                  <a:gd name="T42" fmla="*/ 8 w 93"/>
                  <a:gd name="T43" fmla="*/ 14 h 50"/>
                  <a:gd name="T44" fmla="*/ 8 w 93"/>
                  <a:gd name="T45" fmla="*/ 14 h 50"/>
                  <a:gd name="T46" fmla="*/ 7 w 93"/>
                  <a:gd name="T47" fmla="*/ 12 h 50"/>
                  <a:gd name="T48" fmla="*/ 7 w 93"/>
                  <a:gd name="T49" fmla="*/ 11 h 50"/>
                  <a:gd name="T50" fmla="*/ 7 w 93"/>
                  <a:gd name="T51" fmla="*/ 9 h 50"/>
                  <a:gd name="T52" fmla="*/ 7 w 93"/>
                  <a:gd name="T53" fmla="*/ 8 h 50"/>
                  <a:gd name="T54" fmla="*/ 7 w 93"/>
                  <a:gd name="T55" fmla="*/ 7 h 50"/>
                  <a:gd name="T56" fmla="*/ 8 w 93"/>
                  <a:gd name="T57" fmla="*/ 6 h 50"/>
                  <a:gd name="T58" fmla="*/ 0 w 93"/>
                  <a:gd name="T59" fmla="*/ 6 h 50"/>
                  <a:gd name="T60" fmla="*/ 0 w 93"/>
                  <a:gd name="T61" fmla="*/ 0 h 5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93" h="50">
                    <a:moveTo>
                      <a:pt x="0" y="0"/>
                    </a:moveTo>
                    <a:lnTo>
                      <a:pt x="15" y="0"/>
                    </a:lnTo>
                    <a:lnTo>
                      <a:pt x="30" y="1"/>
                    </a:lnTo>
                    <a:lnTo>
                      <a:pt x="45" y="2"/>
                    </a:lnTo>
                    <a:lnTo>
                      <a:pt x="59" y="5"/>
                    </a:lnTo>
                    <a:lnTo>
                      <a:pt x="64" y="7"/>
                    </a:lnTo>
                    <a:lnTo>
                      <a:pt x="71" y="9"/>
                    </a:lnTo>
                    <a:lnTo>
                      <a:pt x="75" y="12"/>
                    </a:lnTo>
                    <a:lnTo>
                      <a:pt x="81" y="16"/>
                    </a:lnTo>
                    <a:lnTo>
                      <a:pt x="85" y="20"/>
                    </a:lnTo>
                    <a:lnTo>
                      <a:pt x="89" y="25"/>
                    </a:lnTo>
                    <a:lnTo>
                      <a:pt x="91" y="30"/>
                    </a:lnTo>
                    <a:lnTo>
                      <a:pt x="93" y="37"/>
                    </a:lnTo>
                    <a:lnTo>
                      <a:pt x="79" y="37"/>
                    </a:lnTo>
                    <a:lnTo>
                      <a:pt x="68" y="39"/>
                    </a:lnTo>
                    <a:lnTo>
                      <a:pt x="60" y="41"/>
                    </a:lnTo>
                    <a:lnTo>
                      <a:pt x="52" y="43"/>
                    </a:lnTo>
                    <a:lnTo>
                      <a:pt x="42" y="47"/>
                    </a:lnTo>
                    <a:lnTo>
                      <a:pt x="33" y="50"/>
                    </a:lnTo>
                    <a:lnTo>
                      <a:pt x="30" y="50"/>
                    </a:lnTo>
                    <a:lnTo>
                      <a:pt x="28" y="48"/>
                    </a:lnTo>
                    <a:lnTo>
                      <a:pt x="26" y="47"/>
                    </a:lnTo>
                    <a:lnTo>
                      <a:pt x="25" y="45"/>
                    </a:lnTo>
                    <a:lnTo>
                      <a:pt x="23" y="41"/>
                    </a:lnTo>
                    <a:lnTo>
                      <a:pt x="22" y="36"/>
                    </a:lnTo>
                    <a:lnTo>
                      <a:pt x="22" y="31"/>
                    </a:lnTo>
                    <a:lnTo>
                      <a:pt x="23" y="26"/>
                    </a:lnTo>
                    <a:lnTo>
                      <a:pt x="24" y="22"/>
                    </a:lnTo>
                    <a:lnTo>
                      <a:pt x="26" y="1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0" name="Freeform 416">
                <a:extLst>
                  <a:ext uri="{FF2B5EF4-FFF2-40B4-BE49-F238E27FC236}">
                    <a16:creationId xmlns:a16="http://schemas.microsoft.com/office/drawing/2014/main" id="{38204893-6E0C-498B-9C5F-D2880FB521A0}"/>
                  </a:ext>
                </a:extLst>
              </p:cNvPr>
              <p:cNvSpPr>
                <a:spLocks/>
              </p:cNvSpPr>
              <p:nvPr/>
            </p:nvSpPr>
            <p:spPr bwMode="auto">
              <a:xfrm>
                <a:off x="1436" y="1246"/>
                <a:ext cx="331" cy="198"/>
              </a:xfrm>
              <a:custGeom>
                <a:avLst/>
                <a:gdLst>
                  <a:gd name="T0" fmla="*/ 6 w 1029"/>
                  <a:gd name="T1" fmla="*/ 37 h 604"/>
                  <a:gd name="T2" fmla="*/ 22 w 1029"/>
                  <a:gd name="T3" fmla="*/ 20 h 604"/>
                  <a:gd name="T4" fmla="*/ 86 w 1029"/>
                  <a:gd name="T5" fmla="*/ 0 h 604"/>
                  <a:gd name="T6" fmla="*/ 66 w 1029"/>
                  <a:gd name="T7" fmla="*/ 15 h 604"/>
                  <a:gd name="T8" fmla="*/ 58 w 1029"/>
                  <a:gd name="T9" fmla="*/ 34 h 604"/>
                  <a:gd name="T10" fmla="*/ 88 w 1029"/>
                  <a:gd name="T11" fmla="*/ 20 h 604"/>
                  <a:gd name="T12" fmla="*/ 128 w 1029"/>
                  <a:gd name="T13" fmla="*/ 5 h 604"/>
                  <a:gd name="T14" fmla="*/ 141 w 1029"/>
                  <a:gd name="T15" fmla="*/ 8 h 604"/>
                  <a:gd name="T16" fmla="*/ 139 w 1029"/>
                  <a:gd name="T17" fmla="*/ 23 h 604"/>
                  <a:gd name="T18" fmla="*/ 187 w 1029"/>
                  <a:gd name="T19" fmla="*/ 26 h 604"/>
                  <a:gd name="T20" fmla="*/ 217 w 1029"/>
                  <a:gd name="T21" fmla="*/ 29 h 604"/>
                  <a:gd name="T22" fmla="*/ 241 w 1029"/>
                  <a:gd name="T23" fmla="*/ 36 h 604"/>
                  <a:gd name="T24" fmla="*/ 241 w 1029"/>
                  <a:gd name="T25" fmla="*/ 44 h 604"/>
                  <a:gd name="T26" fmla="*/ 229 w 1029"/>
                  <a:gd name="T27" fmla="*/ 60 h 604"/>
                  <a:gd name="T28" fmla="*/ 257 w 1029"/>
                  <a:gd name="T29" fmla="*/ 55 h 604"/>
                  <a:gd name="T30" fmla="*/ 279 w 1029"/>
                  <a:gd name="T31" fmla="*/ 63 h 604"/>
                  <a:gd name="T32" fmla="*/ 275 w 1029"/>
                  <a:gd name="T33" fmla="*/ 78 h 604"/>
                  <a:gd name="T34" fmla="*/ 253 w 1029"/>
                  <a:gd name="T35" fmla="*/ 81 h 604"/>
                  <a:gd name="T36" fmla="*/ 276 w 1029"/>
                  <a:gd name="T37" fmla="*/ 93 h 604"/>
                  <a:gd name="T38" fmla="*/ 290 w 1029"/>
                  <a:gd name="T39" fmla="*/ 107 h 604"/>
                  <a:gd name="T40" fmla="*/ 314 w 1029"/>
                  <a:gd name="T41" fmla="*/ 108 h 604"/>
                  <a:gd name="T42" fmla="*/ 331 w 1029"/>
                  <a:gd name="T43" fmla="*/ 115 h 604"/>
                  <a:gd name="T44" fmla="*/ 302 w 1029"/>
                  <a:gd name="T45" fmla="*/ 134 h 604"/>
                  <a:gd name="T46" fmla="*/ 289 w 1029"/>
                  <a:gd name="T47" fmla="*/ 137 h 604"/>
                  <a:gd name="T48" fmla="*/ 281 w 1029"/>
                  <a:gd name="T49" fmla="*/ 145 h 604"/>
                  <a:gd name="T50" fmla="*/ 267 w 1029"/>
                  <a:gd name="T51" fmla="*/ 136 h 604"/>
                  <a:gd name="T52" fmla="*/ 274 w 1029"/>
                  <a:gd name="T53" fmla="*/ 129 h 604"/>
                  <a:gd name="T54" fmla="*/ 255 w 1029"/>
                  <a:gd name="T55" fmla="*/ 124 h 604"/>
                  <a:gd name="T56" fmla="*/ 244 w 1029"/>
                  <a:gd name="T57" fmla="*/ 119 h 604"/>
                  <a:gd name="T58" fmla="*/ 239 w 1029"/>
                  <a:gd name="T59" fmla="*/ 129 h 604"/>
                  <a:gd name="T60" fmla="*/ 240 w 1029"/>
                  <a:gd name="T61" fmla="*/ 146 h 604"/>
                  <a:gd name="T62" fmla="*/ 256 w 1029"/>
                  <a:gd name="T63" fmla="*/ 171 h 604"/>
                  <a:gd name="T64" fmla="*/ 248 w 1029"/>
                  <a:gd name="T65" fmla="*/ 179 h 604"/>
                  <a:gd name="T66" fmla="*/ 228 w 1029"/>
                  <a:gd name="T67" fmla="*/ 182 h 604"/>
                  <a:gd name="T68" fmla="*/ 199 w 1029"/>
                  <a:gd name="T69" fmla="*/ 169 h 604"/>
                  <a:gd name="T70" fmla="*/ 215 w 1029"/>
                  <a:gd name="T71" fmla="*/ 186 h 604"/>
                  <a:gd name="T72" fmla="*/ 214 w 1029"/>
                  <a:gd name="T73" fmla="*/ 198 h 604"/>
                  <a:gd name="T74" fmla="*/ 167 w 1029"/>
                  <a:gd name="T75" fmla="*/ 187 h 604"/>
                  <a:gd name="T76" fmla="*/ 152 w 1029"/>
                  <a:gd name="T77" fmla="*/ 171 h 604"/>
                  <a:gd name="T78" fmla="*/ 132 w 1029"/>
                  <a:gd name="T79" fmla="*/ 155 h 604"/>
                  <a:gd name="T80" fmla="*/ 118 w 1029"/>
                  <a:gd name="T81" fmla="*/ 149 h 604"/>
                  <a:gd name="T82" fmla="*/ 126 w 1029"/>
                  <a:gd name="T83" fmla="*/ 142 h 604"/>
                  <a:gd name="T84" fmla="*/ 148 w 1029"/>
                  <a:gd name="T85" fmla="*/ 131 h 604"/>
                  <a:gd name="T86" fmla="*/ 161 w 1029"/>
                  <a:gd name="T87" fmla="*/ 124 h 604"/>
                  <a:gd name="T88" fmla="*/ 186 w 1029"/>
                  <a:gd name="T89" fmla="*/ 125 h 604"/>
                  <a:gd name="T90" fmla="*/ 198 w 1029"/>
                  <a:gd name="T91" fmla="*/ 129 h 604"/>
                  <a:gd name="T92" fmla="*/ 221 w 1029"/>
                  <a:gd name="T93" fmla="*/ 127 h 604"/>
                  <a:gd name="T94" fmla="*/ 187 w 1029"/>
                  <a:gd name="T95" fmla="*/ 116 h 604"/>
                  <a:gd name="T96" fmla="*/ 174 w 1029"/>
                  <a:gd name="T97" fmla="*/ 118 h 604"/>
                  <a:gd name="T98" fmla="*/ 173 w 1029"/>
                  <a:gd name="T99" fmla="*/ 115 h 604"/>
                  <a:gd name="T100" fmla="*/ 185 w 1029"/>
                  <a:gd name="T101" fmla="*/ 100 h 604"/>
                  <a:gd name="T102" fmla="*/ 185 w 1029"/>
                  <a:gd name="T103" fmla="*/ 90 h 604"/>
                  <a:gd name="T104" fmla="*/ 169 w 1029"/>
                  <a:gd name="T105" fmla="*/ 83 h 604"/>
                  <a:gd name="T106" fmla="*/ 152 w 1029"/>
                  <a:gd name="T107" fmla="*/ 65 h 604"/>
                  <a:gd name="T108" fmla="*/ 140 w 1029"/>
                  <a:gd name="T109" fmla="*/ 55 h 604"/>
                  <a:gd name="T110" fmla="*/ 131 w 1029"/>
                  <a:gd name="T111" fmla="*/ 53 h 604"/>
                  <a:gd name="T112" fmla="*/ 122 w 1029"/>
                  <a:gd name="T113" fmla="*/ 67 h 604"/>
                  <a:gd name="T114" fmla="*/ 67 w 1029"/>
                  <a:gd name="T115" fmla="*/ 57 h 604"/>
                  <a:gd name="T116" fmla="*/ 37 w 1029"/>
                  <a:gd name="T117" fmla="*/ 62 h 604"/>
                  <a:gd name="T118" fmla="*/ 25 w 1029"/>
                  <a:gd name="T119" fmla="*/ 61 h 604"/>
                  <a:gd name="T120" fmla="*/ 5 w 1029"/>
                  <a:gd name="T121" fmla="*/ 59 h 604"/>
                  <a:gd name="T122" fmla="*/ 3 w 1029"/>
                  <a:gd name="T123" fmla="*/ 52 h 604"/>
                  <a:gd name="T124" fmla="*/ 24 w 1029"/>
                  <a:gd name="T125" fmla="*/ 49 h 60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1029" h="604">
                    <a:moveTo>
                      <a:pt x="73" y="129"/>
                    </a:moveTo>
                    <a:lnTo>
                      <a:pt x="34" y="129"/>
                    </a:lnTo>
                    <a:lnTo>
                      <a:pt x="28" y="128"/>
                    </a:lnTo>
                    <a:lnTo>
                      <a:pt x="24" y="125"/>
                    </a:lnTo>
                    <a:lnTo>
                      <a:pt x="22" y="121"/>
                    </a:lnTo>
                    <a:lnTo>
                      <a:pt x="20" y="117"/>
                    </a:lnTo>
                    <a:lnTo>
                      <a:pt x="20" y="112"/>
                    </a:lnTo>
                    <a:lnTo>
                      <a:pt x="22" y="107"/>
                    </a:lnTo>
                    <a:lnTo>
                      <a:pt x="24" y="102"/>
                    </a:lnTo>
                    <a:lnTo>
                      <a:pt x="26" y="97"/>
                    </a:lnTo>
                    <a:lnTo>
                      <a:pt x="34" y="87"/>
                    </a:lnTo>
                    <a:lnTo>
                      <a:pt x="42" y="77"/>
                    </a:lnTo>
                    <a:lnTo>
                      <a:pt x="54" y="69"/>
                    </a:lnTo>
                    <a:lnTo>
                      <a:pt x="67" y="60"/>
                    </a:lnTo>
                    <a:lnTo>
                      <a:pt x="81" y="52"/>
                    </a:lnTo>
                    <a:lnTo>
                      <a:pt x="96" y="45"/>
                    </a:lnTo>
                    <a:lnTo>
                      <a:pt x="128" y="30"/>
                    </a:lnTo>
                    <a:lnTo>
                      <a:pt x="160" y="18"/>
                    </a:lnTo>
                    <a:lnTo>
                      <a:pt x="190" y="8"/>
                    </a:lnTo>
                    <a:lnTo>
                      <a:pt x="213" y="0"/>
                    </a:lnTo>
                    <a:lnTo>
                      <a:pt x="266" y="0"/>
                    </a:lnTo>
                    <a:lnTo>
                      <a:pt x="264" y="7"/>
                    </a:lnTo>
                    <a:lnTo>
                      <a:pt x="260" y="14"/>
                    </a:lnTo>
                    <a:lnTo>
                      <a:pt x="255" y="19"/>
                    </a:lnTo>
                    <a:lnTo>
                      <a:pt x="250" y="24"/>
                    </a:lnTo>
                    <a:lnTo>
                      <a:pt x="236" y="32"/>
                    </a:lnTo>
                    <a:lnTo>
                      <a:pt x="220" y="40"/>
                    </a:lnTo>
                    <a:lnTo>
                      <a:pt x="205" y="47"/>
                    </a:lnTo>
                    <a:lnTo>
                      <a:pt x="192" y="55"/>
                    </a:lnTo>
                    <a:lnTo>
                      <a:pt x="187" y="60"/>
                    </a:lnTo>
                    <a:lnTo>
                      <a:pt x="183" y="66"/>
                    </a:lnTo>
                    <a:lnTo>
                      <a:pt x="181" y="72"/>
                    </a:lnTo>
                    <a:lnTo>
                      <a:pt x="180" y="80"/>
                    </a:lnTo>
                    <a:lnTo>
                      <a:pt x="180" y="95"/>
                    </a:lnTo>
                    <a:lnTo>
                      <a:pt x="180" y="105"/>
                    </a:lnTo>
                    <a:lnTo>
                      <a:pt x="198" y="104"/>
                    </a:lnTo>
                    <a:lnTo>
                      <a:pt x="216" y="101"/>
                    </a:lnTo>
                    <a:lnTo>
                      <a:pt x="233" y="97"/>
                    </a:lnTo>
                    <a:lnTo>
                      <a:pt x="252" y="93"/>
                    </a:lnTo>
                    <a:lnTo>
                      <a:pt x="252" y="82"/>
                    </a:lnTo>
                    <a:lnTo>
                      <a:pt x="252" y="67"/>
                    </a:lnTo>
                    <a:lnTo>
                      <a:pt x="274" y="60"/>
                    </a:lnTo>
                    <a:lnTo>
                      <a:pt x="295" y="51"/>
                    </a:lnTo>
                    <a:lnTo>
                      <a:pt x="316" y="42"/>
                    </a:lnTo>
                    <a:lnTo>
                      <a:pt x="336" y="32"/>
                    </a:lnTo>
                    <a:lnTo>
                      <a:pt x="355" y="24"/>
                    </a:lnTo>
                    <a:lnTo>
                      <a:pt x="376" y="18"/>
                    </a:lnTo>
                    <a:lnTo>
                      <a:pt x="386" y="15"/>
                    </a:lnTo>
                    <a:lnTo>
                      <a:pt x="397" y="14"/>
                    </a:lnTo>
                    <a:lnTo>
                      <a:pt x="408" y="12"/>
                    </a:lnTo>
                    <a:lnTo>
                      <a:pt x="419" y="12"/>
                    </a:lnTo>
                    <a:lnTo>
                      <a:pt x="422" y="12"/>
                    </a:lnTo>
                    <a:lnTo>
                      <a:pt x="426" y="14"/>
                    </a:lnTo>
                    <a:lnTo>
                      <a:pt x="429" y="15"/>
                    </a:lnTo>
                    <a:lnTo>
                      <a:pt x="432" y="18"/>
                    </a:lnTo>
                    <a:lnTo>
                      <a:pt x="438" y="23"/>
                    </a:lnTo>
                    <a:lnTo>
                      <a:pt x="443" y="30"/>
                    </a:lnTo>
                    <a:lnTo>
                      <a:pt x="450" y="44"/>
                    </a:lnTo>
                    <a:lnTo>
                      <a:pt x="452" y="49"/>
                    </a:lnTo>
                    <a:lnTo>
                      <a:pt x="443" y="57"/>
                    </a:lnTo>
                    <a:lnTo>
                      <a:pt x="437" y="64"/>
                    </a:lnTo>
                    <a:lnTo>
                      <a:pt x="434" y="68"/>
                    </a:lnTo>
                    <a:lnTo>
                      <a:pt x="433" y="71"/>
                    </a:lnTo>
                    <a:lnTo>
                      <a:pt x="432" y="75"/>
                    </a:lnTo>
                    <a:lnTo>
                      <a:pt x="432" y="80"/>
                    </a:lnTo>
                    <a:lnTo>
                      <a:pt x="467" y="80"/>
                    </a:lnTo>
                    <a:lnTo>
                      <a:pt x="504" y="80"/>
                    </a:lnTo>
                    <a:lnTo>
                      <a:pt x="536" y="80"/>
                    </a:lnTo>
                    <a:lnTo>
                      <a:pt x="565" y="80"/>
                    </a:lnTo>
                    <a:lnTo>
                      <a:pt x="581" y="80"/>
                    </a:lnTo>
                    <a:lnTo>
                      <a:pt x="601" y="83"/>
                    </a:lnTo>
                    <a:lnTo>
                      <a:pt x="621" y="85"/>
                    </a:lnTo>
                    <a:lnTo>
                      <a:pt x="637" y="86"/>
                    </a:lnTo>
                    <a:lnTo>
                      <a:pt x="648" y="86"/>
                    </a:lnTo>
                    <a:lnTo>
                      <a:pt x="658" y="87"/>
                    </a:lnTo>
                    <a:lnTo>
                      <a:pt x="667" y="88"/>
                    </a:lnTo>
                    <a:lnTo>
                      <a:pt x="675" y="89"/>
                    </a:lnTo>
                    <a:lnTo>
                      <a:pt x="690" y="94"/>
                    </a:lnTo>
                    <a:lnTo>
                      <a:pt x="702" y="99"/>
                    </a:lnTo>
                    <a:lnTo>
                      <a:pt x="715" y="103"/>
                    </a:lnTo>
                    <a:lnTo>
                      <a:pt x="728" y="107"/>
                    </a:lnTo>
                    <a:lnTo>
                      <a:pt x="734" y="109"/>
                    </a:lnTo>
                    <a:lnTo>
                      <a:pt x="742" y="110"/>
                    </a:lnTo>
                    <a:lnTo>
                      <a:pt x="749" y="111"/>
                    </a:lnTo>
                    <a:lnTo>
                      <a:pt x="757" y="111"/>
                    </a:lnTo>
                    <a:lnTo>
                      <a:pt x="753" y="115"/>
                    </a:lnTo>
                    <a:lnTo>
                      <a:pt x="751" y="119"/>
                    </a:lnTo>
                    <a:lnTo>
                      <a:pt x="748" y="122"/>
                    </a:lnTo>
                    <a:lnTo>
                      <a:pt x="747" y="125"/>
                    </a:lnTo>
                    <a:lnTo>
                      <a:pt x="747" y="130"/>
                    </a:lnTo>
                    <a:lnTo>
                      <a:pt x="749" y="134"/>
                    </a:lnTo>
                    <a:lnTo>
                      <a:pt x="752" y="138"/>
                    </a:lnTo>
                    <a:lnTo>
                      <a:pt x="754" y="142"/>
                    </a:lnTo>
                    <a:lnTo>
                      <a:pt x="754" y="145"/>
                    </a:lnTo>
                    <a:lnTo>
                      <a:pt x="754" y="147"/>
                    </a:lnTo>
                    <a:lnTo>
                      <a:pt x="753" y="151"/>
                    </a:lnTo>
                    <a:lnTo>
                      <a:pt x="751" y="154"/>
                    </a:lnTo>
                    <a:lnTo>
                      <a:pt x="711" y="184"/>
                    </a:lnTo>
                    <a:lnTo>
                      <a:pt x="728" y="179"/>
                    </a:lnTo>
                    <a:lnTo>
                      <a:pt x="746" y="172"/>
                    </a:lnTo>
                    <a:lnTo>
                      <a:pt x="764" y="166"/>
                    </a:lnTo>
                    <a:lnTo>
                      <a:pt x="777" y="160"/>
                    </a:lnTo>
                    <a:lnTo>
                      <a:pt x="798" y="160"/>
                    </a:lnTo>
                    <a:lnTo>
                      <a:pt x="797" y="164"/>
                    </a:lnTo>
                    <a:lnTo>
                      <a:pt x="799" y="168"/>
                    </a:lnTo>
                    <a:lnTo>
                      <a:pt x="802" y="172"/>
                    </a:lnTo>
                    <a:lnTo>
                      <a:pt x="807" y="174"/>
                    </a:lnTo>
                    <a:lnTo>
                      <a:pt x="820" y="179"/>
                    </a:lnTo>
                    <a:lnTo>
                      <a:pt x="834" y="183"/>
                    </a:lnTo>
                    <a:lnTo>
                      <a:pt x="848" y="186"/>
                    </a:lnTo>
                    <a:lnTo>
                      <a:pt x="860" y="189"/>
                    </a:lnTo>
                    <a:lnTo>
                      <a:pt x="866" y="191"/>
                    </a:lnTo>
                    <a:lnTo>
                      <a:pt x="869" y="192"/>
                    </a:lnTo>
                    <a:lnTo>
                      <a:pt x="870" y="194"/>
                    </a:lnTo>
                    <a:lnTo>
                      <a:pt x="870" y="196"/>
                    </a:lnTo>
                    <a:lnTo>
                      <a:pt x="864" y="234"/>
                    </a:lnTo>
                    <a:lnTo>
                      <a:pt x="863" y="236"/>
                    </a:lnTo>
                    <a:lnTo>
                      <a:pt x="860" y="238"/>
                    </a:lnTo>
                    <a:lnTo>
                      <a:pt x="856" y="239"/>
                    </a:lnTo>
                    <a:lnTo>
                      <a:pt x="852" y="240"/>
                    </a:lnTo>
                    <a:lnTo>
                      <a:pt x="838" y="242"/>
                    </a:lnTo>
                    <a:lnTo>
                      <a:pt x="824" y="243"/>
                    </a:lnTo>
                    <a:lnTo>
                      <a:pt x="809" y="244"/>
                    </a:lnTo>
                    <a:lnTo>
                      <a:pt x="797" y="246"/>
                    </a:lnTo>
                    <a:lnTo>
                      <a:pt x="791" y="247"/>
                    </a:lnTo>
                    <a:lnTo>
                      <a:pt x="788" y="248"/>
                    </a:lnTo>
                    <a:lnTo>
                      <a:pt x="785" y="250"/>
                    </a:lnTo>
                    <a:lnTo>
                      <a:pt x="784" y="252"/>
                    </a:lnTo>
                    <a:lnTo>
                      <a:pt x="799" y="262"/>
                    </a:lnTo>
                    <a:lnTo>
                      <a:pt x="813" y="269"/>
                    </a:lnTo>
                    <a:lnTo>
                      <a:pt x="827" y="275"/>
                    </a:lnTo>
                    <a:lnTo>
                      <a:pt x="843" y="280"/>
                    </a:lnTo>
                    <a:lnTo>
                      <a:pt x="859" y="284"/>
                    </a:lnTo>
                    <a:lnTo>
                      <a:pt x="877" y="287"/>
                    </a:lnTo>
                    <a:lnTo>
                      <a:pt x="896" y="289"/>
                    </a:lnTo>
                    <a:lnTo>
                      <a:pt x="916" y="289"/>
                    </a:lnTo>
                    <a:lnTo>
                      <a:pt x="915" y="298"/>
                    </a:lnTo>
                    <a:lnTo>
                      <a:pt x="913" y="307"/>
                    </a:lnTo>
                    <a:lnTo>
                      <a:pt x="909" y="317"/>
                    </a:lnTo>
                    <a:lnTo>
                      <a:pt x="903" y="327"/>
                    </a:lnTo>
                    <a:lnTo>
                      <a:pt x="914" y="330"/>
                    </a:lnTo>
                    <a:lnTo>
                      <a:pt x="925" y="333"/>
                    </a:lnTo>
                    <a:lnTo>
                      <a:pt x="937" y="333"/>
                    </a:lnTo>
                    <a:lnTo>
                      <a:pt x="948" y="333"/>
                    </a:lnTo>
                    <a:lnTo>
                      <a:pt x="959" y="332"/>
                    </a:lnTo>
                    <a:lnTo>
                      <a:pt x="969" y="331"/>
                    </a:lnTo>
                    <a:lnTo>
                      <a:pt x="977" y="329"/>
                    </a:lnTo>
                    <a:lnTo>
                      <a:pt x="983" y="327"/>
                    </a:lnTo>
                    <a:lnTo>
                      <a:pt x="987" y="333"/>
                    </a:lnTo>
                    <a:lnTo>
                      <a:pt x="991" y="337"/>
                    </a:lnTo>
                    <a:lnTo>
                      <a:pt x="995" y="341"/>
                    </a:lnTo>
                    <a:lnTo>
                      <a:pt x="1002" y="343"/>
                    </a:lnTo>
                    <a:lnTo>
                      <a:pt x="1015" y="347"/>
                    </a:lnTo>
                    <a:lnTo>
                      <a:pt x="1029" y="351"/>
                    </a:lnTo>
                    <a:lnTo>
                      <a:pt x="1012" y="360"/>
                    </a:lnTo>
                    <a:lnTo>
                      <a:pt x="997" y="371"/>
                    </a:lnTo>
                    <a:lnTo>
                      <a:pt x="983" y="382"/>
                    </a:lnTo>
                    <a:lnTo>
                      <a:pt x="971" y="391"/>
                    </a:lnTo>
                    <a:lnTo>
                      <a:pt x="959" y="400"/>
                    </a:lnTo>
                    <a:lnTo>
                      <a:pt x="947" y="406"/>
                    </a:lnTo>
                    <a:lnTo>
                      <a:pt x="939" y="409"/>
                    </a:lnTo>
                    <a:lnTo>
                      <a:pt x="933" y="411"/>
                    </a:lnTo>
                    <a:lnTo>
                      <a:pt x="925" y="412"/>
                    </a:lnTo>
                    <a:lnTo>
                      <a:pt x="916" y="412"/>
                    </a:lnTo>
                    <a:lnTo>
                      <a:pt x="911" y="413"/>
                    </a:lnTo>
                    <a:lnTo>
                      <a:pt x="907" y="414"/>
                    </a:lnTo>
                    <a:lnTo>
                      <a:pt x="902" y="415"/>
                    </a:lnTo>
                    <a:lnTo>
                      <a:pt x="899" y="417"/>
                    </a:lnTo>
                    <a:lnTo>
                      <a:pt x="893" y="422"/>
                    </a:lnTo>
                    <a:lnTo>
                      <a:pt x="889" y="428"/>
                    </a:lnTo>
                    <a:lnTo>
                      <a:pt x="885" y="434"/>
                    </a:lnTo>
                    <a:lnTo>
                      <a:pt x="881" y="439"/>
                    </a:lnTo>
                    <a:lnTo>
                      <a:pt x="879" y="441"/>
                    </a:lnTo>
                    <a:lnTo>
                      <a:pt x="877" y="442"/>
                    </a:lnTo>
                    <a:lnTo>
                      <a:pt x="874" y="443"/>
                    </a:lnTo>
                    <a:lnTo>
                      <a:pt x="870" y="444"/>
                    </a:lnTo>
                    <a:lnTo>
                      <a:pt x="865" y="442"/>
                    </a:lnTo>
                    <a:lnTo>
                      <a:pt x="857" y="439"/>
                    </a:lnTo>
                    <a:lnTo>
                      <a:pt x="849" y="435"/>
                    </a:lnTo>
                    <a:lnTo>
                      <a:pt x="842" y="429"/>
                    </a:lnTo>
                    <a:lnTo>
                      <a:pt x="835" y="422"/>
                    </a:lnTo>
                    <a:lnTo>
                      <a:pt x="830" y="414"/>
                    </a:lnTo>
                    <a:lnTo>
                      <a:pt x="827" y="411"/>
                    </a:lnTo>
                    <a:lnTo>
                      <a:pt x="825" y="407"/>
                    </a:lnTo>
                    <a:lnTo>
                      <a:pt x="824" y="404"/>
                    </a:lnTo>
                    <a:lnTo>
                      <a:pt x="824" y="400"/>
                    </a:lnTo>
                    <a:lnTo>
                      <a:pt x="840" y="400"/>
                    </a:lnTo>
                    <a:lnTo>
                      <a:pt x="851" y="400"/>
                    </a:lnTo>
                    <a:lnTo>
                      <a:pt x="851" y="393"/>
                    </a:lnTo>
                    <a:lnTo>
                      <a:pt x="851" y="382"/>
                    </a:lnTo>
                    <a:lnTo>
                      <a:pt x="837" y="382"/>
                    </a:lnTo>
                    <a:lnTo>
                      <a:pt x="827" y="382"/>
                    </a:lnTo>
                    <a:lnTo>
                      <a:pt x="816" y="382"/>
                    </a:lnTo>
                    <a:lnTo>
                      <a:pt x="804" y="382"/>
                    </a:lnTo>
                    <a:lnTo>
                      <a:pt x="798" y="381"/>
                    </a:lnTo>
                    <a:lnTo>
                      <a:pt x="792" y="379"/>
                    </a:lnTo>
                    <a:lnTo>
                      <a:pt x="788" y="376"/>
                    </a:lnTo>
                    <a:lnTo>
                      <a:pt x="784" y="373"/>
                    </a:lnTo>
                    <a:lnTo>
                      <a:pt x="780" y="369"/>
                    </a:lnTo>
                    <a:lnTo>
                      <a:pt x="776" y="366"/>
                    </a:lnTo>
                    <a:lnTo>
                      <a:pt x="770" y="364"/>
                    </a:lnTo>
                    <a:lnTo>
                      <a:pt x="764" y="363"/>
                    </a:lnTo>
                    <a:lnTo>
                      <a:pt x="759" y="364"/>
                    </a:lnTo>
                    <a:lnTo>
                      <a:pt x="755" y="366"/>
                    </a:lnTo>
                    <a:lnTo>
                      <a:pt x="752" y="369"/>
                    </a:lnTo>
                    <a:lnTo>
                      <a:pt x="749" y="374"/>
                    </a:lnTo>
                    <a:lnTo>
                      <a:pt x="747" y="379"/>
                    </a:lnTo>
                    <a:lnTo>
                      <a:pt x="745" y="384"/>
                    </a:lnTo>
                    <a:lnTo>
                      <a:pt x="744" y="389"/>
                    </a:lnTo>
                    <a:lnTo>
                      <a:pt x="744" y="394"/>
                    </a:lnTo>
                    <a:lnTo>
                      <a:pt x="711" y="394"/>
                    </a:lnTo>
                    <a:lnTo>
                      <a:pt x="711" y="412"/>
                    </a:lnTo>
                    <a:lnTo>
                      <a:pt x="715" y="414"/>
                    </a:lnTo>
                    <a:lnTo>
                      <a:pt x="720" y="418"/>
                    </a:lnTo>
                    <a:lnTo>
                      <a:pt x="726" y="423"/>
                    </a:lnTo>
                    <a:lnTo>
                      <a:pt x="733" y="430"/>
                    </a:lnTo>
                    <a:lnTo>
                      <a:pt x="747" y="445"/>
                    </a:lnTo>
                    <a:lnTo>
                      <a:pt x="762" y="462"/>
                    </a:lnTo>
                    <a:lnTo>
                      <a:pt x="775" y="478"/>
                    </a:lnTo>
                    <a:lnTo>
                      <a:pt x="787" y="494"/>
                    </a:lnTo>
                    <a:lnTo>
                      <a:pt x="795" y="505"/>
                    </a:lnTo>
                    <a:lnTo>
                      <a:pt x="798" y="511"/>
                    </a:lnTo>
                    <a:lnTo>
                      <a:pt x="797" y="517"/>
                    </a:lnTo>
                    <a:lnTo>
                      <a:pt x="795" y="523"/>
                    </a:lnTo>
                    <a:lnTo>
                      <a:pt x="795" y="527"/>
                    </a:lnTo>
                    <a:lnTo>
                      <a:pt x="795" y="530"/>
                    </a:lnTo>
                    <a:lnTo>
                      <a:pt x="796" y="533"/>
                    </a:lnTo>
                    <a:lnTo>
                      <a:pt x="798" y="535"/>
                    </a:lnTo>
                    <a:lnTo>
                      <a:pt x="788" y="539"/>
                    </a:lnTo>
                    <a:lnTo>
                      <a:pt x="779" y="543"/>
                    </a:lnTo>
                    <a:lnTo>
                      <a:pt x="771" y="547"/>
                    </a:lnTo>
                    <a:lnTo>
                      <a:pt x="765" y="551"/>
                    </a:lnTo>
                    <a:lnTo>
                      <a:pt x="758" y="554"/>
                    </a:lnTo>
                    <a:lnTo>
                      <a:pt x="752" y="558"/>
                    </a:lnTo>
                    <a:lnTo>
                      <a:pt x="745" y="560"/>
                    </a:lnTo>
                    <a:lnTo>
                      <a:pt x="737" y="560"/>
                    </a:lnTo>
                    <a:lnTo>
                      <a:pt x="723" y="559"/>
                    </a:lnTo>
                    <a:lnTo>
                      <a:pt x="708" y="556"/>
                    </a:lnTo>
                    <a:lnTo>
                      <a:pt x="695" y="552"/>
                    </a:lnTo>
                    <a:lnTo>
                      <a:pt x="681" y="546"/>
                    </a:lnTo>
                    <a:lnTo>
                      <a:pt x="669" y="540"/>
                    </a:lnTo>
                    <a:lnTo>
                      <a:pt x="659" y="531"/>
                    </a:lnTo>
                    <a:lnTo>
                      <a:pt x="651" y="524"/>
                    </a:lnTo>
                    <a:lnTo>
                      <a:pt x="644" y="517"/>
                    </a:lnTo>
                    <a:lnTo>
                      <a:pt x="618" y="517"/>
                    </a:lnTo>
                    <a:lnTo>
                      <a:pt x="621" y="525"/>
                    </a:lnTo>
                    <a:lnTo>
                      <a:pt x="624" y="531"/>
                    </a:lnTo>
                    <a:lnTo>
                      <a:pt x="629" y="538"/>
                    </a:lnTo>
                    <a:lnTo>
                      <a:pt x="634" y="543"/>
                    </a:lnTo>
                    <a:lnTo>
                      <a:pt x="645" y="552"/>
                    </a:lnTo>
                    <a:lnTo>
                      <a:pt x="657" y="560"/>
                    </a:lnTo>
                    <a:lnTo>
                      <a:pt x="668" y="567"/>
                    </a:lnTo>
                    <a:lnTo>
                      <a:pt x="678" y="575"/>
                    </a:lnTo>
                    <a:lnTo>
                      <a:pt x="683" y="580"/>
                    </a:lnTo>
                    <a:lnTo>
                      <a:pt x="687" y="585"/>
                    </a:lnTo>
                    <a:lnTo>
                      <a:pt x="689" y="590"/>
                    </a:lnTo>
                    <a:lnTo>
                      <a:pt x="691" y="598"/>
                    </a:lnTo>
                    <a:lnTo>
                      <a:pt x="678" y="601"/>
                    </a:lnTo>
                    <a:lnTo>
                      <a:pt x="665" y="604"/>
                    </a:lnTo>
                    <a:lnTo>
                      <a:pt x="644" y="603"/>
                    </a:lnTo>
                    <a:lnTo>
                      <a:pt x="618" y="599"/>
                    </a:lnTo>
                    <a:lnTo>
                      <a:pt x="589" y="592"/>
                    </a:lnTo>
                    <a:lnTo>
                      <a:pt x="558" y="584"/>
                    </a:lnTo>
                    <a:lnTo>
                      <a:pt x="544" y="580"/>
                    </a:lnTo>
                    <a:lnTo>
                      <a:pt x="531" y="575"/>
                    </a:lnTo>
                    <a:lnTo>
                      <a:pt x="518" y="570"/>
                    </a:lnTo>
                    <a:lnTo>
                      <a:pt x="507" y="565"/>
                    </a:lnTo>
                    <a:lnTo>
                      <a:pt x="497" y="559"/>
                    </a:lnTo>
                    <a:lnTo>
                      <a:pt x="488" y="554"/>
                    </a:lnTo>
                    <a:lnTo>
                      <a:pt x="483" y="548"/>
                    </a:lnTo>
                    <a:lnTo>
                      <a:pt x="478" y="542"/>
                    </a:lnTo>
                    <a:lnTo>
                      <a:pt x="475" y="532"/>
                    </a:lnTo>
                    <a:lnTo>
                      <a:pt x="471" y="523"/>
                    </a:lnTo>
                    <a:lnTo>
                      <a:pt x="464" y="513"/>
                    </a:lnTo>
                    <a:lnTo>
                      <a:pt x="457" y="504"/>
                    </a:lnTo>
                    <a:lnTo>
                      <a:pt x="451" y="496"/>
                    </a:lnTo>
                    <a:lnTo>
                      <a:pt x="444" y="489"/>
                    </a:lnTo>
                    <a:lnTo>
                      <a:pt x="438" y="484"/>
                    </a:lnTo>
                    <a:lnTo>
                      <a:pt x="432" y="480"/>
                    </a:lnTo>
                    <a:lnTo>
                      <a:pt x="410" y="473"/>
                    </a:lnTo>
                    <a:lnTo>
                      <a:pt x="388" y="468"/>
                    </a:lnTo>
                    <a:lnTo>
                      <a:pt x="384" y="467"/>
                    </a:lnTo>
                    <a:lnTo>
                      <a:pt x="379" y="465"/>
                    </a:lnTo>
                    <a:lnTo>
                      <a:pt x="375" y="463"/>
                    </a:lnTo>
                    <a:lnTo>
                      <a:pt x="372" y="460"/>
                    </a:lnTo>
                    <a:lnTo>
                      <a:pt x="370" y="457"/>
                    </a:lnTo>
                    <a:lnTo>
                      <a:pt x="367" y="453"/>
                    </a:lnTo>
                    <a:lnTo>
                      <a:pt x="366" y="449"/>
                    </a:lnTo>
                    <a:lnTo>
                      <a:pt x="365" y="444"/>
                    </a:lnTo>
                    <a:lnTo>
                      <a:pt x="366" y="441"/>
                    </a:lnTo>
                    <a:lnTo>
                      <a:pt x="368" y="439"/>
                    </a:lnTo>
                    <a:lnTo>
                      <a:pt x="373" y="437"/>
                    </a:lnTo>
                    <a:lnTo>
                      <a:pt x="378" y="436"/>
                    </a:lnTo>
                    <a:lnTo>
                      <a:pt x="392" y="433"/>
                    </a:lnTo>
                    <a:lnTo>
                      <a:pt x="406" y="430"/>
                    </a:lnTo>
                    <a:lnTo>
                      <a:pt x="435" y="427"/>
                    </a:lnTo>
                    <a:lnTo>
                      <a:pt x="452" y="424"/>
                    </a:lnTo>
                    <a:lnTo>
                      <a:pt x="452" y="416"/>
                    </a:lnTo>
                    <a:lnTo>
                      <a:pt x="454" y="409"/>
                    </a:lnTo>
                    <a:lnTo>
                      <a:pt x="456" y="404"/>
                    </a:lnTo>
                    <a:lnTo>
                      <a:pt x="459" y="399"/>
                    </a:lnTo>
                    <a:lnTo>
                      <a:pt x="461" y="394"/>
                    </a:lnTo>
                    <a:lnTo>
                      <a:pt x="463" y="390"/>
                    </a:lnTo>
                    <a:lnTo>
                      <a:pt x="465" y="386"/>
                    </a:lnTo>
                    <a:lnTo>
                      <a:pt x="465" y="382"/>
                    </a:lnTo>
                    <a:lnTo>
                      <a:pt x="479" y="382"/>
                    </a:lnTo>
                    <a:lnTo>
                      <a:pt x="490" y="380"/>
                    </a:lnTo>
                    <a:lnTo>
                      <a:pt x="500" y="378"/>
                    </a:lnTo>
                    <a:lnTo>
                      <a:pt x="508" y="375"/>
                    </a:lnTo>
                    <a:lnTo>
                      <a:pt x="521" y="368"/>
                    </a:lnTo>
                    <a:lnTo>
                      <a:pt x="532" y="363"/>
                    </a:lnTo>
                    <a:lnTo>
                      <a:pt x="572" y="363"/>
                    </a:lnTo>
                    <a:lnTo>
                      <a:pt x="573" y="369"/>
                    </a:lnTo>
                    <a:lnTo>
                      <a:pt x="575" y="376"/>
                    </a:lnTo>
                    <a:lnTo>
                      <a:pt x="577" y="380"/>
                    </a:lnTo>
                    <a:lnTo>
                      <a:pt x="580" y="384"/>
                    </a:lnTo>
                    <a:lnTo>
                      <a:pt x="583" y="387"/>
                    </a:lnTo>
                    <a:lnTo>
                      <a:pt x="587" y="389"/>
                    </a:lnTo>
                    <a:lnTo>
                      <a:pt x="590" y="391"/>
                    </a:lnTo>
                    <a:lnTo>
                      <a:pt x="595" y="393"/>
                    </a:lnTo>
                    <a:lnTo>
                      <a:pt x="603" y="394"/>
                    </a:lnTo>
                    <a:lnTo>
                      <a:pt x="614" y="395"/>
                    </a:lnTo>
                    <a:lnTo>
                      <a:pt x="625" y="394"/>
                    </a:lnTo>
                    <a:lnTo>
                      <a:pt x="637" y="394"/>
                    </a:lnTo>
                    <a:lnTo>
                      <a:pt x="650" y="394"/>
                    </a:lnTo>
                    <a:lnTo>
                      <a:pt x="659" y="393"/>
                    </a:lnTo>
                    <a:lnTo>
                      <a:pt x="668" y="392"/>
                    </a:lnTo>
                    <a:lnTo>
                      <a:pt x="675" y="390"/>
                    </a:lnTo>
                    <a:lnTo>
                      <a:pt x="687" y="387"/>
                    </a:lnTo>
                    <a:lnTo>
                      <a:pt x="698" y="382"/>
                    </a:lnTo>
                    <a:lnTo>
                      <a:pt x="698" y="373"/>
                    </a:lnTo>
                    <a:lnTo>
                      <a:pt x="698" y="363"/>
                    </a:lnTo>
                    <a:lnTo>
                      <a:pt x="605" y="351"/>
                    </a:lnTo>
                    <a:lnTo>
                      <a:pt x="596" y="351"/>
                    </a:lnTo>
                    <a:lnTo>
                      <a:pt x="588" y="353"/>
                    </a:lnTo>
                    <a:lnTo>
                      <a:pt x="581" y="355"/>
                    </a:lnTo>
                    <a:lnTo>
                      <a:pt x="576" y="357"/>
                    </a:lnTo>
                    <a:lnTo>
                      <a:pt x="572" y="359"/>
                    </a:lnTo>
                    <a:lnTo>
                      <a:pt x="567" y="361"/>
                    </a:lnTo>
                    <a:lnTo>
                      <a:pt x="563" y="362"/>
                    </a:lnTo>
                    <a:lnTo>
                      <a:pt x="558" y="363"/>
                    </a:lnTo>
                    <a:lnTo>
                      <a:pt x="550" y="362"/>
                    </a:lnTo>
                    <a:lnTo>
                      <a:pt x="542" y="361"/>
                    </a:lnTo>
                    <a:lnTo>
                      <a:pt x="540" y="360"/>
                    </a:lnTo>
                    <a:lnTo>
                      <a:pt x="536" y="360"/>
                    </a:lnTo>
                    <a:lnTo>
                      <a:pt x="534" y="361"/>
                    </a:lnTo>
                    <a:lnTo>
                      <a:pt x="532" y="363"/>
                    </a:lnTo>
                    <a:lnTo>
                      <a:pt x="533" y="358"/>
                    </a:lnTo>
                    <a:lnTo>
                      <a:pt x="535" y="354"/>
                    </a:lnTo>
                    <a:lnTo>
                      <a:pt x="539" y="350"/>
                    </a:lnTo>
                    <a:lnTo>
                      <a:pt x="542" y="347"/>
                    </a:lnTo>
                    <a:lnTo>
                      <a:pt x="550" y="339"/>
                    </a:lnTo>
                    <a:lnTo>
                      <a:pt x="557" y="332"/>
                    </a:lnTo>
                    <a:lnTo>
                      <a:pt x="565" y="324"/>
                    </a:lnTo>
                    <a:lnTo>
                      <a:pt x="572" y="316"/>
                    </a:lnTo>
                    <a:lnTo>
                      <a:pt x="574" y="311"/>
                    </a:lnTo>
                    <a:lnTo>
                      <a:pt x="576" y="306"/>
                    </a:lnTo>
                    <a:lnTo>
                      <a:pt x="577" y="301"/>
                    </a:lnTo>
                    <a:lnTo>
                      <a:pt x="578" y="295"/>
                    </a:lnTo>
                    <a:lnTo>
                      <a:pt x="577" y="290"/>
                    </a:lnTo>
                    <a:lnTo>
                      <a:pt x="576" y="283"/>
                    </a:lnTo>
                    <a:lnTo>
                      <a:pt x="575" y="280"/>
                    </a:lnTo>
                    <a:lnTo>
                      <a:pt x="575" y="277"/>
                    </a:lnTo>
                    <a:lnTo>
                      <a:pt x="576" y="274"/>
                    </a:lnTo>
                    <a:lnTo>
                      <a:pt x="578" y="271"/>
                    </a:lnTo>
                    <a:lnTo>
                      <a:pt x="568" y="271"/>
                    </a:lnTo>
                    <a:lnTo>
                      <a:pt x="558" y="269"/>
                    </a:lnTo>
                    <a:lnTo>
                      <a:pt x="550" y="267"/>
                    </a:lnTo>
                    <a:lnTo>
                      <a:pt x="541" y="263"/>
                    </a:lnTo>
                    <a:lnTo>
                      <a:pt x="533" y="258"/>
                    </a:lnTo>
                    <a:lnTo>
                      <a:pt x="524" y="254"/>
                    </a:lnTo>
                    <a:lnTo>
                      <a:pt x="518" y="248"/>
                    </a:lnTo>
                    <a:lnTo>
                      <a:pt x="511" y="243"/>
                    </a:lnTo>
                    <a:lnTo>
                      <a:pt x="499" y="231"/>
                    </a:lnTo>
                    <a:lnTo>
                      <a:pt x="489" y="219"/>
                    </a:lnTo>
                    <a:lnTo>
                      <a:pt x="483" y="208"/>
                    </a:lnTo>
                    <a:lnTo>
                      <a:pt x="478" y="196"/>
                    </a:lnTo>
                    <a:lnTo>
                      <a:pt x="473" y="198"/>
                    </a:lnTo>
                    <a:lnTo>
                      <a:pt x="467" y="198"/>
                    </a:lnTo>
                    <a:lnTo>
                      <a:pt x="463" y="198"/>
                    </a:lnTo>
                    <a:lnTo>
                      <a:pt x="459" y="196"/>
                    </a:lnTo>
                    <a:lnTo>
                      <a:pt x="452" y="190"/>
                    </a:lnTo>
                    <a:lnTo>
                      <a:pt x="446" y="183"/>
                    </a:lnTo>
                    <a:lnTo>
                      <a:pt x="441" y="175"/>
                    </a:lnTo>
                    <a:lnTo>
                      <a:pt x="434" y="168"/>
                    </a:lnTo>
                    <a:lnTo>
                      <a:pt x="431" y="165"/>
                    </a:lnTo>
                    <a:lnTo>
                      <a:pt x="428" y="162"/>
                    </a:lnTo>
                    <a:lnTo>
                      <a:pt x="423" y="161"/>
                    </a:lnTo>
                    <a:lnTo>
                      <a:pt x="419" y="160"/>
                    </a:lnTo>
                    <a:lnTo>
                      <a:pt x="415" y="161"/>
                    </a:lnTo>
                    <a:lnTo>
                      <a:pt x="411" y="162"/>
                    </a:lnTo>
                    <a:lnTo>
                      <a:pt x="408" y="163"/>
                    </a:lnTo>
                    <a:lnTo>
                      <a:pt x="404" y="165"/>
                    </a:lnTo>
                    <a:lnTo>
                      <a:pt x="397" y="170"/>
                    </a:lnTo>
                    <a:lnTo>
                      <a:pt x="392" y="177"/>
                    </a:lnTo>
                    <a:lnTo>
                      <a:pt x="386" y="184"/>
                    </a:lnTo>
                    <a:lnTo>
                      <a:pt x="382" y="191"/>
                    </a:lnTo>
                    <a:lnTo>
                      <a:pt x="379" y="197"/>
                    </a:lnTo>
                    <a:lnTo>
                      <a:pt x="378" y="203"/>
                    </a:lnTo>
                    <a:lnTo>
                      <a:pt x="339" y="203"/>
                    </a:lnTo>
                    <a:lnTo>
                      <a:pt x="317" y="194"/>
                    </a:lnTo>
                    <a:lnTo>
                      <a:pt x="295" y="188"/>
                    </a:lnTo>
                    <a:lnTo>
                      <a:pt x="273" y="182"/>
                    </a:lnTo>
                    <a:lnTo>
                      <a:pt x="252" y="178"/>
                    </a:lnTo>
                    <a:lnTo>
                      <a:pt x="230" y="176"/>
                    </a:lnTo>
                    <a:lnTo>
                      <a:pt x="207" y="174"/>
                    </a:lnTo>
                    <a:lnTo>
                      <a:pt x="184" y="173"/>
                    </a:lnTo>
                    <a:lnTo>
                      <a:pt x="160" y="172"/>
                    </a:lnTo>
                    <a:lnTo>
                      <a:pt x="148" y="173"/>
                    </a:lnTo>
                    <a:lnTo>
                      <a:pt x="138" y="176"/>
                    </a:lnTo>
                    <a:lnTo>
                      <a:pt x="129" y="180"/>
                    </a:lnTo>
                    <a:lnTo>
                      <a:pt x="121" y="184"/>
                    </a:lnTo>
                    <a:lnTo>
                      <a:pt x="114" y="189"/>
                    </a:lnTo>
                    <a:lnTo>
                      <a:pt x="107" y="193"/>
                    </a:lnTo>
                    <a:lnTo>
                      <a:pt x="101" y="195"/>
                    </a:lnTo>
                    <a:lnTo>
                      <a:pt x="93" y="196"/>
                    </a:lnTo>
                    <a:lnTo>
                      <a:pt x="88" y="196"/>
                    </a:lnTo>
                    <a:lnTo>
                      <a:pt x="84" y="194"/>
                    </a:lnTo>
                    <a:lnTo>
                      <a:pt x="81" y="190"/>
                    </a:lnTo>
                    <a:lnTo>
                      <a:pt x="79" y="187"/>
                    </a:lnTo>
                    <a:lnTo>
                      <a:pt x="74" y="179"/>
                    </a:lnTo>
                    <a:lnTo>
                      <a:pt x="73" y="172"/>
                    </a:lnTo>
                    <a:lnTo>
                      <a:pt x="50" y="177"/>
                    </a:lnTo>
                    <a:lnTo>
                      <a:pt x="29" y="181"/>
                    </a:lnTo>
                    <a:lnTo>
                      <a:pt x="25" y="181"/>
                    </a:lnTo>
                    <a:lnTo>
                      <a:pt x="20" y="180"/>
                    </a:lnTo>
                    <a:lnTo>
                      <a:pt x="16" y="180"/>
                    </a:lnTo>
                    <a:lnTo>
                      <a:pt x="13" y="178"/>
                    </a:lnTo>
                    <a:lnTo>
                      <a:pt x="8" y="176"/>
                    </a:lnTo>
                    <a:lnTo>
                      <a:pt x="6" y="174"/>
                    </a:lnTo>
                    <a:lnTo>
                      <a:pt x="3" y="170"/>
                    </a:lnTo>
                    <a:lnTo>
                      <a:pt x="0" y="166"/>
                    </a:lnTo>
                    <a:lnTo>
                      <a:pt x="4" y="162"/>
                    </a:lnTo>
                    <a:lnTo>
                      <a:pt x="9" y="158"/>
                    </a:lnTo>
                    <a:lnTo>
                      <a:pt x="14" y="155"/>
                    </a:lnTo>
                    <a:lnTo>
                      <a:pt x="20" y="152"/>
                    </a:lnTo>
                    <a:lnTo>
                      <a:pt x="32" y="149"/>
                    </a:lnTo>
                    <a:lnTo>
                      <a:pt x="46" y="146"/>
                    </a:lnTo>
                    <a:lnTo>
                      <a:pt x="59" y="145"/>
                    </a:lnTo>
                    <a:lnTo>
                      <a:pt x="70" y="147"/>
                    </a:lnTo>
                    <a:lnTo>
                      <a:pt x="75" y="149"/>
                    </a:lnTo>
                    <a:lnTo>
                      <a:pt x="80" y="150"/>
                    </a:lnTo>
                    <a:lnTo>
                      <a:pt x="83" y="152"/>
                    </a:lnTo>
                    <a:lnTo>
                      <a:pt x="86" y="154"/>
                    </a:lnTo>
                    <a:lnTo>
                      <a:pt x="86" y="139"/>
                    </a:lnTo>
                    <a:lnTo>
                      <a:pt x="86" y="129"/>
                    </a:lnTo>
                    <a:lnTo>
                      <a:pt x="73" y="12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1" name="Freeform 417">
                <a:extLst>
                  <a:ext uri="{FF2B5EF4-FFF2-40B4-BE49-F238E27FC236}">
                    <a16:creationId xmlns:a16="http://schemas.microsoft.com/office/drawing/2014/main" id="{59A3404E-45B4-4E2F-A251-21AFF49C5786}"/>
                  </a:ext>
                </a:extLst>
              </p:cNvPr>
              <p:cNvSpPr>
                <a:spLocks/>
              </p:cNvSpPr>
              <p:nvPr/>
            </p:nvSpPr>
            <p:spPr bwMode="auto">
              <a:xfrm>
                <a:off x="1528" y="1110"/>
                <a:ext cx="409" cy="105"/>
              </a:xfrm>
              <a:custGeom>
                <a:avLst/>
                <a:gdLst>
                  <a:gd name="T0" fmla="*/ 257 w 1268"/>
                  <a:gd name="T1" fmla="*/ 12 h 321"/>
                  <a:gd name="T2" fmla="*/ 262 w 1268"/>
                  <a:gd name="T3" fmla="*/ 5 h 321"/>
                  <a:gd name="T4" fmla="*/ 273 w 1268"/>
                  <a:gd name="T5" fmla="*/ 3 h 321"/>
                  <a:gd name="T6" fmla="*/ 279 w 1268"/>
                  <a:gd name="T7" fmla="*/ 8 h 321"/>
                  <a:gd name="T8" fmla="*/ 303 w 1268"/>
                  <a:gd name="T9" fmla="*/ 5 h 321"/>
                  <a:gd name="T10" fmla="*/ 329 w 1268"/>
                  <a:gd name="T11" fmla="*/ 0 h 321"/>
                  <a:gd name="T12" fmla="*/ 350 w 1268"/>
                  <a:gd name="T13" fmla="*/ 6 h 321"/>
                  <a:gd name="T14" fmla="*/ 365 w 1268"/>
                  <a:gd name="T15" fmla="*/ 7 h 321"/>
                  <a:gd name="T16" fmla="*/ 409 w 1268"/>
                  <a:gd name="T17" fmla="*/ 10 h 321"/>
                  <a:gd name="T18" fmla="*/ 401 w 1268"/>
                  <a:gd name="T19" fmla="*/ 16 h 321"/>
                  <a:gd name="T20" fmla="*/ 375 w 1268"/>
                  <a:gd name="T21" fmla="*/ 21 h 321"/>
                  <a:gd name="T22" fmla="*/ 340 w 1268"/>
                  <a:gd name="T23" fmla="*/ 25 h 321"/>
                  <a:gd name="T24" fmla="*/ 332 w 1268"/>
                  <a:gd name="T25" fmla="*/ 31 h 321"/>
                  <a:gd name="T26" fmla="*/ 322 w 1268"/>
                  <a:gd name="T27" fmla="*/ 34 h 321"/>
                  <a:gd name="T28" fmla="*/ 304 w 1268"/>
                  <a:gd name="T29" fmla="*/ 33 h 321"/>
                  <a:gd name="T30" fmla="*/ 300 w 1268"/>
                  <a:gd name="T31" fmla="*/ 39 h 321"/>
                  <a:gd name="T32" fmla="*/ 241 w 1268"/>
                  <a:gd name="T33" fmla="*/ 44 h 321"/>
                  <a:gd name="T34" fmla="*/ 215 w 1268"/>
                  <a:gd name="T35" fmla="*/ 51 h 321"/>
                  <a:gd name="T36" fmla="*/ 205 w 1268"/>
                  <a:gd name="T37" fmla="*/ 59 h 321"/>
                  <a:gd name="T38" fmla="*/ 191 w 1268"/>
                  <a:gd name="T39" fmla="*/ 55 h 321"/>
                  <a:gd name="T40" fmla="*/ 184 w 1268"/>
                  <a:gd name="T41" fmla="*/ 59 h 321"/>
                  <a:gd name="T42" fmla="*/ 190 w 1268"/>
                  <a:gd name="T43" fmla="*/ 68 h 321"/>
                  <a:gd name="T44" fmla="*/ 176 w 1268"/>
                  <a:gd name="T45" fmla="*/ 78 h 321"/>
                  <a:gd name="T46" fmla="*/ 156 w 1268"/>
                  <a:gd name="T47" fmla="*/ 77 h 321"/>
                  <a:gd name="T48" fmla="*/ 130 w 1268"/>
                  <a:gd name="T49" fmla="*/ 79 h 321"/>
                  <a:gd name="T50" fmla="*/ 131 w 1268"/>
                  <a:gd name="T51" fmla="*/ 84 h 321"/>
                  <a:gd name="T52" fmla="*/ 126 w 1268"/>
                  <a:gd name="T53" fmla="*/ 96 h 321"/>
                  <a:gd name="T54" fmla="*/ 107 w 1268"/>
                  <a:gd name="T55" fmla="*/ 105 h 321"/>
                  <a:gd name="T56" fmla="*/ 94 w 1268"/>
                  <a:gd name="T57" fmla="*/ 97 h 321"/>
                  <a:gd name="T58" fmla="*/ 82 w 1268"/>
                  <a:gd name="T59" fmla="*/ 93 h 321"/>
                  <a:gd name="T60" fmla="*/ 31 w 1268"/>
                  <a:gd name="T61" fmla="*/ 90 h 321"/>
                  <a:gd name="T62" fmla="*/ 0 w 1268"/>
                  <a:gd name="T63" fmla="*/ 93 h 321"/>
                  <a:gd name="T64" fmla="*/ 3 w 1268"/>
                  <a:gd name="T65" fmla="*/ 87 h 321"/>
                  <a:gd name="T66" fmla="*/ 18 w 1268"/>
                  <a:gd name="T67" fmla="*/ 80 h 321"/>
                  <a:gd name="T68" fmla="*/ 46 w 1268"/>
                  <a:gd name="T69" fmla="*/ 77 h 321"/>
                  <a:gd name="T70" fmla="*/ 55 w 1268"/>
                  <a:gd name="T71" fmla="*/ 74 h 321"/>
                  <a:gd name="T72" fmla="*/ 61 w 1268"/>
                  <a:gd name="T73" fmla="*/ 71 h 321"/>
                  <a:gd name="T74" fmla="*/ 71 w 1268"/>
                  <a:gd name="T75" fmla="*/ 76 h 321"/>
                  <a:gd name="T76" fmla="*/ 80 w 1268"/>
                  <a:gd name="T77" fmla="*/ 81 h 321"/>
                  <a:gd name="T78" fmla="*/ 67 w 1268"/>
                  <a:gd name="T79" fmla="*/ 68 h 321"/>
                  <a:gd name="T80" fmla="*/ 62 w 1268"/>
                  <a:gd name="T81" fmla="*/ 65 h 321"/>
                  <a:gd name="T82" fmla="*/ 64 w 1268"/>
                  <a:gd name="T83" fmla="*/ 59 h 321"/>
                  <a:gd name="T84" fmla="*/ 79 w 1268"/>
                  <a:gd name="T85" fmla="*/ 57 h 321"/>
                  <a:gd name="T86" fmla="*/ 118 w 1268"/>
                  <a:gd name="T87" fmla="*/ 61 h 321"/>
                  <a:gd name="T88" fmla="*/ 135 w 1268"/>
                  <a:gd name="T89" fmla="*/ 57 h 321"/>
                  <a:gd name="T90" fmla="*/ 104 w 1268"/>
                  <a:gd name="T91" fmla="*/ 55 h 321"/>
                  <a:gd name="T92" fmla="*/ 96 w 1268"/>
                  <a:gd name="T93" fmla="*/ 49 h 321"/>
                  <a:gd name="T94" fmla="*/ 122 w 1268"/>
                  <a:gd name="T95" fmla="*/ 45 h 321"/>
                  <a:gd name="T96" fmla="*/ 141 w 1268"/>
                  <a:gd name="T97" fmla="*/ 51 h 321"/>
                  <a:gd name="T98" fmla="*/ 154 w 1268"/>
                  <a:gd name="T99" fmla="*/ 41 h 321"/>
                  <a:gd name="T100" fmla="*/ 214 w 1268"/>
                  <a:gd name="T101" fmla="*/ 28 h 321"/>
                  <a:gd name="T102" fmla="*/ 190 w 1268"/>
                  <a:gd name="T103" fmla="*/ 36 h 321"/>
                  <a:gd name="T104" fmla="*/ 145 w 1268"/>
                  <a:gd name="T105" fmla="*/ 36 h 321"/>
                  <a:gd name="T106" fmla="*/ 101 w 1268"/>
                  <a:gd name="T107" fmla="*/ 38 h 321"/>
                  <a:gd name="T108" fmla="*/ 82 w 1268"/>
                  <a:gd name="T109" fmla="*/ 33 h 321"/>
                  <a:gd name="T110" fmla="*/ 71 w 1268"/>
                  <a:gd name="T111" fmla="*/ 26 h 321"/>
                  <a:gd name="T112" fmla="*/ 82 w 1268"/>
                  <a:gd name="T113" fmla="*/ 23 h 321"/>
                  <a:gd name="T114" fmla="*/ 144 w 1268"/>
                  <a:gd name="T115" fmla="*/ 15 h 321"/>
                  <a:gd name="T116" fmla="*/ 199 w 1268"/>
                  <a:gd name="T117" fmla="*/ 10 h 321"/>
                  <a:gd name="T118" fmla="*/ 217 w 1268"/>
                  <a:gd name="T119" fmla="*/ 7 h 321"/>
                  <a:gd name="T120" fmla="*/ 244 w 1268"/>
                  <a:gd name="T121" fmla="*/ 9 h 321"/>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268" h="321">
                    <a:moveTo>
                      <a:pt x="764" y="26"/>
                    </a:moveTo>
                    <a:lnTo>
                      <a:pt x="770" y="30"/>
                    </a:lnTo>
                    <a:lnTo>
                      <a:pt x="778" y="34"/>
                    </a:lnTo>
                    <a:lnTo>
                      <a:pt x="787" y="37"/>
                    </a:lnTo>
                    <a:lnTo>
                      <a:pt x="797" y="38"/>
                    </a:lnTo>
                    <a:lnTo>
                      <a:pt x="797" y="35"/>
                    </a:lnTo>
                    <a:lnTo>
                      <a:pt x="799" y="31"/>
                    </a:lnTo>
                    <a:lnTo>
                      <a:pt x="803" y="26"/>
                    </a:lnTo>
                    <a:lnTo>
                      <a:pt x="807" y="20"/>
                    </a:lnTo>
                    <a:lnTo>
                      <a:pt x="813" y="16"/>
                    </a:lnTo>
                    <a:lnTo>
                      <a:pt x="819" y="11"/>
                    </a:lnTo>
                    <a:lnTo>
                      <a:pt x="828" y="9"/>
                    </a:lnTo>
                    <a:lnTo>
                      <a:pt x="837" y="8"/>
                    </a:lnTo>
                    <a:lnTo>
                      <a:pt x="841" y="8"/>
                    </a:lnTo>
                    <a:lnTo>
                      <a:pt x="846" y="10"/>
                    </a:lnTo>
                    <a:lnTo>
                      <a:pt x="850" y="13"/>
                    </a:lnTo>
                    <a:lnTo>
                      <a:pt x="853" y="17"/>
                    </a:lnTo>
                    <a:lnTo>
                      <a:pt x="858" y="20"/>
                    </a:lnTo>
                    <a:lnTo>
                      <a:pt x="861" y="23"/>
                    </a:lnTo>
                    <a:lnTo>
                      <a:pt x="865" y="25"/>
                    </a:lnTo>
                    <a:lnTo>
                      <a:pt x="870" y="26"/>
                    </a:lnTo>
                    <a:lnTo>
                      <a:pt x="888" y="25"/>
                    </a:lnTo>
                    <a:lnTo>
                      <a:pt x="906" y="22"/>
                    </a:lnTo>
                    <a:lnTo>
                      <a:pt x="921" y="18"/>
                    </a:lnTo>
                    <a:lnTo>
                      <a:pt x="938" y="14"/>
                    </a:lnTo>
                    <a:lnTo>
                      <a:pt x="953" y="9"/>
                    </a:lnTo>
                    <a:lnTo>
                      <a:pt x="970" y="4"/>
                    </a:lnTo>
                    <a:lnTo>
                      <a:pt x="988" y="2"/>
                    </a:lnTo>
                    <a:lnTo>
                      <a:pt x="1009" y="0"/>
                    </a:lnTo>
                    <a:lnTo>
                      <a:pt x="1020" y="1"/>
                    </a:lnTo>
                    <a:lnTo>
                      <a:pt x="1032" y="3"/>
                    </a:lnTo>
                    <a:lnTo>
                      <a:pt x="1045" y="7"/>
                    </a:lnTo>
                    <a:lnTo>
                      <a:pt x="1059" y="11"/>
                    </a:lnTo>
                    <a:lnTo>
                      <a:pt x="1072" y="14"/>
                    </a:lnTo>
                    <a:lnTo>
                      <a:pt x="1084" y="17"/>
                    </a:lnTo>
                    <a:lnTo>
                      <a:pt x="1094" y="19"/>
                    </a:lnTo>
                    <a:lnTo>
                      <a:pt x="1103" y="20"/>
                    </a:lnTo>
                    <a:lnTo>
                      <a:pt x="1115" y="20"/>
                    </a:lnTo>
                    <a:lnTo>
                      <a:pt x="1123" y="20"/>
                    </a:lnTo>
                    <a:lnTo>
                      <a:pt x="1133" y="20"/>
                    </a:lnTo>
                    <a:lnTo>
                      <a:pt x="1149" y="20"/>
                    </a:lnTo>
                    <a:lnTo>
                      <a:pt x="1180" y="21"/>
                    </a:lnTo>
                    <a:lnTo>
                      <a:pt x="1209" y="23"/>
                    </a:lnTo>
                    <a:lnTo>
                      <a:pt x="1236" y="27"/>
                    </a:lnTo>
                    <a:lnTo>
                      <a:pt x="1268" y="32"/>
                    </a:lnTo>
                    <a:lnTo>
                      <a:pt x="1266" y="36"/>
                    </a:lnTo>
                    <a:lnTo>
                      <a:pt x="1263" y="39"/>
                    </a:lnTo>
                    <a:lnTo>
                      <a:pt x="1258" y="42"/>
                    </a:lnTo>
                    <a:lnTo>
                      <a:pt x="1253" y="45"/>
                    </a:lnTo>
                    <a:lnTo>
                      <a:pt x="1242" y="50"/>
                    </a:lnTo>
                    <a:lnTo>
                      <a:pt x="1229" y="54"/>
                    </a:lnTo>
                    <a:lnTo>
                      <a:pt x="1213" y="57"/>
                    </a:lnTo>
                    <a:lnTo>
                      <a:pt x="1198" y="59"/>
                    </a:lnTo>
                    <a:lnTo>
                      <a:pt x="1180" y="62"/>
                    </a:lnTo>
                    <a:lnTo>
                      <a:pt x="1163" y="64"/>
                    </a:lnTo>
                    <a:lnTo>
                      <a:pt x="1128" y="66"/>
                    </a:lnTo>
                    <a:lnTo>
                      <a:pt x="1094" y="69"/>
                    </a:lnTo>
                    <a:lnTo>
                      <a:pt x="1078" y="71"/>
                    </a:lnTo>
                    <a:lnTo>
                      <a:pt x="1065" y="74"/>
                    </a:lnTo>
                    <a:lnTo>
                      <a:pt x="1053" y="77"/>
                    </a:lnTo>
                    <a:lnTo>
                      <a:pt x="1043" y="81"/>
                    </a:lnTo>
                    <a:lnTo>
                      <a:pt x="1039" y="84"/>
                    </a:lnTo>
                    <a:lnTo>
                      <a:pt x="1034" y="87"/>
                    </a:lnTo>
                    <a:lnTo>
                      <a:pt x="1031" y="91"/>
                    </a:lnTo>
                    <a:lnTo>
                      <a:pt x="1029" y="96"/>
                    </a:lnTo>
                    <a:lnTo>
                      <a:pt x="1026" y="99"/>
                    </a:lnTo>
                    <a:lnTo>
                      <a:pt x="1021" y="102"/>
                    </a:lnTo>
                    <a:lnTo>
                      <a:pt x="1016" y="105"/>
                    </a:lnTo>
                    <a:lnTo>
                      <a:pt x="1009" y="105"/>
                    </a:lnTo>
                    <a:lnTo>
                      <a:pt x="999" y="104"/>
                    </a:lnTo>
                    <a:lnTo>
                      <a:pt x="991" y="102"/>
                    </a:lnTo>
                    <a:lnTo>
                      <a:pt x="983" y="98"/>
                    </a:lnTo>
                    <a:lnTo>
                      <a:pt x="976" y="93"/>
                    </a:lnTo>
                    <a:lnTo>
                      <a:pt x="943" y="93"/>
                    </a:lnTo>
                    <a:lnTo>
                      <a:pt x="942" y="102"/>
                    </a:lnTo>
                    <a:lnTo>
                      <a:pt x="939" y="110"/>
                    </a:lnTo>
                    <a:lnTo>
                      <a:pt x="937" y="113"/>
                    </a:lnTo>
                    <a:lnTo>
                      <a:pt x="935" y="115"/>
                    </a:lnTo>
                    <a:lnTo>
                      <a:pt x="932" y="118"/>
                    </a:lnTo>
                    <a:lnTo>
                      <a:pt x="930" y="118"/>
                    </a:lnTo>
                    <a:lnTo>
                      <a:pt x="902" y="119"/>
                    </a:lnTo>
                    <a:lnTo>
                      <a:pt x="862" y="120"/>
                    </a:lnTo>
                    <a:lnTo>
                      <a:pt x="818" y="124"/>
                    </a:lnTo>
                    <a:lnTo>
                      <a:pt x="771" y="129"/>
                    </a:lnTo>
                    <a:lnTo>
                      <a:pt x="747" y="133"/>
                    </a:lnTo>
                    <a:lnTo>
                      <a:pt x="725" y="137"/>
                    </a:lnTo>
                    <a:lnTo>
                      <a:pt x="703" y="143"/>
                    </a:lnTo>
                    <a:lnTo>
                      <a:pt x="683" y="149"/>
                    </a:lnTo>
                    <a:lnTo>
                      <a:pt x="674" y="153"/>
                    </a:lnTo>
                    <a:lnTo>
                      <a:pt x="666" y="156"/>
                    </a:lnTo>
                    <a:lnTo>
                      <a:pt x="658" y="160"/>
                    </a:lnTo>
                    <a:lnTo>
                      <a:pt x="651" y="165"/>
                    </a:lnTo>
                    <a:lnTo>
                      <a:pt x="645" y="169"/>
                    </a:lnTo>
                    <a:lnTo>
                      <a:pt x="639" y="175"/>
                    </a:lnTo>
                    <a:lnTo>
                      <a:pt x="635" y="181"/>
                    </a:lnTo>
                    <a:lnTo>
                      <a:pt x="630" y="186"/>
                    </a:lnTo>
                    <a:lnTo>
                      <a:pt x="604" y="186"/>
                    </a:lnTo>
                    <a:lnTo>
                      <a:pt x="604" y="177"/>
                    </a:lnTo>
                    <a:lnTo>
                      <a:pt x="604" y="167"/>
                    </a:lnTo>
                    <a:lnTo>
                      <a:pt x="591" y="167"/>
                    </a:lnTo>
                    <a:lnTo>
                      <a:pt x="579" y="167"/>
                    </a:lnTo>
                    <a:lnTo>
                      <a:pt x="562" y="167"/>
                    </a:lnTo>
                    <a:lnTo>
                      <a:pt x="538" y="167"/>
                    </a:lnTo>
                    <a:lnTo>
                      <a:pt x="556" y="175"/>
                    </a:lnTo>
                    <a:lnTo>
                      <a:pt x="570" y="181"/>
                    </a:lnTo>
                    <a:lnTo>
                      <a:pt x="577" y="185"/>
                    </a:lnTo>
                    <a:lnTo>
                      <a:pt x="583" y="190"/>
                    </a:lnTo>
                    <a:lnTo>
                      <a:pt x="591" y="196"/>
                    </a:lnTo>
                    <a:lnTo>
                      <a:pt x="597" y="204"/>
                    </a:lnTo>
                    <a:lnTo>
                      <a:pt x="590" y="207"/>
                    </a:lnTo>
                    <a:lnTo>
                      <a:pt x="581" y="212"/>
                    </a:lnTo>
                    <a:lnTo>
                      <a:pt x="571" y="218"/>
                    </a:lnTo>
                    <a:lnTo>
                      <a:pt x="562" y="225"/>
                    </a:lnTo>
                    <a:lnTo>
                      <a:pt x="552" y="232"/>
                    </a:lnTo>
                    <a:lnTo>
                      <a:pt x="545" y="237"/>
                    </a:lnTo>
                    <a:lnTo>
                      <a:pt x="537" y="240"/>
                    </a:lnTo>
                    <a:lnTo>
                      <a:pt x="532" y="241"/>
                    </a:lnTo>
                    <a:lnTo>
                      <a:pt x="517" y="241"/>
                    </a:lnTo>
                    <a:lnTo>
                      <a:pt x="502" y="238"/>
                    </a:lnTo>
                    <a:lnTo>
                      <a:pt x="483" y="236"/>
                    </a:lnTo>
                    <a:lnTo>
                      <a:pt x="458" y="235"/>
                    </a:lnTo>
                    <a:lnTo>
                      <a:pt x="442" y="236"/>
                    </a:lnTo>
                    <a:lnTo>
                      <a:pt x="427" y="237"/>
                    </a:lnTo>
                    <a:lnTo>
                      <a:pt x="415" y="240"/>
                    </a:lnTo>
                    <a:lnTo>
                      <a:pt x="404" y="242"/>
                    </a:lnTo>
                    <a:lnTo>
                      <a:pt x="384" y="248"/>
                    </a:lnTo>
                    <a:lnTo>
                      <a:pt x="365" y="254"/>
                    </a:lnTo>
                    <a:lnTo>
                      <a:pt x="382" y="257"/>
                    </a:lnTo>
                    <a:lnTo>
                      <a:pt x="394" y="258"/>
                    </a:lnTo>
                    <a:lnTo>
                      <a:pt x="405" y="257"/>
                    </a:lnTo>
                    <a:lnTo>
                      <a:pt x="418" y="254"/>
                    </a:lnTo>
                    <a:lnTo>
                      <a:pt x="418" y="272"/>
                    </a:lnTo>
                    <a:lnTo>
                      <a:pt x="413" y="277"/>
                    </a:lnTo>
                    <a:lnTo>
                      <a:pt x="404" y="285"/>
                    </a:lnTo>
                    <a:lnTo>
                      <a:pt x="392" y="293"/>
                    </a:lnTo>
                    <a:lnTo>
                      <a:pt x="379" y="301"/>
                    </a:lnTo>
                    <a:lnTo>
                      <a:pt x="356" y="315"/>
                    </a:lnTo>
                    <a:lnTo>
                      <a:pt x="345" y="321"/>
                    </a:lnTo>
                    <a:lnTo>
                      <a:pt x="339" y="321"/>
                    </a:lnTo>
                    <a:lnTo>
                      <a:pt x="333" y="320"/>
                    </a:lnTo>
                    <a:lnTo>
                      <a:pt x="327" y="318"/>
                    </a:lnTo>
                    <a:lnTo>
                      <a:pt x="322" y="315"/>
                    </a:lnTo>
                    <a:lnTo>
                      <a:pt x="312" y="310"/>
                    </a:lnTo>
                    <a:lnTo>
                      <a:pt x="301" y="303"/>
                    </a:lnTo>
                    <a:lnTo>
                      <a:pt x="290" y="296"/>
                    </a:lnTo>
                    <a:lnTo>
                      <a:pt x="279" y="290"/>
                    </a:lnTo>
                    <a:lnTo>
                      <a:pt x="272" y="288"/>
                    </a:lnTo>
                    <a:lnTo>
                      <a:pt x="266" y="286"/>
                    </a:lnTo>
                    <a:lnTo>
                      <a:pt x="259" y="285"/>
                    </a:lnTo>
                    <a:lnTo>
                      <a:pt x="253" y="285"/>
                    </a:lnTo>
                    <a:lnTo>
                      <a:pt x="215" y="283"/>
                    </a:lnTo>
                    <a:lnTo>
                      <a:pt x="182" y="281"/>
                    </a:lnTo>
                    <a:lnTo>
                      <a:pt x="152" y="279"/>
                    </a:lnTo>
                    <a:lnTo>
                      <a:pt x="123" y="277"/>
                    </a:lnTo>
                    <a:lnTo>
                      <a:pt x="96" y="276"/>
                    </a:lnTo>
                    <a:lnTo>
                      <a:pt x="66" y="276"/>
                    </a:lnTo>
                    <a:lnTo>
                      <a:pt x="51" y="277"/>
                    </a:lnTo>
                    <a:lnTo>
                      <a:pt x="35" y="279"/>
                    </a:lnTo>
                    <a:lnTo>
                      <a:pt x="18" y="281"/>
                    </a:lnTo>
                    <a:lnTo>
                      <a:pt x="0" y="285"/>
                    </a:lnTo>
                    <a:lnTo>
                      <a:pt x="0" y="281"/>
                    </a:lnTo>
                    <a:lnTo>
                      <a:pt x="1" y="277"/>
                    </a:lnTo>
                    <a:lnTo>
                      <a:pt x="2" y="274"/>
                    </a:lnTo>
                    <a:lnTo>
                      <a:pt x="5" y="271"/>
                    </a:lnTo>
                    <a:lnTo>
                      <a:pt x="10" y="266"/>
                    </a:lnTo>
                    <a:lnTo>
                      <a:pt x="17" y="261"/>
                    </a:lnTo>
                    <a:lnTo>
                      <a:pt x="25" y="257"/>
                    </a:lnTo>
                    <a:lnTo>
                      <a:pt x="35" y="253"/>
                    </a:lnTo>
                    <a:lnTo>
                      <a:pt x="45" y="249"/>
                    </a:lnTo>
                    <a:lnTo>
                      <a:pt x="56" y="246"/>
                    </a:lnTo>
                    <a:lnTo>
                      <a:pt x="79" y="241"/>
                    </a:lnTo>
                    <a:lnTo>
                      <a:pt x="101" y="238"/>
                    </a:lnTo>
                    <a:lnTo>
                      <a:pt x="120" y="236"/>
                    </a:lnTo>
                    <a:lnTo>
                      <a:pt x="133" y="235"/>
                    </a:lnTo>
                    <a:lnTo>
                      <a:pt x="143" y="235"/>
                    </a:lnTo>
                    <a:lnTo>
                      <a:pt x="159" y="235"/>
                    </a:lnTo>
                    <a:lnTo>
                      <a:pt x="162" y="235"/>
                    </a:lnTo>
                    <a:lnTo>
                      <a:pt x="164" y="233"/>
                    </a:lnTo>
                    <a:lnTo>
                      <a:pt x="167" y="230"/>
                    </a:lnTo>
                    <a:lnTo>
                      <a:pt x="170" y="225"/>
                    </a:lnTo>
                    <a:lnTo>
                      <a:pt x="174" y="222"/>
                    </a:lnTo>
                    <a:lnTo>
                      <a:pt x="177" y="219"/>
                    </a:lnTo>
                    <a:lnTo>
                      <a:pt x="181" y="217"/>
                    </a:lnTo>
                    <a:lnTo>
                      <a:pt x="186" y="216"/>
                    </a:lnTo>
                    <a:lnTo>
                      <a:pt x="190" y="217"/>
                    </a:lnTo>
                    <a:lnTo>
                      <a:pt x="196" y="218"/>
                    </a:lnTo>
                    <a:lnTo>
                      <a:pt x="200" y="219"/>
                    </a:lnTo>
                    <a:lnTo>
                      <a:pt x="203" y="221"/>
                    </a:lnTo>
                    <a:lnTo>
                      <a:pt x="211" y="226"/>
                    </a:lnTo>
                    <a:lnTo>
                      <a:pt x="219" y="232"/>
                    </a:lnTo>
                    <a:lnTo>
                      <a:pt x="226" y="238"/>
                    </a:lnTo>
                    <a:lnTo>
                      <a:pt x="234" y="243"/>
                    </a:lnTo>
                    <a:lnTo>
                      <a:pt x="238" y="245"/>
                    </a:lnTo>
                    <a:lnTo>
                      <a:pt x="243" y="246"/>
                    </a:lnTo>
                    <a:lnTo>
                      <a:pt x="247" y="247"/>
                    </a:lnTo>
                    <a:lnTo>
                      <a:pt x="253" y="247"/>
                    </a:lnTo>
                    <a:lnTo>
                      <a:pt x="253" y="204"/>
                    </a:lnTo>
                    <a:lnTo>
                      <a:pt x="232" y="206"/>
                    </a:lnTo>
                    <a:lnTo>
                      <a:pt x="212" y="207"/>
                    </a:lnTo>
                    <a:lnTo>
                      <a:pt x="208" y="207"/>
                    </a:lnTo>
                    <a:lnTo>
                      <a:pt x="204" y="207"/>
                    </a:lnTo>
                    <a:lnTo>
                      <a:pt x="201" y="206"/>
                    </a:lnTo>
                    <a:lnTo>
                      <a:pt x="198" y="204"/>
                    </a:lnTo>
                    <a:lnTo>
                      <a:pt x="196" y="202"/>
                    </a:lnTo>
                    <a:lnTo>
                      <a:pt x="193" y="200"/>
                    </a:lnTo>
                    <a:lnTo>
                      <a:pt x="192" y="196"/>
                    </a:lnTo>
                    <a:lnTo>
                      <a:pt x="192" y="192"/>
                    </a:lnTo>
                    <a:lnTo>
                      <a:pt x="193" y="188"/>
                    </a:lnTo>
                    <a:lnTo>
                      <a:pt x="194" y="184"/>
                    </a:lnTo>
                    <a:lnTo>
                      <a:pt x="197" y="181"/>
                    </a:lnTo>
                    <a:lnTo>
                      <a:pt x="199" y="179"/>
                    </a:lnTo>
                    <a:lnTo>
                      <a:pt x="205" y="176"/>
                    </a:lnTo>
                    <a:lnTo>
                      <a:pt x="214" y="174"/>
                    </a:lnTo>
                    <a:lnTo>
                      <a:pt x="232" y="172"/>
                    </a:lnTo>
                    <a:lnTo>
                      <a:pt x="246" y="174"/>
                    </a:lnTo>
                    <a:lnTo>
                      <a:pt x="265" y="176"/>
                    </a:lnTo>
                    <a:lnTo>
                      <a:pt x="290" y="180"/>
                    </a:lnTo>
                    <a:lnTo>
                      <a:pt x="315" y="184"/>
                    </a:lnTo>
                    <a:lnTo>
                      <a:pt x="338" y="186"/>
                    </a:lnTo>
                    <a:lnTo>
                      <a:pt x="365" y="186"/>
                    </a:lnTo>
                    <a:lnTo>
                      <a:pt x="386" y="184"/>
                    </a:lnTo>
                    <a:lnTo>
                      <a:pt x="394" y="183"/>
                    </a:lnTo>
                    <a:lnTo>
                      <a:pt x="403" y="181"/>
                    </a:lnTo>
                    <a:lnTo>
                      <a:pt x="411" y="178"/>
                    </a:lnTo>
                    <a:lnTo>
                      <a:pt x="418" y="174"/>
                    </a:lnTo>
                    <a:lnTo>
                      <a:pt x="379" y="172"/>
                    </a:lnTo>
                    <a:lnTo>
                      <a:pt x="344" y="172"/>
                    </a:lnTo>
                    <a:lnTo>
                      <a:pt x="336" y="172"/>
                    </a:lnTo>
                    <a:lnTo>
                      <a:pt x="328" y="171"/>
                    </a:lnTo>
                    <a:lnTo>
                      <a:pt x="322" y="169"/>
                    </a:lnTo>
                    <a:lnTo>
                      <a:pt x="315" y="167"/>
                    </a:lnTo>
                    <a:lnTo>
                      <a:pt x="310" y="164"/>
                    </a:lnTo>
                    <a:lnTo>
                      <a:pt x="305" y="160"/>
                    </a:lnTo>
                    <a:lnTo>
                      <a:pt x="302" y="155"/>
                    </a:lnTo>
                    <a:lnTo>
                      <a:pt x="299" y="149"/>
                    </a:lnTo>
                    <a:lnTo>
                      <a:pt x="309" y="145"/>
                    </a:lnTo>
                    <a:lnTo>
                      <a:pt x="320" y="142"/>
                    </a:lnTo>
                    <a:lnTo>
                      <a:pt x="331" y="140"/>
                    </a:lnTo>
                    <a:lnTo>
                      <a:pt x="345" y="138"/>
                    </a:lnTo>
                    <a:lnTo>
                      <a:pt x="378" y="137"/>
                    </a:lnTo>
                    <a:lnTo>
                      <a:pt x="425" y="137"/>
                    </a:lnTo>
                    <a:lnTo>
                      <a:pt x="426" y="141"/>
                    </a:lnTo>
                    <a:lnTo>
                      <a:pt x="429" y="146"/>
                    </a:lnTo>
                    <a:lnTo>
                      <a:pt x="434" y="150"/>
                    </a:lnTo>
                    <a:lnTo>
                      <a:pt x="438" y="155"/>
                    </a:lnTo>
                    <a:lnTo>
                      <a:pt x="484" y="155"/>
                    </a:lnTo>
                    <a:lnTo>
                      <a:pt x="483" y="146"/>
                    </a:lnTo>
                    <a:lnTo>
                      <a:pt x="481" y="137"/>
                    </a:lnTo>
                    <a:lnTo>
                      <a:pt x="479" y="130"/>
                    </a:lnTo>
                    <a:lnTo>
                      <a:pt x="478" y="124"/>
                    </a:lnTo>
                    <a:lnTo>
                      <a:pt x="645" y="124"/>
                    </a:lnTo>
                    <a:lnTo>
                      <a:pt x="648" y="109"/>
                    </a:lnTo>
                    <a:lnTo>
                      <a:pt x="651" y="101"/>
                    </a:lnTo>
                    <a:lnTo>
                      <a:pt x="657" y="95"/>
                    </a:lnTo>
                    <a:lnTo>
                      <a:pt x="664" y="87"/>
                    </a:lnTo>
                    <a:lnTo>
                      <a:pt x="653" y="91"/>
                    </a:lnTo>
                    <a:lnTo>
                      <a:pt x="638" y="99"/>
                    </a:lnTo>
                    <a:lnTo>
                      <a:pt x="622" y="108"/>
                    </a:lnTo>
                    <a:lnTo>
                      <a:pt x="611" y="111"/>
                    </a:lnTo>
                    <a:lnTo>
                      <a:pt x="589" y="110"/>
                    </a:lnTo>
                    <a:lnTo>
                      <a:pt x="556" y="108"/>
                    </a:lnTo>
                    <a:lnTo>
                      <a:pt x="522" y="106"/>
                    </a:lnTo>
                    <a:lnTo>
                      <a:pt x="491" y="105"/>
                    </a:lnTo>
                    <a:lnTo>
                      <a:pt x="476" y="107"/>
                    </a:lnTo>
                    <a:lnTo>
                      <a:pt x="449" y="111"/>
                    </a:lnTo>
                    <a:lnTo>
                      <a:pt x="414" y="115"/>
                    </a:lnTo>
                    <a:lnTo>
                      <a:pt x="376" y="119"/>
                    </a:lnTo>
                    <a:lnTo>
                      <a:pt x="355" y="120"/>
                    </a:lnTo>
                    <a:lnTo>
                      <a:pt x="333" y="119"/>
                    </a:lnTo>
                    <a:lnTo>
                      <a:pt x="312" y="116"/>
                    </a:lnTo>
                    <a:lnTo>
                      <a:pt x="291" y="113"/>
                    </a:lnTo>
                    <a:lnTo>
                      <a:pt x="281" y="111"/>
                    </a:lnTo>
                    <a:lnTo>
                      <a:pt x="271" y="108"/>
                    </a:lnTo>
                    <a:lnTo>
                      <a:pt x="261" y="105"/>
                    </a:lnTo>
                    <a:lnTo>
                      <a:pt x="253" y="101"/>
                    </a:lnTo>
                    <a:lnTo>
                      <a:pt x="244" y="97"/>
                    </a:lnTo>
                    <a:lnTo>
                      <a:pt x="235" y="92"/>
                    </a:lnTo>
                    <a:lnTo>
                      <a:pt x="226" y="87"/>
                    </a:lnTo>
                    <a:lnTo>
                      <a:pt x="219" y="81"/>
                    </a:lnTo>
                    <a:lnTo>
                      <a:pt x="219" y="80"/>
                    </a:lnTo>
                    <a:lnTo>
                      <a:pt x="221" y="79"/>
                    </a:lnTo>
                    <a:lnTo>
                      <a:pt x="223" y="78"/>
                    </a:lnTo>
                    <a:lnTo>
                      <a:pt x="227" y="76"/>
                    </a:lnTo>
                    <a:lnTo>
                      <a:pt x="238" y="74"/>
                    </a:lnTo>
                    <a:lnTo>
                      <a:pt x="253" y="71"/>
                    </a:lnTo>
                    <a:lnTo>
                      <a:pt x="290" y="66"/>
                    </a:lnTo>
                    <a:lnTo>
                      <a:pt x="334" y="60"/>
                    </a:lnTo>
                    <a:lnTo>
                      <a:pt x="378" y="55"/>
                    </a:lnTo>
                    <a:lnTo>
                      <a:pt x="417" y="50"/>
                    </a:lnTo>
                    <a:lnTo>
                      <a:pt x="446" y="47"/>
                    </a:lnTo>
                    <a:lnTo>
                      <a:pt x="458" y="44"/>
                    </a:lnTo>
                    <a:lnTo>
                      <a:pt x="545" y="44"/>
                    </a:lnTo>
                    <a:lnTo>
                      <a:pt x="591" y="32"/>
                    </a:lnTo>
                    <a:lnTo>
                      <a:pt x="605" y="33"/>
                    </a:lnTo>
                    <a:lnTo>
                      <a:pt x="618" y="32"/>
                    </a:lnTo>
                    <a:lnTo>
                      <a:pt x="631" y="31"/>
                    </a:lnTo>
                    <a:lnTo>
                      <a:pt x="642" y="28"/>
                    </a:lnTo>
                    <a:lnTo>
                      <a:pt x="653" y="25"/>
                    </a:lnTo>
                    <a:lnTo>
                      <a:pt x="664" y="22"/>
                    </a:lnTo>
                    <a:lnTo>
                      <a:pt x="674" y="20"/>
                    </a:lnTo>
                    <a:lnTo>
                      <a:pt x="684" y="20"/>
                    </a:lnTo>
                    <a:lnTo>
                      <a:pt x="707" y="21"/>
                    </a:lnTo>
                    <a:lnTo>
                      <a:pt x="723" y="23"/>
                    </a:lnTo>
                    <a:lnTo>
                      <a:pt x="737" y="25"/>
                    </a:lnTo>
                    <a:lnTo>
                      <a:pt x="757" y="26"/>
                    </a:lnTo>
                    <a:lnTo>
                      <a:pt x="764" y="2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2" name="Freeform 418">
                <a:extLst>
                  <a:ext uri="{FF2B5EF4-FFF2-40B4-BE49-F238E27FC236}">
                    <a16:creationId xmlns:a16="http://schemas.microsoft.com/office/drawing/2014/main" id="{17834A26-2FCF-4330-858A-C4886D8DF5A8}"/>
                  </a:ext>
                </a:extLst>
              </p:cNvPr>
              <p:cNvSpPr>
                <a:spLocks/>
              </p:cNvSpPr>
              <p:nvPr/>
            </p:nvSpPr>
            <p:spPr bwMode="auto">
              <a:xfrm>
                <a:off x="553" y="1660"/>
                <a:ext cx="51" cy="38"/>
              </a:xfrm>
              <a:custGeom>
                <a:avLst/>
                <a:gdLst>
                  <a:gd name="T0" fmla="*/ 0 w 160"/>
                  <a:gd name="T1" fmla="*/ 0 h 117"/>
                  <a:gd name="T2" fmla="*/ 0 w 160"/>
                  <a:gd name="T3" fmla="*/ 3 h 117"/>
                  <a:gd name="T4" fmla="*/ 1 w 160"/>
                  <a:gd name="T5" fmla="*/ 6 h 117"/>
                  <a:gd name="T6" fmla="*/ 3 w 160"/>
                  <a:gd name="T7" fmla="*/ 9 h 117"/>
                  <a:gd name="T8" fmla="*/ 5 w 160"/>
                  <a:gd name="T9" fmla="*/ 13 h 117"/>
                  <a:gd name="T10" fmla="*/ 7 w 160"/>
                  <a:gd name="T11" fmla="*/ 16 h 117"/>
                  <a:gd name="T12" fmla="*/ 10 w 160"/>
                  <a:gd name="T13" fmla="*/ 19 h 117"/>
                  <a:gd name="T14" fmla="*/ 13 w 160"/>
                  <a:gd name="T15" fmla="*/ 22 h 117"/>
                  <a:gd name="T16" fmla="*/ 16 w 160"/>
                  <a:gd name="T17" fmla="*/ 25 h 117"/>
                  <a:gd name="T18" fmla="*/ 20 w 160"/>
                  <a:gd name="T19" fmla="*/ 28 h 117"/>
                  <a:gd name="T20" fmla="*/ 23 w 160"/>
                  <a:gd name="T21" fmla="*/ 30 h 117"/>
                  <a:gd name="T22" fmla="*/ 27 w 160"/>
                  <a:gd name="T23" fmla="*/ 32 h 117"/>
                  <a:gd name="T24" fmla="*/ 30 w 160"/>
                  <a:gd name="T25" fmla="*/ 34 h 117"/>
                  <a:gd name="T26" fmla="*/ 34 w 160"/>
                  <a:gd name="T27" fmla="*/ 36 h 117"/>
                  <a:gd name="T28" fmla="*/ 37 w 160"/>
                  <a:gd name="T29" fmla="*/ 37 h 117"/>
                  <a:gd name="T30" fmla="*/ 40 w 160"/>
                  <a:gd name="T31" fmla="*/ 38 h 117"/>
                  <a:gd name="T32" fmla="*/ 42 w 160"/>
                  <a:gd name="T33" fmla="*/ 38 h 117"/>
                  <a:gd name="T34" fmla="*/ 44 w 160"/>
                  <a:gd name="T35" fmla="*/ 38 h 117"/>
                  <a:gd name="T36" fmla="*/ 47 w 160"/>
                  <a:gd name="T37" fmla="*/ 37 h 117"/>
                  <a:gd name="T38" fmla="*/ 49 w 160"/>
                  <a:gd name="T39" fmla="*/ 36 h 117"/>
                  <a:gd name="T40" fmla="*/ 51 w 160"/>
                  <a:gd name="T41" fmla="*/ 34 h 117"/>
                  <a:gd name="T42" fmla="*/ 48 w 160"/>
                  <a:gd name="T43" fmla="*/ 30 h 117"/>
                  <a:gd name="T44" fmla="*/ 45 w 160"/>
                  <a:gd name="T45" fmla="*/ 26 h 117"/>
                  <a:gd name="T46" fmla="*/ 44 w 160"/>
                  <a:gd name="T47" fmla="*/ 24 h 117"/>
                  <a:gd name="T48" fmla="*/ 43 w 160"/>
                  <a:gd name="T49" fmla="*/ 21 h 117"/>
                  <a:gd name="T50" fmla="*/ 42 w 160"/>
                  <a:gd name="T51" fmla="*/ 19 h 117"/>
                  <a:gd name="T52" fmla="*/ 42 w 160"/>
                  <a:gd name="T53" fmla="*/ 16 h 117"/>
                  <a:gd name="T54" fmla="*/ 40 w 160"/>
                  <a:gd name="T55" fmla="*/ 16 h 117"/>
                  <a:gd name="T56" fmla="*/ 38 w 160"/>
                  <a:gd name="T57" fmla="*/ 15 h 117"/>
                  <a:gd name="T58" fmla="*/ 34 w 160"/>
                  <a:gd name="T59" fmla="*/ 13 h 117"/>
                  <a:gd name="T60" fmla="*/ 31 w 160"/>
                  <a:gd name="T61" fmla="*/ 11 h 117"/>
                  <a:gd name="T62" fmla="*/ 28 w 160"/>
                  <a:gd name="T63" fmla="*/ 9 h 117"/>
                  <a:gd name="T64" fmla="*/ 25 w 160"/>
                  <a:gd name="T65" fmla="*/ 7 h 117"/>
                  <a:gd name="T66" fmla="*/ 24 w 160"/>
                  <a:gd name="T67" fmla="*/ 6 h 117"/>
                  <a:gd name="T68" fmla="*/ 23 w 160"/>
                  <a:gd name="T69" fmla="*/ 4 h 117"/>
                  <a:gd name="T70" fmla="*/ 22 w 160"/>
                  <a:gd name="T71" fmla="*/ 3 h 117"/>
                  <a:gd name="T72" fmla="*/ 21 w 160"/>
                  <a:gd name="T73" fmla="*/ 2 h 117"/>
                  <a:gd name="T74" fmla="*/ 19 w 160"/>
                  <a:gd name="T75" fmla="*/ 2 h 117"/>
                  <a:gd name="T76" fmla="*/ 17 w 160"/>
                  <a:gd name="T77" fmla="*/ 2 h 117"/>
                  <a:gd name="T78" fmla="*/ 14 w 160"/>
                  <a:gd name="T79" fmla="*/ 1 h 117"/>
                  <a:gd name="T80" fmla="*/ 11 w 160"/>
                  <a:gd name="T81" fmla="*/ 0 h 117"/>
                  <a:gd name="T82" fmla="*/ 0 w 160"/>
                  <a:gd name="T83" fmla="*/ 0 h 117"/>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60" h="117">
                    <a:moveTo>
                      <a:pt x="0" y="0"/>
                    </a:moveTo>
                    <a:lnTo>
                      <a:pt x="1" y="10"/>
                    </a:lnTo>
                    <a:lnTo>
                      <a:pt x="4" y="19"/>
                    </a:lnTo>
                    <a:lnTo>
                      <a:pt x="9" y="29"/>
                    </a:lnTo>
                    <a:lnTo>
                      <a:pt x="15" y="39"/>
                    </a:lnTo>
                    <a:lnTo>
                      <a:pt x="22" y="48"/>
                    </a:lnTo>
                    <a:lnTo>
                      <a:pt x="31" y="59"/>
                    </a:lnTo>
                    <a:lnTo>
                      <a:pt x="41" y="68"/>
                    </a:lnTo>
                    <a:lnTo>
                      <a:pt x="51" y="77"/>
                    </a:lnTo>
                    <a:lnTo>
                      <a:pt x="62" y="85"/>
                    </a:lnTo>
                    <a:lnTo>
                      <a:pt x="73" y="93"/>
                    </a:lnTo>
                    <a:lnTo>
                      <a:pt x="84" y="99"/>
                    </a:lnTo>
                    <a:lnTo>
                      <a:pt x="95" y="105"/>
                    </a:lnTo>
                    <a:lnTo>
                      <a:pt x="106" y="111"/>
                    </a:lnTo>
                    <a:lnTo>
                      <a:pt x="116" y="114"/>
                    </a:lnTo>
                    <a:lnTo>
                      <a:pt x="124" y="117"/>
                    </a:lnTo>
                    <a:lnTo>
                      <a:pt x="133" y="117"/>
                    </a:lnTo>
                    <a:lnTo>
                      <a:pt x="139" y="116"/>
                    </a:lnTo>
                    <a:lnTo>
                      <a:pt x="146" y="113"/>
                    </a:lnTo>
                    <a:lnTo>
                      <a:pt x="153" y="110"/>
                    </a:lnTo>
                    <a:lnTo>
                      <a:pt x="160" y="104"/>
                    </a:lnTo>
                    <a:lnTo>
                      <a:pt x="150" y="91"/>
                    </a:lnTo>
                    <a:lnTo>
                      <a:pt x="141" y="79"/>
                    </a:lnTo>
                    <a:lnTo>
                      <a:pt x="138" y="73"/>
                    </a:lnTo>
                    <a:lnTo>
                      <a:pt x="135" y="66"/>
                    </a:lnTo>
                    <a:lnTo>
                      <a:pt x="133" y="58"/>
                    </a:lnTo>
                    <a:lnTo>
                      <a:pt x="133" y="49"/>
                    </a:lnTo>
                    <a:lnTo>
                      <a:pt x="127" y="48"/>
                    </a:lnTo>
                    <a:lnTo>
                      <a:pt x="118" y="45"/>
                    </a:lnTo>
                    <a:lnTo>
                      <a:pt x="108" y="40"/>
                    </a:lnTo>
                    <a:lnTo>
                      <a:pt x="97" y="34"/>
                    </a:lnTo>
                    <a:lnTo>
                      <a:pt x="87" y="28"/>
                    </a:lnTo>
                    <a:lnTo>
                      <a:pt x="77" y="21"/>
                    </a:lnTo>
                    <a:lnTo>
                      <a:pt x="74" y="17"/>
                    </a:lnTo>
                    <a:lnTo>
                      <a:pt x="71" y="13"/>
                    </a:lnTo>
                    <a:lnTo>
                      <a:pt x="68" y="10"/>
                    </a:lnTo>
                    <a:lnTo>
                      <a:pt x="66" y="6"/>
                    </a:lnTo>
                    <a:lnTo>
                      <a:pt x="60" y="6"/>
                    </a:lnTo>
                    <a:lnTo>
                      <a:pt x="52" y="6"/>
                    </a:lnTo>
                    <a:lnTo>
                      <a:pt x="43" y="4"/>
                    </a:lnTo>
                    <a:lnTo>
                      <a:pt x="33" y="0"/>
                    </a:lnTo>
                    <a:lnTo>
                      <a:pt x="0" y="0"/>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3" name="Freeform 419">
                <a:extLst>
                  <a:ext uri="{FF2B5EF4-FFF2-40B4-BE49-F238E27FC236}">
                    <a16:creationId xmlns:a16="http://schemas.microsoft.com/office/drawing/2014/main" id="{93C55E60-A785-4336-9C73-79BE845096BB}"/>
                  </a:ext>
                </a:extLst>
              </p:cNvPr>
              <p:cNvSpPr>
                <a:spLocks/>
              </p:cNvSpPr>
              <p:nvPr/>
            </p:nvSpPr>
            <p:spPr bwMode="auto">
              <a:xfrm>
                <a:off x="527" y="1592"/>
                <a:ext cx="26" cy="46"/>
              </a:xfrm>
              <a:custGeom>
                <a:avLst/>
                <a:gdLst>
                  <a:gd name="T0" fmla="*/ 13 w 80"/>
                  <a:gd name="T1" fmla="*/ 40 h 141"/>
                  <a:gd name="T2" fmla="*/ 26 w 80"/>
                  <a:gd name="T3" fmla="*/ 12 h 141"/>
                  <a:gd name="T4" fmla="*/ 26 w 80"/>
                  <a:gd name="T5" fmla="*/ 6 h 141"/>
                  <a:gd name="T6" fmla="*/ 22 w 80"/>
                  <a:gd name="T7" fmla="*/ 6 h 141"/>
                  <a:gd name="T8" fmla="*/ 19 w 80"/>
                  <a:gd name="T9" fmla="*/ 5 h 141"/>
                  <a:gd name="T10" fmla="*/ 17 w 80"/>
                  <a:gd name="T11" fmla="*/ 5 h 141"/>
                  <a:gd name="T12" fmla="*/ 15 w 80"/>
                  <a:gd name="T13" fmla="*/ 4 h 141"/>
                  <a:gd name="T14" fmla="*/ 14 w 80"/>
                  <a:gd name="T15" fmla="*/ 3 h 141"/>
                  <a:gd name="T16" fmla="*/ 14 w 80"/>
                  <a:gd name="T17" fmla="*/ 2 h 141"/>
                  <a:gd name="T18" fmla="*/ 13 w 80"/>
                  <a:gd name="T19" fmla="*/ 1 h 141"/>
                  <a:gd name="T20" fmla="*/ 13 w 80"/>
                  <a:gd name="T21" fmla="*/ 0 h 141"/>
                  <a:gd name="T22" fmla="*/ 0 w 80"/>
                  <a:gd name="T23" fmla="*/ 0 h 141"/>
                  <a:gd name="T24" fmla="*/ 0 w 80"/>
                  <a:gd name="T25" fmla="*/ 8 h 141"/>
                  <a:gd name="T26" fmla="*/ 0 w 80"/>
                  <a:gd name="T27" fmla="*/ 13 h 141"/>
                  <a:gd name="T28" fmla="*/ 0 w 80"/>
                  <a:gd name="T29" fmla="*/ 17 h 141"/>
                  <a:gd name="T30" fmla="*/ 0 w 80"/>
                  <a:gd name="T31" fmla="*/ 20 h 141"/>
                  <a:gd name="T32" fmla="*/ 0 w 80"/>
                  <a:gd name="T33" fmla="*/ 23 h 141"/>
                  <a:gd name="T34" fmla="*/ 1 w 80"/>
                  <a:gd name="T35" fmla="*/ 25 h 141"/>
                  <a:gd name="T36" fmla="*/ 2 w 80"/>
                  <a:gd name="T37" fmla="*/ 29 h 141"/>
                  <a:gd name="T38" fmla="*/ 4 w 80"/>
                  <a:gd name="T39" fmla="*/ 32 h 141"/>
                  <a:gd name="T40" fmla="*/ 7 w 80"/>
                  <a:gd name="T41" fmla="*/ 39 h 141"/>
                  <a:gd name="T42" fmla="*/ 9 w 80"/>
                  <a:gd name="T43" fmla="*/ 46 h 141"/>
                  <a:gd name="T44" fmla="*/ 10 w 80"/>
                  <a:gd name="T45" fmla="*/ 44 h 141"/>
                  <a:gd name="T46" fmla="*/ 11 w 80"/>
                  <a:gd name="T47" fmla="*/ 42 h 141"/>
                  <a:gd name="T48" fmla="*/ 11 w 80"/>
                  <a:gd name="T49" fmla="*/ 41 h 141"/>
                  <a:gd name="T50" fmla="*/ 12 w 80"/>
                  <a:gd name="T51" fmla="*/ 41 h 141"/>
                  <a:gd name="T52" fmla="*/ 12 w 80"/>
                  <a:gd name="T53" fmla="*/ 40 h 141"/>
                  <a:gd name="T54" fmla="*/ 13 w 80"/>
                  <a:gd name="T55" fmla="*/ 40 h 141"/>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80" h="141">
                    <a:moveTo>
                      <a:pt x="40" y="123"/>
                    </a:moveTo>
                    <a:lnTo>
                      <a:pt x="80" y="36"/>
                    </a:lnTo>
                    <a:lnTo>
                      <a:pt x="80" y="18"/>
                    </a:lnTo>
                    <a:lnTo>
                      <a:pt x="68" y="17"/>
                    </a:lnTo>
                    <a:lnTo>
                      <a:pt x="59" y="16"/>
                    </a:lnTo>
                    <a:lnTo>
                      <a:pt x="53" y="14"/>
                    </a:lnTo>
                    <a:lnTo>
                      <a:pt x="47" y="11"/>
                    </a:lnTo>
                    <a:lnTo>
                      <a:pt x="44" y="8"/>
                    </a:lnTo>
                    <a:lnTo>
                      <a:pt x="42" y="5"/>
                    </a:lnTo>
                    <a:lnTo>
                      <a:pt x="41" y="2"/>
                    </a:lnTo>
                    <a:lnTo>
                      <a:pt x="40" y="0"/>
                    </a:lnTo>
                    <a:lnTo>
                      <a:pt x="0" y="0"/>
                    </a:lnTo>
                    <a:lnTo>
                      <a:pt x="0" y="23"/>
                    </a:lnTo>
                    <a:lnTo>
                      <a:pt x="0" y="40"/>
                    </a:lnTo>
                    <a:lnTo>
                      <a:pt x="0" y="52"/>
                    </a:lnTo>
                    <a:lnTo>
                      <a:pt x="0" y="61"/>
                    </a:lnTo>
                    <a:lnTo>
                      <a:pt x="1" y="69"/>
                    </a:lnTo>
                    <a:lnTo>
                      <a:pt x="3" y="78"/>
                    </a:lnTo>
                    <a:lnTo>
                      <a:pt x="7" y="88"/>
                    </a:lnTo>
                    <a:lnTo>
                      <a:pt x="11" y="99"/>
                    </a:lnTo>
                    <a:lnTo>
                      <a:pt x="20" y="121"/>
                    </a:lnTo>
                    <a:lnTo>
                      <a:pt x="27" y="141"/>
                    </a:lnTo>
                    <a:lnTo>
                      <a:pt x="31" y="135"/>
                    </a:lnTo>
                    <a:lnTo>
                      <a:pt x="33" y="129"/>
                    </a:lnTo>
                    <a:lnTo>
                      <a:pt x="34" y="127"/>
                    </a:lnTo>
                    <a:lnTo>
                      <a:pt x="36" y="125"/>
                    </a:lnTo>
                    <a:lnTo>
                      <a:pt x="38" y="123"/>
                    </a:lnTo>
                    <a:lnTo>
                      <a:pt x="40" y="123"/>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4" name="Freeform 420">
                <a:extLst>
                  <a:ext uri="{FF2B5EF4-FFF2-40B4-BE49-F238E27FC236}">
                    <a16:creationId xmlns:a16="http://schemas.microsoft.com/office/drawing/2014/main" id="{C976C6B3-0B11-474D-9CED-AE31C670EEF9}"/>
                  </a:ext>
                </a:extLst>
              </p:cNvPr>
              <p:cNvSpPr>
                <a:spLocks/>
              </p:cNvSpPr>
              <p:nvPr/>
            </p:nvSpPr>
            <p:spPr bwMode="auto">
              <a:xfrm>
                <a:off x="1379" y="1383"/>
                <a:ext cx="83" cy="41"/>
              </a:xfrm>
              <a:custGeom>
                <a:avLst/>
                <a:gdLst>
                  <a:gd name="T0" fmla="*/ 0 w 259"/>
                  <a:gd name="T1" fmla="*/ 31 h 124"/>
                  <a:gd name="T2" fmla="*/ 0 w 259"/>
                  <a:gd name="T3" fmla="*/ 32 h 124"/>
                  <a:gd name="T4" fmla="*/ 1 w 259"/>
                  <a:gd name="T5" fmla="*/ 33 h 124"/>
                  <a:gd name="T6" fmla="*/ 1 w 259"/>
                  <a:gd name="T7" fmla="*/ 34 h 124"/>
                  <a:gd name="T8" fmla="*/ 2 w 259"/>
                  <a:gd name="T9" fmla="*/ 35 h 124"/>
                  <a:gd name="T10" fmla="*/ 4 w 259"/>
                  <a:gd name="T11" fmla="*/ 37 h 124"/>
                  <a:gd name="T12" fmla="*/ 7 w 259"/>
                  <a:gd name="T13" fmla="*/ 38 h 124"/>
                  <a:gd name="T14" fmla="*/ 10 w 259"/>
                  <a:gd name="T15" fmla="*/ 40 h 124"/>
                  <a:gd name="T16" fmla="*/ 13 w 259"/>
                  <a:gd name="T17" fmla="*/ 40 h 124"/>
                  <a:gd name="T18" fmla="*/ 16 w 259"/>
                  <a:gd name="T19" fmla="*/ 41 h 124"/>
                  <a:gd name="T20" fmla="*/ 19 w 259"/>
                  <a:gd name="T21" fmla="*/ 41 h 124"/>
                  <a:gd name="T22" fmla="*/ 22 w 259"/>
                  <a:gd name="T23" fmla="*/ 41 h 124"/>
                  <a:gd name="T24" fmla="*/ 24 w 259"/>
                  <a:gd name="T25" fmla="*/ 41 h 124"/>
                  <a:gd name="T26" fmla="*/ 26 w 259"/>
                  <a:gd name="T27" fmla="*/ 40 h 124"/>
                  <a:gd name="T28" fmla="*/ 28 w 259"/>
                  <a:gd name="T29" fmla="*/ 40 h 124"/>
                  <a:gd name="T30" fmla="*/ 31 w 259"/>
                  <a:gd name="T31" fmla="*/ 38 h 124"/>
                  <a:gd name="T32" fmla="*/ 34 w 259"/>
                  <a:gd name="T33" fmla="*/ 36 h 124"/>
                  <a:gd name="T34" fmla="*/ 37 w 259"/>
                  <a:gd name="T35" fmla="*/ 34 h 124"/>
                  <a:gd name="T36" fmla="*/ 40 w 259"/>
                  <a:gd name="T37" fmla="*/ 32 h 124"/>
                  <a:gd name="T38" fmla="*/ 42 w 259"/>
                  <a:gd name="T39" fmla="*/ 32 h 124"/>
                  <a:gd name="T40" fmla="*/ 44 w 259"/>
                  <a:gd name="T41" fmla="*/ 31 h 124"/>
                  <a:gd name="T42" fmla="*/ 46 w 259"/>
                  <a:gd name="T43" fmla="*/ 31 h 124"/>
                  <a:gd name="T44" fmla="*/ 49 w 259"/>
                  <a:gd name="T45" fmla="*/ 31 h 124"/>
                  <a:gd name="T46" fmla="*/ 52 w 259"/>
                  <a:gd name="T47" fmla="*/ 31 h 124"/>
                  <a:gd name="T48" fmla="*/ 55 w 259"/>
                  <a:gd name="T49" fmla="*/ 32 h 124"/>
                  <a:gd name="T50" fmla="*/ 58 w 259"/>
                  <a:gd name="T51" fmla="*/ 33 h 124"/>
                  <a:gd name="T52" fmla="*/ 60 w 259"/>
                  <a:gd name="T53" fmla="*/ 34 h 124"/>
                  <a:gd name="T54" fmla="*/ 65 w 259"/>
                  <a:gd name="T55" fmla="*/ 37 h 124"/>
                  <a:gd name="T56" fmla="*/ 70 w 259"/>
                  <a:gd name="T57" fmla="*/ 39 h 124"/>
                  <a:gd name="T58" fmla="*/ 83 w 259"/>
                  <a:gd name="T59" fmla="*/ 39 h 124"/>
                  <a:gd name="T60" fmla="*/ 83 w 259"/>
                  <a:gd name="T61" fmla="*/ 33 h 124"/>
                  <a:gd name="T62" fmla="*/ 81 w 259"/>
                  <a:gd name="T63" fmla="*/ 32 h 124"/>
                  <a:gd name="T64" fmla="*/ 78 w 259"/>
                  <a:gd name="T65" fmla="*/ 32 h 124"/>
                  <a:gd name="T66" fmla="*/ 76 w 259"/>
                  <a:gd name="T67" fmla="*/ 31 h 124"/>
                  <a:gd name="T68" fmla="*/ 72 w 259"/>
                  <a:gd name="T69" fmla="*/ 31 h 124"/>
                  <a:gd name="T70" fmla="*/ 74 w 259"/>
                  <a:gd name="T71" fmla="*/ 28 h 124"/>
                  <a:gd name="T72" fmla="*/ 76 w 259"/>
                  <a:gd name="T73" fmla="*/ 26 h 124"/>
                  <a:gd name="T74" fmla="*/ 77 w 259"/>
                  <a:gd name="T75" fmla="*/ 24 h 124"/>
                  <a:gd name="T76" fmla="*/ 79 w 259"/>
                  <a:gd name="T77" fmla="*/ 23 h 124"/>
                  <a:gd name="T78" fmla="*/ 76 w 259"/>
                  <a:gd name="T79" fmla="*/ 20 h 124"/>
                  <a:gd name="T80" fmla="*/ 74 w 259"/>
                  <a:gd name="T81" fmla="*/ 19 h 124"/>
                  <a:gd name="T82" fmla="*/ 71 w 259"/>
                  <a:gd name="T83" fmla="*/ 17 h 124"/>
                  <a:gd name="T84" fmla="*/ 69 w 259"/>
                  <a:gd name="T85" fmla="*/ 15 h 124"/>
                  <a:gd name="T86" fmla="*/ 63 w 259"/>
                  <a:gd name="T87" fmla="*/ 12 h 124"/>
                  <a:gd name="T88" fmla="*/ 58 w 259"/>
                  <a:gd name="T89" fmla="*/ 10 h 124"/>
                  <a:gd name="T90" fmla="*/ 53 w 259"/>
                  <a:gd name="T91" fmla="*/ 8 h 124"/>
                  <a:gd name="T92" fmla="*/ 49 w 259"/>
                  <a:gd name="T93" fmla="*/ 6 h 124"/>
                  <a:gd name="T94" fmla="*/ 47 w 259"/>
                  <a:gd name="T95" fmla="*/ 4 h 124"/>
                  <a:gd name="T96" fmla="*/ 45 w 259"/>
                  <a:gd name="T97" fmla="*/ 3 h 124"/>
                  <a:gd name="T98" fmla="*/ 44 w 259"/>
                  <a:gd name="T99" fmla="*/ 2 h 124"/>
                  <a:gd name="T100" fmla="*/ 42 w 259"/>
                  <a:gd name="T101" fmla="*/ 0 h 124"/>
                  <a:gd name="T102" fmla="*/ 40 w 259"/>
                  <a:gd name="T103" fmla="*/ 1 h 124"/>
                  <a:gd name="T104" fmla="*/ 37 w 259"/>
                  <a:gd name="T105" fmla="*/ 2 h 124"/>
                  <a:gd name="T106" fmla="*/ 34 w 259"/>
                  <a:gd name="T107" fmla="*/ 4 h 124"/>
                  <a:gd name="T108" fmla="*/ 30 w 259"/>
                  <a:gd name="T109" fmla="*/ 6 h 124"/>
                  <a:gd name="T110" fmla="*/ 24 w 259"/>
                  <a:gd name="T111" fmla="*/ 10 h 124"/>
                  <a:gd name="T112" fmla="*/ 18 w 259"/>
                  <a:gd name="T113" fmla="*/ 14 h 124"/>
                  <a:gd name="T114" fmla="*/ 12 w 259"/>
                  <a:gd name="T115" fmla="*/ 19 h 124"/>
                  <a:gd name="T116" fmla="*/ 7 w 259"/>
                  <a:gd name="T117" fmla="*/ 23 h 124"/>
                  <a:gd name="T118" fmla="*/ 3 w 259"/>
                  <a:gd name="T119" fmla="*/ 27 h 124"/>
                  <a:gd name="T120" fmla="*/ 0 w 259"/>
                  <a:gd name="T121" fmla="*/ 31 h 124"/>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259" h="124">
                    <a:moveTo>
                      <a:pt x="0" y="93"/>
                    </a:moveTo>
                    <a:lnTo>
                      <a:pt x="0" y="96"/>
                    </a:lnTo>
                    <a:lnTo>
                      <a:pt x="2" y="100"/>
                    </a:lnTo>
                    <a:lnTo>
                      <a:pt x="4" y="103"/>
                    </a:lnTo>
                    <a:lnTo>
                      <a:pt x="6" y="106"/>
                    </a:lnTo>
                    <a:lnTo>
                      <a:pt x="14" y="111"/>
                    </a:lnTo>
                    <a:lnTo>
                      <a:pt x="23" y="115"/>
                    </a:lnTo>
                    <a:lnTo>
                      <a:pt x="31" y="120"/>
                    </a:lnTo>
                    <a:lnTo>
                      <a:pt x="41" y="122"/>
                    </a:lnTo>
                    <a:lnTo>
                      <a:pt x="51" y="124"/>
                    </a:lnTo>
                    <a:lnTo>
                      <a:pt x="60" y="124"/>
                    </a:lnTo>
                    <a:lnTo>
                      <a:pt x="68" y="124"/>
                    </a:lnTo>
                    <a:lnTo>
                      <a:pt x="75" y="123"/>
                    </a:lnTo>
                    <a:lnTo>
                      <a:pt x="81" y="122"/>
                    </a:lnTo>
                    <a:lnTo>
                      <a:pt x="87" y="120"/>
                    </a:lnTo>
                    <a:lnTo>
                      <a:pt x="97" y="114"/>
                    </a:lnTo>
                    <a:lnTo>
                      <a:pt x="106" y="108"/>
                    </a:lnTo>
                    <a:lnTo>
                      <a:pt x="115" y="103"/>
                    </a:lnTo>
                    <a:lnTo>
                      <a:pt x="125" y="98"/>
                    </a:lnTo>
                    <a:lnTo>
                      <a:pt x="130" y="96"/>
                    </a:lnTo>
                    <a:lnTo>
                      <a:pt x="137" y="94"/>
                    </a:lnTo>
                    <a:lnTo>
                      <a:pt x="145" y="93"/>
                    </a:lnTo>
                    <a:lnTo>
                      <a:pt x="152" y="93"/>
                    </a:lnTo>
                    <a:lnTo>
                      <a:pt x="162" y="94"/>
                    </a:lnTo>
                    <a:lnTo>
                      <a:pt x="171" y="96"/>
                    </a:lnTo>
                    <a:lnTo>
                      <a:pt x="180" y="99"/>
                    </a:lnTo>
                    <a:lnTo>
                      <a:pt x="188" y="103"/>
                    </a:lnTo>
                    <a:lnTo>
                      <a:pt x="204" y="111"/>
                    </a:lnTo>
                    <a:lnTo>
                      <a:pt x="219" y="117"/>
                    </a:lnTo>
                    <a:lnTo>
                      <a:pt x="259" y="117"/>
                    </a:lnTo>
                    <a:lnTo>
                      <a:pt x="259" y="99"/>
                    </a:lnTo>
                    <a:lnTo>
                      <a:pt x="252" y="98"/>
                    </a:lnTo>
                    <a:lnTo>
                      <a:pt x="244" y="96"/>
                    </a:lnTo>
                    <a:lnTo>
                      <a:pt x="236" y="94"/>
                    </a:lnTo>
                    <a:lnTo>
                      <a:pt x="226" y="93"/>
                    </a:lnTo>
                    <a:lnTo>
                      <a:pt x="230" y="85"/>
                    </a:lnTo>
                    <a:lnTo>
                      <a:pt x="236" y="79"/>
                    </a:lnTo>
                    <a:lnTo>
                      <a:pt x="240" y="74"/>
                    </a:lnTo>
                    <a:lnTo>
                      <a:pt x="246" y="69"/>
                    </a:lnTo>
                    <a:lnTo>
                      <a:pt x="238" y="61"/>
                    </a:lnTo>
                    <a:lnTo>
                      <a:pt x="230" y="56"/>
                    </a:lnTo>
                    <a:lnTo>
                      <a:pt x="222" y="50"/>
                    </a:lnTo>
                    <a:lnTo>
                      <a:pt x="214" y="46"/>
                    </a:lnTo>
                    <a:lnTo>
                      <a:pt x="197" y="37"/>
                    </a:lnTo>
                    <a:lnTo>
                      <a:pt x="182" y="30"/>
                    </a:lnTo>
                    <a:lnTo>
                      <a:pt x="166" y="23"/>
                    </a:lnTo>
                    <a:lnTo>
                      <a:pt x="153" y="17"/>
                    </a:lnTo>
                    <a:lnTo>
                      <a:pt x="147" y="13"/>
                    </a:lnTo>
                    <a:lnTo>
                      <a:pt x="141" y="10"/>
                    </a:lnTo>
                    <a:lnTo>
                      <a:pt x="137" y="5"/>
                    </a:lnTo>
                    <a:lnTo>
                      <a:pt x="132" y="0"/>
                    </a:lnTo>
                    <a:lnTo>
                      <a:pt x="124" y="3"/>
                    </a:lnTo>
                    <a:lnTo>
                      <a:pt x="114" y="7"/>
                    </a:lnTo>
                    <a:lnTo>
                      <a:pt x="105" y="12"/>
                    </a:lnTo>
                    <a:lnTo>
                      <a:pt x="95" y="17"/>
                    </a:lnTo>
                    <a:lnTo>
                      <a:pt x="75" y="29"/>
                    </a:lnTo>
                    <a:lnTo>
                      <a:pt x="57" y="42"/>
                    </a:lnTo>
                    <a:lnTo>
                      <a:pt x="38" y="56"/>
                    </a:lnTo>
                    <a:lnTo>
                      <a:pt x="23" y="70"/>
                    </a:lnTo>
                    <a:lnTo>
                      <a:pt x="9" y="83"/>
                    </a:lnTo>
                    <a:lnTo>
                      <a:pt x="0" y="93"/>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5" name="Freeform 421">
                <a:extLst>
                  <a:ext uri="{FF2B5EF4-FFF2-40B4-BE49-F238E27FC236}">
                    <a16:creationId xmlns:a16="http://schemas.microsoft.com/office/drawing/2014/main" id="{2E03900F-51CA-4EAA-B552-28721E394DFD}"/>
                  </a:ext>
                </a:extLst>
              </p:cNvPr>
              <p:cNvSpPr>
                <a:spLocks/>
              </p:cNvSpPr>
              <p:nvPr/>
            </p:nvSpPr>
            <p:spPr bwMode="auto">
              <a:xfrm>
                <a:off x="1509" y="1389"/>
                <a:ext cx="38" cy="19"/>
              </a:xfrm>
              <a:custGeom>
                <a:avLst/>
                <a:gdLst>
                  <a:gd name="T0" fmla="*/ 0 w 119"/>
                  <a:gd name="T1" fmla="*/ 11 h 57"/>
                  <a:gd name="T2" fmla="*/ 2 w 119"/>
                  <a:gd name="T3" fmla="*/ 12 h 57"/>
                  <a:gd name="T4" fmla="*/ 4 w 119"/>
                  <a:gd name="T5" fmla="*/ 13 h 57"/>
                  <a:gd name="T6" fmla="*/ 6 w 119"/>
                  <a:gd name="T7" fmla="*/ 14 h 57"/>
                  <a:gd name="T8" fmla="*/ 8 w 119"/>
                  <a:gd name="T9" fmla="*/ 16 h 57"/>
                  <a:gd name="T10" fmla="*/ 10 w 119"/>
                  <a:gd name="T11" fmla="*/ 17 h 57"/>
                  <a:gd name="T12" fmla="*/ 11 w 119"/>
                  <a:gd name="T13" fmla="*/ 18 h 57"/>
                  <a:gd name="T14" fmla="*/ 13 w 119"/>
                  <a:gd name="T15" fmla="*/ 19 h 57"/>
                  <a:gd name="T16" fmla="*/ 15 w 119"/>
                  <a:gd name="T17" fmla="*/ 19 h 57"/>
                  <a:gd name="T18" fmla="*/ 18 w 119"/>
                  <a:gd name="T19" fmla="*/ 19 h 57"/>
                  <a:gd name="T20" fmla="*/ 20 w 119"/>
                  <a:gd name="T21" fmla="*/ 19 h 57"/>
                  <a:gd name="T22" fmla="*/ 22 w 119"/>
                  <a:gd name="T23" fmla="*/ 18 h 57"/>
                  <a:gd name="T24" fmla="*/ 25 w 119"/>
                  <a:gd name="T25" fmla="*/ 18 h 57"/>
                  <a:gd name="T26" fmla="*/ 27 w 119"/>
                  <a:gd name="T27" fmla="*/ 17 h 57"/>
                  <a:gd name="T28" fmla="*/ 28 w 119"/>
                  <a:gd name="T29" fmla="*/ 16 h 57"/>
                  <a:gd name="T30" fmla="*/ 30 w 119"/>
                  <a:gd name="T31" fmla="*/ 15 h 57"/>
                  <a:gd name="T32" fmla="*/ 31 w 119"/>
                  <a:gd name="T33" fmla="*/ 13 h 57"/>
                  <a:gd name="T34" fmla="*/ 34 w 119"/>
                  <a:gd name="T35" fmla="*/ 11 h 57"/>
                  <a:gd name="T36" fmla="*/ 36 w 119"/>
                  <a:gd name="T37" fmla="*/ 8 h 57"/>
                  <a:gd name="T38" fmla="*/ 37 w 119"/>
                  <a:gd name="T39" fmla="*/ 4 h 57"/>
                  <a:gd name="T40" fmla="*/ 38 w 119"/>
                  <a:gd name="T41" fmla="*/ 0 h 57"/>
                  <a:gd name="T42" fmla="*/ 32 w 119"/>
                  <a:gd name="T43" fmla="*/ 0 h 57"/>
                  <a:gd name="T44" fmla="*/ 26 w 119"/>
                  <a:gd name="T45" fmla="*/ 0 h 57"/>
                  <a:gd name="T46" fmla="*/ 20 w 119"/>
                  <a:gd name="T47" fmla="*/ 1 h 57"/>
                  <a:gd name="T48" fmla="*/ 14 w 119"/>
                  <a:gd name="T49" fmla="*/ 2 h 57"/>
                  <a:gd name="T50" fmla="*/ 11 w 119"/>
                  <a:gd name="T51" fmla="*/ 2 h 57"/>
                  <a:gd name="T52" fmla="*/ 9 w 119"/>
                  <a:gd name="T53" fmla="*/ 3 h 57"/>
                  <a:gd name="T54" fmla="*/ 7 w 119"/>
                  <a:gd name="T55" fmla="*/ 4 h 57"/>
                  <a:gd name="T56" fmla="*/ 5 w 119"/>
                  <a:gd name="T57" fmla="*/ 5 h 57"/>
                  <a:gd name="T58" fmla="*/ 3 w 119"/>
                  <a:gd name="T59" fmla="*/ 6 h 57"/>
                  <a:gd name="T60" fmla="*/ 2 w 119"/>
                  <a:gd name="T61" fmla="*/ 8 h 57"/>
                  <a:gd name="T62" fmla="*/ 1 w 119"/>
                  <a:gd name="T63" fmla="*/ 9 h 57"/>
                  <a:gd name="T64" fmla="*/ 0 w 119"/>
                  <a:gd name="T65" fmla="*/ 11 h 5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19" h="57">
                    <a:moveTo>
                      <a:pt x="0" y="32"/>
                    </a:moveTo>
                    <a:lnTo>
                      <a:pt x="7" y="35"/>
                    </a:lnTo>
                    <a:lnTo>
                      <a:pt x="14" y="38"/>
                    </a:lnTo>
                    <a:lnTo>
                      <a:pt x="20" y="42"/>
                    </a:lnTo>
                    <a:lnTo>
                      <a:pt x="26" y="47"/>
                    </a:lnTo>
                    <a:lnTo>
                      <a:pt x="32" y="51"/>
                    </a:lnTo>
                    <a:lnTo>
                      <a:pt x="36" y="54"/>
                    </a:lnTo>
                    <a:lnTo>
                      <a:pt x="41" y="56"/>
                    </a:lnTo>
                    <a:lnTo>
                      <a:pt x="47" y="57"/>
                    </a:lnTo>
                    <a:lnTo>
                      <a:pt x="55" y="57"/>
                    </a:lnTo>
                    <a:lnTo>
                      <a:pt x="62" y="56"/>
                    </a:lnTo>
                    <a:lnTo>
                      <a:pt x="70" y="55"/>
                    </a:lnTo>
                    <a:lnTo>
                      <a:pt x="77" y="53"/>
                    </a:lnTo>
                    <a:lnTo>
                      <a:pt x="83" y="50"/>
                    </a:lnTo>
                    <a:lnTo>
                      <a:pt x="89" y="48"/>
                    </a:lnTo>
                    <a:lnTo>
                      <a:pt x="93" y="44"/>
                    </a:lnTo>
                    <a:lnTo>
                      <a:pt x="97" y="40"/>
                    </a:lnTo>
                    <a:lnTo>
                      <a:pt x="106" y="32"/>
                    </a:lnTo>
                    <a:lnTo>
                      <a:pt x="112" y="23"/>
                    </a:lnTo>
                    <a:lnTo>
                      <a:pt x="116" y="13"/>
                    </a:lnTo>
                    <a:lnTo>
                      <a:pt x="119" y="1"/>
                    </a:lnTo>
                    <a:lnTo>
                      <a:pt x="101" y="0"/>
                    </a:lnTo>
                    <a:lnTo>
                      <a:pt x="82" y="0"/>
                    </a:lnTo>
                    <a:lnTo>
                      <a:pt x="63" y="2"/>
                    </a:lnTo>
                    <a:lnTo>
                      <a:pt x="45" y="5"/>
                    </a:lnTo>
                    <a:lnTo>
                      <a:pt x="36" y="7"/>
                    </a:lnTo>
                    <a:lnTo>
                      <a:pt x="28" y="10"/>
                    </a:lnTo>
                    <a:lnTo>
                      <a:pt x="22" y="13"/>
                    </a:lnTo>
                    <a:lnTo>
                      <a:pt x="15" y="16"/>
                    </a:lnTo>
                    <a:lnTo>
                      <a:pt x="10" y="19"/>
                    </a:lnTo>
                    <a:lnTo>
                      <a:pt x="5" y="23"/>
                    </a:lnTo>
                    <a:lnTo>
                      <a:pt x="2" y="27"/>
                    </a:lnTo>
                    <a:lnTo>
                      <a:pt x="0" y="3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6" name="Freeform 422">
                <a:extLst>
                  <a:ext uri="{FF2B5EF4-FFF2-40B4-BE49-F238E27FC236}">
                    <a16:creationId xmlns:a16="http://schemas.microsoft.com/office/drawing/2014/main" id="{BDB6F528-D227-4C33-AACA-182D48435029}"/>
                  </a:ext>
                </a:extLst>
              </p:cNvPr>
              <p:cNvSpPr>
                <a:spLocks/>
              </p:cNvSpPr>
              <p:nvPr/>
            </p:nvSpPr>
            <p:spPr bwMode="auto">
              <a:xfrm>
                <a:off x="1554" y="1335"/>
                <a:ext cx="34" cy="17"/>
              </a:xfrm>
              <a:custGeom>
                <a:avLst/>
                <a:gdLst>
                  <a:gd name="T0" fmla="*/ 0 w 107"/>
                  <a:gd name="T1" fmla="*/ 16 h 52"/>
                  <a:gd name="T2" fmla="*/ 2 w 107"/>
                  <a:gd name="T3" fmla="*/ 17 h 52"/>
                  <a:gd name="T4" fmla="*/ 3 w 107"/>
                  <a:gd name="T5" fmla="*/ 17 h 52"/>
                  <a:gd name="T6" fmla="*/ 4 w 107"/>
                  <a:gd name="T7" fmla="*/ 17 h 52"/>
                  <a:gd name="T8" fmla="*/ 5 w 107"/>
                  <a:gd name="T9" fmla="*/ 17 h 52"/>
                  <a:gd name="T10" fmla="*/ 8 w 107"/>
                  <a:gd name="T11" fmla="*/ 16 h 52"/>
                  <a:gd name="T12" fmla="*/ 11 w 107"/>
                  <a:gd name="T13" fmla="*/ 16 h 52"/>
                  <a:gd name="T14" fmla="*/ 14 w 107"/>
                  <a:gd name="T15" fmla="*/ 16 h 52"/>
                  <a:gd name="T16" fmla="*/ 17 w 107"/>
                  <a:gd name="T17" fmla="*/ 16 h 52"/>
                  <a:gd name="T18" fmla="*/ 20 w 107"/>
                  <a:gd name="T19" fmla="*/ 15 h 52"/>
                  <a:gd name="T20" fmla="*/ 22 w 107"/>
                  <a:gd name="T21" fmla="*/ 14 h 52"/>
                  <a:gd name="T22" fmla="*/ 25 w 107"/>
                  <a:gd name="T23" fmla="*/ 13 h 52"/>
                  <a:gd name="T24" fmla="*/ 28 w 107"/>
                  <a:gd name="T25" fmla="*/ 12 h 52"/>
                  <a:gd name="T26" fmla="*/ 31 w 107"/>
                  <a:gd name="T27" fmla="*/ 10 h 52"/>
                  <a:gd name="T28" fmla="*/ 34 w 107"/>
                  <a:gd name="T29" fmla="*/ 8 h 52"/>
                  <a:gd name="T30" fmla="*/ 34 w 107"/>
                  <a:gd name="T31" fmla="*/ 0 h 52"/>
                  <a:gd name="T32" fmla="*/ 31 w 107"/>
                  <a:gd name="T33" fmla="*/ 0 h 52"/>
                  <a:gd name="T34" fmla="*/ 27 w 107"/>
                  <a:gd name="T35" fmla="*/ 1 h 52"/>
                  <a:gd name="T36" fmla="*/ 23 w 107"/>
                  <a:gd name="T37" fmla="*/ 2 h 52"/>
                  <a:gd name="T38" fmla="*/ 18 w 107"/>
                  <a:gd name="T39" fmla="*/ 4 h 52"/>
                  <a:gd name="T40" fmla="*/ 13 w 107"/>
                  <a:gd name="T41" fmla="*/ 7 h 52"/>
                  <a:gd name="T42" fmla="*/ 8 w 107"/>
                  <a:gd name="T43" fmla="*/ 9 h 52"/>
                  <a:gd name="T44" fmla="*/ 6 w 107"/>
                  <a:gd name="T45" fmla="*/ 11 h 52"/>
                  <a:gd name="T46" fmla="*/ 4 w 107"/>
                  <a:gd name="T47" fmla="*/ 12 h 52"/>
                  <a:gd name="T48" fmla="*/ 2 w 107"/>
                  <a:gd name="T49" fmla="*/ 14 h 52"/>
                  <a:gd name="T50" fmla="*/ 0 w 107"/>
                  <a:gd name="T51" fmla="*/ 16 h 52"/>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7" h="52">
                    <a:moveTo>
                      <a:pt x="0" y="50"/>
                    </a:moveTo>
                    <a:lnTo>
                      <a:pt x="6" y="51"/>
                    </a:lnTo>
                    <a:lnTo>
                      <a:pt x="9" y="52"/>
                    </a:lnTo>
                    <a:lnTo>
                      <a:pt x="13" y="52"/>
                    </a:lnTo>
                    <a:lnTo>
                      <a:pt x="17" y="52"/>
                    </a:lnTo>
                    <a:lnTo>
                      <a:pt x="24" y="50"/>
                    </a:lnTo>
                    <a:lnTo>
                      <a:pt x="34" y="50"/>
                    </a:lnTo>
                    <a:lnTo>
                      <a:pt x="43" y="49"/>
                    </a:lnTo>
                    <a:lnTo>
                      <a:pt x="53" y="48"/>
                    </a:lnTo>
                    <a:lnTo>
                      <a:pt x="62" y="47"/>
                    </a:lnTo>
                    <a:lnTo>
                      <a:pt x="70" y="43"/>
                    </a:lnTo>
                    <a:lnTo>
                      <a:pt x="79" y="40"/>
                    </a:lnTo>
                    <a:lnTo>
                      <a:pt x="88" y="36"/>
                    </a:lnTo>
                    <a:lnTo>
                      <a:pt x="97" y="31"/>
                    </a:lnTo>
                    <a:lnTo>
                      <a:pt x="107" y="24"/>
                    </a:lnTo>
                    <a:lnTo>
                      <a:pt x="107" y="0"/>
                    </a:lnTo>
                    <a:lnTo>
                      <a:pt x="98" y="1"/>
                    </a:lnTo>
                    <a:lnTo>
                      <a:pt x="86" y="3"/>
                    </a:lnTo>
                    <a:lnTo>
                      <a:pt x="72" y="7"/>
                    </a:lnTo>
                    <a:lnTo>
                      <a:pt x="56" y="13"/>
                    </a:lnTo>
                    <a:lnTo>
                      <a:pt x="41" y="20"/>
                    </a:lnTo>
                    <a:lnTo>
                      <a:pt x="25" y="28"/>
                    </a:lnTo>
                    <a:lnTo>
                      <a:pt x="19" y="33"/>
                    </a:lnTo>
                    <a:lnTo>
                      <a:pt x="12" y="38"/>
                    </a:lnTo>
                    <a:lnTo>
                      <a:pt x="6" y="43"/>
                    </a:lnTo>
                    <a:lnTo>
                      <a:pt x="0"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7" name="Freeform 423">
                <a:extLst>
                  <a:ext uri="{FF2B5EF4-FFF2-40B4-BE49-F238E27FC236}">
                    <a16:creationId xmlns:a16="http://schemas.microsoft.com/office/drawing/2014/main" id="{D501D113-170E-454A-AB8A-518A571A86DA}"/>
                  </a:ext>
                </a:extLst>
              </p:cNvPr>
              <p:cNvSpPr>
                <a:spLocks/>
              </p:cNvSpPr>
              <p:nvPr/>
            </p:nvSpPr>
            <p:spPr bwMode="auto">
              <a:xfrm>
                <a:off x="1381" y="1244"/>
                <a:ext cx="79" cy="32"/>
              </a:xfrm>
              <a:custGeom>
                <a:avLst/>
                <a:gdLst>
                  <a:gd name="T0" fmla="*/ 9 w 246"/>
                  <a:gd name="T1" fmla="*/ 32 h 99"/>
                  <a:gd name="T2" fmla="*/ 7 w 246"/>
                  <a:gd name="T3" fmla="*/ 31 h 99"/>
                  <a:gd name="T4" fmla="*/ 5 w 246"/>
                  <a:gd name="T5" fmla="*/ 31 h 99"/>
                  <a:gd name="T6" fmla="*/ 4 w 246"/>
                  <a:gd name="T7" fmla="*/ 30 h 99"/>
                  <a:gd name="T8" fmla="*/ 3 w 246"/>
                  <a:gd name="T9" fmla="*/ 29 h 99"/>
                  <a:gd name="T10" fmla="*/ 2 w 246"/>
                  <a:gd name="T11" fmla="*/ 28 h 99"/>
                  <a:gd name="T12" fmla="*/ 1 w 246"/>
                  <a:gd name="T13" fmla="*/ 27 h 99"/>
                  <a:gd name="T14" fmla="*/ 0 w 246"/>
                  <a:gd name="T15" fmla="*/ 25 h 99"/>
                  <a:gd name="T16" fmla="*/ 0 w 246"/>
                  <a:gd name="T17" fmla="*/ 24 h 99"/>
                  <a:gd name="T18" fmla="*/ 0 w 246"/>
                  <a:gd name="T19" fmla="*/ 22 h 99"/>
                  <a:gd name="T20" fmla="*/ 0 w 246"/>
                  <a:gd name="T21" fmla="*/ 21 h 99"/>
                  <a:gd name="T22" fmla="*/ 1 w 246"/>
                  <a:gd name="T23" fmla="*/ 19 h 99"/>
                  <a:gd name="T24" fmla="*/ 2 w 246"/>
                  <a:gd name="T25" fmla="*/ 18 h 99"/>
                  <a:gd name="T26" fmla="*/ 3 w 246"/>
                  <a:gd name="T27" fmla="*/ 16 h 99"/>
                  <a:gd name="T28" fmla="*/ 6 w 246"/>
                  <a:gd name="T29" fmla="*/ 13 h 99"/>
                  <a:gd name="T30" fmla="*/ 8 w 246"/>
                  <a:gd name="T31" fmla="*/ 11 h 99"/>
                  <a:gd name="T32" fmla="*/ 11 w 246"/>
                  <a:gd name="T33" fmla="*/ 9 h 99"/>
                  <a:gd name="T34" fmla="*/ 15 w 246"/>
                  <a:gd name="T35" fmla="*/ 7 h 99"/>
                  <a:gd name="T36" fmla="*/ 18 w 246"/>
                  <a:gd name="T37" fmla="*/ 6 h 99"/>
                  <a:gd name="T38" fmla="*/ 22 w 246"/>
                  <a:gd name="T39" fmla="*/ 5 h 99"/>
                  <a:gd name="T40" fmla="*/ 26 w 246"/>
                  <a:gd name="T41" fmla="*/ 3 h 99"/>
                  <a:gd name="T42" fmla="*/ 30 w 246"/>
                  <a:gd name="T43" fmla="*/ 2 h 99"/>
                  <a:gd name="T44" fmla="*/ 33 w 246"/>
                  <a:gd name="T45" fmla="*/ 1 h 99"/>
                  <a:gd name="T46" fmla="*/ 40 w 246"/>
                  <a:gd name="T47" fmla="*/ 0 h 99"/>
                  <a:gd name="T48" fmla="*/ 45 w 246"/>
                  <a:gd name="T49" fmla="*/ 0 h 99"/>
                  <a:gd name="T50" fmla="*/ 54 w 246"/>
                  <a:gd name="T51" fmla="*/ 0 h 99"/>
                  <a:gd name="T52" fmla="*/ 62 w 246"/>
                  <a:gd name="T53" fmla="*/ 0 h 99"/>
                  <a:gd name="T54" fmla="*/ 70 w 246"/>
                  <a:gd name="T55" fmla="*/ 1 h 99"/>
                  <a:gd name="T56" fmla="*/ 79 w 246"/>
                  <a:gd name="T57" fmla="*/ 2 h 99"/>
                  <a:gd name="T58" fmla="*/ 78 w 246"/>
                  <a:gd name="T59" fmla="*/ 4 h 99"/>
                  <a:gd name="T60" fmla="*/ 77 w 246"/>
                  <a:gd name="T61" fmla="*/ 5 h 99"/>
                  <a:gd name="T62" fmla="*/ 76 w 246"/>
                  <a:gd name="T63" fmla="*/ 6 h 99"/>
                  <a:gd name="T64" fmla="*/ 74 w 246"/>
                  <a:gd name="T65" fmla="*/ 8 h 99"/>
                  <a:gd name="T66" fmla="*/ 69 w 246"/>
                  <a:gd name="T67" fmla="*/ 12 h 99"/>
                  <a:gd name="T68" fmla="*/ 64 w 246"/>
                  <a:gd name="T69" fmla="*/ 15 h 99"/>
                  <a:gd name="T70" fmla="*/ 58 w 246"/>
                  <a:gd name="T71" fmla="*/ 18 h 99"/>
                  <a:gd name="T72" fmla="*/ 52 w 246"/>
                  <a:gd name="T73" fmla="*/ 20 h 99"/>
                  <a:gd name="T74" fmla="*/ 49 w 246"/>
                  <a:gd name="T75" fmla="*/ 21 h 99"/>
                  <a:gd name="T76" fmla="*/ 46 w 246"/>
                  <a:gd name="T77" fmla="*/ 21 h 99"/>
                  <a:gd name="T78" fmla="*/ 43 w 246"/>
                  <a:gd name="T79" fmla="*/ 22 h 99"/>
                  <a:gd name="T80" fmla="*/ 40 w 246"/>
                  <a:gd name="T81" fmla="*/ 22 h 99"/>
                  <a:gd name="T82" fmla="*/ 39 w 246"/>
                  <a:gd name="T83" fmla="*/ 22 h 99"/>
                  <a:gd name="T84" fmla="*/ 35 w 246"/>
                  <a:gd name="T85" fmla="*/ 22 h 99"/>
                  <a:gd name="T86" fmla="*/ 32 w 246"/>
                  <a:gd name="T87" fmla="*/ 22 h 99"/>
                  <a:gd name="T88" fmla="*/ 30 w 246"/>
                  <a:gd name="T89" fmla="*/ 22 h 99"/>
                  <a:gd name="T90" fmla="*/ 28 w 246"/>
                  <a:gd name="T91" fmla="*/ 22 h 99"/>
                  <a:gd name="T92" fmla="*/ 26 w 246"/>
                  <a:gd name="T93" fmla="*/ 23 h 99"/>
                  <a:gd name="T94" fmla="*/ 23 w 246"/>
                  <a:gd name="T95" fmla="*/ 25 h 99"/>
                  <a:gd name="T96" fmla="*/ 20 w 246"/>
                  <a:gd name="T97" fmla="*/ 27 h 99"/>
                  <a:gd name="T98" fmla="*/ 17 w 246"/>
                  <a:gd name="T99" fmla="*/ 28 h 99"/>
                  <a:gd name="T100" fmla="*/ 14 w 246"/>
                  <a:gd name="T101" fmla="*/ 30 h 99"/>
                  <a:gd name="T102" fmla="*/ 11 w 246"/>
                  <a:gd name="T103" fmla="*/ 31 h 99"/>
                  <a:gd name="T104" fmla="*/ 9 w 246"/>
                  <a:gd name="T105" fmla="*/ 32 h 9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99">
                    <a:moveTo>
                      <a:pt x="27" y="99"/>
                    </a:moveTo>
                    <a:lnTo>
                      <a:pt x="22" y="97"/>
                    </a:lnTo>
                    <a:lnTo>
                      <a:pt x="17" y="96"/>
                    </a:lnTo>
                    <a:lnTo>
                      <a:pt x="12" y="93"/>
                    </a:lnTo>
                    <a:lnTo>
                      <a:pt x="9" y="90"/>
                    </a:lnTo>
                    <a:lnTo>
                      <a:pt x="6" y="86"/>
                    </a:lnTo>
                    <a:lnTo>
                      <a:pt x="2" y="82"/>
                    </a:lnTo>
                    <a:lnTo>
                      <a:pt x="1" y="78"/>
                    </a:lnTo>
                    <a:lnTo>
                      <a:pt x="0" y="73"/>
                    </a:lnTo>
                    <a:lnTo>
                      <a:pt x="0" y="69"/>
                    </a:lnTo>
                    <a:lnTo>
                      <a:pt x="1" y="65"/>
                    </a:lnTo>
                    <a:lnTo>
                      <a:pt x="3" y="60"/>
                    </a:lnTo>
                    <a:lnTo>
                      <a:pt x="5" y="56"/>
                    </a:lnTo>
                    <a:lnTo>
                      <a:pt x="10" y="49"/>
                    </a:lnTo>
                    <a:lnTo>
                      <a:pt x="18" y="41"/>
                    </a:lnTo>
                    <a:lnTo>
                      <a:pt x="25" y="34"/>
                    </a:lnTo>
                    <a:lnTo>
                      <a:pt x="35" y="28"/>
                    </a:lnTo>
                    <a:lnTo>
                      <a:pt x="46" y="23"/>
                    </a:lnTo>
                    <a:lnTo>
                      <a:pt x="57" y="18"/>
                    </a:lnTo>
                    <a:lnTo>
                      <a:pt x="69" y="14"/>
                    </a:lnTo>
                    <a:lnTo>
                      <a:pt x="81" y="10"/>
                    </a:lnTo>
                    <a:lnTo>
                      <a:pt x="92" y="7"/>
                    </a:lnTo>
                    <a:lnTo>
                      <a:pt x="104" y="4"/>
                    </a:lnTo>
                    <a:lnTo>
                      <a:pt x="124" y="1"/>
                    </a:lnTo>
                    <a:lnTo>
                      <a:pt x="140" y="0"/>
                    </a:lnTo>
                    <a:lnTo>
                      <a:pt x="168" y="0"/>
                    </a:lnTo>
                    <a:lnTo>
                      <a:pt x="193" y="1"/>
                    </a:lnTo>
                    <a:lnTo>
                      <a:pt x="219" y="2"/>
                    </a:lnTo>
                    <a:lnTo>
                      <a:pt x="246" y="6"/>
                    </a:lnTo>
                    <a:lnTo>
                      <a:pt x="244" y="11"/>
                    </a:lnTo>
                    <a:lnTo>
                      <a:pt x="241" y="15"/>
                    </a:lnTo>
                    <a:lnTo>
                      <a:pt x="236" y="20"/>
                    </a:lnTo>
                    <a:lnTo>
                      <a:pt x="231" y="26"/>
                    </a:lnTo>
                    <a:lnTo>
                      <a:pt x="215" y="36"/>
                    </a:lnTo>
                    <a:lnTo>
                      <a:pt x="199" y="46"/>
                    </a:lnTo>
                    <a:lnTo>
                      <a:pt x="180" y="55"/>
                    </a:lnTo>
                    <a:lnTo>
                      <a:pt x="162" y="61"/>
                    </a:lnTo>
                    <a:lnTo>
                      <a:pt x="152" y="64"/>
                    </a:lnTo>
                    <a:lnTo>
                      <a:pt x="143" y="66"/>
                    </a:lnTo>
                    <a:lnTo>
                      <a:pt x="134" y="67"/>
                    </a:lnTo>
                    <a:lnTo>
                      <a:pt x="126" y="67"/>
                    </a:lnTo>
                    <a:lnTo>
                      <a:pt x="120" y="67"/>
                    </a:lnTo>
                    <a:lnTo>
                      <a:pt x="110" y="67"/>
                    </a:lnTo>
                    <a:lnTo>
                      <a:pt x="100" y="67"/>
                    </a:lnTo>
                    <a:lnTo>
                      <a:pt x="93" y="67"/>
                    </a:lnTo>
                    <a:lnTo>
                      <a:pt x="88" y="69"/>
                    </a:lnTo>
                    <a:lnTo>
                      <a:pt x="80" y="72"/>
                    </a:lnTo>
                    <a:lnTo>
                      <a:pt x="72" y="77"/>
                    </a:lnTo>
                    <a:lnTo>
                      <a:pt x="63" y="83"/>
                    </a:lnTo>
                    <a:lnTo>
                      <a:pt x="53" y="88"/>
                    </a:lnTo>
                    <a:lnTo>
                      <a:pt x="44" y="93"/>
                    </a:lnTo>
                    <a:lnTo>
                      <a:pt x="35" y="96"/>
                    </a:lnTo>
                    <a:lnTo>
                      <a:pt x="27" y="99"/>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8" name="Freeform 424">
                <a:extLst>
                  <a:ext uri="{FF2B5EF4-FFF2-40B4-BE49-F238E27FC236}">
                    <a16:creationId xmlns:a16="http://schemas.microsoft.com/office/drawing/2014/main" id="{2735FEFF-2BA5-49AF-8061-FA2BFAE5E89C}"/>
                  </a:ext>
                </a:extLst>
              </p:cNvPr>
              <p:cNvSpPr>
                <a:spLocks/>
              </p:cNvSpPr>
              <p:nvPr/>
            </p:nvSpPr>
            <p:spPr bwMode="auto">
              <a:xfrm>
                <a:off x="1294" y="1248"/>
                <a:ext cx="76" cy="40"/>
              </a:xfrm>
              <a:custGeom>
                <a:avLst/>
                <a:gdLst>
                  <a:gd name="T0" fmla="*/ 11 w 233"/>
                  <a:gd name="T1" fmla="*/ 29 h 123"/>
                  <a:gd name="T2" fmla="*/ 3 w 233"/>
                  <a:gd name="T3" fmla="*/ 25 h 123"/>
                  <a:gd name="T4" fmla="*/ 0 w 233"/>
                  <a:gd name="T5" fmla="*/ 18 h 123"/>
                  <a:gd name="T6" fmla="*/ 7 w 233"/>
                  <a:gd name="T7" fmla="*/ 12 h 123"/>
                  <a:gd name="T8" fmla="*/ 13 w 233"/>
                  <a:gd name="T9" fmla="*/ 12 h 123"/>
                  <a:gd name="T10" fmla="*/ 20 w 233"/>
                  <a:gd name="T11" fmla="*/ 12 h 123"/>
                  <a:gd name="T12" fmla="*/ 23 w 233"/>
                  <a:gd name="T13" fmla="*/ 12 h 123"/>
                  <a:gd name="T14" fmla="*/ 27 w 233"/>
                  <a:gd name="T15" fmla="*/ 11 h 123"/>
                  <a:gd name="T16" fmla="*/ 34 w 233"/>
                  <a:gd name="T17" fmla="*/ 7 h 123"/>
                  <a:gd name="T18" fmla="*/ 40 w 233"/>
                  <a:gd name="T19" fmla="*/ 4 h 123"/>
                  <a:gd name="T20" fmla="*/ 48 w 233"/>
                  <a:gd name="T21" fmla="*/ 0 h 123"/>
                  <a:gd name="T22" fmla="*/ 53 w 233"/>
                  <a:gd name="T23" fmla="*/ 3 h 123"/>
                  <a:gd name="T24" fmla="*/ 59 w 233"/>
                  <a:gd name="T25" fmla="*/ 4 h 123"/>
                  <a:gd name="T26" fmla="*/ 62 w 233"/>
                  <a:gd name="T27" fmla="*/ 3 h 123"/>
                  <a:gd name="T28" fmla="*/ 66 w 233"/>
                  <a:gd name="T29" fmla="*/ 2 h 123"/>
                  <a:gd name="T30" fmla="*/ 69 w 233"/>
                  <a:gd name="T31" fmla="*/ 0 h 123"/>
                  <a:gd name="T32" fmla="*/ 76 w 233"/>
                  <a:gd name="T33" fmla="*/ 2 h 123"/>
                  <a:gd name="T34" fmla="*/ 74 w 233"/>
                  <a:gd name="T35" fmla="*/ 6 h 123"/>
                  <a:gd name="T36" fmla="*/ 71 w 233"/>
                  <a:gd name="T37" fmla="*/ 8 h 123"/>
                  <a:gd name="T38" fmla="*/ 68 w 233"/>
                  <a:gd name="T39" fmla="*/ 10 h 123"/>
                  <a:gd name="T40" fmla="*/ 66 w 233"/>
                  <a:gd name="T41" fmla="*/ 14 h 123"/>
                  <a:gd name="T42" fmla="*/ 67 w 233"/>
                  <a:gd name="T43" fmla="*/ 20 h 123"/>
                  <a:gd name="T44" fmla="*/ 60 w 233"/>
                  <a:gd name="T45" fmla="*/ 28 h 123"/>
                  <a:gd name="T46" fmla="*/ 51 w 233"/>
                  <a:gd name="T47" fmla="*/ 31 h 123"/>
                  <a:gd name="T48" fmla="*/ 45 w 233"/>
                  <a:gd name="T49" fmla="*/ 32 h 123"/>
                  <a:gd name="T50" fmla="*/ 38 w 233"/>
                  <a:gd name="T51" fmla="*/ 33 h 123"/>
                  <a:gd name="T52" fmla="*/ 31 w 233"/>
                  <a:gd name="T53" fmla="*/ 34 h 123"/>
                  <a:gd name="T54" fmla="*/ 27 w 233"/>
                  <a:gd name="T55" fmla="*/ 37 h 123"/>
                  <a:gd name="T56" fmla="*/ 22 w 233"/>
                  <a:gd name="T57" fmla="*/ 40 h 123"/>
                  <a:gd name="T58" fmla="*/ 19 w 233"/>
                  <a:gd name="T59" fmla="*/ 40 h 123"/>
                  <a:gd name="T60" fmla="*/ 17 w 233"/>
                  <a:gd name="T61" fmla="*/ 37 h 123"/>
                  <a:gd name="T62" fmla="*/ 16 w 233"/>
                  <a:gd name="T63" fmla="*/ 33 h 12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33" h="123">
                    <a:moveTo>
                      <a:pt x="47" y="93"/>
                    </a:moveTo>
                    <a:lnTo>
                      <a:pt x="33" y="88"/>
                    </a:lnTo>
                    <a:lnTo>
                      <a:pt x="21" y="83"/>
                    </a:lnTo>
                    <a:lnTo>
                      <a:pt x="10" y="78"/>
                    </a:lnTo>
                    <a:lnTo>
                      <a:pt x="0" y="74"/>
                    </a:lnTo>
                    <a:lnTo>
                      <a:pt x="0" y="55"/>
                    </a:lnTo>
                    <a:lnTo>
                      <a:pt x="10" y="46"/>
                    </a:lnTo>
                    <a:lnTo>
                      <a:pt x="20" y="37"/>
                    </a:lnTo>
                    <a:lnTo>
                      <a:pt x="30" y="37"/>
                    </a:lnTo>
                    <a:lnTo>
                      <a:pt x="40" y="37"/>
                    </a:lnTo>
                    <a:lnTo>
                      <a:pt x="51" y="37"/>
                    </a:lnTo>
                    <a:lnTo>
                      <a:pt x="61" y="37"/>
                    </a:lnTo>
                    <a:lnTo>
                      <a:pt x="66" y="37"/>
                    </a:lnTo>
                    <a:lnTo>
                      <a:pt x="72" y="36"/>
                    </a:lnTo>
                    <a:lnTo>
                      <a:pt x="77" y="35"/>
                    </a:lnTo>
                    <a:lnTo>
                      <a:pt x="83" y="33"/>
                    </a:lnTo>
                    <a:lnTo>
                      <a:pt x="94" y="28"/>
                    </a:lnTo>
                    <a:lnTo>
                      <a:pt x="104" y="23"/>
                    </a:lnTo>
                    <a:lnTo>
                      <a:pt x="114" y="17"/>
                    </a:lnTo>
                    <a:lnTo>
                      <a:pt x="123" y="11"/>
                    </a:lnTo>
                    <a:lnTo>
                      <a:pt x="134" y="5"/>
                    </a:lnTo>
                    <a:lnTo>
                      <a:pt x="146" y="0"/>
                    </a:lnTo>
                    <a:lnTo>
                      <a:pt x="153" y="4"/>
                    </a:lnTo>
                    <a:lnTo>
                      <a:pt x="161" y="8"/>
                    </a:lnTo>
                    <a:lnTo>
                      <a:pt x="171" y="11"/>
                    </a:lnTo>
                    <a:lnTo>
                      <a:pt x="181" y="12"/>
                    </a:lnTo>
                    <a:lnTo>
                      <a:pt x="185" y="12"/>
                    </a:lnTo>
                    <a:lnTo>
                      <a:pt x="190" y="10"/>
                    </a:lnTo>
                    <a:lnTo>
                      <a:pt x="196" y="8"/>
                    </a:lnTo>
                    <a:lnTo>
                      <a:pt x="201" y="6"/>
                    </a:lnTo>
                    <a:lnTo>
                      <a:pt x="210" y="2"/>
                    </a:lnTo>
                    <a:lnTo>
                      <a:pt x="213" y="0"/>
                    </a:lnTo>
                    <a:lnTo>
                      <a:pt x="233" y="0"/>
                    </a:lnTo>
                    <a:lnTo>
                      <a:pt x="232" y="6"/>
                    </a:lnTo>
                    <a:lnTo>
                      <a:pt x="231" y="12"/>
                    </a:lnTo>
                    <a:lnTo>
                      <a:pt x="228" y="18"/>
                    </a:lnTo>
                    <a:lnTo>
                      <a:pt x="224" y="22"/>
                    </a:lnTo>
                    <a:lnTo>
                      <a:pt x="219" y="25"/>
                    </a:lnTo>
                    <a:lnTo>
                      <a:pt x="213" y="28"/>
                    </a:lnTo>
                    <a:lnTo>
                      <a:pt x="207" y="30"/>
                    </a:lnTo>
                    <a:lnTo>
                      <a:pt x="200" y="30"/>
                    </a:lnTo>
                    <a:lnTo>
                      <a:pt x="201" y="43"/>
                    </a:lnTo>
                    <a:lnTo>
                      <a:pt x="204" y="52"/>
                    </a:lnTo>
                    <a:lnTo>
                      <a:pt x="206" y="62"/>
                    </a:lnTo>
                    <a:lnTo>
                      <a:pt x="207" y="74"/>
                    </a:lnTo>
                    <a:lnTo>
                      <a:pt x="185" y="85"/>
                    </a:lnTo>
                    <a:lnTo>
                      <a:pt x="166" y="93"/>
                    </a:lnTo>
                    <a:lnTo>
                      <a:pt x="157" y="96"/>
                    </a:lnTo>
                    <a:lnTo>
                      <a:pt x="149" y="98"/>
                    </a:lnTo>
                    <a:lnTo>
                      <a:pt x="139" y="98"/>
                    </a:lnTo>
                    <a:lnTo>
                      <a:pt x="127" y="99"/>
                    </a:lnTo>
                    <a:lnTo>
                      <a:pt x="116" y="100"/>
                    </a:lnTo>
                    <a:lnTo>
                      <a:pt x="105" y="103"/>
                    </a:lnTo>
                    <a:lnTo>
                      <a:pt x="96" y="106"/>
                    </a:lnTo>
                    <a:lnTo>
                      <a:pt x="88" y="111"/>
                    </a:lnTo>
                    <a:lnTo>
                      <a:pt x="82" y="115"/>
                    </a:lnTo>
                    <a:lnTo>
                      <a:pt x="74" y="119"/>
                    </a:lnTo>
                    <a:lnTo>
                      <a:pt x="67" y="122"/>
                    </a:lnTo>
                    <a:lnTo>
                      <a:pt x="61" y="123"/>
                    </a:lnTo>
                    <a:lnTo>
                      <a:pt x="58" y="122"/>
                    </a:lnTo>
                    <a:lnTo>
                      <a:pt x="55" y="119"/>
                    </a:lnTo>
                    <a:lnTo>
                      <a:pt x="53" y="115"/>
                    </a:lnTo>
                    <a:lnTo>
                      <a:pt x="51" y="110"/>
                    </a:lnTo>
                    <a:lnTo>
                      <a:pt x="48" y="100"/>
                    </a:lnTo>
                    <a:lnTo>
                      <a:pt x="47" y="93"/>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29" name="Freeform 425">
                <a:extLst>
                  <a:ext uri="{FF2B5EF4-FFF2-40B4-BE49-F238E27FC236}">
                    <a16:creationId xmlns:a16="http://schemas.microsoft.com/office/drawing/2014/main" id="{2F33DBE6-E15F-4E24-A848-833AE532FE35}"/>
                  </a:ext>
                </a:extLst>
              </p:cNvPr>
              <p:cNvSpPr>
                <a:spLocks/>
              </p:cNvSpPr>
              <p:nvPr/>
            </p:nvSpPr>
            <p:spPr bwMode="auto">
              <a:xfrm>
                <a:off x="983" y="1236"/>
                <a:ext cx="157" cy="56"/>
              </a:xfrm>
              <a:custGeom>
                <a:avLst/>
                <a:gdLst>
                  <a:gd name="T0" fmla="*/ 0 w 484"/>
                  <a:gd name="T1" fmla="*/ 48 h 172"/>
                  <a:gd name="T2" fmla="*/ 1 w 484"/>
                  <a:gd name="T3" fmla="*/ 51 h 172"/>
                  <a:gd name="T4" fmla="*/ 3 w 484"/>
                  <a:gd name="T5" fmla="*/ 53 h 172"/>
                  <a:gd name="T6" fmla="*/ 6 w 484"/>
                  <a:gd name="T7" fmla="*/ 54 h 172"/>
                  <a:gd name="T8" fmla="*/ 10 w 484"/>
                  <a:gd name="T9" fmla="*/ 55 h 172"/>
                  <a:gd name="T10" fmla="*/ 17 w 484"/>
                  <a:gd name="T11" fmla="*/ 56 h 172"/>
                  <a:gd name="T12" fmla="*/ 24 w 484"/>
                  <a:gd name="T13" fmla="*/ 56 h 172"/>
                  <a:gd name="T14" fmla="*/ 32 w 484"/>
                  <a:gd name="T15" fmla="*/ 54 h 172"/>
                  <a:gd name="T16" fmla="*/ 45 w 484"/>
                  <a:gd name="T17" fmla="*/ 51 h 172"/>
                  <a:gd name="T18" fmla="*/ 61 w 484"/>
                  <a:gd name="T19" fmla="*/ 44 h 172"/>
                  <a:gd name="T20" fmla="*/ 78 w 484"/>
                  <a:gd name="T21" fmla="*/ 37 h 172"/>
                  <a:gd name="T22" fmla="*/ 93 w 484"/>
                  <a:gd name="T23" fmla="*/ 33 h 172"/>
                  <a:gd name="T24" fmla="*/ 114 w 484"/>
                  <a:gd name="T25" fmla="*/ 28 h 172"/>
                  <a:gd name="T26" fmla="*/ 130 w 484"/>
                  <a:gd name="T27" fmla="*/ 24 h 172"/>
                  <a:gd name="T28" fmla="*/ 141 w 484"/>
                  <a:gd name="T29" fmla="*/ 21 h 172"/>
                  <a:gd name="T30" fmla="*/ 150 w 484"/>
                  <a:gd name="T31" fmla="*/ 17 h 172"/>
                  <a:gd name="T32" fmla="*/ 154 w 484"/>
                  <a:gd name="T33" fmla="*/ 14 h 172"/>
                  <a:gd name="T34" fmla="*/ 156 w 484"/>
                  <a:gd name="T35" fmla="*/ 11 h 172"/>
                  <a:gd name="T36" fmla="*/ 146 w 484"/>
                  <a:gd name="T37" fmla="*/ 8 h 172"/>
                  <a:gd name="T38" fmla="*/ 126 w 484"/>
                  <a:gd name="T39" fmla="*/ 5 h 172"/>
                  <a:gd name="T40" fmla="*/ 107 w 484"/>
                  <a:gd name="T41" fmla="*/ 2 h 172"/>
                  <a:gd name="T42" fmla="*/ 88 w 484"/>
                  <a:gd name="T43" fmla="*/ 0 h 172"/>
                  <a:gd name="T44" fmla="*/ 73 w 484"/>
                  <a:gd name="T45" fmla="*/ 0 h 172"/>
                  <a:gd name="T46" fmla="*/ 66 w 484"/>
                  <a:gd name="T47" fmla="*/ 1 h 172"/>
                  <a:gd name="T48" fmla="*/ 60 w 484"/>
                  <a:gd name="T49" fmla="*/ 3 h 172"/>
                  <a:gd name="T50" fmla="*/ 57 w 484"/>
                  <a:gd name="T51" fmla="*/ 2 h 172"/>
                  <a:gd name="T52" fmla="*/ 55 w 484"/>
                  <a:gd name="T53" fmla="*/ 1 h 172"/>
                  <a:gd name="T54" fmla="*/ 54 w 484"/>
                  <a:gd name="T55" fmla="*/ 3 h 172"/>
                  <a:gd name="T56" fmla="*/ 52 w 484"/>
                  <a:gd name="T57" fmla="*/ 8 h 172"/>
                  <a:gd name="T58" fmla="*/ 50 w 484"/>
                  <a:gd name="T59" fmla="*/ 12 h 172"/>
                  <a:gd name="T60" fmla="*/ 47 w 484"/>
                  <a:gd name="T61" fmla="*/ 15 h 172"/>
                  <a:gd name="T62" fmla="*/ 41 w 484"/>
                  <a:gd name="T63" fmla="*/ 19 h 172"/>
                  <a:gd name="T64" fmla="*/ 31 w 484"/>
                  <a:gd name="T65" fmla="*/ 22 h 172"/>
                  <a:gd name="T66" fmla="*/ 21 w 484"/>
                  <a:gd name="T67" fmla="*/ 25 h 172"/>
                  <a:gd name="T68" fmla="*/ 12 w 484"/>
                  <a:gd name="T69" fmla="*/ 29 h 172"/>
                  <a:gd name="T70" fmla="*/ 6 w 484"/>
                  <a:gd name="T71" fmla="*/ 32 h 172"/>
                  <a:gd name="T72" fmla="*/ 3 w 484"/>
                  <a:gd name="T73" fmla="*/ 35 h 172"/>
                  <a:gd name="T74" fmla="*/ 1 w 484"/>
                  <a:gd name="T75" fmla="*/ 39 h 172"/>
                  <a:gd name="T76" fmla="*/ 0 w 484"/>
                  <a:gd name="T77" fmla="*/ 44 h 17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484" h="172">
                    <a:moveTo>
                      <a:pt x="0" y="142"/>
                    </a:moveTo>
                    <a:lnTo>
                      <a:pt x="0" y="147"/>
                    </a:lnTo>
                    <a:lnTo>
                      <a:pt x="1" y="152"/>
                    </a:lnTo>
                    <a:lnTo>
                      <a:pt x="3" y="156"/>
                    </a:lnTo>
                    <a:lnTo>
                      <a:pt x="6" y="159"/>
                    </a:lnTo>
                    <a:lnTo>
                      <a:pt x="9" y="162"/>
                    </a:lnTo>
                    <a:lnTo>
                      <a:pt x="13" y="165"/>
                    </a:lnTo>
                    <a:lnTo>
                      <a:pt x="17" y="167"/>
                    </a:lnTo>
                    <a:lnTo>
                      <a:pt x="21" y="168"/>
                    </a:lnTo>
                    <a:lnTo>
                      <a:pt x="31" y="170"/>
                    </a:lnTo>
                    <a:lnTo>
                      <a:pt x="41" y="172"/>
                    </a:lnTo>
                    <a:lnTo>
                      <a:pt x="51" y="172"/>
                    </a:lnTo>
                    <a:lnTo>
                      <a:pt x="59" y="172"/>
                    </a:lnTo>
                    <a:lnTo>
                      <a:pt x="73" y="172"/>
                    </a:lnTo>
                    <a:lnTo>
                      <a:pt x="86" y="170"/>
                    </a:lnTo>
                    <a:lnTo>
                      <a:pt x="99" y="167"/>
                    </a:lnTo>
                    <a:lnTo>
                      <a:pt x="113" y="164"/>
                    </a:lnTo>
                    <a:lnTo>
                      <a:pt x="139" y="156"/>
                    </a:lnTo>
                    <a:lnTo>
                      <a:pt x="164" y="146"/>
                    </a:lnTo>
                    <a:lnTo>
                      <a:pt x="189" y="135"/>
                    </a:lnTo>
                    <a:lnTo>
                      <a:pt x="215" y="124"/>
                    </a:lnTo>
                    <a:lnTo>
                      <a:pt x="240" y="113"/>
                    </a:lnTo>
                    <a:lnTo>
                      <a:pt x="265" y="104"/>
                    </a:lnTo>
                    <a:lnTo>
                      <a:pt x="287" y="100"/>
                    </a:lnTo>
                    <a:lnTo>
                      <a:pt x="316" y="94"/>
                    </a:lnTo>
                    <a:lnTo>
                      <a:pt x="350" y="87"/>
                    </a:lnTo>
                    <a:lnTo>
                      <a:pt x="385" y="80"/>
                    </a:lnTo>
                    <a:lnTo>
                      <a:pt x="401" y="75"/>
                    </a:lnTo>
                    <a:lnTo>
                      <a:pt x="418" y="70"/>
                    </a:lnTo>
                    <a:lnTo>
                      <a:pt x="434" y="64"/>
                    </a:lnTo>
                    <a:lnTo>
                      <a:pt x="449" y="58"/>
                    </a:lnTo>
                    <a:lnTo>
                      <a:pt x="461" y="52"/>
                    </a:lnTo>
                    <a:lnTo>
                      <a:pt x="471" y="46"/>
                    </a:lnTo>
                    <a:lnTo>
                      <a:pt x="475" y="42"/>
                    </a:lnTo>
                    <a:lnTo>
                      <a:pt x="479" y="39"/>
                    </a:lnTo>
                    <a:lnTo>
                      <a:pt x="482" y="35"/>
                    </a:lnTo>
                    <a:lnTo>
                      <a:pt x="484" y="31"/>
                    </a:lnTo>
                    <a:lnTo>
                      <a:pt x="449" y="26"/>
                    </a:lnTo>
                    <a:lnTo>
                      <a:pt x="417" y="21"/>
                    </a:lnTo>
                    <a:lnTo>
                      <a:pt x="387" y="16"/>
                    </a:lnTo>
                    <a:lnTo>
                      <a:pt x="359" y="10"/>
                    </a:lnTo>
                    <a:lnTo>
                      <a:pt x="331" y="6"/>
                    </a:lnTo>
                    <a:lnTo>
                      <a:pt x="303" y="3"/>
                    </a:lnTo>
                    <a:lnTo>
                      <a:pt x="272" y="0"/>
                    </a:lnTo>
                    <a:lnTo>
                      <a:pt x="239" y="0"/>
                    </a:lnTo>
                    <a:lnTo>
                      <a:pt x="225" y="0"/>
                    </a:lnTo>
                    <a:lnTo>
                      <a:pt x="213" y="2"/>
                    </a:lnTo>
                    <a:lnTo>
                      <a:pt x="203" y="4"/>
                    </a:lnTo>
                    <a:lnTo>
                      <a:pt x="195" y="6"/>
                    </a:lnTo>
                    <a:lnTo>
                      <a:pt x="186" y="8"/>
                    </a:lnTo>
                    <a:lnTo>
                      <a:pt x="180" y="7"/>
                    </a:lnTo>
                    <a:lnTo>
                      <a:pt x="176" y="6"/>
                    </a:lnTo>
                    <a:lnTo>
                      <a:pt x="173" y="5"/>
                    </a:lnTo>
                    <a:lnTo>
                      <a:pt x="169" y="3"/>
                    </a:lnTo>
                    <a:lnTo>
                      <a:pt x="165" y="0"/>
                    </a:lnTo>
                    <a:lnTo>
                      <a:pt x="165" y="8"/>
                    </a:lnTo>
                    <a:lnTo>
                      <a:pt x="163" y="17"/>
                    </a:lnTo>
                    <a:lnTo>
                      <a:pt x="161" y="24"/>
                    </a:lnTo>
                    <a:lnTo>
                      <a:pt x="159" y="31"/>
                    </a:lnTo>
                    <a:lnTo>
                      <a:pt x="154" y="36"/>
                    </a:lnTo>
                    <a:lnTo>
                      <a:pt x="150" y="42"/>
                    </a:lnTo>
                    <a:lnTo>
                      <a:pt x="144" y="46"/>
                    </a:lnTo>
                    <a:lnTo>
                      <a:pt x="139" y="50"/>
                    </a:lnTo>
                    <a:lnTo>
                      <a:pt x="127" y="58"/>
                    </a:lnTo>
                    <a:lnTo>
                      <a:pt x="113" y="63"/>
                    </a:lnTo>
                    <a:lnTo>
                      <a:pt x="97" y="69"/>
                    </a:lnTo>
                    <a:lnTo>
                      <a:pt x="82" y="73"/>
                    </a:lnTo>
                    <a:lnTo>
                      <a:pt x="66" y="78"/>
                    </a:lnTo>
                    <a:lnTo>
                      <a:pt x="52" y="82"/>
                    </a:lnTo>
                    <a:lnTo>
                      <a:pt x="38" y="88"/>
                    </a:lnTo>
                    <a:lnTo>
                      <a:pt x="25" y="94"/>
                    </a:lnTo>
                    <a:lnTo>
                      <a:pt x="19" y="98"/>
                    </a:lnTo>
                    <a:lnTo>
                      <a:pt x="15" y="103"/>
                    </a:lnTo>
                    <a:lnTo>
                      <a:pt x="10" y="107"/>
                    </a:lnTo>
                    <a:lnTo>
                      <a:pt x="6" y="113"/>
                    </a:lnTo>
                    <a:lnTo>
                      <a:pt x="3" y="119"/>
                    </a:lnTo>
                    <a:lnTo>
                      <a:pt x="1" y="126"/>
                    </a:lnTo>
                    <a:lnTo>
                      <a:pt x="0" y="134"/>
                    </a:lnTo>
                    <a:lnTo>
                      <a:pt x="0" y="14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0" name="Freeform 426">
                <a:extLst>
                  <a:ext uri="{FF2B5EF4-FFF2-40B4-BE49-F238E27FC236}">
                    <a16:creationId xmlns:a16="http://schemas.microsoft.com/office/drawing/2014/main" id="{45BAB727-FE78-4E71-8269-1374D049790F}"/>
                  </a:ext>
                </a:extLst>
              </p:cNvPr>
              <p:cNvSpPr>
                <a:spLocks/>
              </p:cNvSpPr>
              <p:nvPr/>
            </p:nvSpPr>
            <p:spPr bwMode="auto">
              <a:xfrm>
                <a:off x="1043" y="1255"/>
                <a:ext cx="221" cy="79"/>
              </a:xfrm>
              <a:custGeom>
                <a:avLst/>
                <a:gdLst>
                  <a:gd name="T0" fmla="*/ 102 w 684"/>
                  <a:gd name="T1" fmla="*/ 2 h 240"/>
                  <a:gd name="T2" fmla="*/ 98 w 684"/>
                  <a:gd name="T3" fmla="*/ 9 h 240"/>
                  <a:gd name="T4" fmla="*/ 96 w 684"/>
                  <a:gd name="T5" fmla="*/ 13 h 240"/>
                  <a:gd name="T6" fmla="*/ 97 w 684"/>
                  <a:gd name="T7" fmla="*/ 14 h 240"/>
                  <a:gd name="T8" fmla="*/ 109 w 684"/>
                  <a:gd name="T9" fmla="*/ 13 h 240"/>
                  <a:gd name="T10" fmla="*/ 120 w 684"/>
                  <a:gd name="T11" fmla="*/ 6 h 240"/>
                  <a:gd name="T12" fmla="*/ 122 w 684"/>
                  <a:gd name="T13" fmla="*/ 13 h 240"/>
                  <a:gd name="T14" fmla="*/ 122 w 684"/>
                  <a:gd name="T15" fmla="*/ 18 h 240"/>
                  <a:gd name="T16" fmla="*/ 131 w 684"/>
                  <a:gd name="T17" fmla="*/ 23 h 240"/>
                  <a:gd name="T18" fmla="*/ 165 w 684"/>
                  <a:gd name="T19" fmla="*/ 17 h 240"/>
                  <a:gd name="T20" fmla="*/ 166 w 684"/>
                  <a:gd name="T21" fmla="*/ 23 h 240"/>
                  <a:gd name="T22" fmla="*/ 175 w 684"/>
                  <a:gd name="T23" fmla="*/ 21 h 240"/>
                  <a:gd name="T24" fmla="*/ 180 w 684"/>
                  <a:gd name="T25" fmla="*/ 15 h 240"/>
                  <a:gd name="T26" fmla="*/ 180 w 684"/>
                  <a:gd name="T27" fmla="*/ 6 h 240"/>
                  <a:gd name="T28" fmla="*/ 182 w 684"/>
                  <a:gd name="T29" fmla="*/ 3 h 240"/>
                  <a:gd name="T30" fmla="*/ 187 w 684"/>
                  <a:gd name="T31" fmla="*/ 0 h 240"/>
                  <a:gd name="T32" fmla="*/ 202 w 684"/>
                  <a:gd name="T33" fmla="*/ 1 h 240"/>
                  <a:gd name="T34" fmla="*/ 208 w 684"/>
                  <a:gd name="T35" fmla="*/ 0 h 240"/>
                  <a:gd name="T36" fmla="*/ 212 w 684"/>
                  <a:gd name="T37" fmla="*/ 13 h 240"/>
                  <a:gd name="T38" fmla="*/ 211 w 684"/>
                  <a:gd name="T39" fmla="*/ 23 h 240"/>
                  <a:gd name="T40" fmla="*/ 206 w 684"/>
                  <a:gd name="T41" fmla="*/ 33 h 240"/>
                  <a:gd name="T42" fmla="*/ 200 w 684"/>
                  <a:gd name="T43" fmla="*/ 41 h 240"/>
                  <a:gd name="T44" fmla="*/ 209 w 684"/>
                  <a:gd name="T45" fmla="*/ 45 h 240"/>
                  <a:gd name="T46" fmla="*/ 217 w 684"/>
                  <a:gd name="T47" fmla="*/ 48 h 240"/>
                  <a:gd name="T48" fmla="*/ 221 w 684"/>
                  <a:gd name="T49" fmla="*/ 59 h 240"/>
                  <a:gd name="T50" fmla="*/ 206 w 684"/>
                  <a:gd name="T51" fmla="*/ 61 h 240"/>
                  <a:gd name="T52" fmla="*/ 196 w 684"/>
                  <a:gd name="T53" fmla="*/ 60 h 240"/>
                  <a:gd name="T54" fmla="*/ 185 w 684"/>
                  <a:gd name="T55" fmla="*/ 59 h 240"/>
                  <a:gd name="T56" fmla="*/ 182 w 684"/>
                  <a:gd name="T57" fmla="*/ 61 h 240"/>
                  <a:gd name="T58" fmla="*/ 175 w 684"/>
                  <a:gd name="T59" fmla="*/ 66 h 240"/>
                  <a:gd name="T60" fmla="*/ 169 w 684"/>
                  <a:gd name="T61" fmla="*/ 69 h 240"/>
                  <a:gd name="T62" fmla="*/ 159 w 684"/>
                  <a:gd name="T63" fmla="*/ 69 h 240"/>
                  <a:gd name="T64" fmla="*/ 146 w 684"/>
                  <a:gd name="T65" fmla="*/ 67 h 240"/>
                  <a:gd name="T66" fmla="*/ 136 w 684"/>
                  <a:gd name="T67" fmla="*/ 65 h 240"/>
                  <a:gd name="T68" fmla="*/ 109 w 684"/>
                  <a:gd name="T69" fmla="*/ 69 h 240"/>
                  <a:gd name="T70" fmla="*/ 75 w 684"/>
                  <a:gd name="T71" fmla="*/ 76 h 240"/>
                  <a:gd name="T72" fmla="*/ 55 w 684"/>
                  <a:gd name="T73" fmla="*/ 78 h 240"/>
                  <a:gd name="T74" fmla="*/ 40 w 684"/>
                  <a:gd name="T75" fmla="*/ 78 h 240"/>
                  <a:gd name="T76" fmla="*/ 32 w 684"/>
                  <a:gd name="T77" fmla="*/ 75 h 240"/>
                  <a:gd name="T78" fmla="*/ 22 w 684"/>
                  <a:gd name="T79" fmla="*/ 68 h 240"/>
                  <a:gd name="T80" fmla="*/ 9 w 684"/>
                  <a:gd name="T81" fmla="*/ 65 h 240"/>
                  <a:gd name="T82" fmla="*/ 0 w 684"/>
                  <a:gd name="T83" fmla="*/ 57 h 240"/>
                  <a:gd name="T84" fmla="*/ 21 w 684"/>
                  <a:gd name="T85" fmla="*/ 52 h 240"/>
                  <a:gd name="T86" fmla="*/ 32 w 684"/>
                  <a:gd name="T87" fmla="*/ 51 h 240"/>
                  <a:gd name="T88" fmla="*/ 50 w 684"/>
                  <a:gd name="T89" fmla="*/ 53 h 240"/>
                  <a:gd name="T90" fmla="*/ 65 w 684"/>
                  <a:gd name="T91" fmla="*/ 54 h 240"/>
                  <a:gd name="T92" fmla="*/ 72 w 684"/>
                  <a:gd name="T93" fmla="*/ 53 h 240"/>
                  <a:gd name="T94" fmla="*/ 8 w 684"/>
                  <a:gd name="T95" fmla="*/ 45 h 240"/>
                  <a:gd name="T96" fmla="*/ 17 w 684"/>
                  <a:gd name="T97" fmla="*/ 42 h 240"/>
                  <a:gd name="T98" fmla="*/ 35 w 684"/>
                  <a:gd name="T99" fmla="*/ 39 h 240"/>
                  <a:gd name="T100" fmla="*/ 53 w 684"/>
                  <a:gd name="T101" fmla="*/ 36 h 240"/>
                  <a:gd name="T102" fmla="*/ 60 w 684"/>
                  <a:gd name="T103" fmla="*/ 33 h 240"/>
                  <a:gd name="T104" fmla="*/ 54 w 684"/>
                  <a:gd name="T105" fmla="*/ 31 h 240"/>
                  <a:gd name="T106" fmla="*/ 40 w 684"/>
                  <a:gd name="T107" fmla="*/ 32 h 240"/>
                  <a:gd name="T108" fmla="*/ 23 w 684"/>
                  <a:gd name="T109" fmla="*/ 36 h 240"/>
                  <a:gd name="T110" fmla="*/ 17 w 684"/>
                  <a:gd name="T111" fmla="*/ 35 h 240"/>
                  <a:gd name="T112" fmla="*/ 18 w 684"/>
                  <a:gd name="T113" fmla="*/ 30 h 240"/>
                  <a:gd name="T114" fmla="*/ 17 w 684"/>
                  <a:gd name="T115" fmla="*/ 27 h 240"/>
                  <a:gd name="T116" fmla="*/ 19 w 684"/>
                  <a:gd name="T117" fmla="*/ 26 h 24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84" h="240">
                    <a:moveTo>
                      <a:pt x="60" y="75"/>
                    </a:moveTo>
                    <a:lnTo>
                      <a:pt x="320" y="0"/>
                    </a:lnTo>
                    <a:lnTo>
                      <a:pt x="317" y="5"/>
                    </a:lnTo>
                    <a:lnTo>
                      <a:pt x="314" y="13"/>
                    </a:lnTo>
                    <a:lnTo>
                      <a:pt x="310" y="20"/>
                    </a:lnTo>
                    <a:lnTo>
                      <a:pt x="304" y="27"/>
                    </a:lnTo>
                    <a:lnTo>
                      <a:pt x="300" y="33"/>
                    </a:lnTo>
                    <a:lnTo>
                      <a:pt x="297" y="39"/>
                    </a:lnTo>
                    <a:lnTo>
                      <a:pt x="297" y="41"/>
                    </a:lnTo>
                    <a:lnTo>
                      <a:pt x="297" y="42"/>
                    </a:lnTo>
                    <a:lnTo>
                      <a:pt x="298" y="43"/>
                    </a:lnTo>
                    <a:lnTo>
                      <a:pt x="299" y="43"/>
                    </a:lnTo>
                    <a:lnTo>
                      <a:pt x="315" y="43"/>
                    </a:lnTo>
                    <a:lnTo>
                      <a:pt x="327" y="41"/>
                    </a:lnTo>
                    <a:lnTo>
                      <a:pt x="337" y="39"/>
                    </a:lnTo>
                    <a:lnTo>
                      <a:pt x="346" y="36"/>
                    </a:lnTo>
                    <a:lnTo>
                      <a:pt x="359" y="28"/>
                    </a:lnTo>
                    <a:lnTo>
                      <a:pt x="372" y="19"/>
                    </a:lnTo>
                    <a:lnTo>
                      <a:pt x="376" y="26"/>
                    </a:lnTo>
                    <a:lnTo>
                      <a:pt x="378" y="32"/>
                    </a:lnTo>
                    <a:lnTo>
                      <a:pt x="379" y="38"/>
                    </a:lnTo>
                    <a:lnTo>
                      <a:pt x="378" y="44"/>
                    </a:lnTo>
                    <a:lnTo>
                      <a:pt x="378" y="49"/>
                    </a:lnTo>
                    <a:lnTo>
                      <a:pt x="377" y="55"/>
                    </a:lnTo>
                    <a:lnTo>
                      <a:pt x="378" y="61"/>
                    </a:lnTo>
                    <a:lnTo>
                      <a:pt x="379" y="69"/>
                    </a:lnTo>
                    <a:lnTo>
                      <a:pt x="405" y="69"/>
                    </a:lnTo>
                    <a:lnTo>
                      <a:pt x="512" y="19"/>
                    </a:lnTo>
                    <a:lnTo>
                      <a:pt x="511" y="36"/>
                    </a:lnTo>
                    <a:lnTo>
                      <a:pt x="511" y="51"/>
                    </a:lnTo>
                    <a:lnTo>
                      <a:pt x="511" y="58"/>
                    </a:lnTo>
                    <a:lnTo>
                      <a:pt x="512" y="65"/>
                    </a:lnTo>
                    <a:lnTo>
                      <a:pt x="514" y="70"/>
                    </a:lnTo>
                    <a:lnTo>
                      <a:pt x="518" y="75"/>
                    </a:lnTo>
                    <a:lnTo>
                      <a:pt x="531" y="68"/>
                    </a:lnTo>
                    <a:lnTo>
                      <a:pt x="541" y="63"/>
                    </a:lnTo>
                    <a:lnTo>
                      <a:pt x="549" y="57"/>
                    </a:lnTo>
                    <a:lnTo>
                      <a:pt x="553" y="51"/>
                    </a:lnTo>
                    <a:lnTo>
                      <a:pt x="557" y="45"/>
                    </a:lnTo>
                    <a:lnTo>
                      <a:pt x="558" y="38"/>
                    </a:lnTo>
                    <a:lnTo>
                      <a:pt x="558" y="30"/>
                    </a:lnTo>
                    <a:lnTo>
                      <a:pt x="558" y="19"/>
                    </a:lnTo>
                    <a:lnTo>
                      <a:pt x="559" y="15"/>
                    </a:lnTo>
                    <a:lnTo>
                      <a:pt x="560" y="11"/>
                    </a:lnTo>
                    <a:lnTo>
                      <a:pt x="563" y="8"/>
                    </a:lnTo>
                    <a:lnTo>
                      <a:pt x="566" y="5"/>
                    </a:lnTo>
                    <a:lnTo>
                      <a:pt x="572" y="1"/>
                    </a:lnTo>
                    <a:lnTo>
                      <a:pt x="579" y="0"/>
                    </a:lnTo>
                    <a:lnTo>
                      <a:pt x="600" y="1"/>
                    </a:lnTo>
                    <a:lnTo>
                      <a:pt x="616" y="2"/>
                    </a:lnTo>
                    <a:lnTo>
                      <a:pt x="624" y="3"/>
                    </a:lnTo>
                    <a:lnTo>
                      <a:pt x="630" y="3"/>
                    </a:lnTo>
                    <a:lnTo>
                      <a:pt x="637" y="2"/>
                    </a:lnTo>
                    <a:lnTo>
                      <a:pt x="645" y="0"/>
                    </a:lnTo>
                    <a:lnTo>
                      <a:pt x="650" y="15"/>
                    </a:lnTo>
                    <a:lnTo>
                      <a:pt x="653" y="28"/>
                    </a:lnTo>
                    <a:lnTo>
                      <a:pt x="657" y="39"/>
                    </a:lnTo>
                    <a:lnTo>
                      <a:pt x="658" y="50"/>
                    </a:lnTo>
                    <a:lnTo>
                      <a:pt x="657" y="59"/>
                    </a:lnTo>
                    <a:lnTo>
                      <a:pt x="653" y="70"/>
                    </a:lnTo>
                    <a:lnTo>
                      <a:pt x="649" y="81"/>
                    </a:lnTo>
                    <a:lnTo>
                      <a:pt x="643" y="91"/>
                    </a:lnTo>
                    <a:lnTo>
                      <a:pt x="637" y="101"/>
                    </a:lnTo>
                    <a:lnTo>
                      <a:pt x="630" y="110"/>
                    </a:lnTo>
                    <a:lnTo>
                      <a:pt x="624" y="119"/>
                    </a:lnTo>
                    <a:lnTo>
                      <a:pt x="618" y="124"/>
                    </a:lnTo>
                    <a:lnTo>
                      <a:pt x="628" y="130"/>
                    </a:lnTo>
                    <a:lnTo>
                      <a:pt x="638" y="134"/>
                    </a:lnTo>
                    <a:lnTo>
                      <a:pt x="648" y="137"/>
                    </a:lnTo>
                    <a:lnTo>
                      <a:pt x="657" y="139"/>
                    </a:lnTo>
                    <a:lnTo>
                      <a:pt x="664" y="142"/>
                    </a:lnTo>
                    <a:lnTo>
                      <a:pt x="672" y="145"/>
                    </a:lnTo>
                    <a:lnTo>
                      <a:pt x="679" y="149"/>
                    </a:lnTo>
                    <a:lnTo>
                      <a:pt x="684" y="154"/>
                    </a:lnTo>
                    <a:lnTo>
                      <a:pt x="684" y="180"/>
                    </a:lnTo>
                    <a:lnTo>
                      <a:pt x="665" y="183"/>
                    </a:lnTo>
                    <a:lnTo>
                      <a:pt x="650" y="185"/>
                    </a:lnTo>
                    <a:lnTo>
                      <a:pt x="639" y="185"/>
                    </a:lnTo>
                    <a:lnTo>
                      <a:pt x="629" y="184"/>
                    </a:lnTo>
                    <a:lnTo>
                      <a:pt x="619" y="183"/>
                    </a:lnTo>
                    <a:lnTo>
                      <a:pt x="608" y="181"/>
                    </a:lnTo>
                    <a:lnTo>
                      <a:pt x="595" y="180"/>
                    </a:lnTo>
                    <a:lnTo>
                      <a:pt x="579" y="180"/>
                    </a:lnTo>
                    <a:lnTo>
                      <a:pt x="574" y="180"/>
                    </a:lnTo>
                    <a:lnTo>
                      <a:pt x="571" y="181"/>
                    </a:lnTo>
                    <a:lnTo>
                      <a:pt x="568" y="182"/>
                    </a:lnTo>
                    <a:lnTo>
                      <a:pt x="564" y="184"/>
                    </a:lnTo>
                    <a:lnTo>
                      <a:pt x="557" y="189"/>
                    </a:lnTo>
                    <a:lnTo>
                      <a:pt x="550" y="195"/>
                    </a:lnTo>
                    <a:lnTo>
                      <a:pt x="542" y="200"/>
                    </a:lnTo>
                    <a:lnTo>
                      <a:pt x="534" y="205"/>
                    </a:lnTo>
                    <a:lnTo>
                      <a:pt x="528" y="207"/>
                    </a:lnTo>
                    <a:lnTo>
                      <a:pt x="524" y="209"/>
                    </a:lnTo>
                    <a:lnTo>
                      <a:pt x="518" y="210"/>
                    </a:lnTo>
                    <a:lnTo>
                      <a:pt x="512" y="210"/>
                    </a:lnTo>
                    <a:lnTo>
                      <a:pt x="493" y="209"/>
                    </a:lnTo>
                    <a:lnTo>
                      <a:pt x="478" y="208"/>
                    </a:lnTo>
                    <a:lnTo>
                      <a:pt x="463" y="206"/>
                    </a:lnTo>
                    <a:lnTo>
                      <a:pt x="452" y="204"/>
                    </a:lnTo>
                    <a:lnTo>
                      <a:pt x="441" y="202"/>
                    </a:lnTo>
                    <a:lnTo>
                      <a:pt x="432" y="200"/>
                    </a:lnTo>
                    <a:lnTo>
                      <a:pt x="422" y="198"/>
                    </a:lnTo>
                    <a:lnTo>
                      <a:pt x="412" y="198"/>
                    </a:lnTo>
                    <a:lnTo>
                      <a:pt x="389" y="202"/>
                    </a:lnTo>
                    <a:lnTo>
                      <a:pt x="337" y="211"/>
                    </a:lnTo>
                    <a:lnTo>
                      <a:pt x="283" y="221"/>
                    </a:lnTo>
                    <a:lnTo>
                      <a:pt x="253" y="228"/>
                    </a:lnTo>
                    <a:lnTo>
                      <a:pt x="231" y="230"/>
                    </a:lnTo>
                    <a:lnTo>
                      <a:pt x="209" y="232"/>
                    </a:lnTo>
                    <a:lnTo>
                      <a:pt x="189" y="235"/>
                    </a:lnTo>
                    <a:lnTo>
                      <a:pt x="169" y="238"/>
                    </a:lnTo>
                    <a:lnTo>
                      <a:pt x="150" y="240"/>
                    </a:lnTo>
                    <a:lnTo>
                      <a:pt x="132" y="239"/>
                    </a:lnTo>
                    <a:lnTo>
                      <a:pt x="124" y="238"/>
                    </a:lnTo>
                    <a:lnTo>
                      <a:pt x="115" y="236"/>
                    </a:lnTo>
                    <a:lnTo>
                      <a:pt x="108" y="233"/>
                    </a:lnTo>
                    <a:lnTo>
                      <a:pt x="100" y="228"/>
                    </a:lnTo>
                    <a:lnTo>
                      <a:pt x="100" y="210"/>
                    </a:lnTo>
                    <a:lnTo>
                      <a:pt x="84" y="209"/>
                    </a:lnTo>
                    <a:lnTo>
                      <a:pt x="67" y="208"/>
                    </a:lnTo>
                    <a:lnTo>
                      <a:pt x="53" y="205"/>
                    </a:lnTo>
                    <a:lnTo>
                      <a:pt x="41" y="201"/>
                    </a:lnTo>
                    <a:lnTo>
                      <a:pt x="29" y="196"/>
                    </a:lnTo>
                    <a:lnTo>
                      <a:pt x="18" y="189"/>
                    </a:lnTo>
                    <a:lnTo>
                      <a:pt x="9" y="182"/>
                    </a:lnTo>
                    <a:lnTo>
                      <a:pt x="0" y="173"/>
                    </a:lnTo>
                    <a:lnTo>
                      <a:pt x="28" y="167"/>
                    </a:lnTo>
                    <a:lnTo>
                      <a:pt x="53" y="161"/>
                    </a:lnTo>
                    <a:lnTo>
                      <a:pt x="64" y="159"/>
                    </a:lnTo>
                    <a:lnTo>
                      <a:pt x="76" y="156"/>
                    </a:lnTo>
                    <a:lnTo>
                      <a:pt x="88" y="155"/>
                    </a:lnTo>
                    <a:lnTo>
                      <a:pt x="100" y="154"/>
                    </a:lnTo>
                    <a:lnTo>
                      <a:pt x="121" y="155"/>
                    </a:lnTo>
                    <a:lnTo>
                      <a:pt x="140" y="157"/>
                    </a:lnTo>
                    <a:lnTo>
                      <a:pt x="156" y="160"/>
                    </a:lnTo>
                    <a:lnTo>
                      <a:pt x="171" y="162"/>
                    </a:lnTo>
                    <a:lnTo>
                      <a:pt x="186" y="164"/>
                    </a:lnTo>
                    <a:lnTo>
                      <a:pt x="201" y="165"/>
                    </a:lnTo>
                    <a:lnTo>
                      <a:pt x="209" y="164"/>
                    </a:lnTo>
                    <a:lnTo>
                      <a:pt x="216" y="164"/>
                    </a:lnTo>
                    <a:lnTo>
                      <a:pt x="224" y="162"/>
                    </a:lnTo>
                    <a:lnTo>
                      <a:pt x="233" y="160"/>
                    </a:lnTo>
                    <a:lnTo>
                      <a:pt x="126" y="142"/>
                    </a:lnTo>
                    <a:lnTo>
                      <a:pt x="26" y="136"/>
                    </a:lnTo>
                    <a:lnTo>
                      <a:pt x="34" y="133"/>
                    </a:lnTo>
                    <a:lnTo>
                      <a:pt x="42" y="130"/>
                    </a:lnTo>
                    <a:lnTo>
                      <a:pt x="52" y="128"/>
                    </a:lnTo>
                    <a:lnTo>
                      <a:pt x="62" y="125"/>
                    </a:lnTo>
                    <a:lnTo>
                      <a:pt x="85" y="122"/>
                    </a:lnTo>
                    <a:lnTo>
                      <a:pt x="109" y="117"/>
                    </a:lnTo>
                    <a:lnTo>
                      <a:pt x="133" y="114"/>
                    </a:lnTo>
                    <a:lnTo>
                      <a:pt x="155" y="110"/>
                    </a:lnTo>
                    <a:lnTo>
                      <a:pt x="165" y="108"/>
                    </a:lnTo>
                    <a:lnTo>
                      <a:pt x="174" y="105"/>
                    </a:lnTo>
                    <a:lnTo>
                      <a:pt x="180" y="102"/>
                    </a:lnTo>
                    <a:lnTo>
                      <a:pt x="187" y="99"/>
                    </a:lnTo>
                    <a:lnTo>
                      <a:pt x="180" y="96"/>
                    </a:lnTo>
                    <a:lnTo>
                      <a:pt x="172" y="94"/>
                    </a:lnTo>
                    <a:lnTo>
                      <a:pt x="166" y="93"/>
                    </a:lnTo>
                    <a:lnTo>
                      <a:pt x="158" y="93"/>
                    </a:lnTo>
                    <a:lnTo>
                      <a:pt x="142" y="95"/>
                    </a:lnTo>
                    <a:lnTo>
                      <a:pt x="125" y="98"/>
                    </a:lnTo>
                    <a:lnTo>
                      <a:pt x="107" y="102"/>
                    </a:lnTo>
                    <a:lnTo>
                      <a:pt x="89" y="107"/>
                    </a:lnTo>
                    <a:lnTo>
                      <a:pt x="71" y="110"/>
                    </a:lnTo>
                    <a:lnTo>
                      <a:pt x="54" y="111"/>
                    </a:lnTo>
                    <a:lnTo>
                      <a:pt x="52" y="110"/>
                    </a:lnTo>
                    <a:lnTo>
                      <a:pt x="52" y="106"/>
                    </a:lnTo>
                    <a:lnTo>
                      <a:pt x="53" y="102"/>
                    </a:lnTo>
                    <a:lnTo>
                      <a:pt x="54" y="96"/>
                    </a:lnTo>
                    <a:lnTo>
                      <a:pt x="55" y="90"/>
                    </a:lnTo>
                    <a:lnTo>
                      <a:pt x="55" y="86"/>
                    </a:lnTo>
                    <a:lnTo>
                      <a:pt x="55" y="82"/>
                    </a:lnTo>
                    <a:lnTo>
                      <a:pt x="54" y="81"/>
                    </a:lnTo>
                    <a:lnTo>
                      <a:pt x="55" y="81"/>
                    </a:lnTo>
                    <a:lnTo>
                      <a:pt x="57" y="80"/>
                    </a:lnTo>
                    <a:lnTo>
                      <a:pt x="59" y="78"/>
                    </a:lnTo>
                    <a:lnTo>
                      <a:pt x="60" y="75"/>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1" name="Freeform 427">
                <a:extLst>
                  <a:ext uri="{FF2B5EF4-FFF2-40B4-BE49-F238E27FC236}">
                    <a16:creationId xmlns:a16="http://schemas.microsoft.com/office/drawing/2014/main" id="{DC7014B3-731F-4BAB-B05F-2D4D70C85F29}"/>
                  </a:ext>
                </a:extLst>
              </p:cNvPr>
              <p:cNvSpPr>
                <a:spLocks/>
              </p:cNvSpPr>
              <p:nvPr/>
            </p:nvSpPr>
            <p:spPr bwMode="auto">
              <a:xfrm>
                <a:off x="1645" y="1643"/>
                <a:ext cx="108" cy="93"/>
              </a:xfrm>
              <a:custGeom>
                <a:avLst/>
                <a:gdLst>
                  <a:gd name="T0" fmla="*/ 59 w 332"/>
                  <a:gd name="T1" fmla="*/ 12 h 287"/>
                  <a:gd name="T2" fmla="*/ 66 w 332"/>
                  <a:gd name="T3" fmla="*/ 8 h 287"/>
                  <a:gd name="T4" fmla="*/ 74 w 332"/>
                  <a:gd name="T5" fmla="*/ 2 h 287"/>
                  <a:gd name="T6" fmla="*/ 78 w 332"/>
                  <a:gd name="T7" fmla="*/ 0 h 287"/>
                  <a:gd name="T8" fmla="*/ 80 w 332"/>
                  <a:gd name="T9" fmla="*/ 0 h 287"/>
                  <a:gd name="T10" fmla="*/ 80 w 332"/>
                  <a:gd name="T11" fmla="*/ 4 h 287"/>
                  <a:gd name="T12" fmla="*/ 76 w 332"/>
                  <a:gd name="T13" fmla="*/ 11 h 287"/>
                  <a:gd name="T14" fmla="*/ 71 w 332"/>
                  <a:gd name="T15" fmla="*/ 18 h 287"/>
                  <a:gd name="T16" fmla="*/ 66 w 332"/>
                  <a:gd name="T17" fmla="*/ 22 h 287"/>
                  <a:gd name="T18" fmla="*/ 62 w 332"/>
                  <a:gd name="T19" fmla="*/ 23 h 287"/>
                  <a:gd name="T20" fmla="*/ 62 w 332"/>
                  <a:gd name="T21" fmla="*/ 24 h 287"/>
                  <a:gd name="T22" fmla="*/ 65 w 332"/>
                  <a:gd name="T23" fmla="*/ 24 h 287"/>
                  <a:gd name="T24" fmla="*/ 70 w 332"/>
                  <a:gd name="T25" fmla="*/ 23 h 287"/>
                  <a:gd name="T26" fmla="*/ 73 w 332"/>
                  <a:gd name="T27" fmla="*/ 25 h 287"/>
                  <a:gd name="T28" fmla="*/ 71 w 332"/>
                  <a:gd name="T29" fmla="*/ 29 h 287"/>
                  <a:gd name="T30" fmla="*/ 70 w 332"/>
                  <a:gd name="T31" fmla="*/ 31 h 287"/>
                  <a:gd name="T32" fmla="*/ 71 w 332"/>
                  <a:gd name="T33" fmla="*/ 34 h 287"/>
                  <a:gd name="T34" fmla="*/ 81 w 332"/>
                  <a:gd name="T35" fmla="*/ 37 h 287"/>
                  <a:gd name="T36" fmla="*/ 100 w 332"/>
                  <a:gd name="T37" fmla="*/ 40 h 287"/>
                  <a:gd name="T38" fmla="*/ 105 w 332"/>
                  <a:gd name="T39" fmla="*/ 42 h 287"/>
                  <a:gd name="T40" fmla="*/ 102 w 332"/>
                  <a:gd name="T41" fmla="*/ 45 h 287"/>
                  <a:gd name="T42" fmla="*/ 99 w 332"/>
                  <a:gd name="T43" fmla="*/ 48 h 287"/>
                  <a:gd name="T44" fmla="*/ 97 w 332"/>
                  <a:gd name="T45" fmla="*/ 50 h 287"/>
                  <a:gd name="T46" fmla="*/ 98 w 332"/>
                  <a:gd name="T47" fmla="*/ 52 h 287"/>
                  <a:gd name="T48" fmla="*/ 100 w 332"/>
                  <a:gd name="T49" fmla="*/ 54 h 287"/>
                  <a:gd name="T50" fmla="*/ 104 w 332"/>
                  <a:gd name="T51" fmla="*/ 57 h 287"/>
                  <a:gd name="T52" fmla="*/ 107 w 332"/>
                  <a:gd name="T53" fmla="*/ 60 h 287"/>
                  <a:gd name="T54" fmla="*/ 94 w 332"/>
                  <a:gd name="T55" fmla="*/ 68 h 287"/>
                  <a:gd name="T56" fmla="*/ 78 w 332"/>
                  <a:gd name="T57" fmla="*/ 78 h 287"/>
                  <a:gd name="T58" fmla="*/ 67 w 332"/>
                  <a:gd name="T59" fmla="*/ 87 h 287"/>
                  <a:gd name="T60" fmla="*/ 56 w 332"/>
                  <a:gd name="T61" fmla="*/ 79 h 287"/>
                  <a:gd name="T62" fmla="*/ 59 w 332"/>
                  <a:gd name="T63" fmla="*/ 79 h 287"/>
                  <a:gd name="T64" fmla="*/ 61 w 332"/>
                  <a:gd name="T65" fmla="*/ 78 h 287"/>
                  <a:gd name="T66" fmla="*/ 65 w 332"/>
                  <a:gd name="T67" fmla="*/ 75 h 287"/>
                  <a:gd name="T68" fmla="*/ 48 w 332"/>
                  <a:gd name="T69" fmla="*/ 75 h 287"/>
                  <a:gd name="T70" fmla="*/ 33 w 332"/>
                  <a:gd name="T71" fmla="*/ 75 h 287"/>
                  <a:gd name="T72" fmla="*/ 19 w 332"/>
                  <a:gd name="T73" fmla="*/ 75 h 287"/>
                  <a:gd name="T74" fmla="*/ 9 w 332"/>
                  <a:gd name="T75" fmla="*/ 75 h 287"/>
                  <a:gd name="T76" fmla="*/ 4 w 332"/>
                  <a:gd name="T77" fmla="*/ 74 h 287"/>
                  <a:gd name="T78" fmla="*/ 1 w 332"/>
                  <a:gd name="T79" fmla="*/ 72 h 287"/>
                  <a:gd name="T80" fmla="*/ 0 w 332"/>
                  <a:gd name="T81" fmla="*/ 69 h 287"/>
                  <a:gd name="T82" fmla="*/ 1 w 332"/>
                  <a:gd name="T83" fmla="*/ 66 h 287"/>
                  <a:gd name="T84" fmla="*/ 4 w 332"/>
                  <a:gd name="T85" fmla="*/ 64 h 287"/>
                  <a:gd name="T86" fmla="*/ 13 w 332"/>
                  <a:gd name="T87" fmla="*/ 58 h 287"/>
                  <a:gd name="T88" fmla="*/ 24 w 332"/>
                  <a:gd name="T89" fmla="*/ 52 h 287"/>
                  <a:gd name="T90" fmla="*/ 28 w 332"/>
                  <a:gd name="T91" fmla="*/ 49 h 287"/>
                  <a:gd name="T92" fmla="*/ 30 w 332"/>
                  <a:gd name="T93" fmla="*/ 47 h 287"/>
                  <a:gd name="T94" fmla="*/ 34 w 332"/>
                  <a:gd name="T95" fmla="*/ 42 h 287"/>
                  <a:gd name="T96" fmla="*/ 38 w 332"/>
                  <a:gd name="T97" fmla="*/ 37 h 287"/>
                  <a:gd name="T98" fmla="*/ 42 w 332"/>
                  <a:gd name="T99" fmla="*/ 26 h 287"/>
                  <a:gd name="T100" fmla="*/ 45 w 332"/>
                  <a:gd name="T101" fmla="*/ 21 h 287"/>
                  <a:gd name="T102" fmla="*/ 48 w 332"/>
                  <a:gd name="T103" fmla="*/ 17 h 287"/>
                  <a:gd name="T104" fmla="*/ 51 w 332"/>
                  <a:gd name="T105" fmla="*/ 14 h 287"/>
                  <a:gd name="T106" fmla="*/ 56 w 332"/>
                  <a:gd name="T107" fmla="*/ 13 h 287"/>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332" h="287">
                    <a:moveTo>
                      <a:pt x="173" y="40"/>
                    </a:moveTo>
                    <a:lnTo>
                      <a:pt x="180" y="38"/>
                    </a:lnTo>
                    <a:lnTo>
                      <a:pt x="190" y="32"/>
                    </a:lnTo>
                    <a:lnTo>
                      <a:pt x="202" y="24"/>
                    </a:lnTo>
                    <a:lnTo>
                      <a:pt x="215" y="15"/>
                    </a:lnTo>
                    <a:lnTo>
                      <a:pt x="226" y="7"/>
                    </a:lnTo>
                    <a:lnTo>
                      <a:pt x="237" y="2"/>
                    </a:lnTo>
                    <a:lnTo>
                      <a:pt x="240" y="1"/>
                    </a:lnTo>
                    <a:lnTo>
                      <a:pt x="243" y="0"/>
                    </a:lnTo>
                    <a:lnTo>
                      <a:pt x="246" y="1"/>
                    </a:lnTo>
                    <a:lnTo>
                      <a:pt x="246" y="4"/>
                    </a:lnTo>
                    <a:lnTo>
                      <a:pt x="245" y="12"/>
                    </a:lnTo>
                    <a:lnTo>
                      <a:pt x="240" y="22"/>
                    </a:lnTo>
                    <a:lnTo>
                      <a:pt x="234" y="33"/>
                    </a:lnTo>
                    <a:lnTo>
                      <a:pt x="226" y="44"/>
                    </a:lnTo>
                    <a:lnTo>
                      <a:pt x="217" y="55"/>
                    </a:lnTo>
                    <a:lnTo>
                      <a:pt x="207" y="64"/>
                    </a:lnTo>
                    <a:lnTo>
                      <a:pt x="202" y="67"/>
                    </a:lnTo>
                    <a:lnTo>
                      <a:pt x="196" y="69"/>
                    </a:lnTo>
                    <a:lnTo>
                      <a:pt x="191" y="71"/>
                    </a:lnTo>
                    <a:lnTo>
                      <a:pt x="186" y="71"/>
                    </a:lnTo>
                    <a:lnTo>
                      <a:pt x="191" y="73"/>
                    </a:lnTo>
                    <a:lnTo>
                      <a:pt x="196" y="74"/>
                    </a:lnTo>
                    <a:lnTo>
                      <a:pt x="201" y="74"/>
                    </a:lnTo>
                    <a:lnTo>
                      <a:pt x="206" y="74"/>
                    </a:lnTo>
                    <a:lnTo>
                      <a:pt x="216" y="72"/>
                    </a:lnTo>
                    <a:lnTo>
                      <a:pt x="226" y="71"/>
                    </a:lnTo>
                    <a:lnTo>
                      <a:pt x="224" y="77"/>
                    </a:lnTo>
                    <a:lnTo>
                      <a:pt x="219" y="84"/>
                    </a:lnTo>
                    <a:lnTo>
                      <a:pt x="217" y="88"/>
                    </a:lnTo>
                    <a:lnTo>
                      <a:pt x="215" y="93"/>
                    </a:lnTo>
                    <a:lnTo>
                      <a:pt x="214" y="97"/>
                    </a:lnTo>
                    <a:lnTo>
                      <a:pt x="213" y="102"/>
                    </a:lnTo>
                    <a:lnTo>
                      <a:pt x="217" y="105"/>
                    </a:lnTo>
                    <a:lnTo>
                      <a:pt x="230" y="109"/>
                    </a:lnTo>
                    <a:lnTo>
                      <a:pt x="249" y="113"/>
                    </a:lnTo>
                    <a:lnTo>
                      <a:pt x="269" y="117"/>
                    </a:lnTo>
                    <a:lnTo>
                      <a:pt x="308" y="124"/>
                    </a:lnTo>
                    <a:lnTo>
                      <a:pt x="326" y="127"/>
                    </a:lnTo>
                    <a:lnTo>
                      <a:pt x="322" y="131"/>
                    </a:lnTo>
                    <a:lnTo>
                      <a:pt x="319" y="136"/>
                    </a:lnTo>
                    <a:lnTo>
                      <a:pt x="315" y="140"/>
                    </a:lnTo>
                    <a:lnTo>
                      <a:pt x="310" y="144"/>
                    </a:lnTo>
                    <a:lnTo>
                      <a:pt x="303" y="149"/>
                    </a:lnTo>
                    <a:lnTo>
                      <a:pt x="299" y="151"/>
                    </a:lnTo>
                    <a:lnTo>
                      <a:pt x="299" y="154"/>
                    </a:lnTo>
                    <a:lnTo>
                      <a:pt x="301" y="157"/>
                    </a:lnTo>
                    <a:lnTo>
                      <a:pt x="302" y="160"/>
                    </a:lnTo>
                    <a:lnTo>
                      <a:pt x="304" y="164"/>
                    </a:lnTo>
                    <a:lnTo>
                      <a:pt x="308" y="168"/>
                    </a:lnTo>
                    <a:lnTo>
                      <a:pt x="314" y="173"/>
                    </a:lnTo>
                    <a:lnTo>
                      <a:pt x="319" y="176"/>
                    </a:lnTo>
                    <a:lnTo>
                      <a:pt x="325" y="180"/>
                    </a:lnTo>
                    <a:lnTo>
                      <a:pt x="329" y="184"/>
                    </a:lnTo>
                    <a:lnTo>
                      <a:pt x="332" y="188"/>
                    </a:lnTo>
                    <a:lnTo>
                      <a:pt x="290" y="211"/>
                    </a:lnTo>
                    <a:lnTo>
                      <a:pt x="257" y="231"/>
                    </a:lnTo>
                    <a:lnTo>
                      <a:pt x="241" y="241"/>
                    </a:lnTo>
                    <a:lnTo>
                      <a:pt x="225" y="253"/>
                    </a:lnTo>
                    <a:lnTo>
                      <a:pt x="207" y="268"/>
                    </a:lnTo>
                    <a:lnTo>
                      <a:pt x="186" y="287"/>
                    </a:lnTo>
                    <a:lnTo>
                      <a:pt x="173" y="244"/>
                    </a:lnTo>
                    <a:lnTo>
                      <a:pt x="178" y="244"/>
                    </a:lnTo>
                    <a:lnTo>
                      <a:pt x="182" y="243"/>
                    </a:lnTo>
                    <a:lnTo>
                      <a:pt x="185" y="242"/>
                    </a:lnTo>
                    <a:lnTo>
                      <a:pt x="189" y="240"/>
                    </a:lnTo>
                    <a:lnTo>
                      <a:pt x="194" y="236"/>
                    </a:lnTo>
                    <a:lnTo>
                      <a:pt x="200" y="232"/>
                    </a:lnTo>
                    <a:lnTo>
                      <a:pt x="174" y="232"/>
                    </a:lnTo>
                    <a:lnTo>
                      <a:pt x="149" y="232"/>
                    </a:lnTo>
                    <a:lnTo>
                      <a:pt x="125" y="232"/>
                    </a:lnTo>
                    <a:lnTo>
                      <a:pt x="101" y="232"/>
                    </a:lnTo>
                    <a:lnTo>
                      <a:pt x="79" y="232"/>
                    </a:lnTo>
                    <a:lnTo>
                      <a:pt x="58" y="232"/>
                    </a:lnTo>
                    <a:lnTo>
                      <a:pt x="41" y="232"/>
                    </a:lnTo>
                    <a:lnTo>
                      <a:pt x="27" y="232"/>
                    </a:lnTo>
                    <a:lnTo>
                      <a:pt x="19" y="231"/>
                    </a:lnTo>
                    <a:lnTo>
                      <a:pt x="11" y="227"/>
                    </a:lnTo>
                    <a:lnTo>
                      <a:pt x="6" y="225"/>
                    </a:lnTo>
                    <a:lnTo>
                      <a:pt x="3" y="222"/>
                    </a:lnTo>
                    <a:lnTo>
                      <a:pt x="1" y="218"/>
                    </a:lnTo>
                    <a:lnTo>
                      <a:pt x="0" y="213"/>
                    </a:lnTo>
                    <a:lnTo>
                      <a:pt x="1" y="209"/>
                    </a:lnTo>
                    <a:lnTo>
                      <a:pt x="4" y="205"/>
                    </a:lnTo>
                    <a:lnTo>
                      <a:pt x="7" y="201"/>
                    </a:lnTo>
                    <a:lnTo>
                      <a:pt x="13" y="197"/>
                    </a:lnTo>
                    <a:lnTo>
                      <a:pt x="26" y="188"/>
                    </a:lnTo>
                    <a:lnTo>
                      <a:pt x="41" y="179"/>
                    </a:lnTo>
                    <a:lnTo>
                      <a:pt x="58" y="170"/>
                    </a:lnTo>
                    <a:lnTo>
                      <a:pt x="73" y="162"/>
                    </a:lnTo>
                    <a:lnTo>
                      <a:pt x="80" y="156"/>
                    </a:lnTo>
                    <a:lnTo>
                      <a:pt x="85" y="152"/>
                    </a:lnTo>
                    <a:lnTo>
                      <a:pt x="90" y="149"/>
                    </a:lnTo>
                    <a:lnTo>
                      <a:pt x="93" y="145"/>
                    </a:lnTo>
                    <a:lnTo>
                      <a:pt x="100" y="138"/>
                    </a:lnTo>
                    <a:lnTo>
                      <a:pt x="106" y="130"/>
                    </a:lnTo>
                    <a:lnTo>
                      <a:pt x="112" y="122"/>
                    </a:lnTo>
                    <a:lnTo>
                      <a:pt x="116" y="114"/>
                    </a:lnTo>
                    <a:lnTo>
                      <a:pt x="124" y="96"/>
                    </a:lnTo>
                    <a:lnTo>
                      <a:pt x="130" y="79"/>
                    </a:lnTo>
                    <a:lnTo>
                      <a:pt x="134" y="71"/>
                    </a:lnTo>
                    <a:lnTo>
                      <a:pt x="138" y="64"/>
                    </a:lnTo>
                    <a:lnTo>
                      <a:pt x="141" y="58"/>
                    </a:lnTo>
                    <a:lnTo>
                      <a:pt x="147" y="52"/>
                    </a:lnTo>
                    <a:lnTo>
                      <a:pt x="151" y="47"/>
                    </a:lnTo>
                    <a:lnTo>
                      <a:pt x="158" y="43"/>
                    </a:lnTo>
                    <a:lnTo>
                      <a:pt x="164" y="41"/>
                    </a:lnTo>
                    <a:lnTo>
                      <a:pt x="173" y="40"/>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2" name="Freeform 428">
                <a:extLst>
                  <a:ext uri="{FF2B5EF4-FFF2-40B4-BE49-F238E27FC236}">
                    <a16:creationId xmlns:a16="http://schemas.microsoft.com/office/drawing/2014/main" id="{659076FF-8BE7-45BD-B263-82EA78AC3718}"/>
                  </a:ext>
                </a:extLst>
              </p:cNvPr>
              <p:cNvSpPr>
                <a:spLocks/>
              </p:cNvSpPr>
              <p:nvPr/>
            </p:nvSpPr>
            <p:spPr bwMode="auto">
              <a:xfrm>
                <a:off x="1102" y="1190"/>
                <a:ext cx="111" cy="27"/>
              </a:xfrm>
              <a:custGeom>
                <a:avLst/>
                <a:gdLst>
                  <a:gd name="T0" fmla="*/ 34 w 345"/>
                  <a:gd name="T1" fmla="*/ 27 h 86"/>
                  <a:gd name="T2" fmla="*/ 38 w 345"/>
                  <a:gd name="T3" fmla="*/ 25 h 86"/>
                  <a:gd name="T4" fmla="*/ 43 w 345"/>
                  <a:gd name="T5" fmla="*/ 24 h 86"/>
                  <a:gd name="T6" fmla="*/ 48 w 345"/>
                  <a:gd name="T7" fmla="*/ 23 h 86"/>
                  <a:gd name="T8" fmla="*/ 53 w 345"/>
                  <a:gd name="T9" fmla="*/ 22 h 86"/>
                  <a:gd name="T10" fmla="*/ 63 w 345"/>
                  <a:gd name="T11" fmla="*/ 20 h 86"/>
                  <a:gd name="T12" fmla="*/ 74 w 345"/>
                  <a:gd name="T13" fmla="*/ 18 h 86"/>
                  <a:gd name="T14" fmla="*/ 79 w 345"/>
                  <a:gd name="T15" fmla="*/ 17 h 86"/>
                  <a:gd name="T16" fmla="*/ 85 w 345"/>
                  <a:gd name="T17" fmla="*/ 16 h 86"/>
                  <a:gd name="T18" fmla="*/ 90 w 345"/>
                  <a:gd name="T19" fmla="*/ 14 h 86"/>
                  <a:gd name="T20" fmla="*/ 95 w 345"/>
                  <a:gd name="T21" fmla="*/ 13 h 86"/>
                  <a:gd name="T22" fmla="*/ 99 w 345"/>
                  <a:gd name="T23" fmla="*/ 11 h 86"/>
                  <a:gd name="T24" fmla="*/ 104 w 345"/>
                  <a:gd name="T25" fmla="*/ 9 h 86"/>
                  <a:gd name="T26" fmla="*/ 107 w 345"/>
                  <a:gd name="T27" fmla="*/ 7 h 86"/>
                  <a:gd name="T28" fmla="*/ 111 w 345"/>
                  <a:gd name="T29" fmla="*/ 4 h 86"/>
                  <a:gd name="T30" fmla="*/ 108 w 345"/>
                  <a:gd name="T31" fmla="*/ 4 h 86"/>
                  <a:gd name="T32" fmla="*/ 105 w 345"/>
                  <a:gd name="T33" fmla="*/ 3 h 86"/>
                  <a:gd name="T34" fmla="*/ 102 w 345"/>
                  <a:gd name="T35" fmla="*/ 3 h 86"/>
                  <a:gd name="T36" fmla="*/ 99 w 345"/>
                  <a:gd name="T37" fmla="*/ 2 h 86"/>
                  <a:gd name="T38" fmla="*/ 97 w 345"/>
                  <a:gd name="T39" fmla="*/ 1 h 86"/>
                  <a:gd name="T40" fmla="*/ 94 w 345"/>
                  <a:gd name="T41" fmla="*/ 1 h 86"/>
                  <a:gd name="T42" fmla="*/ 90 w 345"/>
                  <a:gd name="T43" fmla="*/ 0 h 86"/>
                  <a:gd name="T44" fmla="*/ 88 w 345"/>
                  <a:gd name="T45" fmla="*/ 0 h 86"/>
                  <a:gd name="T46" fmla="*/ 83 w 345"/>
                  <a:gd name="T47" fmla="*/ 0 h 86"/>
                  <a:gd name="T48" fmla="*/ 79 w 345"/>
                  <a:gd name="T49" fmla="*/ 1 h 86"/>
                  <a:gd name="T50" fmla="*/ 73 w 345"/>
                  <a:gd name="T51" fmla="*/ 2 h 86"/>
                  <a:gd name="T52" fmla="*/ 67 w 345"/>
                  <a:gd name="T53" fmla="*/ 3 h 86"/>
                  <a:gd name="T54" fmla="*/ 54 w 345"/>
                  <a:gd name="T55" fmla="*/ 6 h 86"/>
                  <a:gd name="T56" fmla="*/ 41 w 345"/>
                  <a:gd name="T57" fmla="*/ 9 h 86"/>
                  <a:gd name="T58" fmla="*/ 33 w 345"/>
                  <a:gd name="T59" fmla="*/ 11 h 86"/>
                  <a:gd name="T60" fmla="*/ 27 w 345"/>
                  <a:gd name="T61" fmla="*/ 13 h 86"/>
                  <a:gd name="T62" fmla="*/ 21 w 345"/>
                  <a:gd name="T63" fmla="*/ 16 h 86"/>
                  <a:gd name="T64" fmla="*/ 15 w 345"/>
                  <a:gd name="T65" fmla="*/ 18 h 86"/>
                  <a:gd name="T66" fmla="*/ 10 w 345"/>
                  <a:gd name="T67" fmla="*/ 20 h 86"/>
                  <a:gd name="T68" fmla="*/ 6 w 345"/>
                  <a:gd name="T69" fmla="*/ 23 h 86"/>
                  <a:gd name="T70" fmla="*/ 3 w 345"/>
                  <a:gd name="T71" fmla="*/ 25 h 86"/>
                  <a:gd name="T72" fmla="*/ 0 w 345"/>
                  <a:gd name="T73" fmla="*/ 27 h 86"/>
                  <a:gd name="T74" fmla="*/ 34 w 345"/>
                  <a:gd name="T75" fmla="*/ 27 h 8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5" h="86">
                    <a:moveTo>
                      <a:pt x="106" y="86"/>
                    </a:moveTo>
                    <a:lnTo>
                      <a:pt x="119" y="81"/>
                    </a:lnTo>
                    <a:lnTo>
                      <a:pt x="133" y="76"/>
                    </a:lnTo>
                    <a:lnTo>
                      <a:pt x="148" y="72"/>
                    </a:lnTo>
                    <a:lnTo>
                      <a:pt x="164" y="69"/>
                    </a:lnTo>
                    <a:lnTo>
                      <a:pt x="197" y="63"/>
                    </a:lnTo>
                    <a:lnTo>
                      <a:pt x="231" y="57"/>
                    </a:lnTo>
                    <a:lnTo>
                      <a:pt x="247" y="53"/>
                    </a:lnTo>
                    <a:lnTo>
                      <a:pt x="264" y="50"/>
                    </a:lnTo>
                    <a:lnTo>
                      <a:pt x="279" y="46"/>
                    </a:lnTo>
                    <a:lnTo>
                      <a:pt x="294" y="40"/>
                    </a:lnTo>
                    <a:lnTo>
                      <a:pt x="309" y="35"/>
                    </a:lnTo>
                    <a:lnTo>
                      <a:pt x="322" y="28"/>
                    </a:lnTo>
                    <a:lnTo>
                      <a:pt x="334" y="21"/>
                    </a:lnTo>
                    <a:lnTo>
                      <a:pt x="345" y="13"/>
                    </a:lnTo>
                    <a:lnTo>
                      <a:pt x="335" y="12"/>
                    </a:lnTo>
                    <a:lnTo>
                      <a:pt x="326" y="11"/>
                    </a:lnTo>
                    <a:lnTo>
                      <a:pt x="317" y="9"/>
                    </a:lnTo>
                    <a:lnTo>
                      <a:pt x="309" y="6"/>
                    </a:lnTo>
                    <a:lnTo>
                      <a:pt x="300" y="4"/>
                    </a:lnTo>
                    <a:lnTo>
                      <a:pt x="291" y="2"/>
                    </a:lnTo>
                    <a:lnTo>
                      <a:pt x="281" y="1"/>
                    </a:lnTo>
                    <a:lnTo>
                      <a:pt x="272" y="0"/>
                    </a:lnTo>
                    <a:lnTo>
                      <a:pt x="259" y="1"/>
                    </a:lnTo>
                    <a:lnTo>
                      <a:pt x="245" y="3"/>
                    </a:lnTo>
                    <a:lnTo>
                      <a:pt x="227" y="5"/>
                    </a:lnTo>
                    <a:lnTo>
                      <a:pt x="209" y="9"/>
                    </a:lnTo>
                    <a:lnTo>
                      <a:pt x="168" y="18"/>
                    </a:lnTo>
                    <a:lnTo>
                      <a:pt x="126" y="29"/>
                    </a:lnTo>
                    <a:lnTo>
                      <a:pt x="104" y="36"/>
                    </a:lnTo>
                    <a:lnTo>
                      <a:pt x="85" y="42"/>
                    </a:lnTo>
                    <a:lnTo>
                      <a:pt x="66" y="50"/>
                    </a:lnTo>
                    <a:lnTo>
                      <a:pt x="47" y="58"/>
                    </a:lnTo>
                    <a:lnTo>
                      <a:pt x="32" y="65"/>
                    </a:lnTo>
                    <a:lnTo>
                      <a:pt x="19" y="72"/>
                    </a:lnTo>
                    <a:lnTo>
                      <a:pt x="8" y="79"/>
                    </a:lnTo>
                    <a:lnTo>
                      <a:pt x="0" y="86"/>
                    </a:lnTo>
                    <a:lnTo>
                      <a:pt x="106" y="8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3" name="Freeform 429">
                <a:extLst>
                  <a:ext uri="{FF2B5EF4-FFF2-40B4-BE49-F238E27FC236}">
                    <a16:creationId xmlns:a16="http://schemas.microsoft.com/office/drawing/2014/main" id="{98D378EB-3C4D-44B4-8F4D-848124DD5F2F}"/>
                  </a:ext>
                </a:extLst>
              </p:cNvPr>
              <p:cNvSpPr>
                <a:spLocks/>
              </p:cNvSpPr>
              <p:nvPr/>
            </p:nvSpPr>
            <p:spPr bwMode="auto">
              <a:xfrm>
                <a:off x="1158" y="1199"/>
                <a:ext cx="149" cy="43"/>
              </a:xfrm>
              <a:custGeom>
                <a:avLst/>
                <a:gdLst>
                  <a:gd name="T0" fmla="*/ 6 w 464"/>
                  <a:gd name="T1" fmla="*/ 28 h 130"/>
                  <a:gd name="T2" fmla="*/ 25 w 464"/>
                  <a:gd name="T3" fmla="*/ 27 h 130"/>
                  <a:gd name="T4" fmla="*/ 33 w 464"/>
                  <a:gd name="T5" fmla="*/ 27 h 130"/>
                  <a:gd name="T6" fmla="*/ 30 w 464"/>
                  <a:gd name="T7" fmla="*/ 29 h 130"/>
                  <a:gd name="T8" fmla="*/ 26 w 464"/>
                  <a:gd name="T9" fmla="*/ 33 h 130"/>
                  <a:gd name="T10" fmla="*/ 23 w 464"/>
                  <a:gd name="T11" fmla="*/ 37 h 130"/>
                  <a:gd name="T12" fmla="*/ 23 w 464"/>
                  <a:gd name="T13" fmla="*/ 39 h 130"/>
                  <a:gd name="T14" fmla="*/ 25 w 464"/>
                  <a:gd name="T15" fmla="*/ 41 h 130"/>
                  <a:gd name="T16" fmla="*/ 30 w 464"/>
                  <a:gd name="T17" fmla="*/ 43 h 130"/>
                  <a:gd name="T18" fmla="*/ 35 w 464"/>
                  <a:gd name="T19" fmla="*/ 43 h 130"/>
                  <a:gd name="T20" fmla="*/ 41 w 464"/>
                  <a:gd name="T21" fmla="*/ 42 h 130"/>
                  <a:gd name="T22" fmla="*/ 50 w 464"/>
                  <a:gd name="T23" fmla="*/ 39 h 130"/>
                  <a:gd name="T24" fmla="*/ 63 w 464"/>
                  <a:gd name="T25" fmla="*/ 36 h 130"/>
                  <a:gd name="T26" fmla="*/ 73 w 464"/>
                  <a:gd name="T27" fmla="*/ 33 h 130"/>
                  <a:gd name="T28" fmla="*/ 80 w 464"/>
                  <a:gd name="T29" fmla="*/ 33 h 130"/>
                  <a:gd name="T30" fmla="*/ 85 w 464"/>
                  <a:gd name="T31" fmla="*/ 33 h 130"/>
                  <a:gd name="T32" fmla="*/ 98 w 464"/>
                  <a:gd name="T33" fmla="*/ 33 h 130"/>
                  <a:gd name="T34" fmla="*/ 107 w 464"/>
                  <a:gd name="T35" fmla="*/ 32 h 130"/>
                  <a:gd name="T36" fmla="*/ 121 w 464"/>
                  <a:gd name="T37" fmla="*/ 31 h 130"/>
                  <a:gd name="T38" fmla="*/ 133 w 464"/>
                  <a:gd name="T39" fmla="*/ 27 h 130"/>
                  <a:gd name="T40" fmla="*/ 144 w 464"/>
                  <a:gd name="T41" fmla="*/ 22 h 130"/>
                  <a:gd name="T42" fmla="*/ 146 w 464"/>
                  <a:gd name="T43" fmla="*/ 17 h 130"/>
                  <a:gd name="T44" fmla="*/ 141 w 464"/>
                  <a:gd name="T45" fmla="*/ 16 h 130"/>
                  <a:gd name="T46" fmla="*/ 133 w 464"/>
                  <a:gd name="T47" fmla="*/ 16 h 130"/>
                  <a:gd name="T48" fmla="*/ 127 w 464"/>
                  <a:gd name="T49" fmla="*/ 15 h 130"/>
                  <a:gd name="T50" fmla="*/ 130 w 464"/>
                  <a:gd name="T51" fmla="*/ 12 h 130"/>
                  <a:gd name="T52" fmla="*/ 133 w 464"/>
                  <a:gd name="T53" fmla="*/ 7 h 130"/>
                  <a:gd name="T54" fmla="*/ 134 w 464"/>
                  <a:gd name="T55" fmla="*/ 2 h 130"/>
                  <a:gd name="T56" fmla="*/ 121 w 464"/>
                  <a:gd name="T57" fmla="*/ 0 h 130"/>
                  <a:gd name="T58" fmla="*/ 116 w 464"/>
                  <a:gd name="T59" fmla="*/ 6 h 130"/>
                  <a:gd name="T60" fmla="*/ 110 w 464"/>
                  <a:gd name="T61" fmla="*/ 14 h 130"/>
                  <a:gd name="T62" fmla="*/ 104 w 464"/>
                  <a:gd name="T63" fmla="*/ 20 h 130"/>
                  <a:gd name="T64" fmla="*/ 100 w 464"/>
                  <a:gd name="T65" fmla="*/ 22 h 130"/>
                  <a:gd name="T66" fmla="*/ 96 w 464"/>
                  <a:gd name="T67" fmla="*/ 22 h 130"/>
                  <a:gd name="T68" fmla="*/ 89 w 464"/>
                  <a:gd name="T69" fmla="*/ 22 h 130"/>
                  <a:gd name="T70" fmla="*/ 84 w 464"/>
                  <a:gd name="T71" fmla="*/ 21 h 130"/>
                  <a:gd name="T72" fmla="*/ 77 w 464"/>
                  <a:gd name="T73" fmla="*/ 18 h 130"/>
                  <a:gd name="T74" fmla="*/ 66 w 464"/>
                  <a:gd name="T75" fmla="*/ 10 h 130"/>
                  <a:gd name="T76" fmla="*/ 58 w 464"/>
                  <a:gd name="T77" fmla="*/ 10 h 130"/>
                  <a:gd name="T78" fmla="*/ 48 w 464"/>
                  <a:gd name="T79" fmla="*/ 10 h 130"/>
                  <a:gd name="T80" fmla="*/ 38 w 464"/>
                  <a:gd name="T81" fmla="*/ 12 h 130"/>
                  <a:gd name="T82" fmla="*/ 27 w 464"/>
                  <a:gd name="T83" fmla="*/ 15 h 130"/>
                  <a:gd name="T84" fmla="*/ 17 w 464"/>
                  <a:gd name="T85" fmla="*/ 18 h 130"/>
                  <a:gd name="T86" fmla="*/ 9 w 464"/>
                  <a:gd name="T87" fmla="*/ 22 h 130"/>
                  <a:gd name="T88" fmla="*/ 3 w 464"/>
                  <a:gd name="T89" fmla="*/ 25 h 130"/>
                  <a:gd name="T90" fmla="*/ 0 w 464"/>
                  <a:gd name="T91" fmla="*/ 28 h 130"/>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64" h="130">
                    <a:moveTo>
                      <a:pt x="0" y="86"/>
                    </a:moveTo>
                    <a:lnTo>
                      <a:pt x="19" y="86"/>
                    </a:lnTo>
                    <a:lnTo>
                      <a:pt x="48" y="83"/>
                    </a:lnTo>
                    <a:lnTo>
                      <a:pt x="77" y="81"/>
                    </a:lnTo>
                    <a:lnTo>
                      <a:pt x="106" y="80"/>
                    </a:lnTo>
                    <a:lnTo>
                      <a:pt x="103" y="81"/>
                    </a:lnTo>
                    <a:lnTo>
                      <a:pt x="97" y="84"/>
                    </a:lnTo>
                    <a:lnTo>
                      <a:pt x="92" y="89"/>
                    </a:lnTo>
                    <a:lnTo>
                      <a:pt x="86" y="94"/>
                    </a:lnTo>
                    <a:lnTo>
                      <a:pt x="81" y="100"/>
                    </a:lnTo>
                    <a:lnTo>
                      <a:pt x="76" y="106"/>
                    </a:lnTo>
                    <a:lnTo>
                      <a:pt x="73" y="112"/>
                    </a:lnTo>
                    <a:lnTo>
                      <a:pt x="72" y="117"/>
                    </a:lnTo>
                    <a:lnTo>
                      <a:pt x="73" y="119"/>
                    </a:lnTo>
                    <a:lnTo>
                      <a:pt x="75" y="121"/>
                    </a:lnTo>
                    <a:lnTo>
                      <a:pt x="79" y="124"/>
                    </a:lnTo>
                    <a:lnTo>
                      <a:pt x="83" y="126"/>
                    </a:lnTo>
                    <a:lnTo>
                      <a:pt x="92" y="129"/>
                    </a:lnTo>
                    <a:lnTo>
                      <a:pt x="99" y="130"/>
                    </a:lnTo>
                    <a:lnTo>
                      <a:pt x="109" y="129"/>
                    </a:lnTo>
                    <a:lnTo>
                      <a:pt x="119" y="129"/>
                    </a:lnTo>
                    <a:lnTo>
                      <a:pt x="128" y="127"/>
                    </a:lnTo>
                    <a:lnTo>
                      <a:pt x="138" y="125"/>
                    </a:lnTo>
                    <a:lnTo>
                      <a:pt x="157" y="119"/>
                    </a:lnTo>
                    <a:lnTo>
                      <a:pt x="176" y="114"/>
                    </a:lnTo>
                    <a:lnTo>
                      <a:pt x="196" y="108"/>
                    </a:lnTo>
                    <a:lnTo>
                      <a:pt x="216" y="103"/>
                    </a:lnTo>
                    <a:lnTo>
                      <a:pt x="226" y="101"/>
                    </a:lnTo>
                    <a:lnTo>
                      <a:pt x="237" y="100"/>
                    </a:lnTo>
                    <a:lnTo>
                      <a:pt x="248" y="99"/>
                    </a:lnTo>
                    <a:lnTo>
                      <a:pt x="259" y="99"/>
                    </a:lnTo>
                    <a:lnTo>
                      <a:pt x="266" y="99"/>
                    </a:lnTo>
                    <a:lnTo>
                      <a:pt x="285" y="99"/>
                    </a:lnTo>
                    <a:lnTo>
                      <a:pt x="304" y="99"/>
                    </a:lnTo>
                    <a:lnTo>
                      <a:pt x="311" y="99"/>
                    </a:lnTo>
                    <a:lnTo>
                      <a:pt x="333" y="98"/>
                    </a:lnTo>
                    <a:lnTo>
                      <a:pt x="355" y="96"/>
                    </a:lnTo>
                    <a:lnTo>
                      <a:pt x="376" y="93"/>
                    </a:lnTo>
                    <a:lnTo>
                      <a:pt x="396" y="89"/>
                    </a:lnTo>
                    <a:lnTo>
                      <a:pt x="415" y="83"/>
                    </a:lnTo>
                    <a:lnTo>
                      <a:pt x="432" y="76"/>
                    </a:lnTo>
                    <a:lnTo>
                      <a:pt x="449" y="66"/>
                    </a:lnTo>
                    <a:lnTo>
                      <a:pt x="464" y="55"/>
                    </a:lnTo>
                    <a:lnTo>
                      <a:pt x="455" y="51"/>
                    </a:lnTo>
                    <a:lnTo>
                      <a:pt x="446" y="49"/>
                    </a:lnTo>
                    <a:lnTo>
                      <a:pt x="439" y="48"/>
                    </a:lnTo>
                    <a:lnTo>
                      <a:pt x="430" y="48"/>
                    </a:lnTo>
                    <a:lnTo>
                      <a:pt x="413" y="48"/>
                    </a:lnTo>
                    <a:lnTo>
                      <a:pt x="392" y="49"/>
                    </a:lnTo>
                    <a:lnTo>
                      <a:pt x="396" y="46"/>
                    </a:lnTo>
                    <a:lnTo>
                      <a:pt x="401" y="42"/>
                    </a:lnTo>
                    <a:lnTo>
                      <a:pt x="406" y="36"/>
                    </a:lnTo>
                    <a:lnTo>
                      <a:pt x="410" y="29"/>
                    </a:lnTo>
                    <a:lnTo>
                      <a:pt x="413" y="22"/>
                    </a:lnTo>
                    <a:lnTo>
                      <a:pt x="416" y="15"/>
                    </a:lnTo>
                    <a:lnTo>
                      <a:pt x="418" y="7"/>
                    </a:lnTo>
                    <a:lnTo>
                      <a:pt x="418" y="0"/>
                    </a:lnTo>
                    <a:lnTo>
                      <a:pt x="378" y="0"/>
                    </a:lnTo>
                    <a:lnTo>
                      <a:pt x="368" y="8"/>
                    </a:lnTo>
                    <a:lnTo>
                      <a:pt x="360" y="19"/>
                    </a:lnTo>
                    <a:lnTo>
                      <a:pt x="352" y="30"/>
                    </a:lnTo>
                    <a:lnTo>
                      <a:pt x="343" y="41"/>
                    </a:lnTo>
                    <a:lnTo>
                      <a:pt x="334" y="51"/>
                    </a:lnTo>
                    <a:lnTo>
                      <a:pt x="323" y="59"/>
                    </a:lnTo>
                    <a:lnTo>
                      <a:pt x="318" y="63"/>
                    </a:lnTo>
                    <a:lnTo>
                      <a:pt x="312" y="65"/>
                    </a:lnTo>
                    <a:lnTo>
                      <a:pt x="306" y="68"/>
                    </a:lnTo>
                    <a:lnTo>
                      <a:pt x="298" y="68"/>
                    </a:lnTo>
                    <a:lnTo>
                      <a:pt x="287" y="68"/>
                    </a:lnTo>
                    <a:lnTo>
                      <a:pt x="278" y="66"/>
                    </a:lnTo>
                    <a:lnTo>
                      <a:pt x="270" y="65"/>
                    </a:lnTo>
                    <a:lnTo>
                      <a:pt x="262" y="63"/>
                    </a:lnTo>
                    <a:lnTo>
                      <a:pt x="250" y="59"/>
                    </a:lnTo>
                    <a:lnTo>
                      <a:pt x="239" y="54"/>
                    </a:lnTo>
                    <a:lnTo>
                      <a:pt x="222" y="42"/>
                    </a:lnTo>
                    <a:lnTo>
                      <a:pt x="205" y="31"/>
                    </a:lnTo>
                    <a:lnTo>
                      <a:pt x="193" y="29"/>
                    </a:lnTo>
                    <a:lnTo>
                      <a:pt x="180" y="29"/>
                    </a:lnTo>
                    <a:lnTo>
                      <a:pt x="165" y="29"/>
                    </a:lnTo>
                    <a:lnTo>
                      <a:pt x="150" y="31"/>
                    </a:lnTo>
                    <a:lnTo>
                      <a:pt x="133" y="33"/>
                    </a:lnTo>
                    <a:lnTo>
                      <a:pt x="117" y="37"/>
                    </a:lnTo>
                    <a:lnTo>
                      <a:pt x="101" y="40"/>
                    </a:lnTo>
                    <a:lnTo>
                      <a:pt x="85" y="45"/>
                    </a:lnTo>
                    <a:lnTo>
                      <a:pt x="70" y="49"/>
                    </a:lnTo>
                    <a:lnTo>
                      <a:pt x="54" y="54"/>
                    </a:lnTo>
                    <a:lnTo>
                      <a:pt x="41" y="60"/>
                    </a:lnTo>
                    <a:lnTo>
                      <a:pt x="29" y="65"/>
                    </a:lnTo>
                    <a:lnTo>
                      <a:pt x="18" y="71"/>
                    </a:lnTo>
                    <a:lnTo>
                      <a:pt x="9" y="77"/>
                    </a:lnTo>
                    <a:lnTo>
                      <a:pt x="3" y="82"/>
                    </a:lnTo>
                    <a:lnTo>
                      <a:pt x="0" y="8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4" name="Freeform 430">
                <a:extLst>
                  <a:ext uri="{FF2B5EF4-FFF2-40B4-BE49-F238E27FC236}">
                    <a16:creationId xmlns:a16="http://schemas.microsoft.com/office/drawing/2014/main" id="{6AC9ADEC-AEAE-4B9A-8B91-9AB902A1309E}"/>
                  </a:ext>
                </a:extLst>
              </p:cNvPr>
              <p:cNvSpPr>
                <a:spLocks/>
              </p:cNvSpPr>
              <p:nvPr/>
            </p:nvSpPr>
            <p:spPr bwMode="auto">
              <a:xfrm>
                <a:off x="1472" y="1205"/>
                <a:ext cx="153" cy="31"/>
              </a:xfrm>
              <a:custGeom>
                <a:avLst/>
                <a:gdLst>
                  <a:gd name="T0" fmla="*/ 20 w 472"/>
                  <a:gd name="T1" fmla="*/ 0 h 92"/>
                  <a:gd name="T2" fmla="*/ 14 w 472"/>
                  <a:gd name="T3" fmla="*/ 0 h 92"/>
                  <a:gd name="T4" fmla="*/ 8 w 472"/>
                  <a:gd name="T5" fmla="*/ 0 h 92"/>
                  <a:gd name="T6" fmla="*/ 4 w 472"/>
                  <a:gd name="T7" fmla="*/ 1 h 92"/>
                  <a:gd name="T8" fmla="*/ 2 w 472"/>
                  <a:gd name="T9" fmla="*/ 3 h 92"/>
                  <a:gd name="T10" fmla="*/ 2 w 472"/>
                  <a:gd name="T11" fmla="*/ 5 h 92"/>
                  <a:gd name="T12" fmla="*/ 3 w 472"/>
                  <a:gd name="T13" fmla="*/ 8 h 92"/>
                  <a:gd name="T14" fmla="*/ 5 w 472"/>
                  <a:gd name="T15" fmla="*/ 11 h 92"/>
                  <a:gd name="T16" fmla="*/ 5 w 472"/>
                  <a:gd name="T17" fmla="*/ 14 h 92"/>
                  <a:gd name="T18" fmla="*/ 1 w 472"/>
                  <a:gd name="T19" fmla="*/ 17 h 92"/>
                  <a:gd name="T20" fmla="*/ 0 w 472"/>
                  <a:gd name="T21" fmla="*/ 19 h 92"/>
                  <a:gd name="T22" fmla="*/ 1 w 472"/>
                  <a:gd name="T23" fmla="*/ 22 h 92"/>
                  <a:gd name="T24" fmla="*/ 5 w 472"/>
                  <a:gd name="T25" fmla="*/ 23 h 92"/>
                  <a:gd name="T26" fmla="*/ 16 w 472"/>
                  <a:gd name="T27" fmla="*/ 26 h 92"/>
                  <a:gd name="T28" fmla="*/ 35 w 472"/>
                  <a:gd name="T29" fmla="*/ 29 h 92"/>
                  <a:gd name="T30" fmla="*/ 54 w 472"/>
                  <a:gd name="T31" fmla="*/ 31 h 92"/>
                  <a:gd name="T32" fmla="*/ 118 w 472"/>
                  <a:gd name="T33" fmla="*/ 31 h 92"/>
                  <a:gd name="T34" fmla="*/ 121 w 472"/>
                  <a:gd name="T35" fmla="*/ 27 h 92"/>
                  <a:gd name="T36" fmla="*/ 125 w 472"/>
                  <a:gd name="T37" fmla="*/ 25 h 92"/>
                  <a:gd name="T38" fmla="*/ 129 w 472"/>
                  <a:gd name="T39" fmla="*/ 25 h 92"/>
                  <a:gd name="T40" fmla="*/ 133 w 472"/>
                  <a:gd name="T41" fmla="*/ 25 h 92"/>
                  <a:gd name="T42" fmla="*/ 143 w 472"/>
                  <a:gd name="T43" fmla="*/ 26 h 92"/>
                  <a:gd name="T44" fmla="*/ 148 w 472"/>
                  <a:gd name="T45" fmla="*/ 26 h 92"/>
                  <a:gd name="T46" fmla="*/ 153 w 472"/>
                  <a:gd name="T47" fmla="*/ 25 h 92"/>
                  <a:gd name="T48" fmla="*/ 151 w 472"/>
                  <a:gd name="T49" fmla="*/ 11 h 92"/>
                  <a:gd name="T50" fmla="*/ 147 w 472"/>
                  <a:gd name="T51" fmla="*/ 9 h 92"/>
                  <a:gd name="T52" fmla="*/ 144 w 472"/>
                  <a:gd name="T53" fmla="*/ 6 h 92"/>
                  <a:gd name="T54" fmla="*/ 140 w 472"/>
                  <a:gd name="T55" fmla="*/ 4 h 92"/>
                  <a:gd name="T56" fmla="*/ 135 w 472"/>
                  <a:gd name="T57" fmla="*/ 4 h 92"/>
                  <a:gd name="T58" fmla="*/ 128 w 472"/>
                  <a:gd name="T59" fmla="*/ 5 h 92"/>
                  <a:gd name="T60" fmla="*/ 119 w 472"/>
                  <a:gd name="T61" fmla="*/ 7 h 92"/>
                  <a:gd name="T62" fmla="*/ 106 w 472"/>
                  <a:gd name="T63" fmla="*/ 11 h 92"/>
                  <a:gd name="T64" fmla="*/ 97 w 472"/>
                  <a:gd name="T65" fmla="*/ 13 h 92"/>
                  <a:gd name="T66" fmla="*/ 89 w 472"/>
                  <a:gd name="T67" fmla="*/ 14 h 92"/>
                  <a:gd name="T68" fmla="*/ 77 w 472"/>
                  <a:gd name="T69" fmla="*/ 14 h 92"/>
                  <a:gd name="T70" fmla="*/ 62 w 472"/>
                  <a:gd name="T71" fmla="*/ 14 h 92"/>
                  <a:gd name="T72" fmla="*/ 51 w 472"/>
                  <a:gd name="T73" fmla="*/ 14 h 92"/>
                  <a:gd name="T74" fmla="*/ 39 w 472"/>
                  <a:gd name="T75" fmla="*/ 14 h 92"/>
                  <a:gd name="T76" fmla="*/ 29 w 472"/>
                  <a:gd name="T77" fmla="*/ 14 h 92"/>
                  <a:gd name="T78" fmla="*/ 25 w 472"/>
                  <a:gd name="T79" fmla="*/ 12 h 92"/>
                  <a:gd name="T80" fmla="*/ 23 w 472"/>
                  <a:gd name="T81" fmla="*/ 9 h 92"/>
                  <a:gd name="T82" fmla="*/ 22 w 472"/>
                  <a:gd name="T83" fmla="*/ 6 h 92"/>
                  <a:gd name="T84" fmla="*/ 22 w 472"/>
                  <a:gd name="T85" fmla="*/ 3 h 92"/>
                  <a:gd name="T86" fmla="*/ 24 w 472"/>
                  <a:gd name="T87" fmla="*/ 1 h 92"/>
                  <a:gd name="T88" fmla="*/ 24 w 472"/>
                  <a:gd name="T89" fmla="*/ 0 h 92"/>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472" h="92">
                    <a:moveTo>
                      <a:pt x="73" y="0"/>
                    </a:moveTo>
                    <a:lnTo>
                      <a:pt x="63" y="0"/>
                    </a:lnTo>
                    <a:lnTo>
                      <a:pt x="53" y="0"/>
                    </a:lnTo>
                    <a:lnTo>
                      <a:pt x="44" y="0"/>
                    </a:lnTo>
                    <a:lnTo>
                      <a:pt x="34" y="0"/>
                    </a:lnTo>
                    <a:lnTo>
                      <a:pt x="24" y="0"/>
                    </a:lnTo>
                    <a:lnTo>
                      <a:pt x="15" y="1"/>
                    </a:lnTo>
                    <a:lnTo>
                      <a:pt x="12" y="3"/>
                    </a:lnTo>
                    <a:lnTo>
                      <a:pt x="8" y="5"/>
                    </a:lnTo>
                    <a:lnTo>
                      <a:pt x="7" y="8"/>
                    </a:lnTo>
                    <a:lnTo>
                      <a:pt x="6" y="12"/>
                    </a:lnTo>
                    <a:lnTo>
                      <a:pt x="7" y="16"/>
                    </a:lnTo>
                    <a:lnTo>
                      <a:pt x="7" y="20"/>
                    </a:lnTo>
                    <a:lnTo>
                      <a:pt x="10" y="23"/>
                    </a:lnTo>
                    <a:lnTo>
                      <a:pt x="11" y="26"/>
                    </a:lnTo>
                    <a:lnTo>
                      <a:pt x="15" y="32"/>
                    </a:lnTo>
                    <a:lnTo>
                      <a:pt x="19" y="36"/>
                    </a:lnTo>
                    <a:lnTo>
                      <a:pt x="14" y="41"/>
                    </a:lnTo>
                    <a:lnTo>
                      <a:pt x="7" y="46"/>
                    </a:lnTo>
                    <a:lnTo>
                      <a:pt x="4" y="50"/>
                    </a:lnTo>
                    <a:lnTo>
                      <a:pt x="2" y="53"/>
                    </a:lnTo>
                    <a:lnTo>
                      <a:pt x="1" y="57"/>
                    </a:lnTo>
                    <a:lnTo>
                      <a:pt x="0" y="61"/>
                    </a:lnTo>
                    <a:lnTo>
                      <a:pt x="2" y="64"/>
                    </a:lnTo>
                    <a:lnTo>
                      <a:pt x="6" y="66"/>
                    </a:lnTo>
                    <a:lnTo>
                      <a:pt x="14" y="69"/>
                    </a:lnTo>
                    <a:lnTo>
                      <a:pt x="24" y="71"/>
                    </a:lnTo>
                    <a:lnTo>
                      <a:pt x="48" y="76"/>
                    </a:lnTo>
                    <a:lnTo>
                      <a:pt x="78" y="81"/>
                    </a:lnTo>
                    <a:lnTo>
                      <a:pt x="109" y="85"/>
                    </a:lnTo>
                    <a:lnTo>
                      <a:pt x="140" y="89"/>
                    </a:lnTo>
                    <a:lnTo>
                      <a:pt x="167" y="91"/>
                    </a:lnTo>
                    <a:lnTo>
                      <a:pt x="186" y="92"/>
                    </a:lnTo>
                    <a:lnTo>
                      <a:pt x="365" y="92"/>
                    </a:lnTo>
                    <a:lnTo>
                      <a:pt x="370" y="86"/>
                    </a:lnTo>
                    <a:lnTo>
                      <a:pt x="374" y="81"/>
                    </a:lnTo>
                    <a:lnTo>
                      <a:pt x="380" y="78"/>
                    </a:lnTo>
                    <a:lnTo>
                      <a:pt x="385" y="75"/>
                    </a:lnTo>
                    <a:lnTo>
                      <a:pt x="391" y="74"/>
                    </a:lnTo>
                    <a:lnTo>
                      <a:pt x="397" y="73"/>
                    </a:lnTo>
                    <a:lnTo>
                      <a:pt x="404" y="73"/>
                    </a:lnTo>
                    <a:lnTo>
                      <a:pt x="411" y="73"/>
                    </a:lnTo>
                    <a:lnTo>
                      <a:pt x="426" y="75"/>
                    </a:lnTo>
                    <a:lnTo>
                      <a:pt x="441" y="76"/>
                    </a:lnTo>
                    <a:lnTo>
                      <a:pt x="449" y="77"/>
                    </a:lnTo>
                    <a:lnTo>
                      <a:pt x="456" y="76"/>
                    </a:lnTo>
                    <a:lnTo>
                      <a:pt x="464" y="75"/>
                    </a:lnTo>
                    <a:lnTo>
                      <a:pt x="472" y="73"/>
                    </a:lnTo>
                    <a:lnTo>
                      <a:pt x="472" y="36"/>
                    </a:lnTo>
                    <a:lnTo>
                      <a:pt x="465" y="33"/>
                    </a:lnTo>
                    <a:lnTo>
                      <a:pt x="459" y="30"/>
                    </a:lnTo>
                    <a:lnTo>
                      <a:pt x="453" y="26"/>
                    </a:lnTo>
                    <a:lnTo>
                      <a:pt x="449" y="22"/>
                    </a:lnTo>
                    <a:lnTo>
                      <a:pt x="443" y="18"/>
                    </a:lnTo>
                    <a:lnTo>
                      <a:pt x="438" y="15"/>
                    </a:lnTo>
                    <a:lnTo>
                      <a:pt x="432" y="13"/>
                    </a:lnTo>
                    <a:lnTo>
                      <a:pt x="426" y="12"/>
                    </a:lnTo>
                    <a:lnTo>
                      <a:pt x="416" y="12"/>
                    </a:lnTo>
                    <a:lnTo>
                      <a:pt x="406" y="13"/>
                    </a:lnTo>
                    <a:lnTo>
                      <a:pt x="396" y="15"/>
                    </a:lnTo>
                    <a:lnTo>
                      <a:pt x="386" y="17"/>
                    </a:lnTo>
                    <a:lnTo>
                      <a:pt x="367" y="22"/>
                    </a:lnTo>
                    <a:lnTo>
                      <a:pt x="348" y="27"/>
                    </a:lnTo>
                    <a:lnTo>
                      <a:pt x="328" y="33"/>
                    </a:lnTo>
                    <a:lnTo>
                      <a:pt x="308" y="38"/>
                    </a:lnTo>
                    <a:lnTo>
                      <a:pt x="298" y="39"/>
                    </a:lnTo>
                    <a:lnTo>
                      <a:pt x="287" y="41"/>
                    </a:lnTo>
                    <a:lnTo>
                      <a:pt x="276" y="42"/>
                    </a:lnTo>
                    <a:lnTo>
                      <a:pt x="265" y="42"/>
                    </a:lnTo>
                    <a:lnTo>
                      <a:pt x="236" y="42"/>
                    </a:lnTo>
                    <a:lnTo>
                      <a:pt x="212" y="42"/>
                    </a:lnTo>
                    <a:lnTo>
                      <a:pt x="191" y="42"/>
                    </a:lnTo>
                    <a:lnTo>
                      <a:pt x="173" y="42"/>
                    </a:lnTo>
                    <a:lnTo>
                      <a:pt x="156" y="42"/>
                    </a:lnTo>
                    <a:lnTo>
                      <a:pt x="139" y="42"/>
                    </a:lnTo>
                    <a:lnTo>
                      <a:pt x="120" y="42"/>
                    </a:lnTo>
                    <a:lnTo>
                      <a:pt x="100" y="42"/>
                    </a:lnTo>
                    <a:lnTo>
                      <a:pt x="91" y="41"/>
                    </a:lnTo>
                    <a:lnTo>
                      <a:pt x="83" y="39"/>
                    </a:lnTo>
                    <a:lnTo>
                      <a:pt x="78" y="36"/>
                    </a:lnTo>
                    <a:lnTo>
                      <a:pt x="73" y="32"/>
                    </a:lnTo>
                    <a:lnTo>
                      <a:pt x="70" y="27"/>
                    </a:lnTo>
                    <a:lnTo>
                      <a:pt x="68" y="22"/>
                    </a:lnTo>
                    <a:lnTo>
                      <a:pt x="67" y="17"/>
                    </a:lnTo>
                    <a:lnTo>
                      <a:pt x="67" y="12"/>
                    </a:lnTo>
                    <a:lnTo>
                      <a:pt x="69" y="8"/>
                    </a:lnTo>
                    <a:lnTo>
                      <a:pt x="72" y="4"/>
                    </a:lnTo>
                    <a:lnTo>
                      <a:pt x="74" y="2"/>
                    </a:lnTo>
                    <a:lnTo>
                      <a:pt x="75" y="1"/>
                    </a:lnTo>
                    <a:lnTo>
                      <a:pt x="74" y="0"/>
                    </a:lnTo>
                    <a:lnTo>
                      <a:pt x="73" y="0"/>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5" name="Freeform 431">
                <a:extLst>
                  <a:ext uri="{FF2B5EF4-FFF2-40B4-BE49-F238E27FC236}">
                    <a16:creationId xmlns:a16="http://schemas.microsoft.com/office/drawing/2014/main" id="{89A5BA08-0F0A-4D0B-AD5A-5A64DDF2A446}"/>
                  </a:ext>
                </a:extLst>
              </p:cNvPr>
              <p:cNvSpPr>
                <a:spLocks/>
              </p:cNvSpPr>
              <p:nvPr/>
            </p:nvSpPr>
            <p:spPr bwMode="auto">
              <a:xfrm>
                <a:off x="1513" y="1136"/>
                <a:ext cx="106" cy="45"/>
              </a:xfrm>
              <a:custGeom>
                <a:avLst/>
                <a:gdLst>
                  <a:gd name="T0" fmla="*/ 47 w 326"/>
                  <a:gd name="T1" fmla="*/ 36 h 135"/>
                  <a:gd name="T2" fmla="*/ 66 w 326"/>
                  <a:gd name="T3" fmla="*/ 32 h 135"/>
                  <a:gd name="T4" fmla="*/ 85 w 326"/>
                  <a:gd name="T5" fmla="*/ 28 h 135"/>
                  <a:gd name="T6" fmla="*/ 98 w 326"/>
                  <a:gd name="T7" fmla="*/ 25 h 135"/>
                  <a:gd name="T8" fmla="*/ 103 w 326"/>
                  <a:gd name="T9" fmla="*/ 22 h 135"/>
                  <a:gd name="T10" fmla="*/ 105 w 326"/>
                  <a:gd name="T11" fmla="*/ 19 h 135"/>
                  <a:gd name="T12" fmla="*/ 101 w 326"/>
                  <a:gd name="T13" fmla="*/ 16 h 135"/>
                  <a:gd name="T14" fmla="*/ 98 w 326"/>
                  <a:gd name="T15" fmla="*/ 14 h 135"/>
                  <a:gd name="T16" fmla="*/ 93 w 326"/>
                  <a:gd name="T17" fmla="*/ 12 h 135"/>
                  <a:gd name="T18" fmla="*/ 86 w 326"/>
                  <a:gd name="T19" fmla="*/ 11 h 135"/>
                  <a:gd name="T20" fmla="*/ 75 w 326"/>
                  <a:gd name="T21" fmla="*/ 10 h 135"/>
                  <a:gd name="T22" fmla="*/ 68 w 326"/>
                  <a:gd name="T23" fmla="*/ 10 h 135"/>
                  <a:gd name="T24" fmla="*/ 66 w 326"/>
                  <a:gd name="T25" fmla="*/ 8 h 135"/>
                  <a:gd name="T26" fmla="*/ 64 w 326"/>
                  <a:gd name="T27" fmla="*/ 6 h 135"/>
                  <a:gd name="T28" fmla="*/ 62 w 326"/>
                  <a:gd name="T29" fmla="*/ 3 h 135"/>
                  <a:gd name="T30" fmla="*/ 59 w 326"/>
                  <a:gd name="T31" fmla="*/ 2 h 135"/>
                  <a:gd name="T32" fmla="*/ 53 w 326"/>
                  <a:gd name="T33" fmla="*/ 0 h 135"/>
                  <a:gd name="T34" fmla="*/ 44 w 326"/>
                  <a:gd name="T35" fmla="*/ 0 h 135"/>
                  <a:gd name="T36" fmla="*/ 28 w 326"/>
                  <a:gd name="T37" fmla="*/ 3 h 135"/>
                  <a:gd name="T38" fmla="*/ 16 w 326"/>
                  <a:gd name="T39" fmla="*/ 6 h 135"/>
                  <a:gd name="T40" fmla="*/ 9 w 326"/>
                  <a:gd name="T41" fmla="*/ 9 h 135"/>
                  <a:gd name="T42" fmla="*/ 4 w 326"/>
                  <a:gd name="T43" fmla="*/ 12 h 135"/>
                  <a:gd name="T44" fmla="*/ 1 w 326"/>
                  <a:gd name="T45" fmla="*/ 15 h 135"/>
                  <a:gd name="T46" fmla="*/ 0 w 326"/>
                  <a:gd name="T47" fmla="*/ 17 h 135"/>
                  <a:gd name="T48" fmla="*/ 11 w 326"/>
                  <a:gd name="T49" fmla="*/ 25 h 135"/>
                  <a:gd name="T50" fmla="*/ 18 w 326"/>
                  <a:gd name="T51" fmla="*/ 27 h 135"/>
                  <a:gd name="T52" fmla="*/ 13 w 326"/>
                  <a:gd name="T53" fmla="*/ 30 h 135"/>
                  <a:gd name="T54" fmla="*/ 12 w 326"/>
                  <a:gd name="T55" fmla="*/ 33 h 135"/>
                  <a:gd name="T56" fmla="*/ 14 w 326"/>
                  <a:gd name="T57" fmla="*/ 38 h 135"/>
                  <a:gd name="T58" fmla="*/ 16 w 326"/>
                  <a:gd name="T59" fmla="*/ 43 h 135"/>
                  <a:gd name="T60" fmla="*/ 18 w 326"/>
                  <a:gd name="T61" fmla="*/ 45 h 135"/>
                  <a:gd name="T62" fmla="*/ 22 w 326"/>
                  <a:gd name="T63" fmla="*/ 45 h 135"/>
                  <a:gd name="T64" fmla="*/ 28 w 326"/>
                  <a:gd name="T65" fmla="*/ 44 h 135"/>
                  <a:gd name="T66" fmla="*/ 33 w 326"/>
                  <a:gd name="T67" fmla="*/ 42 h 135"/>
                  <a:gd name="T68" fmla="*/ 38 w 326"/>
                  <a:gd name="T69" fmla="*/ 41 h 135"/>
                  <a:gd name="T70" fmla="*/ 39 w 326"/>
                  <a:gd name="T71" fmla="*/ 37 h 135"/>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326" h="135">
                    <a:moveTo>
                      <a:pt x="120" y="111"/>
                    </a:moveTo>
                    <a:lnTo>
                      <a:pt x="145" y="107"/>
                    </a:lnTo>
                    <a:lnTo>
                      <a:pt x="172" y="102"/>
                    </a:lnTo>
                    <a:lnTo>
                      <a:pt x="203" y="97"/>
                    </a:lnTo>
                    <a:lnTo>
                      <a:pt x="233" y="90"/>
                    </a:lnTo>
                    <a:lnTo>
                      <a:pt x="262" y="84"/>
                    </a:lnTo>
                    <a:lnTo>
                      <a:pt x="288" y="78"/>
                    </a:lnTo>
                    <a:lnTo>
                      <a:pt x="300" y="74"/>
                    </a:lnTo>
                    <a:lnTo>
                      <a:pt x="310" y="70"/>
                    </a:lnTo>
                    <a:lnTo>
                      <a:pt x="318" y="66"/>
                    </a:lnTo>
                    <a:lnTo>
                      <a:pt x="326" y="62"/>
                    </a:lnTo>
                    <a:lnTo>
                      <a:pt x="322" y="56"/>
                    </a:lnTo>
                    <a:lnTo>
                      <a:pt x="317" y="52"/>
                    </a:lnTo>
                    <a:lnTo>
                      <a:pt x="312" y="48"/>
                    </a:lnTo>
                    <a:lnTo>
                      <a:pt x="306" y="44"/>
                    </a:lnTo>
                    <a:lnTo>
                      <a:pt x="300" y="41"/>
                    </a:lnTo>
                    <a:lnTo>
                      <a:pt x="293" y="39"/>
                    </a:lnTo>
                    <a:lnTo>
                      <a:pt x="286" y="37"/>
                    </a:lnTo>
                    <a:lnTo>
                      <a:pt x="279" y="34"/>
                    </a:lnTo>
                    <a:lnTo>
                      <a:pt x="263" y="32"/>
                    </a:lnTo>
                    <a:lnTo>
                      <a:pt x="247" y="31"/>
                    </a:lnTo>
                    <a:lnTo>
                      <a:pt x="230" y="30"/>
                    </a:lnTo>
                    <a:lnTo>
                      <a:pt x="213" y="30"/>
                    </a:lnTo>
                    <a:lnTo>
                      <a:pt x="209" y="30"/>
                    </a:lnTo>
                    <a:lnTo>
                      <a:pt x="205" y="27"/>
                    </a:lnTo>
                    <a:lnTo>
                      <a:pt x="202" y="24"/>
                    </a:lnTo>
                    <a:lnTo>
                      <a:pt x="200" y="21"/>
                    </a:lnTo>
                    <a:lnTo>
                      <a:pt x="196" y="17"/>
                    </a:lnTo>
                    <a:lnTo>
                      <a:pt x="194" y="13"/>
                    </a:lnTo>
                    <a:lnTo>
                      <a:pt x="191" y="9"/>
                    </a:lnTo>
                    <a:lnTo>
                      <a:pt x="187" y="6"/>
                    </a:lnTo>
                    <a:lnTo>
                      <a:pt x="180" y="5"/>
                    </a:lnTo>
                    <a:lnTo>
                      <a:pt x="172" y="3"/>
                    </a:lnTo>
                    <a:lnTo>
                      <a:pt x="162" y="1"/>
                    </a:lnTo>
                    <a:lnTo>
                      <a:pt x="153" y="0"/>
                    </a:lnTo>
                    <a:lnTo>
                      <a:pt x="135" y="1"/>
                    </a:lnTo>
                    <a:lnTo>
                      <a:pt x="112" y="4"/>
                    </a:lnTo>
                    <a:lnTo>
                      <a:pt x="87" y="8"/>
                    </a:lnTo>
                    <a:lnTo>
                      <a:pt x="61" y="14"/>
                    </a:lnTo>
                    <a:lnTo>
                      <a:pt x="49" y="17"/>
                    </a:lnTo>
                    <a:lnTo>
                      <a:pt x="38" y="21"/>
                    </a:lnTo>
                    <a:lnTo>
                      <a:pt x="27" y="26"/>
                    </a:lnTo>
                    <a:lnTo>
                      <a:pt x="19" y="31"/>
                    </a:lnTo>
                    <a:lnTo>
                      <a:pt x="11" y="37"/>
                    </a:lnTo>
                    <a:lnTo>
                      <a:pt x="5" y="43"/>
                    </a:lnTo>
                    <a:lnTo>
                      <a:pt x="3" y="46"/>
                    </a:lnTo>
                    <a:lnTo>
                      <a:pt x="1" y="49"/>
                    </a:lnTo>
                    <a:lnTo>
                      <a:pt x="1" y="52"/>
                    </a:lnTo>
                    <a:lnTo>
                      <a:pt x="0" y="56"/>
                    </a:lnTo>
                    <a:lnTo>
                      <a:pt x="34" y="74"/>
                    </a:lnTo>
                    <a:lnTo>
                      <a:pt x="73" y="74"/>
                    </a:lnTo>
                    <a:lnTo>
                      <a:pt x="56" y="81"/>
                    </a:lnTo>
                    <a:lnTo>
                      <a:pt x="44" y="87"/>
                    </a:lnTo>
                    <a:lnTo>
                      <a:pt x="41" y="90"/>
                    </a:lnTo>
                    <a:lnTo>
                      <a:pt x="38" y="94"/>
                    </a:lnTo>
                    <a:lnTo>
                      <a:pt x="38" y="99"/>
                    </a:lnTo>
                    <a:lnTo>
                      <a:pt x="41" y="105"/>
                    </a:lnTo>
                    <a:lnTo>
                      <a:pt x="44" y="114"/>
                    </a:lnTo>
                    <a:lnTo>
                      <a:pt x="47" y="123"/>
                    </a:lnTo>
                    <a:lnTo>
                      <a:pt x="48" y="128"/>
                    </a:lnTo>
                    <a:lnTo>
                      <a:pt x="50" y="131"/>
                    </a:lnTo>
                    <a:lnTo>
                      <a:pt x="55" y="134"/>
                    </a:lnTo>
                    <a:lnTo>
                      <a:pt x="60" y="135"/>
                    </a:lnTo>
                    <a:lnTo>
                      <a:pt x="69" y="135"/>
                    </a:lnTo>
                    <a:lnTo>
                      <a:pt x="78" y="133"/>
                    </a:lnTo>
                    <a:lnTo>
                      <a:pt x="86" y="131"/>
                    </a:lnTo>
                    <a:lnTo>
                      <a:pt x="93" y="129"/>
                    </a:lnTo>
                    <a:lnTo>
                      <a:pt x="101" y="127"/>
                    </a:lnTo>
                    <a:lnTo>
                      <a:pt x="109" y="125"/>
                    </a:lnTo>
                    <a:lnTo>
                      <a:pt x="117" y="124"/>
                    </a:lnTo>
                    <a:lnTo>
                      <a:pt x="126" y="123"/>
                    </a:lnTo>
                    <a:lnTo>
                      <a:pt x="120" y="111"/>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6" name="Freeform 432">
                <a:extLst>
                  <a:ext uri="{FF2B5EF4-FFF2-40B4-BE49-F238E27FC236}">
                    <a16:creationId xmlns:a16="http://schemas.microsoft.com/office/drawing/2014/main" id="{AB54C40E-9D6A-4ECD-9B56-A79E3DC9E269}"/>
                  </a:ext>
                </a:extLst>
              </p:cNvPr>
              <p:cNvSpPr>
                <a:spLocks/>
              </p:cNvSpPr>
              <p:nvPr/>
            </p:nvSpPr>
            <p:spPr bwMode="auto">
              <a:xfrm>
                <a:off x="1584" y="1245"/>
                <a:ext cx="51" cy="18"/>
              </a:xfrm>
              <a:custGeom>
                <a:avLst/>
                <a:gdLst>
                  <a:gd name="T0" fmla="*/ 15 w 159"/>
                  <a:gd name="T1" fmla="*/ 17 h 56"/>
                  <a:gd name="T2" fmla="*/ 13 w 159"/>
                  <a:gd name="T3" fmla="*/ 17 h 56"/>
                  <a:gd name="T4" fmla="*/ 11 w 159"/>
                  <a:gd name="T5" fmla="*/ 16 h 56"/>
                  <a:gd name="T6" fmla="*/ 8 w 159"/>
                  <a:gd name="T7" fmla="*/ 14 h 56"/>
                  <a:gd name="T8" fmla="*/ 6 w 159"/>
                  <a:gd name="T9" fmla="*/ 12 h 56"/>
                  <a:gd name="T10" fmla="*/ 3 w 159"/>
                  <a:gd name="T11" fmla="*/ 10 h 56"/>
                  <a:gd name="T12" fmla="*/ 2 w 159"/>
                  <a:gd name="T13" fmla="*/ 8 h 56"/>
                  <a:gd name="T14" fmla="*/ 1 w 159"/>
                  <a:gd name="T15" fmla="*/ 7 h 56"/>
                  <a:gd name="T16" fmla="*/ 0 w 159"/>
                  <a:gd name="T17" fmla="*/ 5 h 56"/>
                  <a:gd name="T18" fmla="*/ 0 w 159"/>
                  <a:gd name="T19" fmla="*/ 4 h 56"/>
                  <a:gd name="T20" fmla="*/ 0 w 159"/>
                  <a:gd name="T21" fmla="*/ 3 h 56"/>
                  <a:gd name="T22" fmla="*/ 7 w 159"/>
                  <a:gd name="T23" fmla="*/ 3 h 56"/>
                  <a:gd name="T24" fmla="*/ 13 w 159"/>
                  <a:gd name="T25" fmla="*/ 3 h 56"/>
                  <a:gd name="T26" fmla="*/ 17 w 159"/>
                  <a:gd name="T27" fmla="*/ 3 h 56"/>
                  <a:gd name="T28" fmla="*/ 19 w 159"/>
                  <a:gd name="T29" fmla="*/ 3 h 56"/>
                  <a:gd name="T30" fmla="*/ 27 w 159"/>
                  <a:gd name="T31" fmla="*/ 2 h 56"/>
                  <a:gd name="T32" fmla="*/ 38 w 159"/>
                  <a:gd name="T33" fmla="*/ 0 h 56"/>
                  <a:gd name="T34" fmla="*/ 40 w 159"/>
                  <a:gd name="T35" fmla="*/ 0 h 56"/>
                  <a:gd name="T36" fmla="*/ 42 w 159"/>
                  <a:gd name="T37" fmla="*/ 0 h 56"/>
                  <a:gd name="T38" fmla="*/ 45 w 159"/>
                  <a:gd name="T39" fmla="*/ 0 h 56"/>
                  <a:gd name="T40" fmla="*/ 47 w 159"/>
                  <a:gd name="T41" fmla="*/ 1 h 56"/>
                  <a:gd name="T42" fmla="*/ 48 w 159"/>
                  <a:gd name="T43" fmla="*/ 2 h 56"/>
                  <a:gd name="T44" fmla="*/ 50 w 159"/>
                  <a:gd name="T45" fmla="*/ 3 h 56"/>
                  <a:gd name="T46" fmla="*/ 51 w 159"/>
                  <a:gd name="T47" fmla="*/ 5 h 56"/>
                  <a:gd name="T48" fmla="*/ 51 w 159"/>
                  <a:gd name="T49" fmla="*/ 7 h 56"/>
                  <a:gd name="T50" fmla="*/ 51 w 159"/>
                  <a:gd name="T51" fmla="*/ 10 h 56"/>
                  <a:gd name="T52" fmla="*/ 50 w 159"/>
                  <a:gd name="T53" fmla="*/ 12 h 56"/>
                  <a:gd name="T54" fmla="*/ 48 w 159"/>
                  <a:gd name="T55" fmla="*/ 14 h 56"/>
                  <a:gd name="T56" fmla="*/ 47 w 159"/>
                  <a:gd name="T57" fmla="*/ 15 h 56"/>
                  <a:gd name="T58" fmla="*/ 45 w 159"/>
                  <a:gd name="T59" fmla="*/ 17 h 56"/>
                  <a:gd name="T60" fmla="*/ 42 w 159"/>
                  <a:gd name="T61" fmla="*/ 17 h 56"/>
                  <a:gd name="T62" fmla="*/ 40 w 159"/>
                  <a:gd name="T63" fmla="*/ 18 h 56"/>
                  <a:gd name="T64" fmla="*/ 37 w 159"/>
                  <a:gd name="T65" fmla="*/ 18 h 56"/>
                  <a:gd name="T66" fmla="*/ 25 w 159"/>
                  <a:gd name="T67" fmla="*/ 18 h 56"/>
                  <a:gd name="T68" fmla="*/ 15 w 159"/>
                  <a:gd name="T69" fmla="*/ 17 h 5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59" h="56">
                    <a:moveTo>
                      <a:pt x="46" y="53"/>
                    </a:moveTo>
                    <a:lnTo>
                      <a:pt x="40" y="52"/>
                    </a:lnTo>
                    <a:lnTo>
                      <a:pt x="34" y="49"/>
                    </a:lnTo>
                    <a:lnTo>
                      <a:pt x="26" y="45"/>
                    </a:lnTo>
                    <a:lnTo>
                      <a:pt x="18" y="38"/>
                    </a:lnTo>
                    <a:lnTo>
                      <a:pt x="10" y="31"/>
                    </a:lnTo>
                    <a:lnTo>
                      <a:pt x="5" y="24"/>
                    </a:lnTo>
                    <a:lnTo>
                      <a:pt x="3" y="21"/>
                    </a:lnTo>
                    <a:lnTo>
                      <a:pt x="1" y="17"/>
                    </a:lnTo>
                    <a:lnTo>
                      <a:pt x="0" y="13"/>
                    </a:lnTo>
                    <a:lnTo>
                      <a:pt x="0" y="10"/>
                    </a:lnTo>
                    <a:lnTo>
                      <a:pt x="21" y="10"/>
                    </a:lnTo>
                    <a:lnTo>
                      <a:pt x="39" y="10"/>
                    </a:lnTo>
                    <a:lnTo>
                      <a:pt x="52" y="10"/>
                    </a:lnTo>
                    <a:lnTo>
                      <a:pt x="59" y="10"/>
                    </a:lnTo>
                    <a:lnTo>
                      <a:pt x="83" y="6"/>
                    </a:lnTo>
                    <a:lnTo>
                      <a:pt x="117" y="0"/>
                    </a:lnTo>
                    <a:lnTo>
                      <a:pt x="125" y="0"/>
                    </a:lnTo>
                    <a:lnTo>
                      <a:pt x="132" y="0"/>
                    </a:lnTo>
                    <a:lnTo>
                      <a:pt x="140" y="0"/>
                    </a:lnTo>
                    <a:lnTo>
                      <a:pt x="147" y="2"/>
                    </a:lnTo>
                    <a:lnTo>
                      <a:pt x="151" y="5"/>
                    </a:lnTo>
                    <a:lnTo>
                      <a:pt x="155" y="9"/>
                    </a:lnTo>
                    <a:lnTo>
                      <a:pt x="158" y="15"/>
                    </a:lnTo>
                    <a:lnTo>
                      <a:pt x="159" y="22"/>
                    </a:lnTo>
                    <a:lnTo>
                      <a:pt x="158" y="30"/>
                    </a:lnTo>
                    <a:lnTo>
                      <a:pt x="155" y="37"/>
                    </a:lnTo>
                    <a:lnTo>
                      <a:pt x="151" y="44"/>
                    </a:lnTo>
                    <a:lnTo>
                      <a:pt x="146" y="48"/>
                    </a:lnTo>
                    <a:lnTo>
                      <a:pt x="139" y="52"/>
                    </a:lnTo>
                    <a:lnTo>
                      <a:pt x="132" y="54"/>
                    </a:lnTo>
                    <a:lnTo>
                      <a:pt x="124" y="55"/>
                    </a:lnTo>
                    <a:lnTo>
                      <a:pt x="115" y="56"/>
                    </a:lnTo>
                    <a:lnTo>
                      <a:pt x="77" y="55"/>
                    </a:lnTo>
                    <a:lnTo>
                      <a:pt x="46" y="5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437" name="Freeform 433">
                <a:extLst>
                  <a:ext uri="{FF2B5EF4-FFF2-40B4-BE49-F238E27FC236}">
                    <a16:creationId xmlns:a16="http://schemas.microsoft.com/office/drawing/2014/main" id="{035CD33F-784C-43DD-B83F-BB97EC8110C6}"/>
                  </a:ext>
                </a:extLst>
              </p:cNvPr>
              <p:cNvSpPr>
                <a:spLocks/>
              </p:cNvSpPr>
              <p:nvPr/>
            </p:nvSpPr>
            <p:spPr bwMode="auto">
              <a:xfrm>
                <a:off x="534" y="1280"/>
                <a:ext cx="1205" cy="539"/>
              </a:xfrm>
              <a:custGeom>
                <a:avLst/>
                <a:gdLst>
                  <a:gd name="T0" fmla="*/ 946 w 3734"/>
                  <a:gd name="T1" fmla="*/ 447 h 1644"/>
                  <a:gd name="T2" fmla="*/ 825 w 3734"/>
                  <a:gd name="T3" fmla="*/ 499 h 1644"/>
                  <a:gd name="T4" fmla="*/ 746 w 3734"/>
                  <a:gd name="T5" fmla="*/ 522 h 1644"/>
                  <a:gd name="T6" fmla="*/ 740 w 3734"/>
                  <a:gd name="T7" fmla="*/ 536 h 1644"/>
                  <a:gd name="T8" fmla="*/ 703 w 3734"/>
                  <a:gd name="T9" fmla="*/ 527 h 1644"/>
                  <a:gd name="T10" fmla="*/ 735 w 3734"/>
                  <a:gd name="T11" fmla="*/ 496 h 1644"/>
                  <a:gd name="T12" fmla="*/ 699 w 3734"/>
                  <a:gd name="T13" fmla="*/ 464 h 1644"/>
                  <a:gd name="T14" fmla="*/ 676 w 3734"/>
                  <a:gd name="T15" fmla="*/ 425 h 1644"/>
                  <a:gd name="T16" fmla="*/ 628 w 3734"/>
                  <a:gd name="T17" fmla="*/ 432 h 1644"/>
                  <a:gd name="T18" fmla="*/ 572 w 3734"/>
                  <a:gd name="T19" fmla="*/ 420 h 1644"/>
                  <a:gd name="T20" fmla="*/ 84 w 3734"/>
                  <a:gd name="T21" fmla="*/ 405 h 1644"/>
                  <a:gd name="T22" fmla="*/ 41 w 3734"/>
                  <a:gd name="T23" fmla="*/ 369 h 1644"/>
                  <a:gd name="T24" fmla="*/ 49 w 3734"/>
                  <a:gd name="T25" fmla="*/ 341 h 1644"/>
                  <a:gd name="T26" fmla="*/ 47 w 3734"/>
                  <a:gd name="T27" fmla="*/ 304 h 1644"/>
                  <a:gd name="T28" fmla="*/ 84 w 3734"/>
                  <a:gd name="T29" fmla="*/ 282 h 1644"/>
                  <a:gd name="T30" fmla="*/ 81 w 3734"/>
                  <a:gd name="T31" fmla="*/ 245 h 1644"/>
                  <a:gd name="T32" fmla="*/ 41 w 3734"/>
                  <a:gd name="T33" fmla="*/ 218 h 1644"/>
                  <a:gd name="T34" fmla="*/ 194 w 3734"/>
                  <a:gd name="T35" fmla="*/ 37 h 1644"/>
                  <a:gd name="T36" fmla="*/ 370 w 3734"/>
                  <a:gd name="T37" fmla="*/ 34 h 1644"/>
                  <a:gd name="T38" fmla="*/ 418 w 3734"/>
                  <a:gd name="T39" fmla="*/ 38 h 1644"/>
                  <a:gd name="T40" fmla="*/ 530 w 3734"/>
                  <a:gd name="T41" fmla="*/ 54 h 1644"/>
                  <a:gd name="T42" fmla="*/ 572 w 3734"/>
                  <a:gd name="T43" fmla="*/ 68 h 1644"/>
                  <a:gd name="T44" fmla="*/ 670 w 3734"/>
                  <a:gd name="T45" fmla="*/ 63 h 1644"/>
                  <a:gd name="T46" fmla="*/ 738 w 3734"/>
                  <a:gd name="T47" fmla="*/ 71 h 1644"/>
                  <a:gd name="T48" fmla="*/ 763 w 3734"/>
                  <a:gd name="T49" fmla="*/ 71 h 1644"/>
                  <a:gd name="T50" fmla="*/ 813 w 3734"/>
                  <a:gd name="T51" fmla="*/ 40 h 1644"/>
                  <a:gd name="T52" fmla="*/ 835 w 3734"/>
                  <a:gd name="T53" fmla="*/ 1 h 1644"/>
                  <a:gd name="T54" fmla="*/ 853 w 3734"/>
                  <a:gd name="T55" fmla="*/ 34 h 1644"/>
                  <a:gd name="T56" fmla="*/ 860 w 3734"/>
                  <a:gd name="T57" fmla="*/ 54 h 1644"/>
                  <a:gd name="T58" fmla="*/ 876 w 3734"/>
                  <a:gd name="T59" fmla="*/ 64 h 1644"/>
                  <a:gd name="T60" fmla="*/ 933 w 3734"/>
                  <a:gd name="T61" fmla="*/ 40 h 1644"/>
                  <a:gd name="T62" fmla="*/ 980 w 3734"/>
                  <a:gd name="T63" fmla="*/ 44 h 1644"/>
                  <a:gd name="T64" fmla="*/ 930 w 3734"/>
                  <a:gd name="T65" fmla="*/ 89 h 1644"/>
                  <a:gd name="T66" fmla="*/ 900 w 3734"/>
                  <a:gd name="T67" fmla="*/ 95 h 1644"/>
                  <a:gd name="T68" fmla="*/ 829 w 3734"/>
                  <a:gd name="T69" fmla="*/ 100 h 1644"/>
                  <a:gd name="T70" fmla="*/ 807 w 3734"/>
                  <a:gd name="T71" fmla="*/ 132 h 1644"/>
                  <a:gd name="T72" fmla="*/ 753 w 3734"/>
                  <a:gd name="T73" fmla="*/ 154 h 1644"/>
                  <a:gd name="T74" fmla="*/ 673 w 3734"/>
                  <a:gd name="T75" fmla="*/ 205 h 1644"/>
                  <a:gd name="T76" fmla="*/ 680 w 3734"/>
                  <a:gd name="T77" fmla="*/ 260 h 1644"/>
                  <a:gd name="T78" fmla="*/ 762 w 3734"/>
                  <a:gd name="T79" fmla="*/ 297 h 1644"/>
                  <a:gd name="T80" fmla="*/ 788 w 3734"/>
                  <a:gd name="T81" fmla="*/ 347 h 1644"/>
                  <a:gd name="T82" fmla="*/ 844 w 3734"/>
                  <a:gd name="T83" fmla="*/ 324 h 1644"/>
                  <a:gd name="T84" fmla="*/ 919 w 3734"/>
                  <a:gd name="T85" fmla="*/ 257 h 1644"/>
                  <a:gd name="T86" fmla="*/ 935 w 3734"/>
                  <a:gd name="T87" fmla="*/ 196 h 1644"/>
                  <a:gd name="T88" fmla="*/ 1018 w 3734"/>
                  <a:gd name="T89" fmla="*/ 164 h 1644"/>
                  <a:gd name="T90" fmla="*/ 1057 w 3734"/>
                  <a:gd name="T91" fmla="*/ 194 h 1644"/>
                  <a:gd name="T92" fmla="*/ 1041 w 3734"/>
                  <a:gd name="T93" fmla="*/ 241 h 1644"/>
                  <a:gd name="T94" fmla="*/ 1127 w 3734"/>
                  <a:gd name="T95" fmla="*/ 201 h 1644"/>
                  <a:gd name="T96" fmla="*/ 1144 w 3734"/>
                  <a:gd name="T97" fmla="*/ 254 h 1644"/>
                  <a:gd name="T98" fmla="*/ 1182 w 3734"/>
                  <a:gd name="T99" fmla="*/ 303 h 1644"/>
                  <a:gd name="T100" fmla="*/ 1167 w 3734"/>
                  <a:gd name="T101" fmla="*/ 315 h 1644"/>
                  <a:gd name="T102" fmla="*/ 1192 w 3734"/>
                  <a:gd name="T103" fmla="*/ 337 h 1644"/>
                  <a:gd name="T104" fmla="*/ 1148 w 3734"/>
                  <a:gd name="T105" fmla="*/ 363 h 1644"/>
                  <a:gd name="T106" fmla="*/ 1017 w 3734"/>
                  <a:gd name="T107" fmla="*/ 383 h 1644"/>
                  <a:gd name="T108" fmla="*/ 921 w 3734"/>
                  <a:gd name="T109" fmla="*/ 438 h 1644"/>
                  <a:gd name="T110" fmla="*/ 937 w 3734"/>
                  <a:gd name="T111" fmla="*/ 438 h 1644"/>
                  <a:gd name="T112" fmla="*/ 1038 w 3734"/>
                  <a:gd name="T113" fmla="*/ 412 h 1644"/>
                  <a:gd name="T114" fmla="*/ 989 w 3734"/>
                  <a:gd name="T115" fmla="*/ 426 h 1644"/>
                  <a:gd name="T116" fmla="*/ 1013 w 3734"/>
                  <a:gd name="T117" fmla="*/ 456 h 1644"/>
                  <a:gd name="T118" fmla="*/ 1048 w 3734"/>
                  <a:gd name="T119" fmla="*/ 483 h 1644"/>
                  <a:gd name="T120" fmla="*/ 974 w 3734"/>
                  <a:gd name="T121" fmla="*/ 513 h 1644"/>
                  <a:gd name="T122" fmla="*/ 1029 w 3734"/>
                  <a:gd name="T123" fmla="*/ 481 h 1644"/>
                  <a:gd name="T124" fmla="*/ 973 w 3734"/>
                  <a:gd name="T125" fmla="*/ 487 h 164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3734" h="1644">
                    <a:moveTo>
                      <a:pt x="3010" y="1478"/>
                    </a:moveTo>
                    <a:lnTo>
                      <a:pt x="3010" y="1410"/>
                    </a:lnTo>
                    <a:lnTo>
                      <a:pt x="3013" y="1407"/>
                    </a:lnTo>
                    <a:lnTo>
                      <a:pt x="3016" y="1400"/>
                    </a:lnTo>
                    <a:lnTo>
                      <a:pt x="3021" y="1391"/>
                    </a:lnTo>
                    <a:lnTo>
                      <a:pt x="3025" y="1382"/>
                    </a:lnTo>
                    <a:lnTo>
                      <a:pt x="3029" y="1370"/>
                    </a:lnTo>
                    <a:lnTo>
                      <a:pt x="3033" y="1360"/>
                    </a:lnTo>
                    <a:lnTo>
                      <a:pt x="3036" y="1351"/>
                    </a:lnTo>
                    <a:lnTo>
                      <a:pt x="3036" y="1343"/>
                    </a:lnTo>
                    <a:lnTo>
                      <a:pt x="3032" y="1345"/>
                    </a:lnTo>
                    <a:lnTo>
                      <a:pt x="3026" y="1345"/>
                    </a:lnTo>
                    <a:lnTo>
                      <a:pt x="3021" y="1346"/>
                    </a:lnTo>
                    <a:lnTo>
                      <a:pt x="3014" y="1345"/>
                    </a:lnTo>
                    <a:lnTo>
                      <a:pt x="2997" y="1344"/>
                    </a:lnTo>
                    <a:lnTo>
                      <a:pt x="2977" y="1343"/>
                    </a:lnTo>
                    <a:lnTo>
                      <a:pt x="2967" y="1343"/>
                    </a:lnTo>
                    <a:lnTo>
                      <a:pt x="2958" y="1345"/>
                    </a:lnTo>
                    <a:lnTo>
                      <a:pt x="2950" y="1348"/>
                    </a:lnTo>
                    <a:lnTo>
                      <a:pt x="2943" y="1352"/>
                    </a:lnTo>
                    <a:lnTo>
                      <a:pt x="2936" y="1356"/>
                    </a:lnTo>
                    <a:lnTo>
                      <a:pt x="2931" y="1362"/>
                    </a:lnTo>
                    <a:lnTo>
                      <a:pt x="2925" y="1368"/>
                    </a:lnTo>
                    <a:lnTo>
                      <a:pt x="2920" y="1374"/>
                    </a:lnTo>
                    <a:lnTo>
                      <a:pt x="2909" y="1388"/>
                    </a:lnTo>
                    <a:lnTo>
                      <a:pt x="2899" y="1403"/>
                    </a:lnTo>
                    <a:lnTo>
                      <a:pt x="2889" y="1416"/>
                    </a:lnTo>
                    <a:lnTo>
                      <a:pt x="2877" y="1429"/>
                    </a:lnTo>
                    <a:lnTo>
                      <a:pt x="2867" y="1438"/>
                    </a:lnTo>
                    <a:lnTo>
                      <a:pt x="2857" y="1445"/>
                    </a:lnTo>
                    <a:lnTo>
                      <a:pt x="2847" y="1451"/>
                    </a:lnTo>
                    <a:lnTo>
                      <a:pt x="2836" y="1456"/>
                    </a:lnTo>
                    <a:lnTo>
                      <a:pt x="2826" y="1460"/>
                    </a:lnTo>
                    <a:lnTo>
                      <a:pt x="2815" y="1463"/>
                    </a:lnTo>
                    <a:lnTo>
                      <a:pt x="2803" y="1465"/>
                    </a:lnTo>
                    <a:lnTo>
                      <a:pt x="2792" y="1467"/>
                    </a:lnTo>
                    <a:lnTo>
                      <a:pt x="2767" y="1470"/>
                    </a:lnTo>
                    <a:lnTo>
                      <a:pt x="2741" y="1472"/>
                    </a:lnTo>
                    <a:lnTo>
                      <a:pt x="2711" y="1474"/>
                    </a:lnTo>
                    <a:lnTo>
                      <a:pt x="2678" y="1478"/>
                    </a:lnTo>
                    <a:lnTo>
                      <a:pt x="2591" y="1478"/>
                    </a:lnTo>
                    <a:lnTo>
                      <a:pt x="2580" y="1494"/>
                    </a:lnTo>
                    <a:lnTo>
                      <a:pt x="2569" y="1508"/>
                    </a:lnTo>
                    <a:lnTo>
                      <a:pt x="2556" y="1522"/>
                    </a:lnTo>
                    <a:lnTo>
                      <a:pt x="2543" y="1534"/>
                    </a:lnTo>
                    <a:lnTo>
                      <a:pt x="2530" y="1547"/>
                    </a:lnTo>
                    <a:lnTo>
                      <a:pt x="2514" y="1558"/>
                    </a:lnTo>
                    <a:lnTo>
                      <a:pt x="2500" y="1568"/>
                    </a:lnTo>
                    <a:lnTo>
                      <a:pt x="2485" y="1577"/>
                    </a:lnTo>
                    <a:lnTo>
                      <a:pt x="2492" y="1571"/>
                    </a:lnTo>
                    <a:lnTo>
                      <a:pt x="2498" y="1565"/>
                    </a:lnTo>
                    <a:lnTo>
                      <a:pt x="2502" y="1559"/>
                    </a:lnTo>
                    <a:lnTo>
                      <a:pt x="2504" y="1553"/>
                    </a:lnTo>
                    <a:lnTo>
                      <a:pt x="2478" y="1546"/>
                    </a:lnTo>
                    <a:lnTo>
                      <a:pt x="2445" y="1559"/>
                    </a:lnTo>
                    <a:lnTo>
                      <a:pt x="2408" y="1562"/>
                    </a:lnTo>
                    <a:lnTo>
                      <a:pt x="2364" y="1565"/>
                    </a:lnTo>
                    <a:lnTo>
                      <a:pt x="2353" y="1567"/>
                    </a:lnTo>
                    <a:lnTo>
                      <a:pt x="2343" y="1569"/>
                    </a:lnTo>
                    <a:lnTo>
                      <a:pt x="2334" y="1572"/>
                    </a:lnTo>
                    <a:lnTo>
                      <a:pt x="2328" y="1575"/>
                    </a:lnTo>
                    <a:lnTo>
                      <a:pt x="2321" y="1579"/>
                    </a:lnTo>
                    <a:lnTo>
                      <a:pt x="2316" y="1583"/>
                    </a:lnTo>
                    <a:lnTo>
                      <a:pt x="2315" y="1586"/>
                    </a:lnTo>
                    <a:lnTo>
                      <a:pt x="2313" y="1589"/>
                    </a:lnTo>
                    <a:lnTo>
                      <a:pt x="2312" y="1592"/>
                    </a:lnTo>
                    <a:lnTo>
                      <a:pt x="2312" y="1595"/>
                    </a:lnTo>
                    <a:lnTo>
                      <a:pt x="2312" y="1598"/>
                    </a:lnTo>
                    <a:lnTo>
                      <a:pt x="2313" y="1602"/>
                    </a:lnTo>
                    <a:lnTo>
                      <a:pt x="2316" y="1604"/>
                    </a:lnTo>
                    <a:lnTo>
                      <a:pt x="2318" y="1605"/>
                    </a:lnTo>
                    <a:lnTo>
                      <a:pt x="2324" y="1608"/>
                    </a:lnTo>
                    <a:lnTo>
                      <a:pt x="2332" y="1609"/>
                    </a:lnTo>
                    <a:lnTo>
                      <a:pt x="2351" y="1609"/>
                    </a:lnTo>
                    <a:lnTo>
                      <a:pt x="2372" y="1608"/>
                    </a:lnTo>
                    <a:lnTo>
                      <a:pt x="2388" y="1607"/>
                    </a:lnTo>
                    <a:lnTo>
                      <a:pt x="2405" y="1605"/>
                    </a:lnTo>
                    <a:lnTo>
                      <a:pt x="2421" y="1602"/>
                    </a:lnTo>
                    <a:lnTo>
                      <a:pt x="2438" y="1597"/>
                    </a:lnTo>
                    <a:lnTo>
                      <a:pt x="2425" y="1602"/>
                    </a:lnTo>
                    <a:lnTo>
                      <a:pt x="2414" y="1605"/>
                    </a:lnTo>
                    <a:lnTo>
                      <a:pt x="2402" y="1607"/>
                    </a:lnTo>
                    <a:lnTo>
                      <a:pt x="2391" y="1608"/>
                    </a:lnTo>
                    <a:lnTo>
                      <a:pt x="2319" y="1626"/>
                    </a:lnTo>
                    <a:lnTo>
                      <a:pt x="2313" y="1629"/>
                    </a:lnTo>
                    <a:lnTo>
                      <a:pt x="2307" y="1631"/>
                    </a:lnTo>
                    <a:lnTo>
                      <a:pt x="2300" y="1633"/>
                    </a:lnTo>
                    <a:lnTo>
                      <a:pt x="2294" y="1634"/>
                    </a:lnTo>
                    <a:lnTo>
                      <a:pt x="2296" y="1633"/>
                    </a:lnTo>
                    <a:lnTo>
                      <a:pt x="2299" y="1632"/>
                    </a:lnTo>
                    <a:lnTo>
                      <a:pt x="2290" y="1625"/>
                    </a:lnTo>
                    <a:lnTo>
                      <a:pt x="2283" y="1620"/>
                    </a:lnTo>
                    <a:lnTo>
                      <a:pt x="2273" y="1617"/>
                    </a:lnTo>
                    <a:lnTo>
                      <a:pt x="2263" y="1614"/>
                    </a:lnTo>
                    <a:lnTo>
                      <a:pt x="2253" y="1613"/>
                    </a:lnTo>
                    <a:lnTo>
                      <a:pt x="2243" y="1614"/>
                    </a:lnTo>
                    <a:lnTo>
                      <a:pt x="2233" y="1615"/>
                    </a:lnTo>
                    <a:lnTo>
                      <a:pt x="2224" y="1616"/>
                    </a:lnTo>
                    <a:lnTo>
                      <a:pt x="2207" y="1621"/>
                    </a:lnTo>
                    <a:lnTo>
                      <a:pt x="2193" y="1626"/>
                    </a:lnTo>
                    <a:lnTo>
                      <a:pt x="2183" y="1630"/>
                    </a:lnTo>
                    <a:lnTo>
                      <a:pt x="2179" y="1632"/>
                    </a:lnTo>
                    <a:lnTo>
                      <a:pt x="2172" y="1634"/>
                    </a:lnTo>
                    <a:lnTo>
                      <a:pt x="2162" y="1637"/>
                    </a:lnTo>
                    <a:lnTo>
                      <a:pt x="2150" y="1641"/>
                    </a:lnTo>
                    <a:lnTo>
                      <a:pt x="2137" y="1644"/>
                    </a:lnTo>
                    <a:lnTo>
                      <a:pt x="2147" y="1632"/>
                    </a:lnTo>
                    <a:lnTo>
                      <a:pt x="2156" y="1623"/>
                    </a:lnTo>
                    <a:lnTo>
                      <a:pt x="2167" y="1614"/>
                    </a:lnTo>
                    <a:lnTo>
                      <a:pt x="2177" y="1607"/>
                    </a:lnTo>
                    <a:lnTo>
                      <a:pt x="2187" y="1599"/>
                    </a:lnTo>
                    <a:lnTo>
                      <a:pt x="2196" y="1592"/>
                    </a:lnTo>
                    <a:lnTo>
                      <a:pt x="2200" y="1587"/>
                    </a:lnTo>
                    <a:lnTo>
                      <a:pt x="2205" y="1582"/>
                    </a:lnTo>
                    <a:lnTo>
                      <a:pt x="2209" y="1577"/>
                    </a:lnTo>
                    <a:lnTo>
                      <a:pt x="2212" y="1571"/>
                    </a:lnTo>
                    <a:lnTo>
                      <a:pt x="2219" y="1558"/>
                    </a:lnTo>
                    <a:lnTo>
                      <a:pt x="2222" y="1544"/>
                    </a:lnTo>
                    <a:lnTo>
                      <a:pt x="2224" y="1533"/>
                    </a:lnTo>
                    <a:lnTo>
                      <a:pt x="2228" y="1522"/>
                    </a:lnTo>
                    <a:lnTo>
                      <a:pt x="2230" y="1511"/>
                    </a:lnTo>
                    <a:lnTo>
                      <a:pt x="2234" y="1501"/>
                    </a:lnTo>
                    <a:lnTo>
                      <a:pt x="2238" y="1495"/>
                    </a:lnTo>
                    <a:lnTo>
                      <a:pt x="2242" y="1490"/>
                    </a:lnTo>
                    <a:lnTo>
                      <a:pt x="2246" y="1484"/>
                    </a:lnTo>
                    <a:lnTo>
                      <a:pt x="2252" y="1478"/>
                    </a:lnTo>
                    <a:lnTo>
                      <a:pt x="2265" y="1478"/>
                    </a:lnTo>
                    <a:lnTo>
                      <a:pt x="2266" y="1485"/>
                    </a:lnTo>
                    <a:lnTo>
                      <a:pt x="2267" y="1492"/>
                    </a:lnTo>
                    <a:lnTo>
                      <a:pt x="2271" y="1497"/>
                    </a:lnTo>
                    <a:lnTo>
                      <a:pt x="2273" y="1502"/>
                    </a:lnTo>
                    <a:lnTo>
                      <a:pt x="2279" y="1512"/>
                    </a:lnTo>
                    <a:lnTo>
                      <a:pt x="2286" y="1521"/>
                    </a:lnTo>
                    <a:lnTo>
                      <a:pt x="2298" y="1517"/>
                    </a:lnTo>
                    <a:lnTo>
                      <a:pt x="2310" y="1512"/>
                    </a:lnTo>
                    <a:lnTo>
                      <a:pt x="2324" y="1508"/>
                    </a:lnTo>
                    <a:lnTo>
                      <a:pt x="2345" y="1503"/>
                    </a:lnTo>
                    <a:lnTo>
                      <a:pt x="2345" y="1478"/>
                    </a:lnTo>
                    <a:lnTo>
                      <a:pt x="2331" y="1462"/>
                    </a:lnTo>
                    <a:lnTo>
                      <a:pt x="2317" y="1444"/>
                    </a:lnTo>
                    <a:lnTo>
                      <a:pt x="2309" y="1436"/>
                    </a:lnTo>
                    <a:lnTo>
                      <a:pt x="2300" y="1428"/>
                    </a:lnTo>
                    <a:lnTo>
                      <a:pt x="2296" y="1426"/>
                    </a:lnTo>
                    <a:lnTo>
                      <a:pt x="2290" y="1424"/>
                    </a:lnTo>
                    <a:lnTo>
                      <a:pt x="2285" y="1423"/>
                    </a:lnTo>
                    <a:lnTo>
                      <a:pt x="2279" y="1422"/>
                    </a:lnTo>
                    <a:lnTo>
                      <a:pt x="2249" y="1423"/>
                    </a:lnTo>
                    <a:lnTo>
                      <a:pt x="2215" y="1424"/>
                    </a:lnTo>
                    <a:lnTo>
                      <a:pt x="2199" y="1424"/>
                    </a:lnTo>
                    <a:lnTo>
                      <a:pt x="2185" y="1423"/>
                    </a:lnTo>
                    <a:lnTo>
                      <a:pt x="2178" y="1422"/>
                    </a:lnTo>
                    <a:lnTo>
                      <a:pt x="2173" y="1420"/>
                    </a:lnTo>
                    <a:lnTo>
                      <a:pt x="2168" y="1419"/>
                    </a:lnTo>
                    <a:lnTo>
                      <a:pt x="2166" y="1416"/>
                    </a:lnTo>
                    <a:lnTo>
                      <a:pt x="2163" y="1413"/>
                    </a:lnTo>
                    <a:lnTo>
                      <a:pt x="2161" y="1409"/>
                    </a:lnTo>
                    <a:lnTo>
                      <a:pt x="2159" y="1405"/>
                    </a:lnTo>
                    <a:lnTo>
                      <a:pt x="2159" y="1401"/>
                    </a:lnTo>
                    <a:lnTo>
                      <a:pt x="2159" y="1392"/>
                    </a:lnTo>
                    <a:lnTo>
                      <a:pt x="2160" y="1382"/>
                    </a:lnTo>
                    <a:lnTo>
                      <a:pt x="2161" y="1372"/>
                    </a:lnTo>
                    <a:lnTo>
                      <a:pt x="2161" y="1362"/>
                    </a:lnTo>
                    <a:lnTo>
                      <a:pt x="2160" y="1357"/>
                    </a:lnTo>
                    <a:lnTo>
                      <a:pt x="2159" y="1352"/>
                    </a:lnTo>
                    <a:lnTo>
                      <a:pt x="2155" y="1347"/>
                    </a:lnTo>
                    <a:lnTo>
                      <a:pt x="2153" y="1343"/>
                    </a:lnTo>
                    <a:lnTo>
                      <a:pt x="2149" y="1339"/>
                    </a:lnTo>
                    <a:lnTo>
                      <a:pt x="2144" y="1335"/>
                    </a:lnTo>
                    <a:lnTo>
                      <a:pt x="2139" y="1332"/>
                    </a:lnTo>
                    <a:lnTo>
                      <a:pt x="2133" y="1329"/>
                    </a:lnTo>
                    <a:lnTo>
                      <a:pt x="2122" y="1323"/>
                    </a:lnTo>
                    <a:lnTo>
                      <a:pt x="2111" y="1315"/>
                    </a:lnTo>
                    <a:lnTo>
                      <a:pt x="2107" y="1311"/>
                    </a:lnTo>
                    <a:lnTo>
                      <a:pt x="2102" y="1307"/>
                    </a:lnTo>
                    <a:lnTo>
                      <a:pt x="2097" y="1301"/>
                    </a:lnTo>
                    <a:lnTo>
                      <a:pt x="2094" y="1295"/>
                    </a:lnTo>
                    <a:lnTo>
                      <a:pt x="2091" y="1288"/>
                    </a:lnTo>
                    <a:lnTo>
                      <a:pt x="2088" y="1279"/>
                    </a:lnTo>
                    <a:lnTo>
                      <a:pt x="2087" y="1269"/>
                    </a:lnTo>
                    <a:lnTo>
                      <a:pt x="2086" y="1256"/>
                    </a:lnTo>
                    <a:lnTo>
                      <a:pt x="2060" y="1256"/>
                    </a:lnTo>
                    <a:lnTo>
                      <a:pt x="2046" y="1259"/>
                    </a:lnTo>
                    <a:lnTo>
                      <a:pt x="2027" y="1261"/>
                    </a:lnTo>
                    <a:lnTo>
                      <a:pt x="2017" y="1262"/>
                    </a:lnTo>
                    <a:lnTo>
                      <a:pt x="2007" y="1265"/>
                    </a:lnTo>
                    <a:lnTo>
                      <a:pt x="2003" y="1267"/>
                    </a:lnTo>
                    <a:lnTo>
                      <a:pt x="1999" y="1270"/>
                    </a:lnTo>
                    <a:lnTo>
                      <a:pt x="1996" y="1272"/>
                    </a:lnTo>
                    <a:lnTo>
                      <a:pt x="1993" y="1275"/>
                    </a:lnTo>
                    <a:lnTo>
                      <a:pt x="1985" y="1287"/>
                    </a:lnTo>
                    <a:lnTo>
                      <a:pt x="1976" y="1301"/>
                    </a:lnTo>
                    <a:lnTo>
                      <a:pt x="1974" y="1304"/>
                    </a:lnTo>
                    <a:lnTo>
                      <a:pt x="1971" y="1307"/>
                    </a:lnTo>
                    <a:lnTo>
                      <a:pt x="1968" y="1310"/>
                    </a:lnTo>
                    <a:lnTo>
                      <a:pt x="1963" y="1313"/>
                    </a:lnTo>
                    <a:lnTo>
                      <a:pt x="1959" y="1315"/>
                    </a:lnTo>
                    <a:lnTo>
                      <a:pt x="1953" y="1316"/>
                    </a:lnTo>
                    <a:lnTo>
                      <a:pt x="1947" y="1317"/>
                    </a:lnTo>
                    <a:lnTo>
                      <a:pt x="1940" y="1318"/>
                    </a:lnTo>
                    <a:lnTo>
                      <a:pt x="1930" y="1317"/>
                    </a:lnTo>
                    <a:lnTo>
                      <a:pt x="1920" y="1315"/>
                    </a:lnTo>
                    <a:lnTo>
                      <a:pt x="1910" y="1313"/>
                    </a:lnTo>
                    <a:lnTo>
                      <a:pt x="1901" y="1309"/>
                    </a:lnTo>
                    <a:lnTo>
                      <a:pt x="1892" y="1305"/>
                    </a:lnTo>
                    <a:lnTo>
                      <a:pt x="1883" y="1300"/>
                    </a:lnTo>
                    <a:lnTo>
                      <a:pt x="1874" y="1294"/>
                    </a:lnTo>
                    <a:lnTo>
                      <a:pt x="1867" y="1287"/>
                    </a:lnTo>
                    <a:lnTo>
                      <a:pt x="1864" y="1289"/>
                    </a:lnTo>
                    <a:lnTo>
                      <a:pt x="1860" y="1293"/>
                    </a:lnTo>
                    <a:lnTo>
                      <a:pt x="1853" y="1298"/>
                    </a:lnTo>
                    <a:lnTo>
                      <a:pt x="1847" y="1299"/>
                    </a:lnTo>
                    <a:lnTo>
                      <a:pt x="1840" y="1299"/>
                    </a:lnTo>
                    <a:lnTo>
                      <a:pt x="1833" y="1297"/>
                    </a:lnTo>
                    <a:lnTo>
                      <a:pt x="1826" y="1294"/>
                    </a:lnTo>
                    <a:lnTo>
                      <a:pt x="1819" y="1290"/>
                    </a:lnTo>
                    <a:lnTo>
                      <a:pt x="1813" y="1287"/>
                    </a:lnTo>
                    <a:lnTo>
                      <a:pt x="1805" y="1284"/>
                    </a:lnTo>
                    <a:lnTo>
                      <a:pt x="1796" y="1282"/>
                    </a:lnTo>
                    <a:lnTo>
                      <a:pt x="1787" y="1281"/>
                    </a:lnTo>
                    <a:lnTo>
                      <a:pt x="1771" y="1281"/>
                    </a:lnTo>
                    <a:lnTo>
                      <a:pt x="1761" y="1281"/>
                    </a:lnTo>
                    <a:lnTo>
                      <a:pt x="1756" y="1281"/>
                    </a:lnTo>
                    <a:lnTo>
                      <a:pt x="1751" y="1280"/>
                    </a:lnTo>
                    <a:lnTo>
                      <a:pt x="1747" y="1279"/>
                    </a:lnTo>
                    <a:lnTo>
                      <a:pt x="1742" y="1277"/>
                    </a:lnTo>
                    <a:lnTo>
                      <a:pt x="1734" y="1272"/>
                    </a:lnTo>
                    <a:lnTo>
                      <a:pt x="1727" y="1264"/>
                    </a:lnTo>
                    <a:lnTo>
                      <a:pt x="1722" y="1256"/>
                    </a:lnTo>
                    <a:lnTo>
                      <a:pt x="1717" y="1247"/>
                    </a:lnTo>
                    <a:lnTo>
                      <a:pt x="1715" y="1237"/>
                    </a:lnTo>
                    <a:lnTo>
                      <a:pt x="1714" y="1226"/>
                    </a:lnTo>
                    <a:lnTo>
                      <a:pt x="1681" y="1226"/>
                    </a:lnTo>
                    <a:lnTo>
                      <a:pt x="1682" y="1231"/>
                    </a:lnTo>
                    <a:lnTo>
                      <a:pt x="1684" y="1239"/>
                    </a:lnTo>
                    <a:lnTo>
                      <a:pt x="1686" y="1247"/>
                    </a:lnTo>
                    <a:lnTo>
                      <a:pt x="1688" y="1256"/>
                    </a:lnTo>
                    <a:lnTo>
                      <a:pt x="259" y="1256"/>
                    </a:lnTo>
                    <a:lnTo>
                      <a:pt x="263" y="1245"/>
                    </a:lnTo>
                    <a:lnTo>
                      <a:pt x="265" y="1239"/>
                    </a:lnTo>
                    <a:lnTo>
                      <a:pt x="265" y="1237"/>
                    </a:lnTo>
                    <a:lnTo>
                      <a:pt x="263" y="1236"/>
                    </a:lnTo>
                    <a:lnTo>
                      <a:pt x="261" y="1235"/>
                    </a:lnTo>
                    <a:lnTo>
                      <a:pt x="258" y="1233"/>
                    </a:lnTo>
                    <a:lnTo>
                      <a:pt x="256" y="1229"/>
                    </a:lnTo>
                    <a:lnTo>
                      <a:pt x="252" y="1220"/>
                    </a:lnTo>
                    <a:lnTo>
                      <a:pt x="247" y="1214"/>
                    </a:lnTo>
                    <a:lnTo>
                      <a:pt x="240" y="1207"/>
                    </a:lnTo>
                    <a:lnTo>
                      <a:pt x="235" y="1200"/>
                    </a:lnTo>
                    <a:lnTo>
                      <a:pt x="233" y="1195"/>
                    </a:lnTo>
                    <a:lnTo>
                      <a:pt x="226" y="1194"/>
                    </a:lnTo>
                    <a:lnTo>
                      <a:pt x="217" y="1190"/>
                    </a:lnTo>
                    <a:lnTo>
                      <a:pt x="213" y="1188"/>
                    </a:lnTo>
                    <a:lnTo>
                      <a:pt x="210" y="1184"/>
                    </a:lnTo>
                    <a:lnTo>
                      <a:pt x="206" y="1181"/>
                    </a:lnTo>
                    <a:lnTo>
                      <a:pt x="206" y="1176"/>
                    </a:lnTo>
                    <a:lnTo>
                      <a:pt x="195" y="1173"/>
                    </a:lnTo>
                    <a:lnTo>
                      <a:pt x="182" y="1168"/>
                    </a:lnTo>
                    <a:lnTo>
                      <a:pt x="169" y="1161"/>
                    </a:lnTo>
                    <a:lnTo>
                      <a:pt x="156" y="1153"/>
                    </a:lnTo>
                    <a:lnTo>
                      <a:pt x="145" y="1145"/>
                    </a:lnTo>
                    <a:lnTo>
                      <a:pt x="135" y="1136"/>
                    </a:lnTo>
                    <a:lnTo>
                      <a:pt x="132" y="1132"/>
                    </a:lnTo>
                    <a:lnTo>
                      <a:pt x="128" y="1128"/>
                    </a:lnTo>
                    <a:lnTo>
                      <a:pt x="127" y="1125"/>
                    </a:lnTo>
                    <a:lnTo>
                      <a:pt x="126" y="1121"/>
                    </a:lnTo>
                    <a:lnTo>
                      <a:pt x="127" y="1116"/>
                    </a:lnTo>
                    <a:lnTo>
                      <a:pt x="128" y="1111"/>
                    </a:lnTo>
                    <a:lnTo>
                      <a:pt x="132" y="1106"/>
                    </a:lnTo>
                    <a:lnTo>
                      <a:pt x="136" y="1102"/>
                    </a:lnTo>
                    <a:lnTo>
                      <a:pt x="146" y="1094"/>
                    </a:lnTo>
                    <a:lnTo>
                      <a:pt x="157" y="1088"/>
                    </a:lnTo>
                    <a:lnTo>
                      <a:pt x="169" y="1083"/>
                    </a:lnTo>
                    <a:lnTo>
                      <a:pt x="180" y="1077"/>
                    </a:lnTo>
                    <a:lnTo>
                      <a:pt x="184" y="1075"/>
                    </a:lnTo>
                    <a:lnTo>
                      <a:pt x="188" y="1072"/>
                    </a:lnTo>
                    <a:lnTo>
                      <a:pt x="191" y="1069"/>
                    </a:lnTo>
                    <a:lnTo>
                      <a:pt x="193" y="1066"/>
                    </a:lnTo>
                    <a:lnTo>
                      <a:pt x="183" y="1065"/>
                    </a:lnTo>
                    <a:lnTo>
                      <a:pt x="170" y="1064"/>
                    </a:lnTo>
                    <a:lnTo>
                      <a:pt x="164" y="1063"/>
                    </a:lnTo>
                    <a:lnTo>
                      <a:pt x="158" y="1060"/>
                    </a:lnTo>
                    <a:lnTo>
                      <a:pt x="156" y="1059"/>
                    </a:lnTo>
                    <a:lnTo>
                      <a:pt x="155" y="1057"/>
                    </a:lnTo>
                    <a:lnTo>
                      <a:pt x="154" y="1056"/>
                    </a:lnTo>
                    <a:lnTo>
                      <a:pt x="153" y="1053"/>
                    </a:lnTo>
                    <a:lnTo>
                      <a:pt x="151" y="1040"/>
                    </a:lnTo>
                    <a:lnTo>
                      <a:pt x="148" y="1029"/>
                    </a:lnTo>
                    <a:lnTo>
                      <a:pt x="147" y="1024"/>
                    </a:lnTo>
                    <a:lnTo>
                      <a:pt x="147" y="1019"/>
                    </a:lnTo>
                    <a:lnTo>
                      <a:pt x="149" y="1015"/>
                    </a:lnTo>
                    <a:lnTo>
                      <a:pt x="153" y="1010"/>
                    </a:lnTo>
                    <a:lnTo>
                      <a:pt x="126" y="1010"/>
                    </a:lnTo>
                    <a:lnTo>
                      <a:pt x="133" y="992"/>
                    </a:lnTo>
                    <a:lnTo>
                      <a:pt x="120" y="989"/>
                    </a:lnTo>
                    <a:lnTo>
                      <a:pt x="106" y="985"/>
                    </a:lnTo>
                    <a:lnTo>
                      <a:pt x="108" y="979"/>
                    </a:lnTo>
                    <a:lnTo>
                      <a:pt x="110" y="973"/>
                    </a:lnTo>
                    <a:lnTo>
                      <a:pt x="112" y="969"/>
                    </a:lnTo>
                    <a:lnTo>
                      <a:pt x="114" y="965"/>
                    </a:lnTo>
                    <a:lnTo>
                      <a:pt x="121" y="958"/>
                    </a:lnTo>
                    <a:lnTo>
                      <a:pt x="127" y="954"/>
                    </a:lnTo>
                    <a:lnTo>
                      <a:pt x="134" y="950"/>
                    </a:lnTo>
                    <a:lnTo>
                      <a:pt x="140" y="947"/>
                    </a:lnTo>
                    <a:lnTo>
                      <a:pt x="147" y="942"/>
                    </a:lnTo>
                    <a:lnTo>
                      <a:pt x="153" y="936"/>
                    </a:lnTo>
                    <a:lnTo>
                      <a:pt x="149" y="932"/>
                    </a:lnTo>
                    <a:lnTo>
                      <a:pt x="148" y="929"/>
                    </a:lnTo>
                    <a:lnTo>
                      <a:pt x="147" y="927"/>
                    </a:lnTo>
                    <a:lnTo>
                      <a:pt x="147" y="925"/>
                    </a:lnTo>
                    <a:lnTo>
                      <a:pt x="148" y="923"/>
                    </a:lnTo>
                    <a:lnTo>
                      <a:pt x="149" y="921"/>
                    </a:lnTo>
                    <a:lnTo>
                      <a:pt x="151" y="919"/>
                    </a:lnTo>
                    <a:lnTo>
                      <a:pt x="155" y="917"/>
                    </a:lnTo>
                    <a:lnTo>
                      <a:pt x="161" y="914"/>
                    </a:lnTo>
                    <a:lnTo>
                      <a:pt x="170" y="910"/>
                    </a:lnTo>
                    <a:lnTo>
                      <a:pt x="178" y="905"/>
                    </a:lnTo>
                    <a:lnTo>
                      <a:pt x="187" y="899"/>
                    </a:lnTo>
                    <a:lnTo>
                      <a:pt x="191" y="901"/>
                    </a:lnTo>
                    <a:lnTo>
                      <a:pt x="196" y="902"/>
                    </a:lnTo>
                    <a:lnTo>
                      <a:pt x="203" y="901"/>
                    </a:lnTo>
                    <a:lnTo>
                      <a:pt x="209" y="900"/>
                    </a:lnTo>
                    <a:lnTo>
                      <a:pt x="215" y="898"/>
                    </a:lnTo>
                    <a:lnTo>
                      <a:pt x="221" y="896"/>
                    </a:lnTo>
                    <a:lnTo>
                      <a:pt x="227" y="893"/>
                    </a:lnTo>
                    <a:lnTo>
                      <a:pt x="233" y="889"/>
                    </a:lnTo>
                    <a:lnTo>
                      <a:pt x="243" y="881"/>
                    </a:lnTo>
                    <a:lnTo>
                      <a:pt x="251" y="872"/>
                    </a:lnTo>
                    <a:lnTo>
                      <a:pt x="255" y="868"/>
                    </a:lnTo>
                    <a:lnTo>
                      <a:pt x="257" y="863"/>
                    </a:lnTo>
                    <a:lnTo>
                      <a:pt x="259" y="859"/>
                    </a:lnTo>
                    <a:lnTo>
                      <a:pt x="259" y="856"/>
                    </a:lnTo>
                    <a:lnTo>
                      <a:pt x="259" y="851"/>
                    </a:lnTo>
                    <a:lnTo>
                      <a:pt x="258" y="847"/>
                    </a:lnTo>
                    <a:lnTo>
                      <a:pt x="256" y="843"/>
                    </a:lnTo>
                    <a:lnTo>
                      <a:pt x="254" y="840"/>
                    </a:lnTo>
                    <a:lnTo>
                      <a:pt x="248" y="832"/>
                    </a:lnTo>
                    <a:lnTo>
                      <a:pt x="243" y="826"/>
                    </a:lnTo>
                    <a:lnTo>
                      <a:pt x="236" y="818"/>
                    </a:lnTo>
                    <a:lnTo>
                      <a:pt x="232" y="811"/>
                    </a:lnTo>
                    <a:lnTo>
                      <a:pt x="229" y="807"/>
                    </a:lnTo>
                    <a:lnTo>
                      <a:pt x="227" y="803"/>
                    </a:lnTo>
                    <a:lnTo>
                      <a:pt x="226" y="799"/>
                    </a:lnTo>
                    <a:lnTo>
                      <a:pt x="226" y="794"/>
                    </a:lnTo>
                    <a:lnTo>
                      <a:pt x="226" y="789"/>
                    </a:lnTo>
                    <a:lnTo>
                      <a:pt x="227" y="784"/>
                    </a:lnTo>
                    <a:lnTo>
                      <a:pt x="228" y="780"/>
                    </a:lnTo>
                    <a:lnTo>
                      <a:pt x="231" y="776"/>
                    </a:lnTo>
                    <a:lnTo>
                      <a:pt x="234" y="770"/>
                    </a:lnTo>
                    <a:lnTo>
                      <a:pt x="239" y="763"/>
                    </a:lnTo>
                    <a:lnTo>
                      <a:pt x="244" y="757"/>
                    </a:lnTo>
                    <a:lnTo>
                      <a:pt x="248" y="751"/>
                    </a:lnTo>
                    <a:lnTo>
                      <a:pt x="250" y="747"/>
                    </a:lnTo>
                    <a:lnTo>
                      <a:pt x="251" y="743"/>
                    </a:lnTo>
                    <a:lnTo>
                      <a:pt x="252" y="738"/>
                    </a:lnTo>
                    <a:lnTo>
                      <a:pt x="252" y="733"/>
                    </a:lnTo>
                    <a:lnTo>
                      <a:pt x="252" y="724"/>
                    </a:lnTo>
                    <a:lnTo>
                      <a:pt x="251" y="716"/>
                    </a:lnTo>
                    <a:lnTo>
                      <a:pt x="249" y="707"/>
                    </a:lnTo>
                    <a:lnTo>
                      <a:pt x="247" y="700"/>
                    </a:lnTo>
                    <a:lnTo>
                      <a:pt x="242" y="686"/>
                    </a:lnTo>
                    <a:lnTo>
                      <a:pt x="234" y="674"/>
                    </a:lnTo>
                    <a:lnTo>
                      <a:pt x="218" y="653"/>
                    </a:lnTo>
                    <a:lnTo>
                      <a:pt x="206" y="634"/>
                    </a:lnTo>
                    <a:lnTo>
                      <a:pt x="200" y="634"/>
                    </a:lnTo>
                    <a:lnTo>
                      <a:pt x="194" y="635"/>
                    </a:lnTo>
                    <a:lnTo>
                      <a:pt x="190" y="637"/>
                    </a:lnTo>
                    <a:lnTo>
                      <a:pt x="186" y="639"/>
                    </a:lnTo>
                    <a:lnTo>
                      <a:pt x="177" y="644"/>
                    </a:lnTo>
                    <a:lnTo>
                      <a:pt x="168" y="649"/>
                    </a:lnTo>
                    <a:lnTo>
                      <a:pt x="159" y="656"/>
                    </a:lnTo>
                    <a:lnTo>
                      <a:pt x="148" y="661"/>
                    </a:lnTo>
                    <a:lnTo>
                      <a:pt x="142" y="662"/>
                    </a:lnTo>
                    <a:lnTo>
                      <a:pt x="135" y="664"/>
                    </a:lnTo>
                    <a:lnTo>
                      <a:pt x="128" y="665"/>
                    </a:lnTo>
                    <a:lnTo>
                      <a:pt x="120" y="665"/>
                    </a:lnTo>
                    <a:lnTo>
                      <a:pt x="113" y="663"/>
                    </a:lnTo>
                    <a:lnTo>
                      <a:pt x="104" y="658"/>
                    </a:lnTo>
                    <a:lnTo>
                      <a:pt x="100" y="656"/>
                    </a:lnTo>
                    <a:lnTo>
                      <a:pt x="97" y="652"/>
                    </a:lnTo>
                    <a:lnTo>
                      <a:pt x="94" y="649"/>
                    </a:lnTo>
                    <a:lnTo>
                      <a:pt x="93" y="646"/>
                    </a:lnTo>
                    <a:lnTo>
                      <a:pt x="93" y="640"/>
                    </a:lnTo>
                    <a:lnTo>
                      <a:pt x="95" y="633"/>
                    </a:lnTo>
                    <a:lnTo>
                      <a:pt x="98" y="628"/>
                    </a:lnTo>
                    <a:lnTo>
                      <a:pt x="100" y="622"/>
                    </a:lnTo>
                    <a:lnTo>
                      <a:pt x="102" y="616"/>
                    </a:lnTo>
                    <a:lnTo>
                      <a:pt x="104" y="610"/>
                    </a:lnTo>
                    <a:lnTo>
                      <a:pt x="105" y="604"/>
                    </a:lnTo>
                    <a:lnTo>
                      <a:pt x="106" y="597"/>
                    </a:lnTo>
                    <a:lnTo>
                      <a:pt x="86" y="597"/>
                    </a:lnTo>
                    <a:lnTo>
                      <a:pt x="64" y="597"/>
                    </a:lnTo>
                    <a:lnTo>
                      <a:pt x="35" y="597"/>
                    </a:lnTo>
                    <a:lnTo>
                      <a:pt x="0" y="597"/>
                    </a:lnTo>
                    <a:lnTo>
                      <a:pt x="585" y="117"/>
                    </a:lnTo>
                    <a:lnTo>
                      <a:pt x="594" y="116"/>
                    </a:lnTo>
                    <a:lnTo>
                      <a:pt x="602" y="114"/>
                    </a:lnTo>
                    <a:lnTo>
                      <a:pt x="612" y="112"/>
                    </a:lnTo>
                    <a:lnTo>
                      <a:pt x="625" y="111"/>
                    </a:lnTo>
                    <a:lnTo>
                      <a:pt x="635" y="111"/>
                    </a:lnTo>
                    <a:lnTo>
                      <a:pt x="643" y="113"/>
                    </a:lnTo>
                    <a:lnTo>
                      <a:pt x="651" y="116"/>
                    </a:lnTo>
                    <a:lnTo>
                      <a:pt x="659" y="119"/>
                    </a:lnTo>
                    <a:lnTo>
                      <a:pt x="674" y="128"/>
                    </a:lnTo>
                    <a:lnTo>
                      <a:pt x="687" y="138"/>
                    </a:lnTo>
                    <a:lnTo>
                      <a:pt x="702" y="148"/>
                    </a:lnTo>
                    <a:lnTo>
                      <a:pt x="716" y="158"/>
                    </a:lnTo>
                    <a:lnTo>
                      <a:pt x="724" y="161"/>
                    </a:lnTo>
                    <a:lnTo>
                      <a:pt x="732" y="164"/>
                    </a:lnTo>
                    <a:lnTo>
                      <a:pt x="741" y="166"/>
                    </a:lnTo>
                    <a:lnTo>
                      <a:pt x="751" y="166"/>
                    </a:lnTo>
                    <a:lnTo>
                      <a:pt x="943" y="111"/>
                    </a:lnTo>
                    <a:lnTo>
                      <a:pt x="1096" y="111"/>
                    </a:lnTo>
                    <a:lnTo>
                      <a:pt x="1103" y="112"/>
                    </a:lnTo>
                    <a:lnTo>
                      <a:pt x="1110" y="113"/>
                    </a:lnTo>
                    <a:lnTo>
                      <a:pt x="1117" y="113"/>
                    </a:lnTo>
                    <a:lnTo>
                      <a:pt x="1123" y="113"/>
                    </a:lnTo>
                    <a:lnTo>
                      <a:pt x="1135" y="110"/>
                    </a:lnTo>
                    <a:lnTo>
                      <a:pt x="1146" y="105"/>
                    </a:lnTo>
                    <a:lnTo>
                      <a:pt x="1157" y="100"/>
                    </a:lnTo>
                    <a:lnTo>
                      <a:pt x="1169" y="93"/>
                    </a:lnTo>
                    <a:lnTo>
                      <a:pt x="1181" y="89"/>
                    </a:lnTo>
                    <a:lnTo>
                      <a:pt x="1196" y="85"/>
                    </a:lnTo>
                    <a:lnTo>
                      <a:pt x="1195" y="90"/>
                    </a:lnTo>
                    <a:lnTo>
                      <a:pt x="1195" y="94"/>
                    </a:lnTo>
                    <a:lnTo>
                      <a:pt x="1195" y="100"/>
                    </a:lnTo>
                    <a:lnTo>
                      <a:pt x="1196" y="104"/>
                    </a:lnTo>
                    <a:lnTo>
                      <a:pt x="1198" y="112"/>
                    </a:lnTo>
                    <a:lnTo>
                      <a:pt x="1202" y="120"/>
                    </a:lnTo>
                    <a:lnTo>
                      <a:pt x="1208" y="126"/>
                    </a:lnTo>
                    <a:lnTo>
                      <a:pt x="1214" y="131"/>
                    </a:lnTo>
                    <a:lnTo>
                      <a:pt x="1218" y="132"/>
                    </a:lnTo>
                    <a:lnTo>
                      <a:pt x="1222" y="134"/>
                    </a:lnTo>
                    <a:lnTo>
                      <a:pt x="1225" y="135"/>
                    </a:lnTo>
                    <a:lnTo>
                      <a:pt x="1230" y="135"/>
                    </a:lnTo>
                    <a:lnTo>
                      <a:pt x="1238" y="134"/>
                    </a:lnTo>
                    <a:lnTo>
                      <a:pt x="1247" y="133"/>
                    </a:lnTo>
                    <a:lnTo>
                      <a:pt x="1255" y="131"/>
                    </a:lnTo>
                    <a:lnTo>
                      <a:pt x="1263" y="128"/>
                    </a:lnTo>
                    <a:lnTo>
                      <a:pt x="1278" y="122"/>
                    </a:lnTo>
                    <a:lnTo>
                      <a:pt x="1296" y="117"/>
                    </a:lnTo>
                    <a:lnTo>
                      <a:pt x="1298" y="119"/>
                    </a:lnTo>
                    <a:lnTo>
                      <a:pt x="1300" y="120"/>
                    </a:lnTo>
                    <a:lnTo>
                      <a:pt x="1303" y="122"/>
                    </a:lnTo>
                    <a:lnTo>
                      <a:pt x="1308" y="123"/>
                    </a:lnTo>
                    <a:lnTo>
                      <a:pt x="1319" y="124"/>
                    </a:lnTo>
                    <a:lnTo>
                      <a:pt x="1331" y="124"/>
                    </a:lnTo>
                    <a:lnTo>
                      <a:pt x="1343" y="123"/>
                    </a:lnTo>
                    <a:lnTo>
                      <a:pt x="1355" y="121"/>
                    </a:lnTo>
                    <a:lnTo>
                      <a:pt x="1367" y="119"/>
                    </a:lnTo>
                    <a:lnTo>
                      <a:pt x="1376" y="117"/>
                    </a:lnTo>
                    <a:lnTo>
                      <a:pt x="1386" y="116"/>
                    </a:lnTo>
                    <a:lnTo>
                      <a:pt x="1397" y="114"/>
                    </a:lnTo>
                    <a:lnTo>
                      <a:pt x="1405" y="112"/>
                    </a:lnTo>
                    <a:lnTo>
                      <a:pt x="1409" y="111"/>
                    </a:lnTo>
                    <a:lnTo>
                      <a:pt x="1424" y="112"/>
                    </a:lnTo>
                    <a:lnTo>
                      <a:pt x="1450" y="117"/>
                    </a:lnTo>
                    <a:lnTo>
                      <a:pt x="1483" y="123"/>
                    </a:lnTo>
                    <a:lnTo>
                      <a:pt x="1520" y="131"/>
                    </a:lnTo>
                    <a:lnTo>
                      <a:pt x="1557" y="140"/>
                    </a:lnTo>
                    <a:lnTo>
                      <a:pt x="1592" y="149"/>
                    </a:lnTo>
                    <a:lnTo>
                      <a:pt x="1621" y="159"/>
                    </a:lnTo>
                    <a:lnTo>
                      <a:pt x="1641" y="166"/>
                    </a:lnTo>
                    <a:lnTo>
                      <a:pt x="1632" y="174"/>
                    </a:lnTo>
                    <a:lnTo>
                      <a:pt x="1623" y="179"/>
                    </a:lnTo>
                    <a:lnTo>
                      <a:pt x="1615" y="183"/>
                    </a:lnTo>
                    <a:lnTo>
                      <a:pt x="1607" y="187"/>
                    </a:lnTo>
                    <a:lnTo>
                      <a:pt x="1601" y="189"/>
                    </a:lnTo>
                    <a:lnTo>
                      <a:pt x="1592" y="193"/>
                    </a:lnTo>
                    <a:lnTo>
                      <a:pt x="1584" y="197"/>
                    </a:lnTo>
                    <a:lnTo>
                      <a:pt x="1574" y="202"/>
                    </a:lnTo>
                    <a:lnTo>
                      <a:pt x="1591" y="209"/>
                    </a:lnTo>
                    <a:lnTo>
                      <a:pt x="1606" y="215"/>
                    </a:lnTo>
                    <a:lnTo>
                      <a:pt x="1621" y="219"/>
                    </a:lnTo>
                    <a:lnTo>
                      <a:pt x="1635" y="222"/>
                    </a:lnTo>
                    <a:lnTo>
                      <a:pt x="1648" y="225"/>
                    </a:lnTo>
                    <a:lnTo>
                      <a:pt x="1662" y="226"/>
                    </a:lnTo>
                    <a:lnTo>
                      <a:pt x="1678" y="227"/>
                    </a:lnTo>
                    <a:lnTo>
                      <a:pt x="1694" y="228"/>
                    </a:lnTo>
                    <a:lnTo>
                      <a:pt x="1711" y="227"/>
                    </a:lnTo>
                    <a:lnTo>
                      <a:pt x="1725" y="224"/>
                    </a:lnTo>
                    <a:lnTo>
                      <a:pt x="1737" y="220"/>
                    </a:lnTo>
                    <a:lnTo>
                      <a:pt x="1749" y="216"/>
                    </a:lnTo>
                    <a:lnTo>
                      <a:pt x="1760" y="211"/>
                    </a:lnTo>
                    <a:lnTo>
                      <a:pt x="1771" y="206"/>
                    </a:lnTo>
                    <a:lnTo>
                      <a:pt x="1782" y="203"/>
                    </a:lnTo>
                    <a:lnTo>
                      <a:pt x="1794" y="202"/>
                    </a:lnTo>
                    <a:lnTo>
                      <a:pt x="1800" y="203"/>
                    </a:lnTo>
                    <a:lnTo>
                      <a:pt x="1805" y="204"/>
                    </a:lnTo>
                    <a:lnTo>
                      <a:pt x="1811" y="206"/>
                    </a:lnTo>
                    <a:lnTo>
                      <a:pt x="1816" y="209"/>
                    </a:lnTo>
                    <a:lnTo>
                      <a:pt x="1825" y="217"/>
                    </a:lnTo>
                    <a:lnTo>
                      <a:pt x="1833" y="225"/>
                    </a:lnTo>
                    <a:lnTo>
                      <a:pt x="1841" y="232"/>
                    </a:lnTo>
                    <a:lnTo>
                      <a:pt x="1849" y="239"/>
                    </a:lnTo>
                    <a:lnTo>
                      <a:pt x="1853" y="242"/>
                    </a:lnTo>
                    <a:lnTo>
                      <a:pt x="1858" y="244"/>
                    </a:lnTo>
                    <a:lnTo>
                      <a:pt x="1862" y="245"/>
                    </a:lnTo>
                    <a:lnTo>
                      <a:pt x="1867" y="246"/>
                    </a:lnTo>
                    <a:lnTo>
                      <a:pt x="1880" y="202"/>
                    </a:lnTo>
                    <a:lnTo>
                      <a:pt x="2006" y="178"/>
                    </a:lnTo>
                    <a:lnTo>
                      <a:pt x="2016" y="179"/>
                    </a:lnTo>
                    <a:lnTo>
                      <a:pt x="2026" y="180"/>
                    </a:lnTo>
                    <a:lnTo>
                      <a:pt x="2035" y="181"/>
                    </a:lnTo>
                    <a:lnTo>
                      <a:pt x="2043" y="183"/>
                    </a:lnTo>
                    <a:lnTo>
                      <a:pt x="2060" y="188"/>
                    </a:lnTo>
                    <a:lnTo>
                      <a:pt x="2076" y="193"/>
                    </a:lnTo>
                    <a:lnTo>
                      <a:pt x="2093" y="199"/>
                    </a:lnTo>
                    <a:lnTo>
                      <a:pt x="2109" y="204"/>
                    </a:lnTo>
                    <a:lnTo>
                      <a:pt x="2118" y="206"/>
                    </a:lnTo>
                    <a:lnTo>
                      <a:pt x="2127" y="207"/>
                    </a:lnTo>
                    <a:lnTo>
                      <a:pt x="2137" y="208"/>
                    </a:lnTo>
                    <a:lnTo>
                      <a:pt x="2147" y="208"/>
                    </a:lnTo>
                    <a:lnTo>
                      <a:pt x="2162" y="208"/>
                    </a:lnTo>
                    <a:lnTo>
                      <a:pt x="2173" y="207"/>
                    </a:lnTo>
                    <a:lnTo>
                      <a:pt x="2183" y="205"/>
                    </a:lnTo>
                    <a:lnTo>
                      <a:pt x="2190" y="202"/>
                    </a:lnTo>
                    <a:lnTo>
                      <a:pt x="2198" y="200"/>
                    </a:lnTo>
                    <a:lnTo>
                      <a:pt x="2206" y="198"/>
                    </a:lnTo>
                    <a:lnTo>
                      <a:pt x="2215" y="197"/>
                    </a:lnTo>
                    <a:lnTo>
                      <a:pt x="2226" y="196"/>
                    </a:lnTo>
                    <a:lnTo>
                      <a:pt x="2235" y="197"/>
                    </a:lnTo>
                    <a:lnTo>
                      <a:pt x="2244" y="199"/>
                    </a:lnTo>
                    <a:lnTo>
                      <a:pt x="2253" y="202"/>
                    </a:lnTo>
                    <a:lnTo>
                      <a:pt x="2261" y="205"/>
                    </a:lnTo>
                    <a:lnTo>
                      <a:pt x="2267" y="209"/>
                    </a:lnTo>
                    <a:lnTo>
                      <a:pt x="2274" y="213"/>
                    </a:lnTo>
                    <a:lnTo>
                      <a:pt x="2280" y="215"/>
                    </a:lnTo>
                    <a:lnTo>
                      <a:pt x="2286" y="216"/>
                    </a:lnTo>
                    <a:lnTo>
                      <a:pt x="2290" y="215"/>
                    </a:lnTo>
                    <a:lnTo>
                      <a:pt x="2296" y="213"/>
                    </a:lnTo>
                    <a:lnTo>
                      <a:pt x="2300" y="211"/>
                    </a:lnTo>
                    <a:lnTo>
                      <a:pt x="2305" y="206"/>
                    </a:lnTo>
                    <a:lnTo>
                      <a:pt x="2309" y="202"/>
                    </a:lnTo>
                    <a:lnTo>
                      <a:pt x="2312" y="197"/>
                    </a:lnTo>
                    <a:lnTo>
                      <a:pt x="2316" y="191"/>
                    </a:lnTo>
                    <a:lnTo>
                      <a:pt x="2319" y="184"/>
                    </a:lnTo>
                    <a:lnTo>
                      <a:pt x="2326" y="183"/>
                    </a:lnTo>
                    <a:lnTo>
                      <a:pt x="2334" y="180"/>
                    </a:lnTo>
                    <a:lnTo>
                      <a:pt x="2339" y="179"/>
                    </a:lnTo>
                    <a:lnTo>
                      <a:pt x="2342" y="177"/>
                    </a:lnTo>
                    <a:lnTo>
                      <a:pt x="2344" y="174"/>
                    </a:lnTo>
                    <a:lnTo>
                      <a:pt x="2345" y="172"/>
                    </a:lnTo>
                    <a:lnTo>
                      <a:pt x="2378" y="172"/>
                    </a:lnTo>
                    <a:lnTo>
                      <a:pt x="2376" y="178"/>
                    </a:lnTo>
                    <a:lnTo>
                      <a:pt x="2372" y="185"/>
                    </a:lnTo>
                    <a:lnTo>
                      <a:pt x="2369" y="189"/>
                    </a:lnTo>
                    <a:lnTo>
                      <a:pt x="2367" y="193"/>
                    </a:lnTo>
                    <a:lnTo>
                      <a:pt x="2366" y="198"/>
                    </a:lnTo>
                    <a:lnTo>
                      <a:pt x="2365" y="202"/>
                    </a:lnTo>
                    <a:lnTo>
                      <a:pt x="2365" y="216"/>
                    </a:lnTo>
                    <a:lnTo>
                      <a:pt x="2365" y="228"/>
                    </a:lnTo>
                    <a:lnTo>
                      <a:pt x="2405" y="228"/>
                    </a:lnTo>
                    <a:lnTo>
                      <a:pt x="2401" y="213"/>
                    </a:lnTo>
                    <a:lnTo>
                      <a:pt x="2400" y="203"/>
                    </a:lnTo>
                    <a:lnTo>
                      <a:pt x="2401" y="195"/>
                    </a:lnTo>
                    <a:lnTo>
                      <a:pt x="2405" y="184"/>
                    </a:lnTo>
                    <a:lnTo>
                      <a:pt x="2430" y="184"/>
                    </a:lnTo>
                    <a:lnTo>
                      <a:pt x="2454" y="182"/>
                    </a:lnTo>
                    <a:lnTo>
                      <a:pt x="2465" y="180"/>
                    </a:lnTo>
                    <a:lnTo>
                      <a:pt x="2476" y="178"/>
                    </a:lnTo>
                    <a:lnTo>
                      <a:pt x="2487" y="175"/>
                    </a:lnTo>
                    <a:lnTo>
                      <a:pt x="2497" y="172"/>
                    </a:lnTo>
                    <a:lnTo>
                      <a:pt x="2506" y="168"/>
                    </a:lnTo>
                    <a:lnTo>
                      <a:pt x="2513" y="164"/>
                    </a:lnTo>
                    <a:lnTo>
                      <a:pt x="2521" y="159"/>
                    </a:lnTo>
                    <a:lnTo>
                      <a:pt x="2526" y="153"/>
                    </a:lnTo>
                    <a:lnTo>
                      <a:pt x="2532" y="146"/>
                    </a:lnTo>
                    <a:lnTo>
                      <a:pt x="2535" y="139"/>
                    </a:lnTo>
                    <a:lnTo>
                      <a:pt x="2537" y="131"/>
                    </a:lnTo>
                    <a:lnTo>
                      <a:pt x="2539" y="123"/>
                    </a:lnTo>
                    <a:lnTo>
                      <a:pt x="2532" y="123"/>
                    </a:lnTo>
                    <a:lnTo>
                      <a:pt x="2518" y="123"/>
                    </a:lnTo>
                    <a:lnTo>
                      <a:pt x="2501" y="123"/>
                    </a:lnTo>
                    <a:lnTo>
                      <a:pt x="2491" y="123"/>
                    </a:lnTo>
                    <a:lnTo>
                      <a:pt x="2487" y="120"/>
                    </a:lnTo>
                    <a:lnTo>
                      <a:pt x="2483" y="115"/>
                    </a:lnTo>
                    <a:lnTo>
                      <a:pt x="2479" y="110"/>
                    </a:lnTo>
                    <a:lnTo>
                      <a:pt x="2477" y="105"/>
                    </a:lnTo>
                    <a:lnTo>
                      <a:pt x="2473" y="93"/>
                    </a:lnTo>
                    <a:lnTo>
                      <a:pt x="2472" y="85"/>
                    </a:lnTo>
                    <a:lnTo>
                      <a:pt x="2473" y="81"/>
                    </a:lnTo>
                    <a:lnTo>
                      <a:pt x="2476" y="75"/>
                    </a:lnTo>
                    <a:lnTo>
                      <a:pt x="2480" y="69"/>
                    </a:lnTo>
                    <a:lnTo>
                      <a:pt x="2487" y="62"/>
                    </a:lnTo>
                    <a:lnTo>
                      <a:pt x="2495" y="55"/>
                    </a:lnTo>
                    <a:lnTo>
                      <a:pt x="2503" y="48"/>
                    </a:lnTo>
                    <a:lnTo>
                      <a:pt x="2512" y="40"/>
                    </a:lnTo>
                    <a:lnTo>
                      <a:pt x="2523" y="33"/>
                    </a:lnTo>
                    <a:lnTo>
                      <a:pt x="2534" y="26"/>
                    </a:lnTo>
                    <a:lnTo>
                      <a:pt x="2545" y="20"/>
                    </a:lnTo>
                    <a:lnTo>
                      <a:pt x="2556" y="15"/>
                    </a:lnTo>
                    <a:lnTo>
                      <a:pt x="2567" y="10"/>
                    </a:lnTo>
                    <a:lnTo>
                      <a:pt x="2577" y="6"/>
                    </a:lnTo>
                    <a:lnTo>
                      <a:pt x="2587" y="2"/>
                    </a:lnTo>
                    <a:lnTo>
                      <a:pt x="2597" y="0"/>
                    </a:lnTo>
                    <a:lnTo>
                      <a:pt x="2604" y="0"/>
                    </a:lnTo>
                    <a:lnTo>
                      <a:pt x="2611" y="0"/>
                    </a:lnTo>
                    <a:lnTo>
                      <a:pt x="2621" y="0"/>
                    </a:lnTo>
                    <a:lnTo>
                      <a:pt x="2631" y="0"/>
                    </a:lnTo>
                    <a:lnTo>
                      <a:pt x="2637" y="0"/>
                    </a:lnTo>
                    <a:lnTo>
                      <a:pt x="2638" y="8"/>
                    </a:lnTo>
                    <a:lnTo>
                      <a:pt x="2638" y="16"/>
                    </a:lnTo>
                    <a:lnTo>
                      <a:pt x="2640" y="24"/>
                    </a:lnTo>
                    <a:lnTo>
                      <a:pt x="2642" y="30"/>
                    </a:lnTo>
                    <a:lnTo>
                      <a:pt x="2646" y="42"/>
                    </a:lnTo>
                    <a:lnTo>
                      <a:pt x="2651" y="53"/>
                    </a:lnTo>
                    <a:lnTo>
                      <a:pt x="2656" y="62"/>
                    </a:lnTo>
                    <a:lnTo>
                      <a:pt x="2660" y="71"/>
                    </a:lnTo>
                    <a:lnTo>
                      <a:pt x="2663" y="81"/>
                    </a:lnTo>
                    <a:lnTo>
                      <a:pt x="2664" y="91"/>
                    </a:lnTo>
                    <a:lnTo>
                      <a:pt x="2664" y="95"/>
                    </a:lnTo>
                    <a:lnTo>
                      <a:pt x="2663" y="97"/>
                    </a:lnTo>
                    <a:lnTo>
                      <a:pt x="2660" y="100"/>
                    </a:lnTo>
                    <a:lnTo>
                      <a:pt x="2658" y="101"/>
                    </a:lnTo>
                    <a:lnTo>
                      <a:pt x="2652" y="103"/>
                    </a:lnTo>
                    <a:lnTo>
                      <a:pt x="2644" y="105"/>
                    </a:lnTo>
                    <a:lnTo>
                      <a:pt x="2635" y="106"/>
                    </a:lnTo>
                    <a:lnTo>
                      <a:pt x="2627" y="108"/>
                    </a:lnTo>
                    <a:lnTo>
                      <a:pt x="2624" y="109"/>
                    </a:lnTo>
                    <a:lnTo>
                      <a:pt x="2622" y="111"/>
                    </a:lnTo>
                    <a:lnTo>
                      <a:pt x="2620" y="114"/>
                    </a:lnTo>
                    <a:lnTo>
                      <a:pt x="2618" y="117"/>
                    </a:lnTo>
                    <a:lnTo>
                      <a:pt x="2627" y="118"/>
                    </a:lnTo>
                    <a:lnTo>
                      <a:pt x="2637" y="120"/>
                    </a:lnTo>
                    <a:lnTo>
                      <a:pt x="2647" y="122"/>
                    </a:lnTo>
                    <a:lnTo>
                      <a:pt x="2657" y="123"/>
                    </a:lnTo>
                    <a:lnTo>
                      <a:pt x="2653" y="127"/>
                    </a:lnTo>
                    <a:lnTo>
                      <a:pt x="2649" y="132"/>
                    </a:lnTo>
                    <a:lnTo>
                      <a:pt x="2647" y="137"/>
                    </a:lnTo>
                    <a:lnTo>
                      <a:pt x="2646" y="142"/>
                    </a:lnTo>
                    <a:lnTo>
                      <a:pt x="2644" y="153"/>
                    </a:lnTo>
                    <a:lnTo>
                      <a:pt x="2644" y="166"/>
                    </a:lnTo>
                    <a:lnTo>
                      <a:pt x="2645" y="168"/>
                    </a:lnTo>
                    <a:lnTo>
                      <a:pt x="2646" y="169"/>
                    </a:lnTo>
                    <a:lnTo>
                      <a:pt x="2648" y="169"/>
                    </a:lnTo>
                    <a:lnTo>
                      <a:pt x="2652" y="168"/>
                    </a:lnTo>
                    <a:lnTo>
                      <a:pt x="2658" y="167"/>
                    </a:lnTo>
                    <a:lnTo>
                      <a:pt x="2664" y="166"/>
                    </a:lnTo>
                    <a:lnTo>
                      <a:pt x="2664" y="160"/>
                    </a:lnTo>
                    <a:lnTo>
                      <a:pt x="2664" y="153"/>
                    </a:lnTo>
                    <a:lnTo>
                      <a:pt x="2672" y="151"/>
                    </a:lnTo>
                    <a:lnTo>
                      <a:pt x="2680" y="148"/>
                    </a:lnTo>
                    <a:lnTo>
                      <a:pt x="2685" y="145"/>
                    </a:lnTo>
                    <a:lnTo>
                      <a:pt x="2689" y="142"/>
                    </a:lnTo>
                    <a:lnTo>
                      <a:pt x="2692" y="139"/>
                    </a:lnTo>
                    <a:lnTo>
                      <a:pt x="2696" y="137"/>
                    </a:lnTo>
                    <a:lnTo>
                      <a:pt x="2700" y="135"/>
                    </a:lnTo>
                    <a:lnTo>
                      <a:pt x="2704" y="135"/>
                    </a:lnTo>
                    <a:lnTo>
                      <a:pt x="2709" y="137"/>
                    </a:lnTo>
                    <a:lnTo>
                      <a:pt x="2715" y="138"/>
                    </a:lnTo>
                    <a:lnTo>
                      <a:pt x="2724" y="139"/>
                    </a:lnTo>
                    <a:lnTo>
                      <a:pt x="2733" y="140"/>
                    </a:lnTo>
                    <a:lnTo>
                      <a:pt x="2749" y="141"/>
                    </a:lnTo>
                    <a:lnTo>
                      <a:pt x="2757" y="141"/>
                    </a:lnTo>
                    <a:lnTo>
                      <a:pt x="2752" y="153"/>
                    </a:lnTo>
                    <a:lnTo>
                      <a:pt x="2745" y="164"/>
                    </a:lnTo>
                    <a:lnTo>
                      <a:pt x="2738" y="173"/>
                    </a:lnTo>
                    <a:lnTo>
                      <a:pt x="2731" y="180"/>
                    </a:lnTo>
                    <a:lnTo>
                      <a:pt x="2723" y="188"/>
                    </a:lnTo>
                    <a:lnTo>
                      <a:pt x="2716" y="196"/>
                    </a:lnTo>
                    <a:lnTo>
                      <a:pt x="2710" y="204"/>
                    </a:lnTo>
                    <a:lnTo>
                      <a:pt x="2704" y="216"/>
                    </a:lnTo>
                    <a:lnTo>
                      <a:pt x="2712" y="217"/>
                    </a:lnTo>
                    <a:lnTo>
                      <a:pt x="2719" y="218"/>
                    </a:lnTo>
                    <a:lnTo>
                      <a:pt x="2725" y="218"/>
                    </a:lnTo>
                    <a:lnTo>
                      <a:pt x="2732" y="218"/>
                    </a:lnTo>
                    <a:lnTo>
                      <a:pt x="2744" y="216"/>
                    </a:lnTo>
                    <a:lnTo>
                      <a:pt x="2750" y="216"/>
                    </a:lnTo>
                    <a:lnTo>
                      <a:pt x="2780" y="194"/>
                    </a:lnTo>
                    <a:lnTo>
                      <a:pt x="2810" y="172"/>
                    </a:lnTo>
                    <a:lnTo>
                      <a:pt x="2817" y="167"/>
                    </a:lnTo>
                    <a:lnTo>
                      <a:pt x="2825" y="163"/>
                    </a:lnTo>
                    <a:lnTo>
                      <a:pt x="2834" y="159"/>
                    </a:lnTo>
                    <a:lnTo>
                      <a:pt x="2843" y="155"/>
                    </a:lnTo>
                    <a:lnTo>
                      <a:pt x="2853" y="151"/>
                    </a:lnTo>
                    <a:lnTo>
                      <a:pt x="2862" y="149"/>
                    </a:lnTo>
                    <a:lnTo>
                      <a:pt x="2872" y="147"/>
                    </a:lnTo>
                    <a:lnTo>
                      <a:pt x="2883" y="147"/>
                    </a:lnTo>
                    <a:lnTo>
                      <a:pt x="2884" y="139"/>
                    </a:lnTo>
                    <a:lnTo>
                      <a:pt x="2885" y="132"/>
                    </a:lnTo>
                    <a:lnTo>
                      <a:pt x="2888" y="126"/>
                    </a:lnTo>
                    <a:lnTo>
                      <a:pt x="2891" y="121"/>
                    </a:lnTo>
                    <a:lnTo>
                      <a:pt x="2895" y="116"/>
                    </a:lnTo>
                    <a:lnTo>
                      <a:pt x="2900" y="111"/>
                    </a:lnTo>
                    <a:lnTo>
                      <a:pt x="2905" y="107"/>
                    </a:lnTo>
                    <a:lnTo>
                      <a:pt x="2912" y="104"/>
                    </a:lnTo>
                    <a:lnTo>
                      <a:pt x="2918" y="101"/>
                    </a:lnTo>
                    <a:lnTo>
                      <a:pt x="2925" y="98"/>
                    </a:lnTo>
                    <a:lnTo>
                      <a:pt x="2932" y="96"/>
                    </a:lnTo>
                    <a:lnTo>
                      <a:pt x="2939" y="94"/>
                    </a:lnTo>
                    <a:lnTo>
                      <a:pt x="2955" y="92"/>
                    </a:lnTo>
                    <a:lnTo>
                      <a:pt x="2970" y="91"/>
                    </a:lnTo>
                    <a:lnTo>
                      <a:pt x="2978" y="92"/>
                    </a:lnTo>
                    <a:lnTo>
                      <a:pt x="2984" y="93"/>
                    </a:lnTo>
                    <a:lnTo>
                      <a:pt x="2993" y="95"/>
                    </a:lnTo>
                    <a:lnTo>
                      <a:pt x="3001" y="98"/>
                    </a:lnTo>
                    <a:lnTo>
                      <a:pt x="3008" y="101"/>
                    </a:lnTo>
                    <a:lnTo>
                      <a:pt x="3017" y="103"/>
                    </a:lnTo>
                    <a:lnTo>
                      <a:pt x="3026" y="104"/>
                    </a:lnTo>
                    <a:lnTo>
                      <a:pt x="3036" y="105"/>
                    </a:lnTo>
                    <a:lnTo>
                      <a:pt x="3036" y="110"/>
                    </a:lnTo>
                    <a:lnTo>
                      <a:pt x="3036" y="117"/>
                    </a:lnTo>
                    <a:lnTo>
                      <a:pt x="3036" y="126"/>
                    </a:lnTo>
                    <a:lnTo>
                      <a:pt x="3036" y="135"/>
                    </a:lnTo>
                    <a:lnTo>
                      <a:pt x="3036" y="139"/>
                    </a:lnTo>
                    <a:lnTo>
                      <a:pt x="3035" y="143"/>
                    </a:lnTo>
                    <a:lnTo>
                      <a:pt x="3033" y="147"/>
                    </a:lnTo>
                    <a:lnTo>
                      <a:pt x="3030" y="150"/>
                    </a:lnTo>
                    <a:lnTo>
                      <a:pt x="3025" y="157"/>
                    </a:lnTo>
                    <a:lnTo>
                      <a:pt x="3018" y="162"/>
                    </a:lnTo>
                    <a:lnTo>
                      <a:pt x="3003" y="170"/>
                    </a:lnTo>
                    <a:lnTo>
                      <a:pt x="2990" y="178"/>
                    </a:lnTo>
                    <a:lnTo>
                      <a:pt x="2982" y="196"/>
                    </a:lnTo>
                    <a:lnTo>
                      <a:pt x="2973" y="214"/>
                    </a:lnTo>
                    <a:lnTo>
                      <a:pt x="2968" y="222"/>
                    </a:lnTo>
                    <a:lnTo>
                      <a:pt x="2963" y="229"/>
                    </a:lnTo>
                    <a:lnTo>
                      <a:pt x="2958" y="236"/>
                    </a:lnTo>
                    <a:lnTo>
                      <a:pt x="2951" y="243"/>
                    </a:lnTo>
                    <a:lnTo>
                      <a:pt x="2945" y="249"/>
                    </a:lnTo>
                    <a:lnTo>
                      <a:pt x="2938" y="254"/>
                    </a:lnTo>
                    <a:lnTo>
                      <a:pt x="2931" y="259"/>
                    </a:lnTo>
                    <a:lnTo>
                      <a:pt x="2923" y="263"/>
                    </a:lnTo>
                    <a:lnTo>
                      <a:pt x="2914" y="267"/>
                    </a:lnTo>
                    <a:lnTo>
                      <a:pt x="2904" y="269"/>
                    </a:lnTo>
                    <a:lnTo>
                      <a:pt x="2894" y="271"/>
                    </a:lnTo>
                    <a:lnTo>
                      <a:pt x="2883" y="271"/>
                    </a:lnTo>
                    <a:lnTo>
                      <a:pt x="2878" y="271"/>
                    </a:lnTo>
                    <a:lnTo>
                      <a:pt x="2872" y="270"/>
                    </a:lnTo>
                    <a:lnTo>
                      <a:pt x="2867" y="268"/>
                    </a:lnTo>
                    <a:lnTo>
                      <a:pt x="2861" y="266"/>
                    </a:lnTo>
                    <a:lnTo>
                      <a:pt x="2856" y="263"/>
                    </a:lnTo>
                    <a:lnTo>
                      <a:pt x="2850" y="260"/>
                    </a:lnTo>
                    <a:lnTo>
                      <a:pt x="2847" y="256"/>
                    </a:lnTo>
                    <a:lnTo>
                      <a:pt x="2844" y="252"/>
                    </a:lnTo>
                    <a:lnTo>
                      <a:pt x="2838" y="257"/>
                    </a:lnTo>
                    <a:lnTo>
                      <a:pt x="2835" y="264"/>
                    </a:lnTo>
                    <a:lnTo>
                      <a:pt x="2834" y="268"/>
                    </a:lnTo>
                    <a:lnTo>
                      <a:pt x="2834" y="272"/>
                    </a:lnTo>
                    <a:lnTo>
                      <a:pt x="2835" y="275"/>
                    </a:lnTo>
                    <a:lnTo>
                      <a:pt x="2837" y="277"/>
                    </a:lnTo>
                    <a:lnTo>
                      <a:pt x="2829" y="278"/>
                    </a:lnTo>
                    <a:lnTo>
                      <a:pt x="2823" y="279"/>
                    </a:lnTo>
                    <a:lnTo>
                      <a:pt x="2817" y="281"/>
                    </a:lnTo>
                    <a:lnTo>
                      <a:pt x="2811" y="283"/>
                    </a:lnTo>
                    <a:lnTo>
                      <a:pt x="2805" y="285"/>
                    </a:lnTo>
                    <a:lnTo>
                      <a:pt x="2801" y="287"/>
                    </a:lnTo>
                    <a:lnTo>
                      <a:pt x="2795" y="289"/>
                    </a:lnTo>
                    <a:lnTo>
                      <a:pt x="2790" y="289"/>
                    </a:lnTo>
                    <a:lnTo>
                      <a:pt x="2783" y="288"/>
                    </a:lnTo>
                    <a:lnTo>
                      <a:pt x="2777" y="286"/>
                    </a:lnTo>
                    <a:lnTo>
                      <a:pt x="2770" y="283"/>
                    </a:lnTo>
                    <a:lnTo>
                      <a:pt x="2765" y="279"/>
                    </a:lnTo>
                    <a:lnTo>
                      <a:pt x="2754" y="271"/>
                    </a:lnTo>
                    <a:lnTo>
                      <a:pt x="2744" y="264"/>
                    </a:lnTo>
                    <a:lnTo>
                      <a:pt x="2730" y="272"/>
                    </a:lnTo>
                    <a:lnTo>
                      <a:pt x="2717" y="281"/>
                    </a:lnTo>
                    <a:lnTo>
                      <a:pt x="2707" y="290"/>
                    </a:lnTo>
                    <a:lnTo>
                      <a:pt x="2696" y="299"/>
                    </a:lnTo>
                    <a:lnTo>
                      <a:pt x="2685" y="307"/>
                    </a:lnTo>
                    <a:lnTo>
                      <a:pt x="2671" y="313"/>
                    </a:lnTo>
                    <a:lnTo>
                      <a:pt x="2664" y="316"/>
                    </a:lnTo>
                    <a:lnTo>
                      <a:pt x="2656" y="318"/>
                    </a:lnTo>
                    <a:lnTo>
                      <a:pt x="2647" y="319"/>
                    </a:lnTo>
                    <a:lnTo>
                      <a:pt x="2637" y="319"/>
                    </a:lnTo>
                    <a:lnTo>
                      <a:pt x="2626" y="319"/>
                    </a:lnTo>
                    <a:lnTo>
                      <a:pt x="2615" y="317"/>
                    </a:lnTo>
                    <a:lnTo>
                      <a:pt x="2602" y="315"/>
                    </a:lnTo>
                    <a:lnTo>
                      <a:pt x="2590" y="312"/>
                    </a:lnTo>
                    <a:lnTo>
                      <a:pt x="2579" y="308"/>
                    </a:lnTo>
                    <a:lnTo>
                      <a:pt x="2569" y="304"/>
                    </a:lnTo>
                    <a:lnTo>
                      <a:pt x="2562" y="300"/>
                    </a:lnTo>
                    <a:lnTo>
                      <a:pt x="2558" y="295"/>
                    </a:lnTo>
                    <a:lnTo>
                      <a:pt x="2518" y="295"/>
                    </a:lnTo>
                    <a:lnTo>
                      <a:pt x="2521" y="303"/>
                    </a:lnTo>
                    <a:lnTo>
                      <a:pt x="2525" y="309"/>
                    </a:lnTo>
                    <a:lnTo>
                      <a:pt x="2530" y="314"/>
                    </a:lnTo>
                    <a:lnTo>
                      <a:pt x="2536" y="318"/>
                    </a:lnTo>
                    <a:lnTo>
                      <a:pt x="2542" y="322"/>
                    </a:lnTo>
                    <a:lnTo>
                      <a:pt x="2550" y="324"/>
                    </a:lnTo>
                    <a:lnTo>
                      <a:pt x="2557" y="326"/>
                    </a:lnTo>
                    <a:lnTo>
                      <a:pt x="2565" y="327"/>
                    </a:lnTo>
                    <a:lnTo>
                      <a:pt x="2601" y="328"/>
                    </a:lnTo>
                    <a:lnTo>
                      <a:pt x="2637" y="326"/>
                    </a:lnTo>
                    <a:lnTo>
                      <a:pt x="2637" y="335"/>
                    </a:lnTo>
                    <a:lnTo>
                      <a:pt x="2638" y="342"/>
                    </a:lnTo>
                    <a:lnTo>
                      <a:pt x="2641" y="349"/>
                    </a:lnTo>
                    <a:lnTo>
                      <a:pt x="2644" y="357"/>
                    </a:lnTo>
                    <a:lnTo>
                      <a:pt x="2619" y="363"/>
                    </a:lnTo>
                    <a:lnTo>
                      <a:pt x="2590" y="371"/>
                    </a:lnTo>
                    <a:lnTo>
                      <a:pt x="2562" y="382"/>
                    </a:lnTo>
                    <a:lnTo>
                      <a:pt x="2531" y="392"/>
                    </a:lnTo>
                    <a:lnTo>
                      <a:pt x="2501" y="402"/>
                    </a:lnTo>
                    <a:lnTo>
                      <a:pt x="2473" y="410"/>
                    </a:lnTo>
                    <a:lnTo>
                      <a:pt x="2458" y="414"/>
                    </a:lnTo>
                    <a:lnTo>
                      <a:pt x="2444" y="416"/>
                    </a:lnTo>
                    <a:lnTo>
                      <a:pt x="2431" y="418"/>
                    </a:lnTo>
                    <a:lnTo>
                      <a:pt x="2419" y="418"/>
                    </a:lnTo>
                    <a:lnTo>
                      <a:pt x="2339" y="400"/>
                    </a:lnTo>
                    <a:lnTo>
                      <a:pt x="2319" y="400"/>
                    </a:lnTo>
                    <a:lnTo>
                      <a:pt x="2340" y="408"/>
                    </a:lnTo>
                    <a:lnTo>
                      <a:pt x="2361" y="416"/>
                    </a:lnTo>
                    <a:lnTo>
                      <a:pt x="2372" y="420"/>
                    </a:lnTo>
                    <a:lnTo>
                      <a:pt x="2382" y="425"/>
                    </a:lnTo>
                    <a:lnTo>
                      <a:pt x="2390" y="430"/>
                    </a:lnTo>
                    <a:lnTo>
                      <a:pt x="2398" y="437"/>
                    </a:lnTo>
                    <a:lnTo>
                      <a:pt x="2394" y="444"/>
                    </a:lnTo>
                    <a:lnTo>
                      <a:pt x="2388" y="449"/>
                    </a:lnTo>
                    <a:lnTo>
                      <a:pt x="2384" y="454"/>
                    </a:lnTo>
                    <a:lnTo>
                      <a:pt x="2378" y="457"/>
                    </a:lnTo>
                    <a:lnTo>
                      <a:pt x="2373" y="461"/>
                    </a:lnTo>
                    <a:lnTo>
                      <a:pt x="2368" y="463"/>
                    </a:lnTo>
                    <a:lnTo>
                      <a:pt x="2363" y="465"/>
                    </a:lnTo>
                    <a:lnTo>
                      <a:pt x="2357" y="467"/>
                    </a:lnTo>
                    <a:lnTo>
                      <a:pt x="2333" y="471"/>
                    </a:lnTo>
                    <a:lnTo>
                      <a:pt x="2306" y="474"/>
                    </a:lnTo>
                    <a:lnTo>
                      <a:pt x="2296" y="477"/>
                    </a:lnTo>
                    <a:lnTo>
                      <a:pt x="2286" y="481"/>
                    </a:lnTo>
                    <a:lnTo>
                      <a:pt x="2277" y="486"/>
                    </a:lnTo>
                    <a:lnTo>
                      <a:pt x="2268" y="492"/>
                    </a:lnTo>
                    <a:lnTo>
                      <a:pt x="2260" y="497"/>
                    </a:lnTo>
                    <a:lnTo>
                      <a:pt x="2251" y="501"/>
                    </a:lnTo>
                    <a:lnTo>
                      <a:pt x="2242" y="504"/>
                    </a:lnTo>
                    <a:lnTo>
                      <a:pt x="2232" y="505"/>
                    </a:lnTo>
                    <a:lnTo>
                      <a:pt x="2232" y="517"/>
                    </a:lnTo>
                    <a:lnTo>
                      <a:pt x="2232" y="529"/>
                    </a:lnTo>
                    <a:lnTo>
                      <a:pt x="2220" y="532"/>
                    </a:lnTo>
                    <a:lnTo>
                      <a:pt x="2208" y="537"/>
                    </a:lnTo>
                    <a:lnTo>
                      <a:pt x="2194" y="542"/>
                    </a:lnTo>
                    <a:lnTo>
                      <a:pt x="2181" y="550"/>
                    </a:lnTo>
                    <a:lnTo>
                      <a:pt x="2166" y="559"/>
                    </a:lnTo>
                    <a:lnTo>
                      <a:pt x="2151" y="568"/>
                    </a:lnTo>
                    <a:lnTo>
                      <a:pt x="2138" y="578"/>
                    </a:lnTo>
                    <a:lnTo>
                      <a:pt x="2123" y="588"/>
                    </a:lnTo>
                    <a:lnTo>
                      <a:pt x="2110" y="601"/>
                    </a:lnTo>
                    <a:lnTo>
                      <a:pt x="2098" y="613"/>
                    </a:lnTo>
                    <a:lnTo>
                      <a:pt x="2087" y="625"/>
                    </a:lnTo>
                    <a:lnTo>
                      <a:pt x="2078" y="637"/>
                    </a:lnTo>
                    <a:lnTo>
                      <a:pt x="2071" y="650"/>
                    </a:lnTo>
                    <a:lnTo>
                      <a:pt x="2064" y="664"/>
                    </a:lnTo>
                    <a:lnTo>
                      <a:pt x="2062" y="670"/>
                    </a:lnTo>
                    <a:lnTo>
                      <a:pt x="2061" y="677"/>
                    </a:lnTo>
                    <a:lnTo>
                      <a:pt x="2060" y="683"/>
                    </a:lnTo>
                    <a:lnTo>
                      <a:pt x="2060" y="689"/>
                    </a:lnTo>
                    <a:lnTo>
                      <a:pt x="2106" y="689"/>
                    </a:lnTo>
                    <a:lnTo>
                      <a:pt x="2104" y="714"/>
                    </a:lnTo>
                    <a:lnTo>
                      <a:pt x="2102" y="736"/>
                    </a:lnTo>
                    <a:lnTo>
                      <a:pt x="2100" y="745"/>
                    </a:lnTo>
                    <a:lnTo>
                      <a:pt x="2100" y="753"/>
                    </a:lnTo>
                    <a:lnTo>
                      <a:pt x="2102" y="757"/>
                    </a:lnTo>
                    <a:lnTo>
                      <a:pt x="2103" y="759"/>
                    </a:lnTo>
                    <a:lnTo>
                      <a:pt x="2104" y="762"/>
                    </a:lnTo>
                    <a:lnTo>
                      <a:pt x="2106" y="763"/>
                    </a:lnTo>
                    <a:lnTo>
                      <a:pt x="2086" y="776"/>
                    </a:lnTo>
                    <a:lnTo>
                      <a:pt x="2087" y="780"/>
                    </a:lnTo>
                    <a:lnTo>
                      <a:pt x="2089" y="784"/>
                    </a:lnTo>
                    <a:lnTo>
                      <a:pt x="2093" y="787"/>
                    </a:lnTo>
                    <a:lnTo>
                      <a:pt x="2097" y="790"/>
                    </a:lnTo>
                    <a:lnTo>
                      <a:pt x="2106" y="793"/>
                    </a:lnTo>
                    <a:lnTo>
                      <a:pt x="2112" y="794"/>
                    </a:lnTo>
                    <a:lnTo>
                      <a:pt x="2193" y="776"/>
                    </a:lnTo>
                    <a:lnTo>
                      <a:pt x="2204" y="782"/>
                    </a:lnTo>
                    <a:lnTo>
                      <a:pt x="2214" y="789"/>
                    </a:lnTo>
                    <a:lnTo>
                      <a:pt x="2223" y="796"/>
                    </a:lnTo>
                    <a:lnTo>
                      <a:pt x="2232" y="803"/>
                    </a:lnTo>
                    <a:lnTo>
                      <a:pt x="2250" y="819"/>
                    </a:lnTo>
                    <a:lnTo>
                      <a:pt x="2266" y="836"/>
                    </a:lnTo>
                    <a:lnTo>
                      <a:pt x="2284" y="852"/>
                    </a:lnTo>
                    <a:lnTo>
                      <a:pt x="2301" y="866"/>
                    </a:lnTo>
                    <a:lnTo>
                      <a:pt x="2311" y="872"/>
                    </a:lnTo>
                    <a:lnTo>
                      <a:pt x="2322" y="878"/>
                    </a:lnTo>
                    <a:lnTo>
                      <a:pt x="2333" y="883"/>
                    </a:lnTo>
                    <a:lnTo>
                      <a:pt x="2345" y="887"/>
                    </a:lnTo>
                    <a:lnTo>
                      <a:pt x="2345" y="891"/>
                    </a:lnTo>
                    <a:lnTo>
                      <a:pt x="2346" y="895"/>
                    </a:lnTo>
                    <a:lnTo>
                      <a:pt x="2347" y="898"/>
                    </a:lnTo>
                    <a:lnTo>
                      <a:pt x="2350" y="901"/>
                    </a:lnTo>
                    <a:lnTo>
                      <a:pt x="2352" y="903"/>
                    </a:lnTo>
                    <a:lnTo>
                      <a:pt x="2354" y="905"/>
                    </a:lnTo>
                    <a:lnTo>
                      <a:pt x="2356" y="906"/>
                    </a:lnTo>
                    <a:lnTo>
                      <a:pt x="2360" y="907"/>
                    </a:lnTo>
                    <a:lnTo>
                      <a:pt x="2367" y="909"/>
                    </a:lnTo>
                    <a:lnTo>
                      <a:pt x="2375" y="908"/>
                    </a:lnTo>
                    <a:lnTo>
                      <a:pt x="2383" y="907"/>
                    </a:lnTo>
                    <a:lnTo>
                      <a:pt x="2391" y="905"/>
                    </a:lnTo>
                    <a:lnTo>
                      <a:pt x="2409" y="900"/>
                    </a:lnTo>
                    <a:lnTo>
                      <a:pt x="2423" y="894"/>
                    </a:lnTo>
                    <a:lnTo>
                      <a:pt x="2434" y="889"/>
                    </a:lnTo>
                    <a:lnTo>
                      <a:pt x="2439" y="887"/>
                    </a:lnTo>
                    <a:lnTo>
                      <a:pt x="2485" y="905"/>
                    </a:lnTo>
                    <a:lnTo>
                      <a:pt x="2479" y="917"/>
                    </a:lnTo>
                    <a:lnTo>
                      <a:pt x="2474" y="925"/>
                    </a:lnTo>
                    <a:lnTo>
                      <a:pt x="2467" y="931"/>
                    </a:lnTo>
                    <a:lnTo>
                      <a:pt x="2458" y="936"/>
                    </a:lnTo>
                    <a:lnTo>
                      <a:pt x="2472" y="949"/>
                    </a:lnTo>
                    <a:lnTo>
                      <a:pt x="2461" y="971"/>
                    </a:lnTo>
                    <a:lnTo>
                      <a:pt x="2450" y="995"/>
                    </a:lnTo>
                    <a:lnTo>
                      <a:pt x="2445" y="1006"/>
                    </a:lnTo>
                    <a:lnTo>
                      <a:pt x="2442" y="1018"/>
                    </a:lnTo>
                    <a:lnTo>
                      <a:pt x="2440" y="1029"/>
                    </a:lnTo>
                    <a:lnTo>
                      <a:pt x="2439" y="1040"/>
                    </a:lnTo>
                    <a:lnTo>
                      <a:pt x="2440" y="1049"/>
                    </a:lnTo>
                    <a:lnTo>
                      <a:pt x="2443" y="1059"/>
                    </a:lnTo>
                    <a:lnTo>
                      <a:pt x="2447" y="1070"/>
                    </a:lnTo>
                    <a:lnTo>
                      <a:pt x="2454" y="1081"/>
                    </a:lnTo>
                    <a:lnTo>
                      <a:pt x="2462" y="1092"/>
                    </a:lnTo>
                    <a:lnTo>
                      <a:pt x="2469" y="1101"/>
                    </a:lnTo>
                    <a:lnTo>
                      <a:pt x="2473" y="1104"/>
                    </a:lnTo>
                    <a:lnTo>
                      <a:pt x="2477" y="1107"/>
                    </a:lnTo>
                    <a:lnTo>
                      <a:pt x="2481" y="1108"/>
                    </a:lnTo>
                    <a:lnTo>
                      <a:pt x="2485" y="1109"/>
                    </a:lnTo>
                    <a:lnTo>
                      <a:pt x="2487" y="1114"/>
                    </a:lnTo>
                    <a:lnTo>
                      <a:pt x="2492" y="1121"/>
                    </a:lnTo>
                    <a:lnTo>
                      <a:pt x="2499" y="1128"/>
                    </a:lnTo>
                    <a:lnTo>
                      <a:pt x="2504" y="1133"/>
                    </a:lnTo>
                    <a:lnTo>
                      <a:pt x="2528" y="1113"/>
                    </a:lnTo>
                    <a:lnTo>
                      <a:pt x="2548" y="1091"/>
                    </a:lnTo>
                    <a:lnTo>
                      <a:pt x="2559" y="1080"/>
                    </a:lnTo>
                    <a:lnTo>
                      <a:pt x="2569" y="1068"/>
                    </a:lnTo>
                    <a:lnTo>
                      <a:pt x="2578" y="1057"/>
                    </a:lnTo>
                    <a:lnTo>
                      <a:pt x="2587" y="1043"/>
                    </a:lnTo>
                    <a:lnTo>
                      <a:pt x="2595" y="1031"/>
                    </a:lnTo>
                    <a:lnTo>
                      <a:pt x="2602" y="1017"/>
                    </a:lnTo>
                    <a:lnTo>
                      <a:pt x="2609" y="1003"/>
                    </a:lnTo>
                    <a:lnTo>
                      <a:pt x="2614" y="987"/>
                    </a:lnTo>
                    <a:lnTo>
                      <a:pt x="2619" y="971"/>
                    </a:lnTo>
                    <a:lnTo>
                      <a:pt x="2622" y="955"/>
                    </a:lnTo>
                    <a:lnTo>
                      <a:pt x="2624" y="937"/>
                    </a:lnTo>
                    <a:lnTo>
                      <a:pt x="2624" y="917"/>
                    </a:lnTo>
                    <a:lnTo>
                      <a:pt x="2638" y="917"/>
                    </a:lnTo>
                    <a:lnTo>
                      <a:pt x="2655" y="914"/>
                    </a:lnTo>
                    <a:lnTo>
                      <a:pt x="2672" y="911"/>
                    </a:lnTo>
                    <a:lnTo>
                      <a:pt x="2690" y="906"/>
                    </a:lnTo>
                    <a:lnTo>
                      <a:pt x="2709" y="900"/>
                    </a:lnTo>
                    <a:lnTo>
                      <a:pt x="2727" y="892"/>
                    </a:lnTo>
                    <a:lnTo>
                      <a:pt x="2746" y="884"/>
                    </a:lnTo>
                    <a:lnTo>
                      <a:pt x="2765" y="873"/>
                    </a:lnTo>
                    <a:lnTo>
                      <a:pt x="2782" y="863"/>
                    </a:lnTo>
                    <a:lnTo>
                      <a:pt x="2798" y="852"/>
                    </a:lnTo>
                    <a:lnTo>
                      <a:pt x="2813" y="840"/>
                    </a:lnTo>
                    <a:lnTo>
                      <a:pt x="2825" y="827"/>
                    </a:lnTo>
                    <a:lnTo>
                      <a:pt x="2831" y="819"/>
                    </a:lnTo>
                    <a:lnTo>
                      <a:pt x="2836" y="813"/>
                    </a:lnTo>
                    <a:lnTo>
                      <a:pt x="2839" y="806"/>
                    </a:lnTo>
                    <a:lnTo>
                      <a:pt x="2844" y="799"/>
                    </a:lnTo>
                    <a:lnTo>
                      <a:pt x="2846" y="792"/>
                    </a:lnTo>
                    <a:lnTo>
                      <a:pt x="2848" y="785"/>
                    </a:lnTo>
                    <a:lnTo>
                      <a:pt x="2849" y="777"/>
                    </a:lnTo>
                    <a:lnTo>
                      <a:pt x="2850" y="770"/>
                    </a:lnTo>
                    <a:lnTo>
                      <a:pt x="2849" y="763"/>
                    </a:lnTo>
                    <a:lnTo>
                      <a:pt x="2848" y="757"/>
                    </a:lnTo>
                    <a:lnTo>
                      <a:pt x="2846" y="752"/>
                    </a:lnTo>
                    <a:lnTo>
                      <a:pt x="2843" y="747"/>
                    </a:lnTo>
                    <a:lnTo>
                      <a:pt x="2835" y="738"/>
                    </a:lnTo>
                    <a:lnTo>
                      <a:pt x="2827" y="731"/>
                    </a:lnTo>
                    <a:lnTo>
                      <a:pt x="2819" y="725"/>
                    </a:lnTo>
                    <a:lnTo>
                      <a:pt x="2811" y="718"/>
                    </a:lnTo>
                    <a:lnTo>
                      <a:pt x="2808" y="715"/>
                    </a:lnTo>
                    <a:lnTo>
                      <a:pt x="2805" y="711"/>
                    </a:lnTo>
                    <a:lnTo>
                      <a:pt x="2804" y="706"/>
                    </a:lnTo>
                    <a:lnTo>
                      <a:pt x="2804" y="702"/>
                    </a:lnTo>
                    <a:lnTo>
                      <a:pt x="2804" y="698"/>
                    </a:lnTo>
                    <a:lnTo>
                      <a:pt x="2808" y="694"/>
                    </a:lnTo>
                    <a:lnTo>
                      <a:pt x="2812" y="688"/>
                    </a:lnTo>
                    <a:lnTo>
                      <a:pt x="2819" y="680"/>
                    </a:lnTo>
                    <a:lnTo>
                      <a:pt x="2833" y="664"/>
                    </a:lnTo>
                    <a:lnTo>
                      <a:pt x="2850" y="645"/>
                    </a:lnTo>
                    <a:lnTo>
                      <a:pt x="2882" y="612"/>
                    </a:lnTo>
                    <a:lnTo>
                      <a:pt x="2896" y="597"/>
                    </a:lnTo>
                    <a:lnTo>
                      <a:pt x="2894" y="593"/>
                    </a:lnTo>
                    <a:lnTo>
                      <a:pt x="2892" y="589"/>
                    </a:lnTo>
                    <a:lnTo>
                      <a:pt x="2891" y="585"/>
                    </a:lnTo>
                    <a:lnTo>
                      <a:pt x="2890" y="581"/>
                    </a:lnTo>
                    <a:lnTo>
                      <a:pt x="2890" y="573"/>
                    </a:lnTo>
                    <a:lnTo>
                      <a:pt x="2892" y="566"/>
                    </a:lnTo>
                    <a:lnTo>
                      <a:pt x="2896" y="558"/>
                    </a:lnTo>
                    <a:lnTo>
                      <a:pt x="2902" y="551"/>
                    </a:lnTo>
                    <a:lnTo>
                      <a:pt x="2909" y="544"/>
                    </a:lnTo>
                    <a:lnTo>
                      <a:pt x="2916" y="535"/>
                    </a:lnTo>
                    <a:lnTo>
                      <a:pt x="2934" y="520"/>
                    </a:lnTo>
                    <a:lnTo>
                      <a:pt x="2951" y="505"/>
                    </a:lnTo>
                    <a:lnTo>
                      <a:pt x="2959" y="498"/>
                    </a:lnTo>
                    <a:lnTo>
                      <a:pt x="2966" y="490"/>
                    </a:lnTo>
                    <a:lnTo>
                      <a:pt x="2972" y="482"/>
                    </a:lnTo>
                    <a:lnTo>
                      <a:pt x="2977" y="474"/>
                    </a:lnTo>
                    <a:lnTo>
                      <a:pt x="3149" y="480"/>
                    </a:lnTo>
                    <a:lnTo>
                      <a:pt x="3149" y="485"/>
                    </a:lnTo>
                    <a:lnTo>
                      <a:pt x="3150" y="490"/>
                    </a:lnTo>
                    <a:lnTo>
                      <a:pt x="3151" y="494"/>
                    </a:lnTo>
                    <a:lnTo>
                      <a:pt x="3153" y="497"/>
                    </a:lnTo>
                    <a:lnTo>
                      <a:pt x="3156" y="500"/>
                    </a:lnTo>
                    <a:lnTo>
                      <a:pt x="3159" y="502"/>
                    </a:lnTo>
                    <a:lnTo>
                      <a:pt x="3161" y="503"/>
                    </a:lnTo>
                    <a:lnTo>
                      <a:pt x="3165" y="504"/>
                    </a:lnTo>
                    <a:lnTo>
                      <a:pt x="3180" y="505"/>
                    </a:lnTo>
                    <a:lnTo>
                      <a:pt x="3196" y="505"/>
                    </a:lnTo>
                    <a:lnTo>
                      <a:pt x="3201" y="509"/>
                    </a:lnTo>
                    <a:lnTo>
                      <a:pt x="3204" y="514"/>
                    </a:lnTo>
                    <a:lnTo>
                      <a:pt x="3208" y="521"/>
                    </a:lnTo>
                    <a:lnTo>
                      <a:pt x="3210" y="529"/>
                    </a:lnTo>
                    <a:lnTo>
                      <a:pt x="3215" y="545"/>
                    </a:lnTo>
                    <a:lnTo>
                      <a:pt x="3216" y="554"/>
                    </a:lnTo>
                    <a:lnTo>
                      <a:pt x="3221" y="556"/>
                    </a:lnTo>
                    <a:lnTo>
                      <a:pt x="3229" y="557"/>
                    </a:lnTo>
                    <a:lnTo>
                      <a:pt x="3238" y="557"/>
                    </a:lnTo>
                    <a:lnTo>
                      <a:pt x="3247" y="557"/>
                    </a:lnTo>
                    <a:lnTo>
                      <a:pt x="3268" y="555"/>
                    </a:lnTo>
                    <a:lnTo>
                      <a:pt x="3288" y="554"/>
                    </a:lnTo>
                    <a:lnTo>
                      <a:pt x="3292" y="566"/>
                    </a:lnTo>
                    <a:lnTo>
                      <a:pt x="3295" y="572"/>
                    </a:lnTo>
                    <a:lnTo>
                      <a:pt x="3288" y="579"/>
                    </a:lnTo>
                    <a:lnTo>
                      <a:pt x="3282" y="585"/>
                    </a:lnTo>
                    <a:lnTo>
                      <a:pt x="3276" y="592"/>
                    </a:lnTo>
                    <a:lnTo>
                      <a:pt x="3272" y="601"/>
                    </a:lnTo>
                    <a:lnTo>
                      <a:pt x="3264" y="616"/>
                    </a:lnTo>
                    <a:lnTo>
                      <a:pt x="3257" y="632"/>
                    </a:lnTo>
                    <a:lnTo>
                      <a:pt x="3251" y="646"/>
                    </a:lnTo>
                    <a:lnTo>
                      <a:pt x="3245" y="660"/>
                    </a:lnTo>
                    <a:lnTo>
                      <a:pt x="3241" y="666"/>
                    </a:lnTo>
                    <a:lnTo>
                      <a:pt x="3238" y="671"/>
                    </a:lnTo>
                    <a:lnTo>
                      <a:pt x="3234" y="675"/>
                    </a:lnTo>
                    <a:lnTo>
                      <a:pt x="3229" y="677"/>
                    </a:lnTo>
                    <a:lnTo>
                      <a:pt x="3238" y="677"/>
                    </a:lnTo>
                    <a:lnTo>
                      <a:pt x="3246" y="677"/>
                    </a:lnTo>
                    <a:lnTo>
                      <a:pt x="3253" y="677"/>
                    </a:lnTo>
                    <a:lnTo>
                      <a:pt x="3262" y="677"/>
                    </a:lnTo>
                    <a:lnTo>
                      <a:pt x="3262" y="683"/>
                    </a:lnTo>
                    <a:lnTo>
                      <a:pt x="3261" y="688"/>
                    </a:lnTo>
                    <a:lnTo>
                      <a:pt x="3259" y="693"/>
                    </a:lnTo>
                    <a:lnTo>
                      <a:pt x="3257" y="697"/>
                    </a:lnTo>
                    <a:lnTo>
                      <a:pt x="3251" y="705"/>
                    </a:lnTo>
                    <a:lnTo>
                      <a:pt x="3245" y="714"/>
                    </a:lnTo>
                    <a:lnTo>
                      <a:pt x="3238" y="721"/>
                    </a:lnTo>
                    <a:lnTo>
                      <a:pt x="3231" y="729"/>
                    </a:lnTo>
                    <a:lnTo>
                      <a:pt x="3226" y="736"/>
                    </a:lnTo>
                    <a:lnTo>
                      <a:pt x="3223" y="745"/>
                    </a:lnTo>
                    <a:lnTo>
                      <a:pt x="3229" y="742"/>
                    </a:lnTo>
                    <a:lnTo>
                      <a:pt x="3237" y="738"/>
                    </a:lnTo>
                    <a:lnTo>
                      <a:pt x="3245" y="734"/>
                    </a:lnTo>
                    <a:lnTo>
                      <a:pt x="3251" y="730"/>
                    </a:lnTo>
                    <a:lnTo>
                      <a:pt x="3264" y="721"/>
                    </a:lnTo>
                    <a:lnTo>
                      <a:pt x="3275" y="715"/>
                    </a:lnTo>
                    <a:lnTo>
                      <a:pt x="3280" y="717"/>
                    </a:lnTo>
                    <a:lnTo>
                      <a:pt x="3284" y="718"/>
                    </a:lnTo>
                    <a:lnTo>
                      <a:pt x="3290" y="718"/>
                    </a:lnTo>
                    <a:lnTo>
                      <a:pt x="3295" y="718"/>
                    </a:lnTo>
                    <a:lnTo>
                      <a:pt x="3307" y="715"/>
                    </a:lnTo>
                    <a:lnTo>
                      <a:pt x="3320" y="709"/>
                    </a:lnTo>
                    <a:lnTo>
                      <a:pt x="3336" y="703"/>
                    </a:lnTo>
                    <a:lnTo>
                      <a:pt x="3351" y="695"/>
                    </a:lnTo>
                    <a:lnTo>
                      <a:pt x="3368" y="685"/>
                    </a:lnTo>
                    <a:lnTo>
                      <a:pt x="3384" y="675"/>
                    </a:lnTo>
                    <a:lnTo>
                      <a:pt x="3417" y="653"/>
                    </a:lnTo>
                    <a:lnTo>
                      <a:pt x="3447" y="632"/>
                    </a:lnTo>
                    <a:lnTo>
                      <a:pt x="3471" y="615"/>
                    </a:lnTo>
                    <a:lnTo>
                      <a:pt x="3488" y="604"/>
                    </a:lnTo>
                    <a:lnTo>
                      <a:pt x="3492" y="613"/>
                    </a:lnTo>
                    <a:lnTo>
                      <a:pt x="3495" y="621"/>
                    </a:lnTo>
                    <a:lnTo>
                      <a:pt x="3496" y="629"/>
                    </a:lnTo>
                    <a:lnTo>
                      <a:pt x="3496" y="637"/>
                    </a:lnTo>
                    <a:lnTo>
                      <a:pt x="3496" y="653"/>
                    </a:lnTo>
                    <a:lnTo>
                      <a:pt x="3495" y="671"/>
                    </a:lnTo>
                    <a:lnTo>
                      <a:pt x="3521" y="671"/>
                    </a:lnTo>
                    <a:lnTo>
                      <a:pt x="3522" y="680"/>
                    </a:lnTo>
                    <a:lnTo>
                      <a:pt x="3523" y="687"/>
                    </a:lnTo>
                    <a:lnTo>
                      <a:pt x="3521" y="692"/>
                    </a:lnTo>
                    <a:lnTo>
                      <a:pt x="3519" y="698"/>
                    </a:lnTo>
                    <a:lnTo>
                      <a:pt x="3514" y="708"/>
                    </a:lnTo>
                    <a:lnTo>
                      <a:pt x="3508" y="721"/>
                    </a:lnTo>
                    <a:lnTo>
                      <a:pt x="3521" y="721"/>
                    </a:lnTo>
                    <a:lnTo>
                      <a:pt x="3534" y="721"/>
                    </a:lnTo>
                    <a:lnTo>
                      <a:pt x="3534" y="732"/>
                    </a:lnTo>
                    <a:lnTo>
                      <a:pt x="3534" y="741"/>
                    </a:lnTo>
                    <a:lnTo>
                      <a:pt x="3534" y="749"/>
                    </a:lnTo>
                    <a:lnTo>
                      <a:pt x="3534" y="757"/>
                    </a:lnTo>
                    <a:lnTo>
                      <a:pt x="3536" y="762"/>
                    </a:lnTo>
                    <a:lnTo>
                      <a:pt x="3540" y="769"/>
                    </a:lnTo>
                    <a:lnTo>
                      <a:pt x="3542" y="772"/>
                    </a:lnTo>
                    <a:lnTo>
                      <a:pt x="3545" y="774"/>
                    </a:lnTo>
                    <a:lnTo>
                      <a:pt x="3550" y="776"/>
                    </a:lnTo>
                    <a:lnTo>
                      <a:pt x="3554" y="776"/>
                    </a:lnTo>
                    <a:lnTo>
                      <a:pt x="3551" y="786"/>
                    </a:lnTo>
                    <a:lnTo>
                      <a:pt x="3548" y="794"/>
                    </a:lnTo>
                    <a:lnTo>
                      <a:pt x="3542" y="800"/>
                    </a:lnTo>
                    <a:lnTo>
                      <a:pt x="3537" y="804"/>
                    </a:lnTo>
                    <a:lnTo>
                      <a:pt x="3526" y="811"/>
                    </a:lnTo>
                    <a:lnTo>
                      <a:pt x="3515" y="818"/>
                    </a:lnTo>
                    <a:lnTo>
                      <a:pt x="3522" y="828"/>
                    </a:lnTo>
                    <a:lnTo>
                      <a:pt x="3530" y="836"/>
                    </a:lnTo>
                    <a:lnTo>
                      <a:pt x="3539" y="844"/>
                    </a:lnTo>
                    <a:lnTo>
                      <a:pt x="3546" y="851"/>
                    </a:lnTo>
                    <a:lnTo>
                      <a:pt x="3556" y="857"/>
                    </a:lnTo>
                    <a:lnTo>
                      <a:pt x="3565" y="863"/>
                    </a:lnTo>
                    <a:lnTo>
                      <a:pt x="3575" y="869"/>
                    </a:lnTo>
                    <a:lnTo>
                      <a:pt x="3584" y="874"/>
                    </a:lnTo>
                    <a:lnTo>
                      <a:pt x="3605" y="885"/>
                    </a:lnTo>
                    <a:lnTo>
                      <a:pt x="3627" y="894"/>
                    </a:lnTo>
                    <a:lnTo>
                      <a:pt x="3650" y="902"/>
                    </a:lnTo>
                    <a:lnTo>
                      <a:pt x="3674" y="911"/>
                    </a:lnTo>
                    <a:lnTo>
                      <a:pt x="3668" y="918"/>
                    </a:lnTo>
                    <a:lnTo>
                      <a:pt x="3662" y="924"/>
                    </a:lnTo>
                    <a:lnTo>
                      <a:pt x="3652" y="930"/>
                    </a:lnTo>
                    <a:lnTo>
                      <a:pt x="3640" y="936"/>
                    </a:lnTo>
                    <a:lnTo>
                      <a:pt x="3615" y="946"/>
                    </a:lnTo>
                    <a:lnTo>
                      <a:pt x="3588" y="954"/>
                    </a:lnTo>
                    <a:lnTo>
                      <a:pt x="3563" y="961"/>
                    </a:lnTo>
                    <a:lnTo>
                      <a:pt x="3545" y="966"/>
                    </a:lnTo>
                    <a:lnTo>
                      <a:pt x="3540" y="968"/>
                    </a:lnTo>
                    <a:lnTo>
                      <a:pt x="3537" y="970"/>
                    </a:lnTo>
                    <a:lnTo>
                      <a:pt x="3537" y="971"/>
                    </a:lnTo>
                    <a:lnTo>
                      <a:pt x="3537" y="972"/>
                    </a:lnTo>
                    <a:lnTo>
                      <a:pt x="3539" y="972"/>
                    </a:lnTo>
                    <a:lnTo>
                      <a:pt x="3541" y="973"/>
                    </a:lnTo>
                    <a:lnTo>
                      <a:pt x="3548" y="974"/>
                    </a:lnTo>
                    <a:lnTo>
                      <a:pt x="3554" y="974"/>
                    </a:lnTo>
                    <a:lnTo>
                      <a:pt x="3560" y="974"/>
                    </a:lnTo>
                    <a:lnTo>
                      <a:pt x="3564" y="972"/>
                    </a:lnTo>
                    <a:lnTo>
                      <a:pt x="3570" y="970"/>
                    </a:lnTo>
                    <a:lnTo>
                      <a:pt x="3575" y="969"/>
                    </a:lnTo>
                    <a:lnTo>
                      <a:pt x="3581" y="967"/>
                    </a:lnTo>
                    <a:lnTo>
                      <a:pt x="3588" y="967"/>
                    </a:lnTo>
                    <a:lnTo>
                      <a:pt x="3598" y="965"/>
                    </a:lnTo>
                    <a:lnTo>
                      <a:pt x="3616" y="961"/>
                    </a:lnTo>
                    <a:lnTo>
                      <a:pt x="3637" y="957"/>
                    </a:lnTo>
                    <a:lnTo>
                      <a:pt x="3654" y="955"/>
                    </a:lnTo>
                    <a:lnTo>
                      <a:pt x="3673" y="955"/>
                    </a:lnTo>
                    <a:lnTo>
                      <a:pt x="3686" y="956"/>
                    </a:lnTo>
                    <a:lnTo>
                      <a:pt x="3695" y="958"/>
                    </a:lnTo>
                    <a:lnTo>
                      <a:pt x="3701" y="959"/>
                    </a:lnTo>
                    <a:lnTo>
                      <a:pt x="3707" y="960"/>
                    </a:lnTo>
                    <a:lnTo>
                      <a:pt x="3713" y="960"/>
                    </a:lnTo>
                    <a:lnTo>
                      <a:pt x="3721" y="958"/>
                    </a:lnTo>
                    <a:lnTo>
                      <a:pt x="3734" y="955"/>
                    </a:lnTo>
                    <a:lnTo>
                      <a:pt x="3734" y="964"/>
                    </a:lnTo>
                    <a:lnTo>
                      <a:pt x="3734" y="972"/>
                    </a:lnTo>
                    <a:lnTo>
                      <a:pt x="3734" y="979"/>
                    </a:lnTo>
                    <a:lnTo>
                      <a:pt x="3734" y="985"/>
                    </a:lnTo>
                    <a:lnTo>
                      <a:pt x="3734" y="998"/>
                    </a:lnTo>
                    <a:lnTo>
                      <a:pt x="3733" y="1007"/>
                    </a:lnTo>
                    <a:lnTo>
                      <a:pt x="3732" y="1014"/>
                    </a:lnTo>
                    <a:lnTo>
                      <a:pt x="3729" y="1018"/>
                    </a:lnTo>
                    <a:lnTo>
                      <a:pt x="3724" y="1022"/>
                    </a:lnTo>
                    <a:lnTo>
                      <a:pt x="3717" y="1024"/>
                    </a:lnTo>
                    <a:lnTo>
                      <a:pt x="3707" y="1026"/>
                    </a:lnTo>
                    <a:lnTo>
                      <a:pt x="3694" y="1028"/>
                    </a:lnTo>
                    <a:lnTo>
                      <a:pt x="3699" y="1037"/>
                    </a:lnTo>
                    <a:lnTo>
                      <a:pt x="3704" y="1047"/>
                    </a:lnTo>
                    <a:lnTo>
                      <a:pt x="3709" y="1054"/>
                    </a:lnTo>
                    <a:lnTo>
                      <a:pt x="3713" y="1059"/>
                    </a:lnTo>
                    <a:lnTo>
                      <a:pt x="3706" y="1068"/>
                    </a:lnTo>
                    <a:lnTo>
                      <a:pt x="3697" y="1076"/>
                    </a:lnTo>
                    <a:lnTo>
                      <a:pt x="3687" y="1083"/>
                    </a:lnTo>
                    <a:lnTo>
                      <a:pt x="3676" y="1087"/>
                    </a:lnTo>
                    <a:lnTo>
                      <a:pt x="3672" y="1089"/>
                    </a:lnTo>
                    <a:lnTo>
                      <a:pt x="3666" y="1090"/>
                    </a:lnTo>
                    <a:lnTo>
                      <a:pt x="3661" y="1091"/>
                    </a:lnTo>
                    <a:lnTo>
                      <a:pt x="3655" y="1091"/>
                    </a:lnTo>
                    <a:lnTo>
                      <a:pt x="3650" y="1090"/>
                    </a:lnTo>
                    <a:lnTo>
                      <a:pt x="3644" y="1089"/>
                    </a:lnTo>
                    <a:lnTo>
                      <a:pt x="3639" y="1087"/>
                    </a:lnTo>
                    <a:lnTo>
                      <a:pt x="3634" y="1084"/>
                    </a:lnTo>
                    <a:lnTo>
                      <a:pt x="3627" y="1089"/>
                    </a:lnTo>
                    <a:lnTo>
                      <a:pt x="3617" y="1093"/>
                    </a:lnTo>
                    <a:lnTo>
                      <a:pt x="3608" y="1096"/>
                    </a:lnTo>
                    <a:lnTo>
                      <a:pt x="3598" y="1099"/>
                    </a:lnTo>
                    <a:lnTo>
                      <a:pt x="3577" y="1104"/>
                    </a:lnTo>
                    <a:lnTo>
                      <a:pt x="3556" y="1108"/>
                    </a:lnTo>
                    <a:lnTo>
                      <a:pt x="3546" y="1110"/>
                    </a:lnTo>
                    <a:lnTo>
                      <a:pt x="3538" y="1113"/>
                    </a:lnTo>
                    <a:lnTo>
                      <a:pt x="3529" y="1116"/>
                    </a:lnTo>
                    <a:lnTo>
                      <a:pt x="3522" y="1120"/>
                    </a:lnTo>
                    <a:lnTo>
                      <a:pt x="3516" y="1124"/>
                    </a:lnTo>
                    <a:lnTo>
                      <a:pt x="3511" y="1130"/>
                    </a:lnTo>
                    <a:lnTo>
                      <a:pt x="3509" y="1137"/>
                    </a:lnTo>
                    <a:lnTo>
                      <a:pt x="3508" y="1145"/>
                    </a:lnTo>
                    <a:lnTo>
                      <a:pt x="3501" y="1145"/>
                    </a:lnTo>
                    <a:lnTo>
                      <a:pt x="3489" y="1159"/>
                    </a:lnTo>
                    <a:lnTo>
                      <a:pt x="3480" y="1168"/>
                    </a:lnTo>
                    <a:lnTo>
                      <a:pt x="3474" y="1172"/>
                    </a:lnTo>
                    <a:lnTo>
                      <a:pt x="3467" y="1174"/>
                    </a:lnTo>
                    <a:lnTo>
                      <a:pt x="3459" y="1176"/>
                    </a:lnTo>
                    <a:lnTo>
                      <a:pt x="3448" y="1176"/>
                    </a:lnTo>
                    <a:lnTo>
                      <a:pt x="3336" y="1164"/>
                    </a:lnTo>
                    <a:lnTo>
                      <a:pt x="3301" y="1164"/>
                    </a:lnTo>
                    <a:lnTo>
                      <a:pt x="3264" y="1164"/>
                    </a:lnTo>
                    <a:lnTo>
                      <a:pt x="3228" y="1164"/>
                    </a:lnTo>
                    <a:lnTo>
                      <a:pt x="3189" y="1164"/>
                    </a:lnTo>
                    <a:lnTo>
                      <a:pt x="3169" y="1165"/>
                    </a:lnTo>
                    <a:lnTo>
                      <a:pt x="3151" y="1168"/>
                    </a:lnTo>
                    <a:lnTo>
                      <a:pt x="3135" y="1172"/>
                    </a:lnTo>
                    <a:lnTo>
                      <a:pt x="3119" y="1177"/>
                    </a:lnTo>
                    <a:lnTo>
                      <a:pt x="3105" y="1183"/>
                    </a:lnTo>
                    <a:lnTo>
                      <a:pt x="3093" y="1191"/>
                    </a:lnTo>
                    <a:lnTo>
                      <a:pt x="3081" y="1198"/>
                    </a:lnTo>
                    <a:lnTo>
                      <a:pt x="3070" y="1207"/>
                    </a:lnTo>
                    <a:lnTo>
                      <a:pt x="3047" y="1225"/>
                    </a:lnTo>
                    <a:lnTo>
                      <a:pt x="3025" y="1242"/>
                    </a:lnTo>
                    <a:lnTo>
                      <a:pt x="3013" y="1250"/>
                    </a:lnTo>
                    <a:lnTo>
                      <a:pt x="3000" y="1257"/>
                    </a:lnTo>
                    <a:lnTo>
                      <a:pt x="2985" y="1263"/>
                    </a:lnTo>
                    <a:lnTo>
                      <a:pt x="2970" y="1269"/>
                    </a:lnTo>
                    <a:lnTo>
                      <a:pt x="2959" y="1272"/>
                    </a:lnTo>
                    <a:lnTo>
                      <a:pt x="2948" y="1276"/>
                    </a:lnTo>
                    <a:lnTo>
                      <a:pt x="2936" y="1281"/>
                    </a:lnTo>
                    <a:lnTo>
                      <a:pt x="2924" y="1286"/>
                    </a:lnTo>
                    <a:lnTo>
                      <a:pt x="2912" y="1293"/>
                    </a:lnTo>
                    <a:lnTo>
                      <a:pt x="2900" y="1300"/>
                    </a:lnTo>
                    <a:lnTo>
                      <a:pt x="2887" y="1308"/>
                    </a:lnTo>
                    <a:lnTo>
                      <a:pt x="2876" y="1316"/>
                    </a:lnTo>
                    <a:lnTo>
                      <a:pt x="2864" y="1326"/>
                    </a:lnTo>
                    <a:lnTo>
                      <a:pt x="2853" y="1335"/>
                    </a:lnTo>
                    <a:lnTo>
                      <a:pt x="2843" y="1344"/>
                    </a:lnTo>
                    <a:lnTo>
                      <a:pt x="2834" y="1354"/>
                    </a:lnTo>
                    <a:lnTo>
                      <a:pt x="2825" y="1363"/>
                    </a:lnTo>
                    <a:lnTo>
                      <a:pt x="2819" y="1373"/>
                    </a:lnTo>
                    <a:lnTo>
                      <a:pt x="2814" y="1383"/>
                    </a:lnTo>
                    <a:lnTo>
                      <a:pt x="2811" y="1392"/>
                    </a:lnTo>
                    <a:lnTo>
                      <a:pt x="2819" y="1392"/>
                    </a:lnTo>
                    <a:lnTo>
                      <a:pt x="2825" y="1391"/>
                    </a:lnTo>
                    <a:lnTo>
                      <a:pt x="2832" y="1389"/>
                    </a:lnTo>
                    <a:lnTo>
                      <a:pt x="2836" y="1387"/>
                    </a:lnTo>
                    <a:lnTo>
                      <a:pt x="2840" y="1385"/>
                    </a:lnTo>
                    <a:lnTo>
                      <a:pt x="2845" y="1382"/>
                    </a:lnTo>
                    <a:lnTo>
                      <a:pt x="2847" y="1379"/>
                    </a:lnTo>
                    <a:lnTo>
                      <a:pt x="2850" y="1375"/>
                    </a:lnTo>
                    <a:lnTo>
                      <a:pt x="2855" y="1369"/>
                    </a:lnTo>
                    <a:lnTo>
                      <a:pt x="2859" y="1363"/>
                    </a:lnTo>
                    <a:lnTo>
                      <a:pt x="2861" y="1361"/>
                    </a:lnTo>
                    <a:lnTo>
                      <a:pt x="2864" y="1358"/>
                    </a:lnTo>
                    <a:lnTo>
                      <a:pt x="2867" y="1356"/>
                    </a:lnTo>
                    <a:lnTo>
                      <a:pt x="2870" y="1355"/>
                    </a:lnTo>
                    <a:lnTo>
                      <a:pt x="2888" y="1346"/>
                    </a:lnTo>
                    <a:lnTo>
                      <a:pt x="2905" y="1337"/>
                    </a:lnTo>
                    <a:lnTo>
                      <a:pt x="2923" y="1327"/>
                    </a:lnTo>
                    <a:lnTo>
                      <a:pt x="2940" y="1315"/>
                    </a:lnTo>
                    <a:lnTo>
                      <a:pt x="2976" y="1293"/>
                    </a:lnTo>
                    <a:lnTo>
                      <a:pt x="3012" y="1271"/>
                    </a:lnTo>
                    <a:lnTo>
                      <a:pt x="3029" y="1260"/>
                    </a:lnTo>
                    <a:lnTo>
                      <a:pt x="3048" y="1251"/>
                    </a:lnTo>
                    <a:lnTo>
                      <a:pt x="3067" y="1242"/>
                    </a:lnTo>
                    <a:lnTo>
                      <a:pt x="3085" y="1235"/>
                    </a:lnTo>
                    <a:lnTo>
                      <a:pt x="3104" y="1228"/>
                    </a:lnTo>
                    <a:lnTo>
                      <a:pt x="3123" y="1224"/>
                    </a:lnTo>
                    <a:lnTo>
                      <a:pt x="3142" y="1221"/>
                    </a:lnTo>
                    <a:lnTo>
                      <a:pt x="3162" y="1220"/>
                    </a:lnTo>
                    <a:lnTo>
                      <a:pt x="3171" y="1220"/>
                    </a:lnTo>
                    <a:lnTo>
                      <a:pt x="3179" y="1222"/>
                    </a:lnTo>
                    <a:lnTo>
                      <a:pt x="3189" y="1225"/>
                    </a:lnTo>
                    <a:lnTo>
                      <a:pt x="3196" y="1229"/>
                    </a:lnTo>
                    <a:lnTo>
                      <a:pt x="3204" y="1234"/>
                    </a:lnTo>
                    <a:lnTo>
                      <a:pt x="3210" y="1240"/>
                    </a:lnTo>
                    <a:lnTo>
                      <a:pt x="3213" y="1244"/>
                    </a:lnTo>
                    <a:lnTo>
                      <a:pt x="3214" y="1248"/>
                    </a:lnTo>
                    <a:lnTo>
                      <a:pt x="3215" y="1252"/>
                    </a:lnTo>
                    <a:lnTo>
                      <a:pt x="3216" y="1256"/>
                    </a:lnTo>
                    <a:lnTo>
                      <a:pt x="3215" y="1265"/>
                    </a:lnTo>
                    <a:lnTo>
                      <a:pt x="3213" y="1274"/>
                    </a:lnTo>
                    <a:lnTo>
                      <a:pt x="3208" y="1281"/>
                    </a:lnTo>
                    <a:lnTo>
                      <a:pt x="3203" y="1287"/>
                    </a:lnTo>
                    <a:lnTo>
                      <a:pt x="3197" y="1293"/>
                    </a:lnTo>
                    <a:lnTo>
                      <a:pt x="3191" y="1296"/>
                    </a:lnTo>
                    <a:lnTo>
                      <a:pt x="3183" y="1299"/>
                    </a:lnTo>
                    <a:lnTo>
                      <a:pt x="3175" y="1299"/>
                    </a:lnTo>
                    <a:lnTo>
                      <a:pt x="3165" y="1299"/>
                    </a:lnTo>
                    <a:lnTo>
                      <a:pt x="3156" y="1298"/>
                    </a:lnTo>
                    <a:lnTo>
                      <a:pt x="3146" y="1296"/>
                    </a:lnTo>
                    <a:lnTo>
                      <a:pt x="3136" y="1293"/>
                    </a:lnTo>
                    <a:lnTo>
                      <a:pt x="3126" y="1291"/>
                    </a:lnTo>
                    <a:lnTo>
                      <a:pt x="3116" y="1289"/>
                    </a:lnTo>
                    <a:lnTo>
                      <a:pt x="3106" y="1288"/>
                    </a:lnTo>
                    <a:lnTo>
                      <a:pt x="3096" y="1287"/>
                    </a:lnTo>
                    <a:lnTo>
                      <a:pt x="3089" y="1288"/>
                    </a:lnTo>
                    <a:lnTo>
                      <a:pt x="3082" y="1289"/>
                    </a:lnTo>
                    <a:lnTo>
                      <a:pt x="3077" y="1290"/>
                    </a:lnTo>
                    <a:lnTo>
                      <a:pt x="3072" y="1292"/>
                    </a:lnTo>
                    <a:lnTo>
                      <a:pt x="3068" y="1294"/>
                    </a:lnTo>
                    <a:lnTo>
                      <a:pt x="3066" y="1298"/>
                    </a:lnTo>
                    <a:lnTo>
                      <a:pt x="3063" y="1301"/>
                    </a:lnTo>
                    <a:lnTo>
                      <a:pt x="3063" y="1306"/>
                    </a:lnTo>
                    <a:lnTo>
                      <a:pt x="3129" y="1331"/>
                    </a:lnTo>
                    <a:lnTo>
                      <a:pt x="3140" y="1329"/>
                    </a:lnTo>
                    <a:lnTo>
                      <a:pt x="3152" y="1325"/>
                    </a:lnTo>
                    <a:lnTo>
                      <a:pt x="3159" y="1324"/>
                    </a:lnTo>
                    <a:lnTo>
                      <a:pt x="3164" y="1323"/>
                    </a:lnTo>
                    <a:lnTo>
                      <a:pt x="3171" y="1323"/>
                    </a:lnTo>
                    <a:lnTo>
                      <a:pt x="3175" y="1325"/>
                    </a:lnTo>
                    <a:lnTo>
                      <a:pt x="3170" y="1333"/>
                    </a:lnTo>
                    <a:lnTo>
                      <a:pt x="3164" y="1340"/>
                    </a:lnTo>
                    <a:lnTo>
                      <a:pt x="3158" y="1346"/>
                    </a:lnTo>
                    <a:lnTo>
                      <a:pt x="3151" y="1351"/>
                    </a:lnTo>
                    <a:lnTo>
                      <a:pt x="3145" y="1356"/>
                    </a:lnTo>
                    <a:lnTo>
                      <a:pt x="3140" y="1361"/>
                    </a:lnTo>
                    <a:lnTo>
                      <a:pt x="3138" y="1364"/>
                    </a:lnTo>
                    <a:lnTo>
                      <a:pt x="3137" y="1367"/>
                    </a:lnTo>
                    <a:lnTo>
                      <a:pt x="3136" y="1370"/>
                    </a:lnTo>
                    <a:lnTo>
                      <a:pt x="3136" y="1373"/>
                    </a:lnTo>
                    <a:lnTo>
                      <a:pt x="3136" y="1380"/>
                    </a:lnTo>
                    <a:lnTo>
                      <a:pt x="3137" y="1386"/>
                    </a:lnTo>
                    <a:lnTo>
                      <a:pt x="3138" y="1391"/>
                    </a:lnTo>
                    <a:lnTo>
                      <a:pt x="3140" y="1396"/>
                    </a:lnTo>
                    <a:lnTo>
                      <a:pt x="3144" y="1401"/>
                    </a:lnTo>
                    <a:lnTo>
                      <a:pt x="3146" y="1405"/>
                    </a:lnTo>
                    <a:lnTo>
                      <a:pt x="3149" y="1410"/>
                    </a:lnTo>
                    <a:lnTo>
                      <a:pt x="3153" y="1413"/>
                    </a:lnTo>
                    <a:lnTo>
                      <a:pt x="3162" y="1420"/>
                    </a:lnTo>
                    <a:lnTo>
                      <a:pt x="3173" y="1426"/>
                    </a:lnTo>
                    <a:lnTo>
                      <a:pt x="3184" y="1431"/>
                    </a:lnTo>
                    <a:lnTo>
                      <a:pt x="3196" y="1436"/>
                    </a:lnTo>
                    <a:lnTo>
                      <a:pt x="3209" y="1439"/>
                    </a:lnTo>
                    <a:lnTo>
                      <a:pt x="3224" y="1441"/>
                    </a:lnTo>
                    <a:lnTo>
                      <a:pt x="3237" y="1442"/>
                    </a:lnTo>
                    <a:lnTo>
                      <a:pt x="3251" y="1443"/>
                    </a:lnTo>
                    <a:lnTo>
                      <a:pt x="3277" y="1443"/>
                    </a:lnTo>
                    <a:lnTo>
                      <a:pt x="3302" y="1442"/>
                    </a:lnTo>
                    <a:lnTo>
                      <a:pt x="3302" y="1466"/>
                    </a:lnTo>
                    <a:lnTo>
                      <a:pt x="3292" y="1469"/>
                    </a:lnTo>
                    <a:lnTo>
                      <a:pt x="3283" y="1471"/>
                    </a:lnTo>
                    <a:lnTo>
                      <a:pt x="3274" y="1472"/>
                    </a:lnTo>
                    <a:lnTo>
                      <a:pt x="3265" y="1472"/>
                    </a:lnTo>
                    <a:lnTo>
                      <a:pt x="3257" y="1472"/>
                    </a:lnTo>
                    <a:lnTo>
                      <a:pt x="3248" y="1473"/>
                    </a:lnTo>
                    <a:lnTo>
                      <a:pt x="3239" y="1474"/>
                    </a:lnTo>
                    <a:lnTo>
                      <a:pt x="3229" y="1478"/>
                    </a:lnTo>
                    <a:lnTo>
                      <a:pt x="3213" y="1485"/>
                    </a:lnTo>
                    <a:lnTo>
                      <a:pt x="3198" y="1494"/>
                    </a:lnTo>
                    <a:lnTo>
                      <a:pt x="3184" y="1502"/>
                    </a:lnTo>
                    <a:lnTo>
                      <a:pt x="3172" y="1510"/>
                    </a:lnTo>
                    <a:lnTo>
                      <a:pt x="3158" y="1519"/>
                    </a:lnTo>
                    <a:lnTo>
                      <a:pt x="3144" y="1527"/>
                    </a:lnTo>
                    <a:lnTo>
                      <a:pt x="3128" y="1536"/>
                    </a:lnTo>
                    <a:lnTo>
                      <a:pt x="3109" y="1546"/>
                    </a:lnTo>
                    <a:lnTo>
                      <a:pt x="3099" y="1550"/>
                    </a:lnTo>
                    <a:lnTo>
                      <a:pt x="3088" y="1553"/>
                    </a:lnTo>
                    <a:lnTo>
                      <a:pt x="3077" y="1555"/>
                    </a:lnTo>
                    <a:lnTo>
                      <a:pt x="3066" y="1556"/>
                    </a:lnTo>
                    <a:lnTo>
                      <a:pt x="3056" y="1558"/>
                    </a:lnTo>
                    <a:lnTo>
                      <a:pt x="3047" y="1561"/>
                    </a:lnTo>
                    <a:lnTo>
                      <a:pt x="3044" y="1563"/>
                    </a:lnTo>
                    <a:lnTo>
                      <a:pt x="3040" y="1565"/>
                    </a:lnTo>
                    <a:lnTo>
                      <a:pt x="3038" y="1568"/>
                    </a:lnTo>
                    <a:lnTo>
                      <a:pt x="3036" y="1571"/>
                    </a:lnTo>
                    <a:lnTo>
                      <a:pt x="3026" y="1567"/>
                    </a:lnTo>
                    <a:lnTo>
                      <a:pt x="3018" y="1564"/>
                    </a:lnTo>
                    <a:lnTo>
                      <a:pt x="3015" y="1562"/>
                    </a:lnTo>
                    <a:lnTo>
                      <a:pt x="3012" y="1560"/>
                    </a:lnTo>
                    <a:lnTo>
                      <a:pt x="3011" y="1557"/>
                    </a:lnTo>
                    <a:lnTo>
                      <a:pt x="3010" y="1553"/>
                    </a:lnTo>
                    <a:lnTo>
                      <a:pt x="3010" y="1546"/>
                    </a:lnTo>
                    <a:lnTo>
                      <a:pt x="3012" y="1539"/>
                    </a:lnTo>
                    <a:lnTo>
                      <a:pt x="3013" y="1533"/>
                    </a:lnTo>
                    <a:lnTo>
                      <a:pt x="3016" y="1528"/>
                    </a:lnTo>
                    <a:lnTo>
                      <a:pt x="3019" y="1524"/>
                    </a:lnTo>
                    <a:lnTo>
                      <a:pt x="3024" y="1519"/>
                    </a:lnTo>
                    <a:lnTo>
                      <a:pt x="3028" y="1516"/>
                    </a:lnTo>
                    <a:lnTo>
                      <a:pt x="3033" y="1512"/>
                    </a:lnTo>
                    <a:lnTo>
                      <a:pt x="3045" y="1506"/>
                    </a:lnTo>
                    <a:lnTo>
                      <a:pt x="3058" y="1501"/>
                    </a:lnTo>
                    <a:lnTo>
                      <a:pt x="3072" y="1497"/>
                    </a:lnTo>
                    <a:lnTo>
                      <a:pt x="3086" y="1493"/>
                    </a:lnTo>
                    <a:lnTo>
                      <a:pt x="3117" y="1487"/>
                    </a:lnTo>
                    <a:lnTo>
                      <a:pt x="3147" y="1482"/>
                    </a:lnTo>
                    <a:lnTo>
                      <a:pt x="3160" y="1479"/>
                    </a:lnTo>
                    <a:lnTo>
                      <a:pt x="3172" y="1475"/>
                    </a:lnTo>
                    <a:lnTo>
                      <a:pt x="3182" y="1471"/>
                    </a:lnTo>
                    <a:lnTo>
                      <a:pt x="3189" y="1466"/>
                    </a:lnTo>
                    <a:lnTo>
                      <a:pt x="3178" y="1463"/>
                    </a:lnTo>
                    <a:lnTo>
                      <a:pt x="3169" y="1460"/>
                    </a:lnTo>
                    <a:lnTo>
                      <a:pt x="3160" y="1456"/>
                    </a:lnTo>
                    <a:lnTo>
                      <a:pt x="3153" y="1451"/>
                    </a:lnTo>
                    <a:lnTo>
                      <a:pt x="3147" y="1448"/>
                    </a:lnTo>
                    <a:lnTo>
                      <a:pt x="3139" y="1445"/>
                    </a:lnTo>
                    <a:lnTo>
                      <a:pt x="3131" y="1442"/>
                    </a:lnTo>
                    <a:lnTo>
                      <a:pt x="3123" y="1442"/>
                    </a:lnTo>
                    <a:lnTo>
                      <a:pt x="3117" y="1442"/>
                    </a:lnTo>
                    <a:lnTo>
                      <a:pt x="3113" y="1443"/>
                    </a:lnTo>
                    <a:lnTo>
                      <a:pt x="3107" y="1445"/>
                    </a:lnTo>
                    <a:lnTo>
                      <a:pt x="3103" y="1446"/>
                    </a:lnTo>
                    <a:lnTo>
                      <a:pt x="3093" y="1452"/>
                    </a:lnTo>
                    <a:lnTo>
                      <a:pt x="3083" y="1458"/>
                    </a:lnTo>
                    <a:lnTo>
                      <a:pt x="3074" y="1464"/>
                    </a:lnTo>
                    <a:lnTo>
                      <a:pt x="3066" y="1470"/>
                    </a:lnTo>
                    <a:lnTo>
                      <a:pt x="3057" y="1475"/>
                    </a:lnTo>
                    <a:lnTo>
                      <a:pt x="3049" y="1478"/>
                    </a:lnTo>
                    <a:lnTo>
                      <a:pt x="3044" y="1479"/>
                    </a:lnTo>
                    <a:lnTo>
                      <a:pt x="3036" y="1481"/>
                    </a:lnTo>
                    <a:lnTo>
                      <a:pt x="3026" y="1483"/>
                    </a:lnTo>
                    <a:lnTo>
                      <a:pt x="3016" y="1484"/>
                    </a:lnTo>
                    <a:lnTo>
                      <a:pt x="3010" y="1478"/>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79" name="Freeform 434">
              <a:extLst>
                <a:ext uri="{FF2B5EF4-FFF2-40B4-BE49-F238E27FC236}">
                  <a16:creationId xmlns:a16="http://schemas.microsoft.com/office/drawing/2014/main" id="{F4073DAC-BC1C-49E6-93C4-82DAC40BE612}"/>
                </a:ext>
              </a:extLst>
            </p:cNvPr>
            <p:cNvSpPr>
              <a:spLocks/>
            </p:cNvSpPr>
            <p:nvPr>
              <p:custDataLst>
                <p:tags r:id="rId275"/>
              </p:custDataLst>
            </p:nvPr>
          </p:nvSpPr>
          <p:spPr bwMode="auto">
            <a:xfrm>
              <a:off x="4757733" y="3541685"/>
              <a:ext cx="127000" cy="158749"/>
            </a:xfrm>
            <a:custGeom>
              <a:avLst/>
              <a:gdLst>
                <a:gd name="T0" fmla="*/ 115257 w 292"/>
                <a:gd name="T1" fmla="*/ 5154 h 308"/>
                <a:gd name="T2" fmla="*/ 120041 w 292"/>
                <a:gd name="T3" fmla="*/ 19071 h 308"/>
                <a:gd name="T4" fmla="*/ 124390 w 292"/>
                <a:gd name="T5" fmla="*/ 46903 h 308"/>
                <a:gd name="T6" fmla="*/ 127000 w 292"/>
                <a:gd name="T7" fmla="*/ 74221 h 308"/>
                <a:gd name="T8" fmla="*/ 126565 w 292"/>
                <a:gd name="T9" fmla="*/ 82983 h 308"/>
                <a:gd name="T10" fmla="*/ 124390 w 292"/>
                <a:gd name="T11" fmla="*/ 92261 h 308"/>
                <a:gd name="T12" fmla="*/ 116997 w 292"/>
                <a:gd name="T13" fmla="*/ 106177 h 308"/>
                <a:gd name="T14" fmla="*/ 100469 w 292"/>
                <a:gd name="T15" fmla="*/ 95353 h 308"/>
                <a:gd name="T16" fmla="*/ 71764 w 292"/>
                <a:gd name="T17" fmla="*/ 132979 h 308"/>
                <a:gd name="T18" fmla="*/ 57411 w 292"/>
                <a:gd name="T19" fmla="*/ 143287 h 308"/>
                <a:gd name="T20" fmla="*/ 25661 w 292"/>
                <a:gd name="T21" fmla="*/ 152565 h 308"/>
                <a:gd name="T22" fmla="*/ 13918 w 292"/>
                <a:gd name="T23" fmla="*/ 158750 h 308"/>
                <a:gd name="T24" fmla="*/ 2610 w 292"/>
                <a:gd name="T25" fmla="*/ 158750 h 308"/>
                <a:gd name="T26" fmla="*/ 3914 w 292"/>
                <a:gd name="T27" fmla="*/ 153080 h 308"/>
                <a:gd name="T28" fmla="*/ 4784 w 292"/>
                <a:gd name="T29" fmla="*/ 147411 h 308"/>
                <a:gd name="T30" fmla="*/ 3045 w 292"/>
                <a:gd name="T31" fmla="*/ 136587 h 308"/>
                <a:gd name="T32" fmla="*/ 870 w 292"/>
                <a:gd name="T33" fmla="*/ 126794 h 308"/>
                <a:gd name="T34" fmla="*/ 0 w 292"/>
                <a:gd name="T35" fmla="*/ 117516 h 308"/>
                <a:gd name="T36" fmla="*/ 1305 w 292"/>
                <a:gd name="T37" fmla="*/ 105662 h 308"/>
                <a:gd name="T38" fmla="*/ 5219 w 292"/>
                <a:gd name="T39" fmla="*/ 96899 h 308"/>
                <a:gd name="T40" fmla="*/ 11308 w 292"/>
                <a:gd name="T41" fmla="*/ 89683 h 308"/>
                <a:gd name="T42" fmla="*/ 18267 w 292"/>
                <a:gd name="T43" fmla="*/ 82983 h 308"/>
                <a:gd name="T44" fmla="*/ 33490 w 292"/>
                <a:gd name="T45" fmla="*/ 69582 h 308"/>
                <a:gd name="T46" fmla="*/ 40449 w 292"/>
                <a:gd name="T47" fmla="*/ 61335 h 308"/>
                <a:gd name="T48" fmla="*/ 45668 w 292"/>
                <a:gd name="T49" fmla="*/ 50511 h 308"/>
                <a:gd name="T50" fmla="*/ 42623 w 292"/>
                <a:gd name="T51" fmla="*/ 49481 h 308"/>
                <a:gd name="T52" fmla="*/ 40014 w 292"/>
                <a:gd name="T53" fmla="*/ 46903 h 308"/>
                <a:gd name="T54" fmla="*/ 35664 w 292"/>
                <a:gd name="T55" fmla="*/ 37626 h 308"/>
                <a:gd name="T56" fmla="*/ 32185 w 292"/>
                <a:gd name="T57" fmla="*/ 25771 h 308"/>
                <a:gd name="T58" fmla="*/ 31315 w 292"/>
                <a:gd name="T59" fmla="*/ 12370 h 308"/>
                <a:gd name="T60" fmla="*/ 39144 w 292"/>
                <a:gd name="T61" fmla="*/ 9793 h 308"/>
                <a:gd name="T62" fmla="*/ 45668 w 292"/>
                <a:gd name="T63" fmla="*/ 10308 h 308"/>
                <a:gd name="T64" fmla="*/ 57411 w 292"/>
                <a:gd name="T65" fmla="*/ 12370 h 308"/>
                <a:gd name="T66" fmla="*/ 73503 w 292"/>
                <a:gd name="T67" fmla="*/ 10824 h 308"/>
                <a:gd name="T68" fmla="*/ 91336 w 292"/>
                <a:gd name="T69" fmla="*/ 6185 h 308"/>
                <a:gd name="T70" fmla="*/ 112647 w 292"/>
                <a:gd name="T71" fmla="*/ 0 h 30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92" h="308">
                  <a:moveTo>
                    <a:pt x="259" y="0"/>
                  </a:moveTo>
                  <a:lnTo>
                    <a:pt x="265" y="10"/>
                  </a:lnTo>
                  <a:lnTo>
                    <a:pt x="271" y="23"/>
                  </a:lnTo>
                  <a:lnTo>
                    <a:pt x="276" y="37"/>
                  </a:lnTo>
                  <a:lnTo>
                    <a:pt x="280" y="54"/>
                  </a:lnTo>
                  <a:lnTo>
                    <a:pt x="286" y="91"/>
                  </a:lnTo>
                  <a:lnTo>
                    <a:pt x="292" y="135"/>
                  </a:lnTo>
                  <a:lnTo>
                    <a:pt x="292" y="144"/>
                  </a:lnTo>
                  <a:lnTo>
                    <a:pt x="292" y="153"/>
                  </a:lnTo>
                  <a:lnTo>
                    <a:pt x="291" y="161"/>
                  </a:lnTo>
                  <a:lnTo>
                    <a:pt x="289" y="168"/>
                  </a:lnTo>
                  <a:lnTo>
                    <a:pt x="286" y="179"/>
                  </a:lnTo>
                  <a:lnTo>
                    <a:pt x="281" y="189"/>
                  </a:lnTo>
                  <a:lnTo>
                    <a:pt x="269" y="206"/>
                  </a:lnTo>
                  <a:lnTo>
                    <a:pt x="258" y="225"/>
                  </a:lnTo>
                  <a:lnTo>
                    <a:pt x="231" y="185"/>
                  </a:lnTo>
                  <a:lnTo>
                    <a:pt x="192" y="222"/>
                  </a:lnTo>
                  <a:lnTo>
                    <a:pt x="165" y="258"/>
                  </a:lnTo>
                  <a:lnTo>
                    <a:pt x="152" y="246"/>
                  </a:lnTo>
                  <a:lnTo>
                    <a:pt x="132" y="278"/>
                  </a:lnTo>
                  <a:lnTo>
                    <a:pt x="132" y="296"/>
                  </a:lnTo>
                  <a:lnTo>
                    <a:pt x="59" y="296"/>
                  </a:lnTo>
                  <a:lnTo>
                    <a:pt x="46" y="302"/>
                  </a:lnTo>
                  <a:lnTo>
                    <a:pt x="32" y="308"/>
                  </a:lnTo>
                  <a:lnTo>
                    <a:pt x="19" y="308"/>
                  </a:lnTo>
                  <a:lnTo>
                    <a:pt x="6" y="308"/>
                  </a:lnTo>
                  <a:lnTo>
                    <a:pt x="8" y="302"/>
                  </a:lnTo>
                  <a:lnTo>
                    <a:pt x="9" y="297"/>
                  </a:lnTo>
                  <a:lnTo>
                    <a:pt x="11" y="291"/>
                  </a:lnTo>
                  <a:lnTo>
                    <a:pt x="11" y="286"/>
                  </a:lnTo>
                  <a:lnTo>
                    <a:pt x="9" y="276"/>
                  </a:lnTo>
                  <a:lnTo>
                    <a:pt x="7" y="265"/>
                  </a:lnTo>
                  <a:lnTo>
                    <a:pt x="5" y="256"/>
                  </a:lnTo>
                  <a:lnTo>
                    <a:pt x="2" y="246"/>
                  </a:lnTo>
                  <a:lnTo>
                    <a:pt x="0" y="237"/>
                  </a:lnTo>
                  <a:lnTo>
                    <a:pt x="0" y="228"/>
                  </a:lnTo>
                  <a:lnTo>
                    <a:pt x="0" y="216"/>
                  </a:lnTo>
                  <a:lnTo>
                    <a:pt x="3" y="205"/>
                  </a:lnTo>
                  <a:lnTo>
                    <a:pt x="6" y="196"/>
                  </a:lnTo>
                  <a:lnTo>
                    <a:pt x="12" y="188"/>
                  </a:lnTo>
                  <a:lnTo>
                    <a:pt x="18" y="180"/>
                  </a:lnTo>
                  <a:lnTo>
                    <a:pt x="26" y="174"/>
                  </a:lnTo>
                  <a:lnTo>
                    <a:pt x="34" y="167"/>
                  </a:lnTo>
                  <a:lnTo>
                    <a:pt x="42" y="161"/>
                  </a:lnTo>
                  <a:lnTo>
                    <a:pt x="60" y="148"/>
                  </a:lnTo>
                  <a:lnTo>
                    <a:pt x="77" y="135"/>
                  </a:lnTo>
                  <a:lnTo>
                    <a:pt x="85" y="128"/>
                  </a:lnTo>
                  <a:lnTo>
                    <a:pt x="93" y="119"/>
                  </a:lnTo>
                  <a:lnTo>
                    <a:pt x="99" y="110"/>
                  </a:lnTo>
                  <a:lnTo>
                    <a:pt x="105" y="98"/>
                  </a:lnTo>
                  <a:lnTo>
                    <a:pt x="102" y="98"/>
                  </a:lnTo>
                  <a:lnTo>
                    <a:pt x="98" y="96"/>
                  </a:lnTo>
                  <a:lnTo>
                    <a:pt x="95" y="94"/>
                  </a:lnTo>
                  <a:lnTo>
                    <a:pt x="92" y="91"/>
                  </a:lnTo>
                  <a:lnTo>
                    <a:pt x="86" y="83"/>
                  </a:lnTo>
                  <a:lnTo>
                    <a:pt x="82" y="73"/>
                  </a:lnTo>
                  <a:lnTo>
                    <a:pt x="77" y="62"/>
                  </a:lnTo>
                  <a:lnTo>
                    <a:pt x="74" y="50"/>
                  </a:lnTo>
                  <a:lnTo>
                    <a:pt x="73" y="36"/>
                  </a:lnTo>
                  <a:lnTo>
                    <a:pt x="72" y="24"/>
                  </a:lnTo>
                  <a:lnTo>
                    <a:pt x="82" y="21"/>
                  </a:lnTo>
                  <a:lnTo>
                    <a:pt x="90" y="19"/>
                  </a:lnTo>
                  <a:lnTo>
                    <a:pt x="97" y="19"/>
                  </a:lnTo>
                  <a:lnTo>
                    <a:pt x="105" y="20"/>
                  </a:lnTo>
                  <a:lnTo>
                    <a:pt x="118" y="23"/>
                  </a:lnTo>
                  <a:lnTo>
                    <a:pt x="132" y="24"/>
                  </a:lnTo>
                  <a:lnTo>
                    <a:pt x="149" y="23"/>
                  </a:lnTo>
                  <a:lnTo>
                    <a:pt x="169" y="21"/>
                  </a:lnTo>
                  <a:lnTo>
                    <a:pt x="189" y="17"/>
                  </a:lnTo>
                  <a:lnTo>
                    <a:pt x="210" y="12"/>
                  </a:lnTo>
                  <a:lnTo>
                    <a:pt x="244" y="4"/>
                  </a:lnTo>
                  <a:lnTo>
                    <a:pt x="259"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0" name="Freeform 435">
              <a:extLst>
                <a:ext uri="{FF2B5EF4-FFF2-40B4-BE49-F238E27FC236}">
                  <a16:creationId xmlns:a16="http://schemas.microsoft.com/office/drawing/2014/main" id="{9152524D-5E07-4CDD-8406-72B1D42C4706}"/>
                </a:ext>
              </a:extLst>
            </p:cNvPr>
            <p:cNvSpPr>
              <a:spLocks/>
            </p:cNvSpPr>
            <p:nvPr>
              <p:custDataLst>
                <p:tags r:id="rId276"/>
              </p:custDataLst>
            </p:nvPr>
          </p:nvSpPr>
          <p:spPr bwMode="auto">
            <a:xfrm>
              <a:off x="4864094" y="3692496"/>
              <a:ext cx="6350" cy="57150"/>
            </a:xfrm>
            <a:custGeom>
              <a:avLst/>
              <a:gdLst>
                <a:gd name="T0" fmla="*/ 4989 w 14"/>
                <a:gd name="T1" fmla="*/ 0 h 7"/>
                <a:gd name="T2" fmla="*/ 5896 w 14"/>
                <a:gd name="T3" fmla="*/ 24493 h 7"/>
                <a:gd name="T4" fmla="*/ 6350 w 14"/>
                <a:gd name="T5" fmla="*/ 57150 h 7"/>
                <a:gd name="T6" fmla="*/ 0 w 14"/>
                <a:gd name="T7" fmla="*/ 57150 h 7"/>
                <a:gd name="T8" fmla="*/ 4989 w 14"/>
                <a:gd name="T9" fmla="*/ 0 h 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4" h="7">
                  <a:moveTo>
                    <a:pt x="11" y="0"/>
                  </a:moveTo>
                  <a:lnTo>
                    <a:pt x="13" y="3"/>
                  </a:lnTo>
                  <a:lnTo>
                    <a:pt x="14" y="7"/>
                  </a:lnTo>
                  <a:lnTo>
                    <a:pt x="0" y="7"/>
                  </a:lnTo>
                  <a:lnTo>
                    <a:pt x="11"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1" name="Freeform 436">
              <a:extLst>
                <a:ext uri="{FF2B5EF4-FFF2-40B4-BE49-F238E27FC236}">
                  <a16:creationId xmlns:a16="http://schemas.microsoft.com/office/drawing/2014/main" id="{4746564A-B732-40D0-B7AB-0170EB9C0EEA}"/>
                </a:ext>
              </a:extLst>
            </p:cNvPr>
            <p:cNvSpPr>
              <a:spLocks/>
            </p:cNvSpPr>
            <p:nvPr>
              <p:custDataLst>
                <p:tags r:id="rId277"/>
              </p:custDataLst>
            </p:nvPr>
          </p:nvSpPr>
          <p:spPr bwMode="auto">
            <a:xfrm>
              <a:off x="4354508" y="2928915"/>
              <a:ext cx="249237" cy="500058"/>
            </a:xfrm>
            <a:custGeom>
              <a:avLst/>
              <a:gdLst>
                <a:gd name="T0" fmla="*/ 34747 w 581"/>
                <a:gd name="T1" fmla="*/ 60217 h 955"/>
                <a:gd name="T2" fmla="*/ 44614 w 581"/>
                <a:gd name="T3" fmla="*/ 79591 h 955"/>
                <a:gd name="T4" fmla="*/ 47617 w 581"/>
                <a:gd name="T5" fmla="*/ 94253 h 955"/>
                <a:gd name="T6" fmla="*/ 40753 w 581"/>
                <a:gd name="T7" fmla="*/ 122528 h 955"/>
                <a:gd name="T8" fmla="*/ 41182 w 581"/>
                <a:gd name="T9" fmla="*/ 170178 h 955"/>
                <a:gd name="T10" fmla="*/ 39895 w 581"/>
                <a:gd name="T11" fmla="*/ 190076 h 955"/>
                <a:gd name="T12" fmla="*/ 35176 w 581"/>
                <a:gd name="T13" fmla="*/ 207356 h 955"/>
                <a:gd name="T14" fmla="*/ 25310 w 581"/>
                <a:gd name="T15" fmla="*/ 224635 h 955"/>
                <a:gd name="T16" fmla="*/ 13298 w 581"/>
                <a:gd name="T17" fmla="*/ 241391 h 955"/>
                <a:gd name="T18" fmla="*/ 7293 w 581"/>
                <a:gd name="T19" fmla="*/ 251864 h 955"/>
                <a:gd name="T20" fmla="*/ 858 w 581"/>
                <a:gd name="T21" fmla="*/ 283805 h 955"/>
                <a:gd name="T22" fmla="*/ 29600 w 581"/>
                <a:gd name="T23" fmla="*/ 322553 h 955"/>
                <a:gd name="T24" fmla="*/ 29600 w 581"/>
                <a:gd name="T25" fmla="*/ 331978 h 955"/>
                <a:gd name="T26" fmla="*/ 31744 w 581"/>
                <a:gd name="T27" fmla="*/ 348211 h 955"/>
                <a:gd name="T28" fmla="*/ 31744 w 581"/>
                <a:gd name="T29" fmla="*/ 364443 h 955"/>
                <a:gd name="T30" fmla="*/ 33460 w 581"/>
                <a:gd name="T31" fmla="*/ 383817 h 955"/>
                <a:gd name="T32" fmla="*/ 40324 w 581"/>
                <a:gd name="T33" fmla="*/ 407380 h 955"/>
                <a:gd name="T34" fmla="*/ 45043 w 581"/>
                <a:gd name="T35" fmla="*/ 414711 h 955"/>
                <a:gd name="T36" fmla="*/ 29171 w 581"/>
                <a:gd name="T37" fmla="*/ 415758 h 955"/>
                <a:gd name="T38" fmla="*/ 18017 w 581"/>
                <a:gd name="T39" fmla="*/ 419947 h 955"/>
                <a:gd name="T40" fmla="*/ 15443 w 581"/>
                <a:gd name="T41" fmla="*/ 425184 h 955"/>
                <a:gd name="T42" fmla="*/ 18017 w 581"/>
                <a:gd name="T43" fmla="*/ 440892 h 955"/>
                <a:gd name="T44" fmla="*/ 29600 w 581"/>
                <a:gd name="T45" fmla="*/ 458696 h 955"/>
                <a:gd name="T46" fmla="*/ 37321 w 581"/>
                <a:gd name="T47" fmla="*/ 470739 h 955"/>
                <a:gd name="T48" fmla="*/ 42898 w 581"/>
                <a:gd name="T49" fmla="*/ 485400 h 955"/>
                <a:gd name="T50" fmla="*/ 66921 w 581"/>
                <a:gd name="T51" fmla="*/ 500062 h 955"/>
                <a:gd name="T52" fmla="*/ 81077 w 581"/>
                <a:gd name="T53" fmla="*/ 493255 h 955"/>
                <a:gd name="T54" fmla="*/ 106387 w 581"/>
                <a:gd name="T55" fmla="*/ 486448 h 955"/>
                <a:gd name="T56" fmla="*/ 119685 w 581"/>
                <a:gd name="T57" fmla="*/ 482259 h 955"/>
                <a:gd name="T58" fmla="*/ 127407 w 581"/>
                <a:gd name="T59" fmla="*/ 473357 h 955"/>
                <a:gd name="T60" fmla="*/ 129552 w 581"/>
                <a:gd name="T61" fmla="*/ 467074 h 955"/>
                <a:gd name="T62" fmla="*/ 129552 w 581"/>
                <a:gd name="T63" fmla="*/ 454507 h 955"/>
                <a:gd name="T64" fmla="*/ 144995 w 581"/>
                <a:gd name="T65" fmla="*/ 456077 h 955"/>
                <a:gd name="T66" fmla="*/ 157435 w 581"/>
                <a:gd name="T67" fmla="*/ 453459 h 955"/>
                <a:gd name="T68" fmla="*/ 166873 w 581"/>
                <a:gd name="T69" fmla="*/ 448223 h 955"/>
                <a:gd name="T70" fmla="*/ 173737 w 581"/>
                <a:gd name="T71" fmla="*/ 440892 h 955"/>
                <a:gd name="T72" fmla="*/ 185319 w 581"/>
                <a:gd name="T73" fmla="*/ 422565 h 955"/>
                <a:gd name="T74" fmla="*/ 197330 w 581"/>
                <a:gd name="T75" fmla="*/ 404762 h 955"/>
                <a:gd name="T76" fmla="*/ 204623 w 581"/>
                <a:gd name="T77" fmla="*/ 397955 h 955"/>
                <a:gd name="T78" fmla="*/ 215348 w 581"/>
                <a:gd name="T79" fmla="*/ 393766 h 955"/>
                <a:gd name="T80" fmla="*/ 223498 w 581"/>
                <a:gd name="T81" fmla="*/ 390101 h 955"/>
                <a:gd name="T82" fmla="*/ 214061 w 581"/>
                <a:gd name="T83" fmla="*/ 364967 h 955"/>
                <a:gd name="T84" fmla="*/ 207626 w 581"/>
                <a:gd name="T85" fmla="*/ 341927 h 955"/>
                <a:gd name="T86" fmla="*/ 202478 w 581"/>
                <a:gd name="T87" fmla="*/ 326218 h 955"/>
                <a:gd name="T88" fmla="*/ 206339 w 581"/>
                <a:gd name="T89" fmla="*/ 319411 h 955"/>
                <a:gd name="T90" fmla="*/ 208913 w 581"/>
                <a:gd name="T91" fmla="*/ 303179 h 955"/>
                <a:gd name="T92" fmla="*/ 211916 w 581"/>
                <a:gd name="T93" fmla="*/ 283281 h 955"/>
                <a:gd name="T94" fmla="*/ 216635 w 581"/>
                <a:gd name="T95" fmla="*/ 271761 h 955"/>
                <a:gd name="T96" fmla="*/ 228217 w 581"/>
                <a:gd name="T97" fmla="*/ 254482 h 955"/>
                <a:gd name="T98" fmla="*/ 244518 w 581"/>
                <a:gd name="T99" fmla="*/ 241391 h 955"/>
                <a:gd name="T100" fmla="*/ 55338 w 581"/>
                <a:gd name="T101" fmla="*/ 0 h 955"/>
                <a:gd name="T102" fmla="*/ 42040 w 581"/>
                <a:gd name="T103" fmla="*/ 2618 h 955"/>
                <a:gd name="T104" fmla="*/ 29600 w 581"/>
                <a:gd name="T105" fmla="*/ 12567 h 955"/>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81" h="955">
                  <a:moveTo>
                    <a:pt x="69" y="24"/>
                  </a:moveTo>
                  <a:lnTo>
                    <a:pt x="69" y="97"/>
                  </a:lnTo>
                  <a:lnTo>
                    <a:pt x="81" y="115"/>
                  </a:lnTo>
                  <a:lnTo>
                    <a:pt x="91" y="129"/>
                  </a:lnTo>
                  <a:lnTo>
                    <a:pt x="99" y="141"/>
                  </a:lnTo>
                  <a:lnTo>
                    <a:pt x="104" y="152"/>
                  </a:lnTo>
                  <a:lnTo>
                    <a:pt x="107" y="163"/>
                  </a:lnTo>
                  <a:lnTo>
                    <a:pt x="110" y="172"/>
                  </a:lnTo>
                  <a:lnTo>
                    <a:pt x="111" y="180"/>
                  </a:lnTo>
                  <a:lnTo>
                    <a:pt x="110" y="186"/>
                  </a:lnTo>
                  <a:lnTo>
                    <a:pt x="102" y="209"/>
                  </a:lnTo>
                  <a:lnTo>
                    <a:pt x="95" y="234"/>
                  </a:lnTo>
                  <a:lnTo>
                    <a:pt x="96" y="276"/>
                  </a:lnTo>
                  <a:lnTo>
                    <a:pt x="96" y="309"/>
                  </a:lnTo>
                  <a:lnTo>
                    <a:pt x="96" y="325"/>
                  </a:lnTo>
                  <a:lnTo>
                    <a:pt x="96" y="339"/>
                  </a:lnTo>
                  <a:lnTo>
                    <a:pt x="95" y="351"/>
                  </a:lnTo>
                  <a:lnTo>
                    <a:pt x="93" y="363"/>
                  </a:lnTo>
                  <a:lnTo>
                    <a:pt x="91" y="374"/>
                  </a:lnTo>
                  <a:lnTo>
                    <a:pt x="87" y="386"/>
                  </a:lnTo>
                  <a:lnTo>
                    <a:pt x="82" y="396"/>
                  </a:lnTo>
                  <a:lnTo>
                    <a:pt x="76" y="407"/>
                  </a:lnTo>
                  <a:lnTo>
                    <a:pt x="69" y="418"/>
                  </a:lnTo>
                  <a:lnTo>
                    <a:pt x="59" y="429"/>
                  </a:lnTo>
                  <a:lnTo>
                    <a:pt x="48" y="442"/>
                  </a:lnTo>
                  <a:lnTo>
                    <a:pt x="36" y="455"/>
                  </a:lnTo>
                  <a:lnTo>
                    <a:pt x="31" y="461"/>
                  </a:lnTo>
                  <a:lnTo>
                    <a:pt x="26" y="467"/>
                  </a:lnTo>
                  <a:lnTo>
                    <a:pt x="22" y="474"/>
                  </a:lnTo>
                  <a:lnTo>
                    <a:pt x="17" y="481"/>
                  </a:lnTo>
                  <a:lnTo>
                    <a:pt x="12" y="496"/>
                  </a:lnTo>
                  <a:lnTo>
                    <a:pt x="8" y="512"/>
                  </a:lnTo>
                  <a:lnTo>
                    <a:pt x="2" y="542"/>
                  </a:lnTo>
                  <a:lnTo>
                    <a:pt x="0" y="568"/>
                  </a:lnTo>
                  <a:lnTo>
                    <a:pt x="29" y="578"/>
                  </a:lnTo>
                  <a:lnTo>
                    <a:pt x="69" y="616"/>
                  </a:lnTo>
                  <a:lnTo>
                    <a:pt x="51" y="632"/>
                  </a:lnTo>
                  <a:lnTo>
                    <a:pt x="60" y="633"/>
                  </a:lnTo>
                  <a:lnTo>
                    <a:pt x="69" y="634"/>
                  </a:lnTo>
                  <a:lnTo>
                    <a:pt x="70" y="643"/>
                  </a:lnTo>
                  <a:lnTo>
                    <a:pt x="72" y="653"/>
                  </a:lnTo>
                  <a:lnTo>
                    <a:pt x="74" y="665"/>
                  </a:lnTo>
                  <a:lnTo>
                    <a:pt x="76" y="677"/>
                  </a:lnTo>
                  <a:lnTo>
                    <a:pt x="74" y="686"/>
                  </a:lnTo>
                  <a:lnTo>
                    <a:pt x="74" y="696"/>
                  </a:lnTo>
                  <a:lnTo>
                    <a:pt x="74" y="705"/>
                  </a:lnTo>
                  <a:lnTo>
                    <a:pt x="76" y="715"/>
                  </a:lnTo>
                  <a:lnTo>
                    <a:pt x="78" y="733"/>
                  </a:lnTo>
                  <a:lnTo>
                    <a:pt x="82" y="749"/>
                  </a:lnTo>
                  <a:lnTo>
                    <a:pt x="88" y="764"/>
                  </a:lnTo>
                  <a:lnTo>
                    <a:pt x="94" y="778"/>
                  </a:lnTo>
                  <a:lnTo>
                    <a:pt x="98" y="783"/>
                  </a:lnTo>
                  <a:lnTo>
                    <a:pt x="102" y="788"/>
                  </a:lnTo>
                  <a:lnTo>
                    <a:pt x="105" y="792"/>
                  </a:lnTo>
                  <a:lnTo>
                    <a:pt x="109" y="794"/>
                  </a:lnTo>
                  <a:lnTo>
                    <a:pt x="92" y="794"/>
                  </a:lnTo>
                  <a:lnTo>
                    <a:pt x="68" y="794"/>
                  </a:lnTo>
                  <a:lnTo>
                    <a:pt x="56" y="796"/>
                  </a:lnTo>
                  <a:lnTo>
                    <a:pt x="46" y="799"/>
                  </a:lnTo>
                  <a:lnTo>
                    <a:pt x="42" y="802"/>
                  </a:lnTo>
                  <a:lnTo>
                    <a:pt x="38" y="805"/>
                  </a:lnTo>
                  <a:lnTo>
                    <a:pt x="36" y="808"/>
                  </a:lnTo>
                  <a:lnTo>
                    <a:pt x="36" y="812"/>
                  </a:lnTo>
                  <a:lnTo>
                    <a:pt x="36" y="824"/>
                  </a:lnTo>
                  <a:lnTo>
                    <a:pt x="38" y="834"/>
                  </a:lnTo>
                  <a:lnTo>
                    <a:pt x="42" y="842"/>
                  </a:lnTo>
                  <a:lnTo>
                    <a:pt x="46" y="850"/>
                  </a:lnTo>
                  <a:lnTo>
                    <a:pt x="57" y="863"/>
                  </a:lnTo>
                  <a:lnTo>
                    <a:pt x="69" y="876"/>
                  </a:lnTo>
                  <a:lnTo>
                    <a:pt x="76" y="884"/>
                  </a:lnTo>
                  <a:lnTo>
                    <a:pt x="81" y="891"/>
                  </a:lnTo>
                  <a:lnTo>
                    <a:pt x="87" y="899"/>
                  </a:lnTo>
                  <a:lnTo>
                    <a:pt x="92" y="907"/>
                  </a:lnTo>
                  <a:lnTo>
                    <a:pt x="96" y="917"/>
                  </a:lnTo>
                  <a:lnTo>
                    <a:pt x="100" y="927"/>
                  </a:lnTo>
                  <a:lnTo>
                    <a:pt x="102" y="941"/>
                  </a:lnTo>
                  <a:lnTo>
                    <a:pt x="102" y="955"/>
                  </a:lnTo>
                  <a:lnTo>
                    <a:pt x="156" y="955"/>
                  </a:lnTo>
                  <a:lnTo>
                    <a:pt x="166" y="949"/>
                  </a:lnTo>
                  <a:lnTo>
                    <a:pt x="177" y="945"/>
                  </a:lnTo>
                  <a:lnTo>
                    <a:pt x="189" y="942"/>
                  </a:lnTo>
                  <a:lnTo>
                    <a:pt x="201" y="939"/>
                  </a:lnTo>
                  <a:lnTo>
                    <a:pt x="225" y="935"/>
                  </a:lnTo>
                  <a:lnTo>
                    <a:pt x="248" y="929"/>
                  </a:lnTo>
                  <a:lnTo>
                    <a:pt x="259" y="927"/>
                  </a:lnTo>
                  <a:lnTo>
                    <a:pt x="270" y="924"/>
                  </a:lnTo>
                  <a:lnTo>
                    <a:pt x="279" y="921"/>
                  </a:lnTo>
                  <a:lnTo>
                    <a:pt x="286" y="916"/>
                  </a:lnTo>
                  <a:lnTo>
                    <a:pt x="293" y="911"/>
                  </a:lnTo>
                  <a:lnTo>
                    <a:pt x="297" y="904"/>
                  </a:lnTo>
                  <a:lnTo>
                    <a:pt x="300" y="901"/>
                  </a:lnTo>
                  <a:lnTo>
                    <a:pt x="301" y="896"/>
                  </a:lnTo>
                  <a:lnTo>
                    <a:pt x="302" y="892"/>
                  </a:lnTo>
                  <a:lnTo>
                    <a:pt x="302" y="887"/>
                  </a:lnTo>
                  <a:lnTo>
                    <a:pt x="302" y="877"/>
                  </a:lnTo>
                  <a:lnTo>
                    <a:pt x="302" y="868"/>
                  </a:lnTo>
                  <a:lnTo>
                    <a:pt x="315" y="870"/>
                  </a:lnTo>
                  <a:lnTo>
                    <a:pt x="327" y="871"/>
                  </a:lnTo>
                  <a:lnTo>
                    <a:pt x="338" y="871"/>
                  </a:lnTo>
                  <a:lnTo>
                    <a:pt x="348" y="870"/>
                  </a:lnTo>
                  <a:lnTo>
                    <a:pt x="358" y="868"/>
                  </a:lnTo>
                  <a:lnTo>
                    <a:pt x="367" y="866"/>
                  </a:lnTo>
                  <a:lnTo>
                    <a:pt x="374" y="863"/>
                  </a:lnTo>
                  <a:lnTo>
                    <a:pt x="382" y="860"/>
                  </a:lnTo>
                  <a:lnTo>
                    <a:pt x="389" y="856"/>
                  </a:lnTo>
                  <a:lnTo>
                    <a:pt x="394" y="852"/>
                  </a:lnTo>
                  <a:lnTo>
                    <a:pt x="401" y="847"/>
                  </a:lnTo>
                  <a:lnTo>
                    <a:pt x="405" y="842"/>
                  </a:lnTo>
                  <a:lnTo>
                    <a:pt x="415" y="831"/>
                  </a:lnTo>
                  <a:lnTo>
                    <a:pt x="424" y="818"/>
                  </a:lnTo>
                  <a:lnTo>
                    <a:pt x="432" y="807"/>
                  </a:lnTo>
                  <a:lnTo>
                    <a:pt x="440" y="795"/>
                  </a:lnTo>
                  <a:lnTo>
                    <a:pt x="449" y="783"/>
                  </a:lnTo>
                  <a:lnTo>
                    <a:pt x="460" y="773"/>
                  </a:lnTo>
                  <a:lnTo>
                    <a:pt x="465" y="769"/>
                  </a:lnTo>
                  <a:lnTo>
                    <a:pt x="471" y="764"/>
                  </a:lnTo>
                  <a:lnTo>
                    <a:pt x="477" y="760"/>
                  </a:lnTo>
                  <a:lnTo>
                    <a:pt x="485" y="757"/>
                  </a:lnTo>
                  <a:lnTo>
                    <a:pt x="493" y="754"/>
                  </a:lnTo>
                  <a:lnTo>
                    <a:pt x="502" y="752"/>
                  </a:lnTo>
                  <a:lnTo>
                    <a:pt x="510" y="751"/>
                  </a:lnTo>
                  <a:lnTo>
                    <a:pt x="521" y="751"/>
                  </a:lnTo>
                  <a:lnTo>
                    <a:pt x="521" y="745"/>
                  </a:lnTo>
                  <a:lnTo>
                    <a:pt x="511" y="729"/>
                  </a:lnTo>
                  <a:lnTo>
                    <a:pt x="505" y="713"/>
                  </a:lnTo>
                  <a:lnTo>
                    <a:pt x="499" y="697"/>
                  </a:lnTo>
                  <a:lnTo>
                    <a:pt x="494" y="682"/>
                  </a:lnTo>
                  <a:lnTo>
                    <a:pt x="490" y="667"/>
                  </a:lnTo>
                  <a:lnTo>
                    <a:pt x="484" y="653"/>
                  </a:lnTo>
                  <a:lnTo>
                    <a:pt x="476" y="640"/>
                  </a:lnTo>
                  <a:lnTo>
                    <a:pt x="468" y="628"/>
                  </a:lnTo>
                  <a:lnTo>
                    <a:pt x="472" y="623"/>
                  </a:lnTo>
                  <a:lnTo>
                    <a:pt x="476" y="619"/>
                  </a:lnTo>
                  <a:lnTo>
                    <a:pt x="479" y="614"/>
                  </a:lnTo>
                  <a:lnTo>
                    <a:pt x="481" y="610"/>
                  </a:lnTo>
                  <a:lnTo>
                    <a:pt x="484" y="599"/>
                  </a:lnTo>
                  <a:lnTo>
                    <a:pt x="486" y="589"/>
                  </a:lnTo>
                  <a:lnTo>
                    <a:pt x="487" y="579"/>
                  </a:lnTo>
                  <a:lnTo>
                    <a:pt x="488" y="567"/>
                  </a:lnTo>
                  <a:lnTo>
                    <a:pt x="491" y="555"/>
                  </a:lnTo>
                  <a:lnTo>
                    <a:pt x="494" y="541"/>
                  </a:lnTo>
                  <a:lnTo>
                    <a:pt x="497" y="533"/>
                  </a:lnTo>
                  <a:lnTo>
                    <a:pt x="501" y="526"/>
                  </a:lnTo>
                  <a:lnTo>
                    <a:pt x="505" y="519"/>
                  </a:lnTo>
                  <a:lnTo>
                    <a:pt x="509" y="512"/>
                  </a:lnTo>
                  <a:lnTo>
                    <a:pt x="520" y="499"/>
                  </a:lnTo>
                  <a:lnTo>
                    <a:pt x="532" y="486"/>
                  </a:lnTo>
                  <a:lnTo>
                    <a:pt x="546" y="476"/>
                  </a:lnTo>
                  <a:lnTo>
                    <a:pt x="558" y="468"/>
                  </a:lnTo>
                  <a:lnTo>
                    <a:pt x="570" y="461"/>
                  </a:lnTo>
                  <a:lnTo>
                    <a:pt x="581" y="455"/>
                  </a:lnTo>
                  <a:lnTo>
                    <a:pt x="581" y="234"/>
                  </a:lnTo>
                  <a:lnTo>
                    <a:pt x="129" y="0"/>
                  </a:lnTo>
                  <a:lnTo>
                    <a:pt x="116" y="1"/>
                  </a:lnTo>
                  <a:lnTo>
                    <a:pt x="106" y="3"/>
                  </a:lnTo>
                  <a:lnTo>
                    <a:pt x="98" y="5"/>
                  </a:lnTo>
                  <a:lnTo>
                    <a:pt x="89" y="6"/>
                  </a:lnTo>
                  <a:lnTo>
                    <a:pt x="79" y="15"/>
                  </a:lnTo>
                  <a:lnTo>
                    <a:pt x="69" y="2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2" name="Freeform 437">
              <a:extLst>
                <a:ext uri="{FF2B5EF4-FFF2-40B4-BE49-F238E27FC236}">
                  <a16:creationId xmlns:a16="http://schemas.microsoft.com/office/drawing/2014/main" id="{0B5A4667-8E47-4FBA-92FA-090F57A79133}"/>
                </a:ext>
              </a:extLst>
            </p:cNvPr>
            <p:cNvSpPr>
              <a:spLocks/>
            </p:cNvSpPr>
            <p:nvPr>
              <p:custDataLst>
                <p:tags r:id="rId278"/>
              </p:custDataLst>
            </p:nvPr>
          </p:nvSpPr>
          <p:spPr bwMode="auto">
            <a:xfrm>
              <a:off x="4030658" y="2311382"/>
              <a:ext cx="15875" cy="57150"/>
            </a:xfrm>
            <a:custGeom>
              <a:avLst/>
              <a:gdLst>
                <a:gd name="T0" fmla="*/ 9172 w 45"/>
                <a:gd name="T1" fmla="*/ 0 h 36"/>
                <a:gd name="T2" fmla="*/ 0 w 45"/>
                <a:gd name="T3" fmla="*/ 28575 h 36"/>
                <a:gd name="T4" fmla="*/ 8114 w 45"/>
                <a:gd name="T5" fmla="*/ 57150 h 36"/>
                <a:gd name="T6" fmla="*/ 15875 w 45"/>
                <a:gd name="T7" fmla="*/ 23813 h 36"/>
                <a:gd name="T8" fmla="*/ 9172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283" name="Group 438">
              <a:extLst>
                <a:ext uri="{FF2B5EF4-FFF2-40B4-BE49-F238E27FC236}">
                  <a16:creationId xmlns:a16="http://schemas.microsoft.com/office/drawing/2014/main" id="{FACD01ED-C083-4233-9045-ACE62E2183AA}"/>
                </a:ext>
              </a:extLst>
            </p:cNvPr>
            <p:cNvGrpSpPr>
              <a:grpSpLocks/>
            </p:cNvGrpSpPr>
            <p:nvPr>
              <p:custDataLst>
                <p:tags r:id="rId279"/>
              </p:custDataLst>
            </p:nvPr>
          </p:nvGrpSpPr>
          <p:grpSpPr bwMode="auto">
            <a:xfrm>
              <a:off x="2330448" y="4371940"/>
              <a:ext cx="384174" cy="1031867"/>
              <a:chOff x="1589" y="3126"/>
              <a:chExt cx="290" cy="657"/>
            </a:xfrm>
          </p:grpSpPr>
          <p:sp>
            <p:nvSpPr>
              <p:cNvPr id="393" name="Freeform 439">
                <a:extLst>
                  <a:ext uri="{FF2B5EF4-FFF2-40B4-BE49-F238E27FC236}">
                    <a16:creationId xmlns:a16="http://schemas.microsoft.com/office/drawing/2014/main" id="{1E5E3E49-56BF-41FB-BFB0-28108E53191A}"/>
                  </a:ext>
                </a:extLst>
              </p:cNvPr>
              <p:cNvSpPr>
                <a:spLocks/>
              </p:cNvSpPr>
              <p:nvPr/>
            </p:nvSpPr>
            <p:spPr bwMode="auto">
              <a:xfrm>
                <a:off x="1748" y="3531"/>
                <a:ext cx="15" cy="17"/>
              </a:xfrm>
              <a:custGeom>
                <a:avLst/>
                <a:gdLst>
                  <a:gd name="T0" fmla="*/ 15 w 46"/>
                  <a:gd name="T1" fmla="*/ 4 h 51"/>
                  <a:gd name="T2" fmla="*/ 6 w 46"/>
                  <a:gd name="T3" fmla="*/ 0 h 51"/>
                  <a:gd name="T4" fmla="*/ 4 w 46"/>
                  <a:gd name="T5" fmla="*/ 2 h 51"/>
                  <a:gd name="T6" fmla="*/ 2 w 46"/>
                  <a:gd name="T7" fmla="*/ 3 h 51"/>
                  <a:gd name="T8" fmla="*/ 1 w 46"/>
                  <a:gd name="T9" fmla="*/ 4 h 51"/>
                  <a:gd name="T10" fmla="*/ 1 w 46"/>
                  <a:gd name="T11" fmla="*/ 5 h 51"/>
                  <a:gd name="T12" fmla="*/ 0 w 46"/>
                  <a:gd name="T13" fmla="*/ 5 h 51"/>
                  <a:gd name="T14" fmla="*/ 0 w 46"/>
                  <a:gd name="T15" fmla="*/ 6 h 51"/>
                  <a:gd name="T16" fmla="*/ 0 w 46"/>
                  <a:gd name="T17" fmla="*/ 8 h 51"/>
                  <a:gd name="T18" fmla="*/ 1 w 46"/>
                  <a:gd name="T19" fmla="*/ 10 h 51"/>
                  <a:gd name="T20" fmla="*/ 1 w 46"/>
                  <a:gd name="T21" fmla="*/ 12 h 51"/>
                  <a:gd name="T22" fmla="*/ 2 w 46"/>
                  <a:gd name="T23" fmla="*/ 14 h 51"/>
                  <a:gd name="T24" fmla="*/ 3 w 46"/>
                  <a:gd name="T25" fmla="*/ 15 h 51"/>
                  <a:gd name="T26" fmla="*/ 4 w 46"/>
                  <a:gd name="T27" fmla="*/ 16 h 51"/>
                  <a:gd name="T28" fmla="*/ 5 w 46"/>
                  <a:gd name="T29" fmla="*/ 17 h 51"/>
                  <a:gd name="T30" fmla="*/ 5 w 46"/>
                  <a:gd name="T31" fmla="*/ 17 h 51"/>
                  <a:gd name="T32" fmla="*/ 6 w 46"/>
                  <a:gd name="T33" fmla="*/ 17 h 51"/>
                  <a:gd name="T34" fmla="*/ 6 w 46"/>
                  <a:gd name="T35" fmla="*/ 17 h 51"/>
                  <a:gd name="T36" fmla="*/ 11 w 46"/>
                  <a:gd name="T37" fmla="*/ 17 h 51"/>
                  <a:gd name="T38" fmla="*/ 15 w 46"/>
                  <a:gd name="T39" fmla="*/ 17 h 51"/>
                  <a:gd name="T40" fmla="*/ 15 w 46"/>
                  <a:gd name="T41" fmla="*/ 12 h 51"/>
                  <a:gd name="T42" fmla="*/ 15 w 46"/>
                  <a:gd name="T43" fmla="*/ 9 h 51"/>
                  <a:gd name="T44" fmla="*/ 15 w 46"/>
                  <a:gd name="T45" fmla="*/ 6 h 51"/>
                  <a:gd name="T46" fmla="*/ 15 w 46"/>
                  <a:gd name="T47" fmla="*/ 4 h 5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46" h="51">
                    <a:moveTo>
                      <a:pt x="46" y="12"/>
                    </a:moveTo>
                    <a:lnTo>
                      <a:pt x="19" y="0"/>
                    </a:lnTo>
                    <a:lnTo>
                      <a:pt x="13" y="5"/>
                    </a:lnTo>
                    <a:lnTo>
                      <a:pt x="7" y="9"/>
                    </a:lnTo>
                    <a:lnTo>
                      <a:pt x="4" y="12"/>
                    </a:lnTo>
                    <a:lnTo>
                      <a:pt x="2" y="14"/>
                    </a:lnTo>
                    <a:lnTo>
                      <a:pt x="0" y="16"/>
                    </a:lnTo>
                    <a:lnTo>
                      <a:pt x="0" y="19"/>
                    </a:lnTo>
                    <a:lnTo>
                      <a:pt x="0" y="24"/>
                    </a:lnTo>
                    <a:lnTo>
                      <a:pt x="2" y="29"/>
                    </a:lnTo>
                    <a:lnTo>
                      <a:pt x="4" y="36"/>
                    </a:lnTo>
                    <a:lnTo>
                      <a:pt x="7" y="41"/>
                    </a:lnTo>
                    <a:lnTo>
                      <a:pt x="10" y="46"/>
                    </a:lnTo>
                    <a:lnTo>
                      <a:pt x="13" y="49"/>
                    </a:lnTo>
                    <a:lnTo>
                      <a:pt x="15" y="50"/>
                    </a:lnTo>
                    <a:lnTo>
                      <a:pt x="16" y="51"/>
                    </a:lnTo>
                    <a:lnTo>
                      <a:pt x="18" y="51"/>
                    </a:lnTo>
                    <a:lnTo>
                      <a:pt x="19" y="50"/>
                    </a:lnTo>
                    <a:lnTo>
                      <a:pt x="35" y="50"/>
                    </a:lnTo>
                    <a:lnTo>
                      <a:pt x="46" y="50"/>
                    </a:lnTo>
                    <a:lnTo>
                      <a:pt x="46" y="37"/>
                    </a:lnTo>
                    <a:lnTo>
                      <a:pt x="46" y="26"/>
                    </a:lnTo>
                    <a:lnTo>
                      <a:pt x="46" y="18"/>
                    </a:lnTo>
                    <a:lnTo>
                      <a:pt x="46"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4" name="Freeform 440">
                <a:extLst>
                  <a:ext uri="{FF2B5EF4-FFF2-40B4-BE49-F238E27FC236}">
                    <a16:creationId xmlns:a16="http://schemas.microsoft.com/office/drawing/2014/main" id="{16426134-8522-4A98-B452-99E58230F900}"/>
                  </a:ext>
                </a:extLst>
              </p:cNvPr>
              <p:cNvSpPr>
                <a:spLocks/>
              </p:cNvSpPr>
              <p:nvPr/>
            </p:nvSpPr>
            <p:spPr bwMode="auto">
              <a:xfrm>
                <a:off x="1759" y="3730"/>
                <a:ext cx="63" cy="53"/>
              </a:xfrm>
              <a:custGeom>
                <a:avLst/>
                <a:gdLst>
                  <a:gd name="T0" fmla="*/ 0 w 192"/>
                  <a:gd name="T1" fmla="*/ 0 h 158"/>
                  <a:gd name="T2" fmla="*/ 0 w 192"/>
                  <a:gd name="T3" fmla="*/ 5 h 158"/>
                  <a:gd name="T4" fmla="*/ 1 w 192"/>
                  <a:gd name="T5" fmla="*/ 9 h 158"/>
                  <a:gd name="T6" fmla="*/ 1 w 192"/>
                  <a:gd name="T7" fmla="*/ 13 h 158"/>
                  <a:gd name="T8" fmla="*/ 2 w 192"/>
                  <a:gd name="T9" fmla="*/ 17 h 158"/>
                  <a:gd name="T10" fmla="*/ 4 w 192"/>
                  <a:gd name="T11" fmla="*/ 20 h 158"/>
                  <a:gd name="T12" fmla="*/ 5 w 192"/>
                  <a:gd name="T13" fmla="*/ 24 h 158"/>
                  <a:gd name="T14" fmla="*/ 7 w 192"/>
                  <a:gd name="T15" fmla="*/ 27 h 158"/>
                  <a:gd name="T16" fmla="*/ 8 w 192"/>
                  <a:gd name="T17" fmla="*/ 30 h 158"/>
                  <a:gd name="T18" fmla="*/ 15 w 192"/>
                  <a:gd name="T19" fmla="*/ 41 h 158"/>
                  <a:gd name="T20" fmla="*/ 22 w 192"/>
                  <a:gd name="T21" fmla="*/ 50 h 158"/>
                  <a:gd name="T22" fmla="*/ 24 w 192"/>
                  <a:gd name="T23" fmla="*/ 51 h 158"/>
                  <a:gd name="T24" fmla="*/ 26 w 192"/>
                  <a:gd name="T25" fmla="*/ 51 h 158"/>
                  <a:gd name="T26" fmla="*/ 28 w 192"/>
                  <a:gd name="T27" fmla="*/ 52 h 158"/>
                  <a:gd name="T28" fmla="*/ 30 w 192"/>
                  <a:gd name="T29" fmla="*/ 52 h 158"/>
                  <a:gd name="T30" fmla="*/ 34 w 192"/>
                  <a:gd name="T31" fmla="*/ 53 h 158"/>
                  <a:gd name="T32" fmla="*/ 39 w 192"/>
                  <a:gd name="T33" fmla="*/ 53 h 158"/>
                  <a:gd name="T34" fmla="*/ 50 w 192"/>
                  <a:gd name="T35" fmla="*/ 52 h 158"/>
                  <a:gd name="T36" fmla="*/ 63 w 192"/>
                  <a:gd name="T37" fmla="*/ 52 h 158"/>
                  <a:gd name="T38" fmla="*/ 60 w 192"/>
                  <a:gd name="T39" fmla="*/ 51 h 158"/>
                  <a:gd name="T40" fmla="*/ 58 w 192"/>
                  <a:gd name="T41" fmla="*/ 51 h 158"/>
                  <a:gd name="T42" fmla="*/ 55 w 192"/>
                  <a:gd name="T43" fmla="*/ 51 h 158"/>
                  <a:gd name="T44" fmla="*/ 53 w 192"/>
                  <a:gd name="T45" fmla="*/ 50 h 158"/>
                  <a:gd name="T46" fmla="*/ 48 w 192"/>
                  <a:gd name="T47" fmla="*/ 48 h 158"/>
                  <a:gd name="T48" fmla="*/ 42 w 192"/>
                  <a:gd name="T49" fmla="*/ 46 h 158"/>
                  <a:gd name="T50" fmla="*/ 38 w 192"/>
                  <a:gd name="T51" fmla="*/ 44 h 158"/>
                  <a:gd name="T52" fmla="*/ 33 w 192"/>
                  <a:gd name="T53" fmla="*/ 40 h 158"/>
                  <a:gd name="T54" fmla="*/ 29 w 192"/>
                  <a:gd name="T55" fmla="*/ 37 h 158"/>
                  <a:gd name="T56" fmla="*/ 25 w 192"/>
                  <a:gd name="T57" fmla="*/ 33 h 158"/>
                  <a:gd name="T58" fmla="*/ 21 w 192"/>
                  <a:gd name="T59" fmla="*/ 29 h 158"/>
                  <a:gd name="T60" fmla="*/ 17 w 192"/>
                  <a:gd name="T61" fmla="*/ 25 h 158"/>
                  <a:gd name="T62" fmla="*/ 14 w 192"/>
                  <a:gd name="T63" fmla="*/ 21 h 158"/>
                  <a:gd name="T64" fmla="*/ 11 w 192"/>
                  <a:gd name="T65" fmla="*/ 17 h 158"/>
                  <a:gd name="T66" fmla="*/ 9 w 192"/>
                  <a:gd name="T67" fmla="*/ 13 h 158"/>
                  <a:gd name="T68" fmla="*/ 7 w 192"/>
                  <a:gd name="T69" fmla="*/ 9 h 158"/>
                  <a:gd name="T70" fmla="*/ 5 w 192"/>
                  <a:gd name="T71" fmla="*/ 5 h 158"/>
                  <a:gd name="T72" fmla="*/ 4 w 192"/>
                  <a:gd name="T73" fmla="*/ 2 h 158"/>
                  <a:gd name="T74" fmla="*/ 0 w 192"/>
                  <a:gd name="T75" fmla="*/ 0 h 158"/>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92" h="158">
                    <a:moveTo>
                      <a:pt x="0" y="0"/>
                    </a:moveTo>
                    <a:lnTo>
                      <a:pt x="0" y="14"/>
                    </a:lnTo>
                    <a:lnTo>
                      <a:pt x="2" y="26"/>
                    </a:lnTo>
                    <a:lnTo>
                      <a:pt x="4" y="38"/>
                    </a:lnTo>
                    <a:lnTo>
                      <a:pt x="7" y="50"/>
                    </a:lnTo>
                    <a:lnTo>
                      <a:pt x="11" y="61"/>
                    </a:lnTo>
                    <a:lnTo>
                      <a:pt x="15" y="71"/>
                    </a:lnTo>
                    <a:lnTo>
                      <a:pt x="21" y="81"/>
                    </a:lnTo>
                    <a:lnTo>
                      <a:pt x="25" y="90"/>
                    </a:lnTo>
                    <a:lnTo>
                      <a:pt x="47" y="122"/>
                    </a:lnTo>
                    <a:lnTo>
                      <a:pt x="66" y="148"/>
                    </a:lnTo>
                    <a:lnTo>
                      <a:pt x="72" y="151"/>
                    </a:lnTo>
                    <a:lnTo>
                      <a:pt x="79" y="153"/>
                    </a:lnTo>
                    <a:lnTo>
                      <a:pt x="85" y="155"/>
                    </a:lnTo>
                    <a:lnTo>
                      <a:pt x="92" y="156"/>
                    </a:lnTo>
                    <a:lnTo>
                      <a:pt x="105" y="158"/>
                    </a:lnTo>
                    <a:lnTo>
                      <a:pt x="119" y="158"/>
                    </a:lnTo>
                    <a:lnTo>
                      <a:pt x="152" y="155"/>
                    </a:lnTo>
                    <a:lnTo>
                      <a:pt x="192" y="154"/>
                    </a:lnTo>
                    <a:lnTo>
                      <a:pt x="184" y="153"/>
                    </a:lnTo>
                    <a:lnTo>
                      <a:pt x="176" y="152"/>
                    </a:lnTo>
                    <a:lnTo>
                      <a:pt x="168" y="151"/>
                    </a:lnTo>
                    <a:lnTo>
                      <a:pt x="160" y="149"/>
                    </a:lnTo>
                    <a:lnTo>
                      <a:pt x="145" y="144"/>
                    </a:lnTo>
                    <a:lnTo>
                      <a:pt x="129" y="138"/>
                    </a:lnTo>
                    <a:lnTo>
                      <a:pt x="115" y="130"/>
                    </a:lnTo>
                    <a:lnTo>
                      <a:pt x="101" y="120"/>
                    </a:lnTo>
                    <a:lnTo>
                      <a:pt x="87" y="110"/>
                    </a:lnTo>
                    <a:lnTo>
                      <a:pt x="75" y="98"/>
                    </a:lnTo>
                    <a:lnTo>
                      <a:pt x="63" y="87"/>
                    </a:lnTo>
                    <a:lnTo>
                      <a:pt x="52" y="75"/>
                    </a:lnTo>
                    <a:lnTo>
                      <a:pt x="42" y="63"/>
                    </a:lnTo>
                    <a:lnTo>
                      <a:pt x="35" y="50"/>
                    </a:lnTo>
                    <a:lnTo>
                      <a:pt x="27" y="38"/>
                    </a:lnTo>
                    <a:lnTo>
                      <a:pt x="21" y="26"/>
                    </a:lnTo>
                    <a:lnTo>
                      <a:pt x="16" y="16"/>
                    </a:lnTo>
                    <a:lnTo>
                      <a:pt x="13" y="6"/>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5" name="Freeform 441">
                <a:extLst>
                  <a:ext uri="{FF2B5EF4-FFF2-40B4-BE49-F238E27FC236}">
                    <a16:creationId xmlns:a16="http://schemas.microsoft.com/office/drawing/2014/main" id="{108B54AF-DEB3-4D06-9C16-6BDD7E602B7D}"/>
                  </a:ext>
                </a:extLst>
              </p:cNvPr>
              <p:cNvSpPr>
                <a:spLocks/>
              </p:cNvSpPr>
              <p:nvPr/>
            </p:nvSpPr>
            <p:spPr bwMode="auto">
              <a:xfrm>
                <a:off x="1589" y="3126"/>
                <a:ext cx="290" cy="606"/>
              </a:xfrm>
              <a:custGeom>
                <a:avLst/>
                <a:gdLst>
                  <a:gd name="T0" fmla="*/ 253 w 884"/>
                  <a:gd name="T1" fmla="*/ 138 h 1818"/>
                  <a:gd name="T2" fmla="*/ 286 w 884"/>
                  <a:gd name="T3" fmla="*/ 114 h 1818"/>
                  <a:gd name="T4" fmla="*/ 290 w 884"/>
                  <a:gd name="T5" fmla="*/ 77 h 1818"/>
                  <a:gd name="T6" fmla="*/ 276 w 884"/>
                  <a:gd name="T7" fmla="*/ 64 h 1818"/>
                  <a:gd name="T8" fmla="*/ 276 w 884"/>
                  <a:gd name="T9" fmla="*/ 87 h 1818"/>
                  <a:gd name="T10" fmla="*/ 254 w 884"/>
                  <a:gd name="T11" fmla="*/ 109 h 1818"/>
                  <a:gd name="T12" fmla="*/ 219 w 884"/>
                  <a:gd name="T13" fmla="*/ 110 h 1818"/>
                  <a:gd name="T14" fmla="*/ 205 w 884"/>
                  <a:gd name="T15" fmla="*/ 97 h 1818"/>
                  <a:gd name="T16" fmla="*/ 216 w 884"/>
                  <a:gd name="T17" fmla="*/ 72 h 1818"/>
                  <a:gd name="T18" fmla="*/ 178 w 884"/>
                  <a:gd name="T19" fmla="*/ 49 h 1818"/>
                  <a:gd name="T20" fmla="*/ 139 w 884"/>
                  <a:gd name="T21" fmla="*/ 29 h 1818"/>
                  <a:gd name="T22" fmla="*/ 122 w 884"/>
                  <a:gd name="T23" fmla="*/ 3 h 1818"/>
                  <a:gd name="T24" fmla="*/ 94 w 884"/>
                  <a:gd name="T25" fmla="*/ 7 h 1818"/>
                  <a:gd name="T26" fmla="*/ 77 w 884"/>
                  <a:gd name="T27" fmla="*/ 8 h 1818"/>
                  <a:gd name="T28" fmla="*/ 56 w 884"/>
                  <a:gd name="T29" fmla="*/ 3 h 1818"/>
                  <a:gd name="T30" fmla="*/ 32 w 884"/>
                  <a:gd name="T31" fmla="*/ 18 h 1818"/>
                  <a:gd name="T32" fmla="*/ 22 w 884"/>
                  <a:gd name="T33" fmla="*/ 39 h 1818"/>
                  <a:gd name="T34" fmla="*/ 9 w 884"/>
                  <a:gd name="T35" fmla="*/ 60 h 1818"/>
                  <a:gd name="T36" fmla="*/ 18 w 884"/>
                  <a:gd name="T37" fmla="*/ 84 h 1818"/>
                  <a:gd name="T38" fmla="*/ 17 w 884"/>
                  <a:gd name="T39" fmla="*/ 106 h 1818"/>
                  <a:gd name="T40" fmla="*/ 0 w 884"/>
                  <a:gd name="T41" fmla="*/ 144 h 1818"/>
                  <a:gd name="T42" fmla="*/ 4 w 884"/>
                  <a:gd name="T43" fmla="*/ 203 h 1818"/>
                  <a:gd name="T44" fmla="*/ 25 w 884"/>
                  <a:gd name="T45" fmla="*/ 232 h 1818"/>
                  <a:gd name="T46" fmla="*/ 20 w 884"/>
                  <a:gd name="T47" fmla="*/ 251 h 1818"/>
                  <a:gd name="T48" fmla="*/ 20 w 884"/>
                  <a:gd name="T49" fmla="*/ 269 h 1818"/>
                  <a:gd name="T50" fmla="*/ 27 w 884"/>
                  <a:gd name="T51" fmla="*/ 283 h 1818"/>
                  <a:gd name="T52" fmla="*/ 17 w 884"/>
                  <a:gd name="T53" fmla="*/ 300 h 1818"/>
                  <a:gd name="T54" fmla="*/ 27 w 884"/>
                  <a:gd name="T55" fmla="*/ 328 h 1818"/>
                  <a:gd name="T56" fmla="*/ 27 w 884"/>
                  <a:gd name="T57" fmla="*/ 352 h 1818"/>
                  <a:gd name="T58" fmla="*/ 26 w 884"/>
                  <a:gd name="T59" fmla="*/ 384 h 1818"/>
                  <a:gd name="T60" fmla="*/ 45 w 884"/>
                  <a:gd name="T61" fmla="*/ 422 h 1818"/>
                  <a:gd name="T62" fmla="*/ 65 w 884"/>
                  <a:gd name="T63" fmla="*/ 465 h 1818"/>
                  <a:gd name="T64" fmla="*/ 71 w 884"/>
                  <a:gd name="T65" fmla="*/ 488 h 1818"/>
                  <a:gd name="T66" fmla="*/ 75 w 884"/>
                  <a:gd name="T67" fmla="*/ 509 h 1818"/>
                  <a:gd name="T68" fmla="*/ 70 w 884"/>
                  <a:gd name="T69" fmla="*/ 530 h 1818"/>
                  <a:gd name="T70" fmla="*/ 66 w 884"/>
                  <a:gd name="T71" fmla="*/ 548 h 1818"/>
                  <a:gd name="T72" fmla="*/ 75 w 884"/>
                  <a:gd name="T73" fmla="*/ 573 h 1818"/>
                  <a:gd name="T74" fmla="*/ 102 w 884"/>
                  <a:gd name="T75" fmla="*/ 591 h 1818"/>
                  <a:gd name="T76" fmla="*/ 129 w 884"/>
                  <a:gd name="T77" fmla="*/ 599 h 1818"/>
                  <a:gd name="T78" fmla="*/ 148 w 884"/>
                  <a:gd name="T79" fmla="*/ 595 h 1818"/>
                  <a:gd name="T80" fmla="*/ 149 w 884"/>
                  <a:gd name="T81" fmla="*/ 568 h 1818"/>
                  <a:gd name="T82" fmla="*/ 154 w 884"/>
                  <a:gd name="T83" fmla="*/ 537 h 1818"/>
                  <a:gd name="T84" fmla="*/ 162 w 884"/>
                  <a:gd name="T85" fmla="*/ 503 h 1818"/>
                  <a:gd name="T86" fmla="*/ 138 w 884"/>
                  <a:gd name="T87" fmla="*/ 495 h 1818"/>
                  <a:gd name="T88" fmla="*/ 132 w 884"/>
                  <a:gd name="T89" fmla="*/ 477 h 1818"/>
                  <a:gd name="T90" fmla="*/ 149 w 884"/>
                  <a:gd name="T91" fmla="*/ 465 h 1818"/>
                  <a:gd name="T92" fmla="*/ 159 w 884"/>
                  <a:gd name="T93" fmla="*/ 444 h 1818"/>
                  <a:gd name="T94" fmla="*/ 149 w 884"/>
                  <a:gd name="T95" fmla="*/ 408 h 1818"/>
                  <a:gd name="T96" fmla="*/ 139 w 884"/>
                  <a:gd name="T97" fmla="*/ 380 h 1818"/>
                  <a:gd name="T98" fmla="*/ 170 w 884"/>
                  <a:gd name="T99" fmla="*/ 389 h 1818"/>
                  <a:gd name="T100" fmla="*/ 186 w 884"/>
                  <a:gd name="T101" fmla="*/ 384 h 1818"/>
                  <a:gd name="T102" fmla="*/ 183 w 884"/>
                  <a:gd name="T103" fmla="*/ 359 h 1818"/>
                  <a:gd name="T104" fmla="*/ 185 w 884"/>
                  <a:gd name="T105" fmla="*/ 343 h 1818"/>
                  <a:gd name="T106" fmla="*/ 222 w 884"/>
                  <a:gd name="T107" fmla="*/ 341 h 1818"/>
                  <a:gd name="T108" fmla="*/ 261 w 884"/>
                  <a:gd name="T109" fmla="*/ 324 h 1818"/>
                  <a:gd name="T110" fmla="*/ 268 w 884"/>
                  <a:gd name="T111" fmla="*/ 294 h 1818"/>
                  <a:gd name="T112" fmla="*/ 256 w 884"/>
                  <a:gd name="T113" fmla="*/ 284 h 1818"/>
                  <a:gd name="T114" fmla="*/ 249 w 884"/>
                  <a:gd name="T115" fmla="*/ 270 h 1818"/>
                  <a:gd name="T116" fmla="*/ 227 w 884"/>
                  <a:gd name="T117" fmla="*/ 251 h 1818"/>
                  <a:gd name="T118" fmla="*/ 230 w 884"/>
                  <a:gd name="T119" fmla="*/ 177 h 18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84" h="1818">
                    <a:moveTo>
                      <a:pt x="725" y="493"/>
                    </a:moveTo>
                    <a:lnTo>
                      <a:pt x="726" y="484"/>
                    </a:lnTo>
                    <a:lnTo>
                      <a:pt x="729" y="474"/>
                    </a:lnTo>
                    <a:lnTo>
                      <a:pt x="735" y="462"/>
                    </a:lnTo>
                    <a:lnTo>
                      <a:pt x="742" y="450"/>
                    </a:lnTo>
                    <a:lnTo>
                      <a:pt x="750" y="438"/>
                    </a:lnTo>
                    <a:lnTo>
                      <a:pt x="761" y="427"/>
                    </a:lnTo>
                    <a:lnTo>
                      <a:pt x="772" y="415"/>
                    </a:lnTo>
                    <a:lnTo>
                      <a:pt x="784" y="402"/>
                    </a:lnTo>
                    <a:lnTo>
                      <a:pt x="798" y="391"/>
                    </a:lnTo>
                    <a:lnTo>
                      <a:pt x="811" y="381"/>
                    </a:lnTo>
                    <a:lnTo>
                      <a:pt x="824" y="371"/>
                    </a:lnTo>
                    <a:lnTo>
                      <a:pt x="837" y="362"/>
                    </a:lnTo>
                    <a:lnTo>
                      <a:pt x="849" y="353"/>
                    </a:lnTo>
                    <a:lnTo>
                      <a:pt x="862" y="347"/>
                    </a:lnTo>
                    <a:lnTo>
                      <a:pt x="873" y="342"/>
                    </a:lnTo>
                    <a:lnTo>
                      <a:pt x="884" y="339"/>
                    </a:lnTo>
                    <a:lnTo>
                      <a:pt x="884" y="329"/>
                    </a:lnTo>
                    <a:lnTo>
                      <a:pt x="884" y="310"/>
                    </a:lnTo>
                    <a:lnTo>
                      <a:pt x="884" y="289"/>
                    </a:lnTo>
                    <a:lnTo>
                      <a:pt x="884" y="272"/>
                    </a:lnTo>
                    <a:lnTo>
                      <a:pt x="884" y="259"/>
                    </a:lnTo>
                    <a:lnTo>
                      <a:pt x="884" y="247"/>
                    </a:lnTo>
                    <a:lnTo>
                      <a:pt x="884" y="232"/>
                    </a:lnTo>
                    <a:lnTo>
                      <a:pt x="884" y="216"/>
                    </a:lnTo>
                    <a:lnTo>
                      <a:pt x="874" y="216"/>
                    </a:lnTo>
                    <a:lnTo>
                      <a:pt x="867" y="214"/>
                    </a:lnTo>
                    <a:lnTo>
                      <a:pt x="859" y="211"/>
                    </a:lnTo>
                    <a:lnTo>
                      <a:pt x="854" y="208"/>
                    </a:lnTo>
                    <a:lnTo>
                      <a:pt x="848" y="203"/>
                    </a:lnTo>
                    <a:lnTo>
                      <a:pt x="844" y="198"/>
                    </a:lnTo>
                    <a:lnTo>
                      <a:pt x="840" y="192"/>
                    </a:lnTo>
                    <a:lnTo>
                      <a:pt x="837" y="185"/>
                    </a:lnTo>
                    <a:lnTo>
                      <a:pt x="837" y="222"/>
                    </a:lnTo>
                    <a:lnTo>
                      <a:pt x="840" y="227"/>
                    </a:lnTo>
                    <a:lnTo>
                      <a:pt x="843" y="231"/>
                    </a:lnTo>
                    <a:lnTo>
                      <a:pt x="844" y="236"/>
                    </a:lnTo>
                    <a:lnTo>
                      <a:pt x="845" y="241"/>
                    </a:lnTo>
                    <a:lnTo>
                      <a:pt x="844" y="252"/>
                    </a:lnTo>
                    <a:lnTo>
                      <a:pt x="841" y="262"/>
                    </a:lnTo>
                    <a:lnTo>
                      <a:pt x="837" y="271"/>
                    </a:lnTo>
                    <a:lnTo>
                      <a:pt x="832" y="281"/>
                    </a:lnTo>
                    <a:lnTo>
                      <a:pt x="824" y="290"/>
                    </a:lnTo>
                    <a:lnTo>
                      <a:pt x="815" y="299"/>
                    </a:lnTo>
                    <a:lnTo>
                      <a:pt x="805" y="308"/>
                    </a:lnTo>
                    <a:lnTo>
                      <a:pt x="795" y="316"/>
                    </a:lnTo>
                    <a:lnTo>
                      <a:pt x="785" y="322"/>
                    </a:lnTo>
                    <a:lnTo>
                      <a:pt x="774" y="328"/>
                    </a:lnTo>
                    <a:lnTo>
                      <a:pt x="765" y="333"/>
                    </a:lnTo>
                    <a:lnTo>
                      <a:pt x="755" y="336"/>
                    </a:lnTo>
                    <a:lnTo>
                      <a:pt x="746" y="338"/>
                    </a:lnTo>
                    <a:lnTo>
                      <a:pt x="738" y="339"/>
                    </a:lnTo>
                    <a:lnTo>
                      <a:pt x="722" y="339"/>
                    </a:lnTo>
                    <a:lnTo>
                      <a:pt x="703" y="338"/>
                    </a:lnTo>
                    <a:lnTo>
                      <a:pt x="684" y="335"/>
                    </a:lnTo>
                    <a:lnTo>
                      <a:pt x="667" y="331"/>
                    </a:lnTo>
                    <a:lnTo>
                      <a:pt x="658" y="328"/>
                    </a:lnTo>
                    <a:lnTo>
                      <a:pt x="650" y="325"/>
                    </a:lnTo>
                    <a:lnTo>
                      <a:pt x="643" y="321"/>
                    </a:lnTo>
                    <a:lnTo>
                      <a:pt x="637" y="316"/>
                    </a:lnTo>
                    <a:lnTo>
                      <a:pt x="632" y="311"/>
                    </a:lnTo>
                    <a:lnTo>
                      <a:pt x="628" y="305"/>
                    </a:lnTo>
                    <a:lnTo>
                      <a:pt x="625" y="297"/>
                    </a:lnTo>
                    <a:lnTo>
                      <a:pt x="625" y="290"/>
                    </a:lnTo>
                    <a:lnTo>
                      <a:pt x="625" y="283"/>
                    </a:lnTo>
                    <a:lnTo>
                      <a:pt x="626" y="277"/>
                    </a:lnTo>
                    <a:lnTo>
                      <a:pt x="628" y="270"/>
                    </a:lnTo>
                    <a:lnTo>
                      <a:pt x="631" y="264"/>
                    </a:lnTo>
                    <a:lnTo>
                      <a:pt x="636" y="252"/>
                    </a:lnTo>
                    <a:lnTo>
                      <a:pt x="643" y="240"/>
                    </a:lnTo>
                    <a:lnTo>
                      <a:pt x="650" y="228"/>
                    </a:lnTo>
                    <a:lnTo>
                      <a:pt x="658" y="215"/>
                    </a:lnTo>
                    <a:lnTo>
                      <a:pt x="666" y="201"/>
                    </a:lnTo>
                    <a:lnTo>
                      <a:pt x="671" y="185"/>
                    </a:lnTo>
                    <a:lnTo>
                      <a:pt x="654" y="178"/>
                    </a:lnTo>
                    <a:lnTo>
                      <a:pt x="637" y="172"/>
                    </a:lnTo>
                    <a:lnTo>
                      <a:pt x="621" y="166"/>
                    </a:lnTo>
                    <a:lnTo>
                      <a:pt x="605" y="162"/>
                    </a:lnTo>
                    <a:lnTo>
                      <a:pt x="574" y="155"/>
                    </a:lnTo>
                    <a:lnTo>
                      <a:pt x="544" y="148"/>
                    </a:lnTo>
                    <a:lnTo>
                      <a:pt x="529" y="144"/>
                    </a:lnTo>
                    <a:lnTo>
                      <a:pt x="514" y="139"/>
                    </a:lnTo>
                    <a:lnTo>
                      <a:pt x="499" y="133"/>
                    </a:lnTo>
                    <a:lnTo>
                      <a:pt x="485" y="127"/>
                    </a:lnTo>
                    <a:lnTo>
                      <a:pt x="470" y="119"/>
                    </a:lnTo>
                    <a:lnTo>
                      <a:pt x="455" y="110"/>
                    </a:lnTo>
                    <a:lnTo>
                      <a:pt x="441" y="100"/>
                    </a:lnTo>
                    <a:lnTo>
                      <a:pt x="425" y="87"/>
                    </a:lnTo>
                    <a:lnTo>
                      <a:pt x="417" y="76"/>
                    </a:lnTo>
                    <a:lnTo>
                      <a:pt x="410" y="66"/>
                    </a:lnTo>
                    <a:lnTo>
                      <a:pt x="403" y="55"/>
                    </a:lnTo>
                    <a:lnTo>
                      <a:pt x="398" y="44"/>
                    </a:lnTo>
                    <a:lnTo>
                      <a:pt x="390" y="32"/>
                    </a:lnTo>
                    <a:lnTo>
                      <a:pt x="383" y="20"/>
                    </a:lnTo>
                    <a:lnTo>
                      <a:pt x="378" y="15"/>
                    </a:lnTo>
                    <a:lnTo>
                      <a:pt x="373" y="10"/>
                    </a:lnTo>
                    <a:lnTo>
                      <a:pt x="366" y="5"/>
                    </a:lnTo>
                    <a:lnTo>
                      <a:pt x="359" y="0"/>
                    </a:lnTo>
                    <a:lnTo>
                      <a:pt x="332" y="6"/>
                    </a:lnTo>
                    <a:lnTo>
                      <a:pt x="308" y="11"/>
                    </a:lnTo>
                    <a:lnTo>
                      <a:pt x="302" y="13"/>
                    </a:lnTo>
                    <a:lnTo>
                      <a:pt x="297" y="15"/>
                    </a:lnTo>
                    <a:lnTo>
                      <a:pt x="291" y="19"/>
                    </a:lnTo>
                    <a:lnTo>
                      <a:pt x="286" y="22"/>
                    </a:lnTo>
                    <a:lnTo>
                      <a:pt x="281" y="28"/>
                    </a:lnTo>
                    <a:lnTo>
                      <a:pt x="276" y="34"/>
                    </a:lnTo>
                    <a:lnTo>
                      <a:pt x="272" y="41"/>
                    </a:lnTo>
                    <a:lnTo>
                      <a:pt x="266" y="50"/>
                    </a:lnTo>
                    <a:lnTo>
                      <a:pt x="257" y="44"/>
                    </a:lnTo>
                    <a:lnTo>
                      <a:pt x="249" y="38"/>
                    </a:lnTo>
                    <a:lnTo>
                      <a:pt x="242" y="31"/>
                    </a:lnTo>
                    <a:lnTo>
                      <a:pt x="234" y="24"/>
                    </a:lnTo>
                    <a:lnTo>
                      <a:pt x="225" y="17"/>
                    </a:lnTo>
                    <a:lnTo>
                      <a:pt x="215" y="11"/>
                    </a:lnTo>
                    <a:lnTo>
                      <a:pt x="209" y="9"/>
                    </a:lnTo>
                    <a:lnTo>
                      <a:pt x="202" y="8"/>
                    </a:lnTo>
                    <a:lnTo>
                      <a:pt x="195" y="7"/>
                    </a:lnTo>
                    <a:lnTo>
                      <a:pt x="186" y="6"/>
                    </a:lnTo>
                    <a:lnTo>
                      <a:pt x="178" y="7"/>
                    </a:lnTo>
                    <a:lnTo>
                      <a:pt x="171" y="8"/>
                    </a:lnTo>
                    <a:lnTo>
                      <a:pt x="163" y="11"/>
                    </a:lnTo>
                    <a:lnTo>
                      <a:pt x="156" y="14"/>
                    </a:lnTo>
                    <a:lnTo>
                      <a:pt x="143" y="22"/>
                    </a:lnTo>
                    <a:lnTo>
                      <a:pt x="132" y="32"/>
                    </a:lnTo>
                    <a:lnTo>
                      <a:pt x="120" y="41"/>
                    </a:lnTo>
                    <a:lnTo>
                      <a:pt x="110" y="48"/>
                    </a:lnTo>
                    <a:lnTo>
                      <a:pt x="105" y="51"/>
                    </a:lnTo>
                    <a:lnTo>
                      <a:pt x="98" y="54"/>
                    </a:lnTo>
                    <a:lnTo>
                      <a:pt x="93" y="55"/>
                    </a:lnTo>
                    <a:lnTo>
                      <a:pt x="87" y="56"/>
                    </a:lnTo>
                    <a:lnTo>
                      <a:pt x="86" y="69"/>
                    </a:lnTo>
                    <a:lnTo>
                      <a:pt x="84" y="81"/>
                    </a:lnTo>
                    <a:lnTo>
                      <a:pt x="82" y="91"/>
                    </a:lnTo>
                    <a:lnTo>
                      <a:pt x="77" y="100"/>
                    </a:lnTo>
                    <a:lnTo>
                      <a:pt x="73" y="109"/>
                    </a:lnTo>
                    <a:lnTo>
                      <a:pt x="67" y="116"/>
                    </a:lnTo>
                    <a:lnTo>
                      <a:pt x="62" y="123"/>
                    </a:lnTo>
                    <a:lnTo>
                      <a:pt x="56" y="129"/>
                    </a:lnTo>
                    <a:lnTo>
                      <a:pt x="45" y="141"/>
                    </a:lnTo>
                    <a:lnTo>
                      <a:pt x="37" y="152"/>
                    </a:lnTo>
                    <a:lnTo>
                      <a:pt x="32" y="158"/>
                    </a:lnTo>
                    <a:lnTo>
                      <a:pt x="30" y="164"/>
                    </a:lnTo>
                    <a:lnTo>
                      <a:pt x="28" y="171"/>
                    </a:lnTo>
                    <a:lnTo>
                      <a:pt x="27" y="179"/>
                    </a:lnTo>
                    <a:lnTo>
                      <a:pt x="28" y="186"/>
                    </a:lnTo>
                    <a:lnTo>
                      <a:pt x="28" y="194"/>
                    </a:lnTo>
                    <a:lnTo>
                      <a:pt x="30" y="201"/>
                    </a:lnTo>
                    <a:lnTo>
                      <a:pt x="32" y="207"/>
                    </a:lnTo>
                    <a:lnTo>
                      <a:pt x="38" y="218"/>
                    </a:lnTo>
                    <a:lnTo>
                      <a:pt x="43" y="228"/>
                    </a:lnTo>
                    <a:lnTo>
                      <a:pt x="50" y="239"/>
                    </a:lnTo>
                    <a:lnTo>
                      <a:pt x="55" y="251"/>
                    </a:lnTo>
                    <a:lnTo>
                      <a:pt x="57" y="257"/>
                    </a:lnTo>
                    <a:lnTo>
                      <a:pt x="59" y="263"/>
                    </a:lnTo>
                    <a:lnTo>
                      <a:pt x="60" y="270"/>
                    </a:lnTo>
                    <a:lnTo>
                      <a:pt x="60" y="278"/>
                    </a:lnTo>
                    <a:lnTo>
                      <a:pt x="60" y="289"/>
                    </a:lnTo>
                    <a:lnTo>
                      <a:pt x="57" y="299"/>
                    </a:lnTo>
                    <a:lnTo>
                      <a:pt x="54" y="310"/>
                    </a:lnTo>
                    <a:lnTo>
                      <a:pt x="51" y="319"/>
                    </a:lnTo>
                    <a:lnTo>
                      <a:pt x="41" y="337"/>
                    </a:lnTo>
                    <a:lnTo>
                      <a:pt x="30" y="354"/>
                    </a:lnTo>
                    <a:lnTo>
                      <a:pt x="19" y="372"/>
                    </a:lnTo>
                    <a:lnTo>
                      <a:pt x="9" y="390"/>
                    </a:lnTo>
                    <a:lnTo>
                      <a:pt x="6" y="400"/>
                    </a:lnTo>
                    <a:lnTo>
                      <a:pt x="3" y="410"/>
                    </a:lnTo>
                    <a:lnTo>
                      <a:pt x="2" y="421"/>
                    </a:lnTo>
                    <a:lnTo>
                      <a:pt x="0" y="432"/>
                    </a:lnTo>
                    <a:lnTo>
                      <a:pt x="0" y="471"/>
                    </a:lnTo>
                    <a:lnTo>
                      <a:pt x="0" y="501"/>
                    </a:lnTo>
                    <a:lnTo>
                      <a:pt x="0" y="529"/>
                    </a:lnTo>
                    <a:lnTo>
                      <a:pt x="0" y="561"/>
                    </a:lnTo>
                    <a:lnTo>
                      <a:pt x="2" y="574"/>
                    </a:lnTo>
                    <a:lnTo>
                      <a:pt x="4" y="587"/>
                    </a:lnTo>
                    <a:lnTo>
                      <a:pt x="8" y="598"/>
                    </a:lnTo>
                    <a:lnTo>
                      <a:pt x="12" y="609"/>
                    </a:lnTo>
                    <a:lnTo>
                      <a:pt x="19" y="618"/>
                    </a:lnTo>
                    <a:lnTo>
                      <a:pt x="26" y="627"/>
                    </a:lnTo>
                    <a:lnTo>
                      <a:pt x="33" y="637"/>
                    </a:lnTo>
                    <a:lnTo>
                      <a:pt x="40" y="645"/>
                    </a:lnTo>
                    <a:lnTo>
                      <a:pt x="55" y="662"/>
                    </a:lnTo>
                    <a:lnTo>
                      <a:pt x="67" y="678"/>
                    </a:lnTo>
                    <a:lnTo>
                      <a:pt x="73" y="686"/>
                    </a:lnTo>
                    <a:lnTo>
                      <a:pt x="76" y="696"/>
                    </a:lnTo>
                    <a:lnTo>
                      <a:pt x="79" y="705"/>
                    </a:lnTo>
                    <a:lnTo>
                      <a:pt x="81" y="715"/>
                    </a:lnTo>
                    <a:lnTo>
                      <a:pt x="79" y="722"/>
                    </a:lnTo>
                    <a:lnTo>
                      <a:pt x="78" y="728"/>
                    </a:lnTo>
                    <a:lnTo>
                      <a:pt x="75" y="733"/>
                    </a:lnTo>
                    <a:lnTo>
                      <a:pt x="73" y="738"/>
                    </a:lnTo>
                    <a:lnTo>
                      <a:pt x="66" y="747"/>
                    </a:lnTo>
                    <a:lnTo>
                      <a:pt x="60" y="753"/>
                    </a:lnTo>
                    <a:lnTo>
                      <a:pt x="71" y="753"/>
                    </a:lnTo>
                    <a:lnTo>
                      <a:pt x="81" y="753"/>
                    </a:lnTo>
                    <a:lnTo>
                      <a:pt x="79" y="760"/>
                    </a:lnTo>
                    <a:lnTo>
                      <a:pt x="77" y="768"/>
                    </a:lnTo>
                    <a:lnTo>
                      <a:pt x="74" y="776"/>
                    </a:lnTo>
                    <a:lnTo>
                      <a:pt x="71" y="784"/>
                    </a:lnTo>
                    <a:lnTo>
                      <a:pt x="63" y="799"/>
                    </a:lnTo>
                    <a:lnTo>
                      <a:pt x="60" y="808"/>
                    </a:lnTo>
                    <a:lnTo>
                      <a:pt x="61" y="813"/>
                    </a:lnTo>
                    <a:lnTo>
                      <a:pt x="63" y="817"/>
                    </a:lnTo>
                    <a:lnTo>
                      <a:pt x="66" y="822"/>
                    </a:lnTo>
                    <a:lnTo>
                      <a:pt x="71" y="827"/>
                    </a:lnTo>
                    <a:lnTo>
                      <a:pt x="74" y="832"/>
                    </a:lnTo>
                    <a:lnTo>
                      <a:pt x="77" y="838"/>
                    </a:lnTo>
                    <a:lnTo>
                      <a:pt x="79" y="844"/>
                    </a:lnTo>
                    <a:lnTo>
                      <a:pt x="81" y="850"/>
                    </a:lnTo>
                    <a:lnTo>
                      <a:pt x="79" y="858"/>
                    </a:lnTo>
                    <a:lnTo>
                      <a:pt x="76" y="864"/>
                    </a:lnTo>
                    <a:lnTo>
                      <a:pt x="72" y="870"/>
                    </a:lnTo>
                    <a:lnTo>
                      <a:pt x="67" y="876"/>
                    </a:lnTo>
                    <a:lnTo>
                      <a:pt x="62" y="881"/>
                    </a:lnTo>
                    <a:lnTo>
                      <a:pt x="57" y="887"/>
                    </a:lnTo>
                    <a:lnTo>
                      <a:pt x="54" y="893"/>
                    </a:lnTo>
                    <a:lnTo>
                      <a:pt x="53" y="900"/>
                    </a:lnTo>
                    <a:lnTo>
                      <a:pt x="54" y="909"/>
                    </a:lnTo>
                    <a:lnTo>
                      <a:pt x="55" y="918"/>
                    </a:lnTo>
                    <a:lnTo>
                      <a:pt x="56" y="925"/>
                    </a:lnTo>
                    <a:lnTo>
                      <a:pt x="59" y="932"/>
                    </a:lnTo>
                    <a:lnTo>
                      <a:pt x="64" y="945"/>
                    </a:lnTo>
                    <a:lnTo>
                      <a:pt x="71" y="958"/>
                    </a:lnTo>
                    <a:lnTo>
                      <a:pt x="76" y="970"/>
                    </a:lnTo>
                    <a:lnTo>
                      <a:pt x="82" y="983"/>
                    </a:lnTo>
                    <a:lnTo>
                      <a:pt x="84" y="989"/>
                    </a:lnTo>
                    <a:lnTo>
                      <a:pt x="85" y="996"/>
                    </a:lnTo>
                    <a:lnTo>
                      <a:pt x="86" y="1003"/>
                    </a:lnTo>
                    <a:lnTo>
                      <a:pt x="87" y="1011"/>
                    </a:lnTo>
                    <a:lnTo>
                      <a:pt x="86" y="1022"/>
                    </a:lnTo>
                    <a:lnTo>
                      <a:pt x="85" y="1034"/>
                    </a:lnTo>
                    <a:lnTo>
                      <a:pt x="83" y="1044"/>
                    </a:lnTo>
                    <a:lnTo>
                      <a:pt x="81" y="1055"/>
                    </a:lnTo>
                    <a:lnTo>
                      <a:pt x="77" y="1066"/>
                    </a:lnTo>
                    <a:lnTo>
                      <a:pt x="75" y="1077"/>
                    </a:lnTo>
                    <a:lnTo>
                      <a:pt x="74" y="1090"/>
                    </a:lnTo>
                    <a:lnTo>
                      <a:pt x="74" y="1103"/>
                    </a:lnTo>
                    <a:lnTo>
                      <a:pt x="74" y="1116"/>
                    </a:lnTo>
                    <a:lnTo>
                      <a:pt x="75" y="1128"/>
                    </a:lnTo>
                    <a:lnTo>
                      <a:pt x="76" y="1141"/>
                    </a:lnTo>
                    <a:lnTo>
                      <a:pt x="78" y="1152"/>
                    </a:lnTo>
                    <a:lnTo>
                      <a:pt x="82" y="1163"/>
                    </a:lnTo>
                    <a:lnTo>
                      <a:pt x="85" y="1174"/>
                    </a:lnTo>
                    <a:lnTo>
                      <a:pt x="89" y="1184"/>
                    </a:lnTo>
                    <a:lnTo>
                      <a:pt x="94" y="1195"/>
                    </a:lnTo>
                    <a:lnTo>
                      <a:pt x="103" y="1213"/>
                    </a:lnTo>
                    <a:lnTo>
                      <a:pt x="113" y="1231"/>
                    </a:lnTo>
                    <a:lnTo>
                      <a:pt x="124" y="1249"/>
                    </a:lnTo>
                    <a:lnTo>
                      <a:pt x="137" y="1265"/>
                    </a:lnTo>
                    <a:lnTo>
                      <a:pt x="149" y="1282"/>
                    </a:lnTo>
                    <a:lnTo>
                      <a:pt x="160" y="1298"/>
                    </a:lnTo>
                    <a:lnTo>
                      <a:pt x="171" y="1316"/>
                    </a:lnTo>
                    <a:lnTo>
                      <a:pt x="180" y="1334"/>
                    </a:lnTo>
                    <a:lnTo>
                      <a:pt x="188" y="1352"/>
                    </a:lnTo>
                    <a:lnTo>
                      <a:pt x="195" y="1373"/>
                    </a:lnTo>
                    <a:lnTo>
                      <a:pt x="197" y="1383"/>
                    </a:lnTo>
                    <a:lnTo>
                      <a:pt x="198" y="1394"/>
                    </a:lnTo>
                    <a:lnTo>
                      <a:pt x="199" y="1405"/>
                    </a:lnTo>
                    <a:lnTo>
                      <a:pt x="200" y="1418"/>
                    </a:lnTo>
                    <a:lnTo>
                      <a:pt x="200" y="1425"/>
                    </a:lnTo>
                    <a:lnTo>
                      <a:pt x="201" y="1431"/>
                    </a:lnTo>
                    <a:lnTo>
                      <a:pt x="202" y="1437"/>
                    </a:lnTo>
                    <a:lnTo>
                      <a:pt x="205" y="1442"/>
                    </a:lnTo>
                    <a:lnTo>
                      <a:pt x="210" y="1453"/>
                    </a:lnTo>
                    <a:lnTo>
                      <a:pt x="217" y="1463"/>
                    </a:lnTo>
                    <a:lnTo>
                      <a:pt x="222" y="1475"/>
                    </a:lnTo>
                    <a:lnTo>
                      <a:pt x="228" y="1485"/>
                    </a:lnTo>
                    <a:lnTo>
                      <a:pt x="230" y="1491"/>
                    </a:lnTo>
                    <a:lnTo>
                      <a:pt x="231" y="1497"/>
                    </a:lnTo>
                    <a:lnTo>
                      <a:pt x="232" y="1503"/>
                    </a:lnTo>
                    <a:lnTo>
                      <a:pt x="233" y="1510"/>
                    </a:lnTo>
                    <a:lnTo>
                      <a:pt x="232" y="1518"/>
                    </a:lnTo>
                    <a:lnTo>
                      <a:pt x="230" y="1526"/>
                    </a:lnTo>
                    <a:lnTo>
                      <a:pt x="227" y="1532"/>
                    </a:lnTo>
                    <a:lnTo>
                      <a:pt x="223" y="1537"/>
                    </a:lnTo>
                    <a:lnTo>
                      <a:pt x="219" y="1542"/>
                    </a:lnTo>
                    <a:lnTo>
                      <a:pt x="216" y="1547"/>
                    </a:lnTo>
                    <a:lnTo>
                      <a:pt x="213" y="1553"/>
                    </a:lnTo>
                    <a:lnTo>
                      <a:pt x="213" y="1559"/>
                    </a:lnTo>
                    <a:lnTo>
                      <a:pt x="213" y="1578"/>
                    </a:lnTo>
                    <a:lnTo>
                      <a:pt x="213" y="1590"/>
                    </a:lnTo>
                    <a:lnTo>
                      <a:pt x="213" y="1598"/>
                    </a:lnTo>
                    <a:lnTo>
                      <a:pt x="213" y="1603"/>
                    </a:lnTo>
                    <a:lnTo>
                      <a:pt x="212" y="1609"/>
                    </a:lnTo>
                    <a:lnTo>
                      <a:pt x="211" y="1615"/>
                    </a:lnTo>
                    <a:lnTo>
                      <a:pt x="209" y="1622"/>
                    </a:lnTo>
                    <a:lnTo>
                      <a:pt x="207" y="1628"/>
                    </a:lnTo>
                    <a:lnTo>
                      <a:pt x="204" y="1635"/>
                    </a:lnTo>
                    <a:lnTo>
                      <a:pt x="201" y="1644"/>
                    </a:lnTo>
                    <a:lnTo>
                      <a:pt x="200" y="1654"/>
                    </a:lnTo>
                    <a:lnTo>
                      <a:pt x="200" y="1664"/>
                    </a:lnTo>
                    <a:lnTo>
                      <a:pt x="200" y="1672"/>
                    </a:lnTo>
                    <a:lnTo>
                      <a:pt x="204" y="1681"/>
                    </a:lnTo>
                    <a:lnTo>
                      <a:pt x="207" y="1690"/>
                    </a:lnTo>
                    <a:lnTo>
                      <a:pt x="213" y="1700"/>
                    </a:lnTo>
                    <a:lnTo>
                      <a:pt x="220" y="1709"/>
                    </a:lnTo>
                    <a:lnTo>
                      <a:pt x="228" y="1718"/>
                    </a:lnTo>
                    <a:lnTo>
                      <a:pt x="236" y="1727"/>
                    </a:lnTo>
                    <a:lnTo>
                      <a:pt x="246" y="1735"/>
                    </a:lnTo>
                    <a:lnTo>
                      <a:pt x="256" y="1743"/>
                    </a:lnTo>
                    <a:lnTo>
                      <a:pt x="267" y="1752"/>
                    </a:lnTo>
                    <a:lnTo>
                      <a:pt x="278" y="1758"/>
                    </a:lnTo>
                    <a:lnTo>
                      <a:pt x="289" y="1764"/>
                    </a:lnTo>
                    <a:lnTo>
                      <a:pt x="300" y="1769"/>
                    </a:lnTo>
                    <a:lnTo>
                      <a:pt x="311" y="1772"/>
                    </a:lnTo>
                    <a:lnTo>
                      <a:pt x="322" y="1774"/>
                    </a:lnTo>
                    <a:lnTo>
                      <a:pt x="333" y="1775"/>
                    </a:lnTo>
                    <a:lnTo>
                      <a:pt x="342" y="1776"/>
                    </a:lnTo>
                    <a:lnTo>
                      <a:pt x="351" y="1779"/>
                    </a:lnTo>
                    <a:lnTo>
                      <a:pt x="358" y="1781"/>
                    </a:lnTo>
                    <a:lnTo>
                      <a:pt x="366" y="1784"/>
                    </a:lnTo>
                    <a:lnTo>
                      <a:pt x="380" y="1791"/>
                    </a:lnTo>
                    <a:lnTo>
                      <a:pt x="392" y="1798"/>
                    </a:lnTo>
                    <a:lnTo>
                      <a:pt x="404" y="1807"/>
                    </a:lnTo>
                    <a:lnTo>
                      <a:pt x="419" y="1813"/>
                    </a:lnTo>
                    <a:lnTo>
                      <a:pt x="426" y="1815"/>
                    </a:lnTo>
                    <a:lnTo>
                      <a:pt x="434" y="1817"/>
                    </a:lnTo>
                    <a:lnTo>
                      <a:pt x="443" y="1818"/>
                    </a:lnTo>
                    <a:lnTo>
                      <a:pt x="452" y="1818"/>
                    </a:lnTo>
                    <a:lnTo>
                      <a:pt x="452" y="1803"/>
                    </a:lnTo>
                    <a:lnTo>
                      <a:pt x="451" y="1786"/>
                    </a:lnTo>
                    <a:lnTo>
                      <a:pt x="448" y="1772"/>
                    </a:lnTo>
                    <a:lnTo>
                      <a:pt x="445" y="1758"/>
                    </a:lnTo>
                    <a:lnTo>
                      <a:pt x="441" y="1736"/>
                    </a:lnTo>
                    <a:lnTo>
                      <a:pt x="439" y="1726"/>
                    </a:lnTo>
                    <a:lnTo>
                      <a:pt x="440" y="1721"/>
                    </a:lnTo>
                    <a:lnTo>
                      <a:pt x="443" y="1715"/>
                    </a:lnTo>
                    <a:lnTo>
                      <a:pt x="448" y="1709"/>
                    </a:lnTo>
                    <a:lnTo>
                      <a:pt x="454" y="1703"/>
                    </a:lnTo>
                    <a:lnTo>
                      <a:pt x="460" y="1698"/>
                    </a:lnTo>
                    <a:lnTo>
                      <a:pt x="467" y="1693"/>
                    </a:lnTo>
                    <a:lnTo>
                      <a:pt x="474" y="1689"/>
                    </a:lnTo>
                    <a:lnTo>
                      <a:pt x="479" y="1688"/>
                    </a:lnTo>
                    <a:lnTo>
                      <a:pt x="466" y="1633"/>
                    </a:lnTo>
                    <a:lnTo>
                      <a:pt x="459" y="1633"/>
                    </a:lnTo>
                    <a:lnTo>
                      <a:pt x="459" y="1615"/>
                    </a:lnTo>
                    <a:lnTo>
                      <a:pt x="470" y="1612"/>
                    </a:lnTo>
                    <a:lnTo>
                      <a:pt x="479" y="1610"/>
                    </a:lnTo>
                    <a:lnTo>
                      <a:pt x="487" y="1608"/>
                    </a:lnTo>
                    <a:lnTo>
                      <a:pt x="493" y="1605"/>
                    </a:lnTo>
                    <a:lnTo>
                      <a:pt x="505" y="1599"/>
                    </a:lnTo>
                    <a:lnTo>
                      <a:pt x="519" y="1590"/>
                    </a:lnTo>
                    <a:lnTo>
                      <a:pt x="519" y="1510"/>
                    </a:lnTo>
                    <a:lnTo>
                      <a:pt x="507" y="1510"/>
                    </a:lnTo>
                    <a:lnTo>
                      <a:pt x="495" y="1509"/>
                    </a:lnTo>
                    <a:lnTo>
                      <a:pt x="482" y="1508"/>
                    </a:lnTo>
                    <a:lnTo>
                      <a:pt x="471" y="1506"/>
                    </a:lnTo>
                    <a:lnTo>
                      <a:pt x="462" y="1504"/>
                    </a:lnTo>
                    <a:lnTo>
                      <a:pt x="452" y="1502"/>
                    </a:lnTo>
                    <a:lnTo>
                      <a:pt x="443" y="1498"/>
                    </a:lnTo>
                    <a:lnTo>
                      <a:pt x="434" y="1495"/>
                    </a:lnTo>
                    <a:lnTo>
                      <a:pt x="426" y="1490"/>
                    </a:lnTo>
                    <a:lnTo>
                      <a:pt x="420" y="1486"/>
                    </a:lnTo>
                    <a:lnTo>
                      <a:pt x="413" y="1480"/>
                    </a:lnTo>
                    <a:lnTo>
                      <a:pt x="409" y="1474"/>
                    </a:lnTo>
                    <a:lnTo>
                      <a:pt x="404" y="1466"/>
                    </a:lnTo>
                    <a:lnTo>
                      <a:pt x="401" y="1459"/>
                    </a:lnTo>
                    <a:lnTo>
                      <a:pt x="400" y="1451"/>
                    </a:lnTo>
                    <a:lnTo>
                      <a:pt x="399" y="1442"/>
                    </a:lnTo>
                    <a:lnTo>
                      <a:pt x="400" y="1436"/>
                    </a:lnTo>
                    <a:lnTo>
                      <a:pt x="401" y="1430"/>
                    </a:lnTo>
                    <a:lnTo>
                      <a:pt x="404" y="1424"/>
                    </a:lnTo>
                    <a:lnTo>
                      <a:pt x="408" y="1419"/>
                    </a:lnTo>
                    <a:lnTo>
                      <a:pt x="412" y="1415"/>
                    </a:lnTo>
                    <a:lnTo>
                      <a:pt x="417" y="1410"/>
                    </a:lnTo>
                    <a:lnTo>
                      <a:pt x="422" y="1407"/>
                    </a:lnTo>
                    <a:lnTo>
                      <a:pt x="429" y="1403"/>
                    </a:lnTo>
                    <a:lnTo>
                      <a:pt x="441" y="1399"/>
                    </a:lnTo>
                    <a:lnTo>
                      <a:pt x="453" y="1395"/>
                    </a:lnTo>
                    <a:lnTo>
                      <a:pt x="464" y="1393"/>
                    </a:lnTo>
                    <a:lnTo>
                      <a:pt x="473" y="1393"/>
                    </a:lnTo>
                    <a:lnTo>
                      <a:pt x="473" y="1384"/>
                    </a:lnTo>
                    <a:lnTo>
                      <a:pt x="474" y="1374"/>
                    </a:lnTo>
                    <a:lnTo>
                      <a:pt x="476" y="1364"/>
                    </a:lnTo>
                    <a:lnTo>
                      <a:pt x="479" y="1353"/>
                    </a:lnTo>
                    <a:lnTo>
                      <a:pt x="481" y="1342"/>
                    </a:lnTo>
                    <a:lnTo>
                      <a:pt x="484" y="1332"/>
                    </a:lnTo>
                    <a:lnTo>
                      <a:pt x="485" y="1323"/>
                    </a:lnTo>
                    <a:lnTo>
                      <a:pt x="486" y="1313"/>
                    </a:lnTo>
                    <a:lnTo>
                      <a:pt x="485" y="1301"/>
                    </a:lnTo>
                    <a:lnTo>
                      <a:pt x="482" y="1290"/>
                    </a:lnTo>
                    <a:lnTo>
                      <a:pt x="480" y="1278"/>
                    </a:lnTo>
                    <a:lnTo>
                      <a:pt x="476" y="1267"/>
                    </a:lnTo>
                    <a:lnTo>
                      <a:pt x="466" y="1245"/>
                    </a:lnTo>
                    <a:lnTo>
                      <a:pt x="455" y="1224"/>
                    </a:lnTo>
                    <a:lnTo>
                      <a:pt x="444" y="1205"/>
                    </a:lnTo>
                    <a:lnTo>
                      <a:pt x="435" y="1187"/>
                    </a:lnTo>
                    <a:lnTo>
                      <a:pt x="431" y="1179"/>
                    </a:lnTo>
                    <a:lnTo>
                      <a:pt x="429" y="1172"/>
                    </a:lnTo>
                    <a:lnTo>
                      <a:pt x="426" y="1165"/>
                    </a:lnTo>
                    <a:lnTo>
                      <a:pt x="425" y="1159"/>
                    </a:lnTo>
                    <a:lnTo>
                      <a:pt x="425" y="1148"/>
                    </a:lnTo>
                    <a:lnTo>
                      <a:pt x="425" y="1141"/>
                    </a:lnTo>
                    <a:lnTo>
                      <a:pt x="433" y="1141"/>
                    </a:lnTo>
                    <a:lnTo>
                      <a:pt x="441" y="1142"/>
                    </a:lnTo>
                    <a:lnTo>
                      <a:pt x="448" y="1144"/>
                    </a:lnTo>
                    <a:lnTo>
                      <a:pt x="456" y="1145"/>
                    </a:lnTo>
                    <a:lnTo>
                      <a:pt x="473" y="1150"/>
                    </a:lnTo>
                    <a:lnTo>
                      <a:pt x="488" y="1156"/>
                    </a:lnTo>
                    <a:lnTo>
                      <a:pt x="503" y="1161"/>
                    </a:lnTo>
                    <a:lnTo>
                      <a:pt x="518" y="1166"/>
                    </a:lnTo>
                    <a:lnTo>
                      <a:pt x="532" y="1170"/>
                    </a:lnTo>
                    <a:lnTo>
                      <a:pt x="545" y="1171"/>
                    </a:lnTo>
                    <a:lnTo>
                      <a:pt x="549" y="1171"/>
                    </a:lnTo>
                    <a:lnTo>
                      <a:pt x="554" y="1169"/>
                    </a:lnTo>
                    <a:lnTo>
                      <a:pt x="557" y="1168"/>
                    </a:lnTo>
                    <a:lnTo>
                      <a:pt x="560" y="1165"/>
                    </a:lnTo>
                    <a:lnTo>
                      <a:pt x="565" y="1159"/>
                    </a:lnTo>
                    <a:lnTo>
                      <a:pt x="568" y="1151"/>
                    </a:lnTo>
                    <a:lnTo>
                      <a:pt x="570" y="1142"/>
                    </a:lnTo>
                    <a:lnTo>
                      <a:pt x="571" y="1132"/>
                    </a:lnTo>
                    <a:lnTo>
                      <a:pt x="571" y="1123"/>
                    </a:lnTo>
                    <a:lnTo>
                      <a:pt x="571" y="1116"/>
                    </a:lnTo>
                    <a:lnTo>
                      <a:pt x="569" y="1112"/>
                    </a:lnTo>
                    <a:lnTo>
                      <a:pt x="565" y="1102"/>
                    </a:lnTo>
                    <a:lnTo>
                      <a:pt x="560" y="1090"/>
                    </a:lnTo>
                    <a:lnTo>
                      <a:pt x="558" y="1078"/>
                    </a:lnTo>
                    <a:lnTo>
                      <a:pt x="552" y="1066"/>
                    </a:lnTo>
                    <a:lnTo>
                      <a:pt x="545" y="1054"/>
                    </a:lnTo>
                    <a:lnTo>
                      <a:pt x="546" y="1049"/>
                    </a:lnTo>
                    <a:lnTo>
                      <a:pt x="548" y="1044"/>
                    </a:lnTo>
                    <a:lnTo>
                      <a:pt x="551" y="1040"/>
                    </a:lnTo>
                    <a:lnTo>
                      <a:pt x="555" y="1036"/>
                    </a:lnTo>
                    <a:lnTo>
                      <a:pt x="559" y="1032"/>
                    </a:lnTo>
                    <a:lnTo>
                      <a:pt x="565" y="1030"/>
                    </a:lnTo>
                    <a:lnTo>
                      <a:pt x="571" y="1027"/>
                    </a:lnTo>
                    <a:lnTo>
                      <a:pt x="578" y="1025"/>
                    </a:lnTo>
                    <a:lnTo>
                      <a:pt x="591" y="1022"/>
                    </a:lnTo>
                    <a:lnTo>
                      <a:pt x="604" y="1021"/>
                    </a:lnTo>
                    <a:lnTo>
                      <a:pt x="615" y="1021"/>
                    </a:lnTo>
                    <a:lnTo>
                      <a:pt x="625" y="1023"/>
                    </a:lnTo>
                    <a:lnTo>
                      <a:pt x="652" y="1023"/>
                    </a:lnTo>
                    <a:lnTo>
                      <a:pt x="676" y="1023"/>
                    </a:lnTo>
                    <a:lnTo>
                      <a:pt x="697" y="1021"/>
                    </a:lnTo>
                    <a:lnTo>
                      <a:pt x="716" y="1017"/>
                    </a:lnTo>
                    <a:lnTo>
                      <a:pt x="734" y="1013"/>
                    </a:lnTo>
                    <a:lnTo>
                      <a:pt x="750" y="1007"/>
                    </a:lnTo>
                    <a:lnTo>
                      <a:pt x="764" y="1001"/>
                    </a:lnTo>
                    <a:lnTo>
                      <a:pt x="776" y="993"/>
                    </a:lnTo>
                    <a:lnTo>
                      <a:pt x="787" y="984"/>
                    </a:lnTo>
                    <a:lnTo>
                      <a:pt x="795" y="973"/>
                    </a:lnTo>
                    <a:lnTo>
                      <a:pt x="802" y="961"/>
                    </a:lnTo>
                    <a:lnTo>
                      <a:pt x="809" y="949"/>
                    </a:lnTo>
                    <a:lnTo>
                      <a:pt x="812" y="935"/>
                    </a:lnTo>
                    <a:lnTo>
                      <a:pt x="815" y="921"/>
                    </a:lnTo>
                    <a:lnTo>
                      <a:pt x="817" y="904"/>
                    </a:lnTo>
                    <a:lnTo>
                      <a:pt x="817" y="888"/>
                    </a:lnTo>
                    <a:lnTo>
                      <a:pt x="817" y="884"/>
                    </a:lnTo>
                    <a:lnTo>
                      <a:pt x="816" y="882"/>
                    </a:lnTo>
                    <a:lnTo>
                      <a:pt x="815" y="879"/>
                    </a:lnTo>
                    <a:lnTo>
                      <a:pt x="813" y="877"/>
                    </a:lnTo>
                    <a:lnTo>
                      <a:pt x="809" y="874"/>
                    </a:lnTo>
                    <a:lnTo>
                      <a:pt x="803" y="871"/>
                    </a:lnTo>
                    <a:lnTo>
                      <a:pt x="792" y="867"/>
                    </a:lnTo>
                    <a:lnTo>
                      <a:pt x="784" y="863"/>
                    </a:lnTo>
                    <a:lnTo>
                      <a:pt x="782" y="859"/>
                    </a:lnTo>
                    <a:lnTo>
                      <a:pt x="781" y="852"/>
                    </a:lnTo>
                    <a:lnTo>
                      <a:pt x="780" y="847"/>
                    </a:lnTo>
                    <a:lnTo>
                      <a:pt x="779" y="841"/>
                    </a:lnTo>
                    <a:lnTo>
                      <a:pt x="780" y="836"/>
                    </a:lnTo>
                    <a:lnTo>
                      <a:pt x="781" y="830"/>
                    </a:lnTo>
                    <a:lnTo>
                      <a:pt x="782" y="825"/>
                    </a:lnTo>
                    <a:lnTo>
                      <a:pt x="784" y="820"/>
                    </a:lnTo>
                    <a:lnTo>
                      <a:pt x="772" y="816"/>
                    </a:lnTo>
                    <a:lnTo>
                      <a:pt x="758" y="810"/>
                    </a:lnTo>
                    <a:lnTo>
                      <a:pt x="742" y="800"/>
                    </a:lnTo>
                    <a:lnTo>
                      <a:pt x="725" y="789"/>
                    </a:lnTo>
                    <a:lnTo>
                      <a:pt x="717" y="783"/>
                    </a:lnTo>
                    <a:lnTo>
                      <a:pt x="711" y="777"/>
                    </a:lnTo>
                    <a:lnTo>
                      <a:pt x="704" y="771"/>
                    </a:lnTo>
                    <a:lnTo>
                      <a:pt x="700" y="765"/>
                    </a:lnTo>
                    <a:lnTo>
                      <a:pt x="695" y="758"/>
                    </a:lnTo>
                    <a:lnTo>
                      <a:pt x="692" y="752"/>
                    </a:lnTo>
                    <a:lnTo>
                      <a:pt x="691" y="745"/>
                    </a:lnTo>
                    <a:lnTo>
                      <a:pt x="691" y="739"/>
                    </a:lnTo>
                    <a:lnTo>
                      <a:pt x="698" y="616"/>
                    </a:lnTo>
                    <a:lnTo>
                      <a:pt x="697" y="585"/>
                    </a:lnTo>
                    <a:lnTo>
                      <a:pt x="697" y="553"/>
                    </a:lnTo>
                    <a:lnTo>
                      <a:pt x="698" y="546"/>
                    </a:lnTo>
                    <a:lnTo>
                      <a:pt x="699" y="539"/>
                    </a:lnTo>
                    <a:lnTo>
                      <a:pt x="701" y="532"/>
                    </a:lnTo>
                    <a:lnTo>
                      <a:pt x="703" y="525"/>
                    </a:lnTo>
                    <a:lnTo>
                      <a:pt x="708" y="518"/>
                    </a:lnTo>
                    <a:lnTo>
                      <a:pt x="712" y="511"/>
                    </a:lnTo>
                    <a:lnTo>
                      <a:pt x="717" y="505"/>
                    </a:lnTo>
                    <a:lnTo>
                      <a:pt x="725" y="499"/>
                    </a:lnTo>
                    <a:lnTo>
                      <a:pt x="725" y="493"/>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284" name="Freeform 442">
              <a:extLst>
                <a:ext uri="{FF2B5EF4-FFF2-40B4-BE49-F238E27FC236}">
                  <a16:creationId xmlns:a16="http://schemas.microsoft.com/office/drawing/2014/main" id="{1EB004C3-A9F5-4497-889A-37CB3FE1D956}"/>
                </a:ext>
              </a:extLst>
            </p:cNvPr>
            <p:cNvSpPr>
              <a:spLocks/>
            </p:cNvSpPr>
            <p:nvPr>
              <p:custDataLst>
                <p:tags r:id="rId280"/>
              </p:custDataLst>
            </p:nvPr>
          </p:nvSpPr>
          <p:spPr bwMode="auto">
            <a:xfrm>
              <a:off x="5040307" y="2324082"/>
              <a:ext cx="123825" cy="109537"/>
            </a:xfrm>
            <a:custGeom>
              <a:avLst/>
              <a:gdLst>
                <a:gd name="T0" fmla="*/ 14646 w 279"/>
                <a:gd name="T1" fmla="*/ 46715 h 204"/>
                <a:gd name="T2" fmla="*/ 26185 w 279"/>
                <a:gd name="T3" fmla="*/ 76247 h 204"/>
                <a:gd name="T4" fmla="*/ 26185 w 279"/>
                <a:gd name="T5" fmla="*/ 96114 h 204"/>
                <a:gd name="T6" fmla="*/ 45269 w 279"/>
                <a:gd name="T7" fmla="*/ 105242 h 204"/>
                <a:gd name="T8" fmla="*/ 54146 w 279"/>
                <a:gd name="T9" fmla="*/ 108464 h 204"/>
                <a:gd name="T10" fmla="*/ 61691 w 279"/>
                <a:gd name="T11" fmla="*/ 109538 h 204"/>
                <a:gd name="T12" fmla="*/ 64797 w 279"/>
                <a:gd name="T13" fmla="*/ 107927 h 204"/>
                <a:gd name="T14" fmla="*/ 67016 w 279"/>
                <a:gd name="T15" fmla="*/ 104168 h 204"/>
                <a:gd name="T16" fmla="*/ 71011 w 279"/>
                <a:gd name="T17" fmla="*/ 92356 h 204"/>
                <a:gd name="T18" fmla="*/ 76337 w 279"/>
                <a:gd name="T19" fmla="*/ 80006 h 204"/>
                <a:gd name="T20" fmla="*/ 80331 w 279"/>
                <a:gd name="T21" fmla="*/ 75710 h 204"/>
                <a:gd name="T22" fmla="*/ 85213 w 279"/>
                <a:gd name="T23" fmla="*/ 73025 h 204"/>
                <a:gd name="T24" fmla="*/ 92758 w 279"/>
                <a:gd name="T25" fmla="*/ 74099 h 204"/>
                <a:gd name="T26" fmla="*/ 97640 w 279"/>
                <a:gd name="T27" fmla="*/ 76247 h 204"/>
                <a:gd name="T28" fmla="*/ 101190 w 279"/>
                <a:gd name="T29" fmla="*/ 79469 h 204"/>
                <a:gd name="T30" fmla="*/ 102522 w 279"/>
                <a:gd name="T31" fmla="*/ 82690 h 204"/>
                <a:gd name="T32" fmla="*/ 103853 w 279"/>
                <a:gd name="T33" fmla="*/ 88060 h 204"/>
                <a:gd name="T34" fmla="*/ 102522 w 279"/>
                <a:gd name="T35" fmla="*/ 89671 h 204"/>
                <a:gd name="T36" fmla="*/ 103853 w 279"/>
                <a:gd name="T37" fmla="*/ 82154 h 204"/>
                <a:gd name="T38" fmla="*/ 105628 w 279"/>
                <a:gd name="T39" fmla="*/ 75173 h 204"/>
                <a:gd name="T40" fmla="*/ 108735 w 279"/>
                <a:gd name="T41" fmla="*/ 62823 h 204"/>
                <a:gd name="T42" fmla="*/ 112730 w 279"/>
                <a:gd name="T43" fmla="*/ 61749 h 204"/>
                <a:gd name="T44" fmla="*/ 117168 w 279"/>
                <a:gd name="T45" fmla="*/ 59065 h 204"/>
                <a:gd name="T46" fmla="*/ 123825 w 279"/>
                <a:gd name="T47" fmla="*/ 53158 h 204"/>
                <a:gd name="T48" fmla="*/ 111842 w 279"/>
                <a:gd name="T49" fmla="*/ 40271 h 204"/>
                <a:gd name="T50" fmla="*/ 100747 w 279"/>
                <a:gd name="T51" fmla="*/ 31143 h 204"/>
                <a:gd name="T52" fmla="*/ 90539 w 279"/>
                <a:gd name="T53" fmla="*/ 23626 h 204"/>
                <a:gd name="T54" fmla="*/ 82106 w 279"/>
                <a:gd name="T55" fmla="*/ 16645 h 204"/>
                <a:gd name="T56" fmla="*/ 64797 w 279"/>
                <a:gd name="T57" fmla="*/ 36513 h 204"/>
                <a:gd name="T58" fmla="*/ 35062 w 279"/>
                <a:gd name="T59" fmla="*/ 13424 h 204"/>
                <a:gd name="T60" fmla="*/ 23078 w 279"/>
                <a:gd name="T61" fmla="*/ 6443 h 204"/>
                <a:gd name="T62" fmla="*/ 20416 w 279"/>
                <a:gd name="T63" fmla="*/ 33291 h 204"/>
                <a:gd name="T64" fmla="*/ 0 w 279"/>
                <a:gd name="T65" fmla="*/ 30069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5" name="Freeform 443">
              <a:extLst>
                <a:ext uri="{FF2B5EF4-FFF2-40B4-BE49-F238E27FC236}">
                  <a16:creationId xmlns:a16="http://schemas.microsoft.com/office/drawing/2014/main" id="{FD53ED44-EB05-4F12-BCCB-71C89BD26C20}"/>
                </a:ext>
              </a:extLst>
            </p:cNvPr>
            <p:cNvSpPr>
              <a:spLocks/>
            </p:cNvSpPr>
            <p:nvPr>
              <p:custDataLst>
                <p:tags r:id="rId281"/>
              </p:custDataLst>
            </p:nvPr>
          </p:nvSpPr>
          <p:spPr bwMode="auto">
            <a:xfrm>
              <a:off x="4506908" y="1897048"/>
              <a:ext cx="209550" cy="150811"/>
            </a:xfrm>
            <a:custGeom>
              <a:avLst/>
              <a:gdLst>
                <a:gd name="T0" fmla="*/ 108880 w 485"/>
                <a:gd name="T1" fmla="*/ 10365 h 291"/>
                <a:gd name="T2" fmla="*/ 129619 w 485"/>
                <a:gd name="T3" fmla="*/ 22803 h 291"/>
                <a:gd name="T4" fmla="*/ 160727 w 485"/>
                <a:gd name="T5" fmla="*/ 22803 h 291"/>
                <a:gd name="T6" fmla="*/ 183626 w 485"/>
                <a:gd name="T7" fmla="*/ 67891 h 291"/>
                <a:gd name="T8" fmla="*/ 209550 w 485"/>
                <a:gd name="T9" fmla="*/ 86548 h 291"/>
                <a:gd name="T10" fmla="*/ 178009 w 485"/>
                <a:gd name="T11" fmla="*/ 89658 h 291"/>
                <a:gd name="T12" fmla="*/ 187083 w 485"/>
                <a:gd name="T13" fmla="*/ 108833 h 291"/>
                <a:gd name="T14" fmla="*/ 169368 w 485"/>
                <a:gd name="T15" fmla="*/ 124899 h 291"/>
                <a:gd name="T16" fmla="*/ 166344 w 485"/>
                <a:gd name="T17" fmla="*/ 150812 h 291"/>
                <a:gd name="T18" fmla="*/ 123138 w 485"/>
                <a:gd name="T19" fmla="*/ 137856 h 291"/>
                <a:gd name="T20" fmla="*/ 74747 w 485"/>
                <a:gd name="T21" fmla="*/ 131637 h 291"/>
                <a:gd name="T22" fmla="*/ 25924 w 485"/>
                <a:gd name="T23" fmla="*/ 137856 h 291"/>
                <a:gd name="T24" fmla="*/ 6481 w 485"/>
                <a:gd name="T25" fmla="*/ 140447 h 291"/>
                <a:gd name="T26" fmla="*/ 3456 w 485"/>
                <a:gd name="T27" fmla="*/ 133191 h 291"/>
                <a:gd name="T28" fmla="*/ 1296 w 485"/>
                <a:gd name="T29" fmla="*/ 126454 h 291"/>
                <a:gd name="T30" fmla="*/ 0 w 485"/>
                <a:gd name="T31" fmla="*/ 118680 h 291"/>
                <a:gd name="T32" fmla="*/ 2160 w 485"/>
                <a:gd name="T33" fmla="*/ 113498 h 291"/>
                <a:gd name="T34" fmla="*/ 6049 w 485"/>
                <a:gd name="T35" fmla="*/ 107279 h 291"/>
                <a:gd name="T36" fmla="*/ 9937 w 485"/>
                <a:gd name="T37" fmla="*/ 97950 h 291"/>
                <a:gd name="T38" fmla="*/ 13394 w 485"/>
                <a:gd name="T39" fmla="*/ 86030 h 291"/>
                <a:gd name="T40" fmla="*/ 17715 w 485"/>
                <a:gd name="T41" fmla="*/ 71001 h 291"/>
                <a:gd name="T42" fmla="*/ 20739 w 485"/>
                <a:gd name="T43" fmla="*/ 65300 h 291"/>
                <a:gd name="T44" fmla="*/ 25924 w 485"/>
                <a:gd name="T45" fmla="*/ 61672 h 291"/>
                <a:gd name="T46" fmla="*/ 37589 w 485"/>
                <a:gd name="T47" fmla="*/ 57526 h 291"/>
                <a:gd name="T48" fmla="*/ 38454 w 485"/>
                <a:gd name="T49" fmla="*/ 54935 h 291"/>
                <a:gd name="T50" fmla="*/ 40614 w 485"/>
                <a:gd name="T51" fmla="*/ 51825 h 291"/>
                <a:gd name="T52" fmla="*/ 43638 w 485"/>
                <a:gd name="T53" fmla="*/ 49234 h 291"/>
                <a:gd name="T54" fmla="*/ 45799 w 485"/>
                <a:gd name="T55" fmla="*/ 48198 h 291"/>
                <a:gd name="T56" fmla="*/ 45799 w 485"/>
                <a:gd name="T57" fmla="*/ 39387 h 291"/>
                <a:gd name="T58" fmla="*/ 47095 w 485"/>
                <a:gd name="T59" fmla="*/ 36278 h 291"/>
                <a:gd name="T60" fmla="*/ 48823 w 485"/>
                <a:gd name="T61" fmla="*/ 34723 h 291"/>
                <a:gd name="T62" fmla="*/ 52712 w 485"/>
                <a:gd name="T63" fmla="*/ 35760 h 291"/>
                <a:gd name="T64" fmla="*/ 55304 w 485"/>
                <a:gd name="T65" fmla="*/ 35760 h 291"/>
                <a:gd name="T66" fmla="*/ 57032 w 485"/>
                <a:gd name="T67" fmla="*/ 34205 h 291"/>
                <a:gd name="T68" fmla="*/ 57896 w 485"/>
                <a:gd name="T69" fmla="*/ 29022 h 291"/>
                <a:gd name="T70" fmla="*/ 60057 w 485"/>
                <a:gd name="T71" fmla="*/ 22803 h 291"/>
                <a:gd name="T72" fmla="*/ 62217 w 485"/>
                <a:gd name="T73" fmla="*/ 20212 h 291"/>
                <a:gd name="T74" fmla="*/ 92029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6" name="Freeform 444">
              <a:extLst>
                <a:ext uri="{FF2B5EF4-FFF2-40B4-BE49-F238E27FC236}">
                  <a16:creationId xmlns:a16="http://schemas.microsoft.com/office/drawing/2014/main" id="{C61F8F6F-5DD7-4D7E-9DB2-0A0518D2912A}"/>
                </a:ext>
              </a:extLst>
            </p:cNvPr>
            <p:cNvSpPr>
              <a:spLocks/>
            </p:cNvSpPr>
            <p:nvPr>
              <p:custDataLst>
                <p:tags r:id="rId282"/>
              </p:custDataLst>
            </p:nvPr>
          </p:nvSpPr>
          <p:spPr bwMode="auto">
            <a:xfrm>
              <a:off x="4364033" y="2228833"/>
              <a:ext cx="82550" cy="87312"/>
            </a:xfrm>
            <a:custGeom>
              <a:avLst/>
              <a:gdLst>
                <a:gd name="T0" fmla="*/ 38168 w 186"/>
                <a:gd name="T1" fmla="*/ 77319 h 166"/>
                <a:gd name="T2" fmla="*/ 36837 w 186"/>
                <a:gd name="T3" fmla="*/ 71534 h 166"/>
                <a:gd name="T4" fmla="*/ 34618 w 186"/>
                <a:gd name="T5" fmla="*/ 66800 h 166"/>
                <a:gd name="T6" fmla="*/ 32842 w 186"/>
                <a:gd name="T7" fmla="*/ 62066 h 166"/>
                <a:gd name="T8" fmla="*/ 31067 w 186"/>
                <a:gd name="T9" fmla="*/ 57858 h 166"/>
                <a:gd name="T10" fmla="*/ 26629 w 186"/>
                <a:gd name="T11" fmla="*/ 49968 h 166"/>
                <a:gd name="T12" fmla="*/ 21747 w 186"/>
                <a:gd name="T13" fmla="*/ 43131 h 166"/>
                <a:gd name="T14" fmla="*/ 16421 w 186"/>
                <a:gd name="T15" fmla="*/ 36819 h 166"/>
                <a:gd name="T16" fmla="*/ 11095 w 186"/>
                <a:gd name="T17" fmla="*/ 29455 h 166"/>
                <a:gd name="T18" fmla="*/ 5770 w 186"/>
                <a:gd name="T19" fmla="*/ 19987 h 166"/>
                <a:gd name="T20" fmla="*/ 0 w 186"/>
                <a:gd name="T21" fmla="*/ 9468 h 166"/>
                <a:gd name="T22" fmla="*/ 0 w 186"/>
                <a:gd name="T23" fmla="*/ 0 h 166"/>
                <a:gd name="T24" fmla="*/ 3107 w 186"/>
                <a:gd name="T25" fmla="*/ 1052 h 166"/>
                <a:gd name="T26" fmla="*/ 6213 w 186"/>
                <a:gd name="T27" fmla="*/ 1578 h 166"/>
                <a:gd name="T28" fmla="*/ 8876 w 186"/>
                <a:gd name="T29" fmla="*/ 2104 h 166"/>
                <a:gd name="T30" fmla="*/ 11983 w 186"/>
                <a:gd name="T31" fmla="*/ 2104 h 166"/>
                <a:gd name="T32" fmla="*/ 14646 w 186"/>
                <a:gd name="T33" fmla="*/ 2104 h 166"/>
                <a:gd name="T34" fmla="*/ 17753 w 186"/>
                <a:gd name="T35" fmla="*/ 1578 h 166"/>
                <a:gd name="T36" fmla="*/ 20859 w 186"/>
                <a:gd name="T37" fmla="*/ 1052 h 166"/>
                <a:gd name="T38" fmla="*/ 23522 w 186"/>
                <a:gd name="T39" fmla="*/ 0 h 166"/>
                <a:gd name="T40" fmla="*/ 62134 w 186"/>
                <a:gd name="T41" fmla="*/ 6312 h 166"/>
                <a:gd name="T42" fmla="*/ 82550 w 186"/>
                <a:gd name="T43" fmla="*/ 47864 h 166"/>
                <a:gd name="T44" fmla="*/ 75893 w 186"/>
                <a:gd name="T45" fmla="*/ 58910 h 166"/>
                <a:gd name="T46" fmla="*/ 68792 w 186"/>
                <a:gd name="T47" fmla="*/ 67852 h 166"/>
                <a:gd name="T48" fmla="*/ 66129 w 186"/>
                <a:gd name="T49" fmla="*/ 72060 h 166"/>
                <a:gd name="T50" fmla="*/ 63910 w 186"/>
                <a:gd name="T51" fmla="*/ 76267 h 166"/>
                <a:gd name="T52" fmla="*/ 63022 w 186"/>
                <a:gd name="T53" fmla="*/ 78897 h 166"/>
                <a:gd name="T54" fmla="*/ 62578 w 186"/>
                <a:gd name="T55" fmla="*/ 82053 h 166"/>
                <a:gd name="T56" fmla="*/ 62134 w 186"/>
                <a:gd name="T57" fmla="*/ 84683 h 166"/>
                <a:gd name="T58" fmla="*/ 62134 w 186"/>
                <a:gd name="T59" fmla="*/ 87313 h 166"/>
                <a:gd name="T60" fmla="*/ 38168 w 186"/>
                <a:gd name="T61" fmla="*/ 77319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7" name="Freeform 445">
              <a:extLst>
                <a:ext uri="{FF2B5EF4-FFF2-40B4-BE49-F238E27FC236}">
                  <a16:creationId xmlns:a16="http://schemas.microsoft.com/office/drawing/2014/main" id="{3DC91930-AB48-404E-99E3-F00ACD6F24B5}"/>
                </a:ext>
              </a:extLst>
            </p:cNvPr>
            <p:cNvSpPr>
              <a:spLocks/>
            </p:cNvSpPr>
            <p:nvPr>
              <p:custDataLst>
                <p:tags r:id="rId283"/>
              </p:custDataLst>
            </p:nvPr>
          </p:nvSpPr>
          <p:spPr bwMode="auto">
            <a:xfrm>
              <a:off x="2728910" y="3665509"/>
              <a:ext cx="82550" cy="57150"/>
            </a:xfrm>
            <a:custGeom>
              <a:avLst/>
              <a:gdLst>
                <a:gd name="T0" fmla="*/ 67904 w 186"/>
                <a:gd name="T1" fmla="*/ 11540 h 104"/>
                <a:gd name="T2" fmla="*/ 64797 w 186"/>
                <a:gd name="T3" fmla="*/ 11540 h 104"/>
                <a:gd name="T4" fmla="*/ 62578 w 186"/>
                <a:gd name="T5" fmla="*/ 10990 h 104"/>
                <a:gd name="T6" fmla="*/ 60359 w 186"/>
                <a:gd name="T7" fmla="*/ 9891 h 104"/>
                <a:gd name="T8" fmla="*/ 59028 w 186"/>
                <a:gd name="T9" fmla="*/ 8243 h 104"/>
                <a:gd name="T10" fmla="*/ 57696 w 186"/>
                <a:gd name="T11" fmla="*/ 7144 h 104"/>
                <a:gd name="T12" fmla="*/ 55477 w 186"/>
                <a:gd name="T13" fmla="*/ 6045 h 104"/>
                <a:gd name="T14" fmla="*/ 53258 w 186"/>
                <a:gd name="T15" fmla="*/ 5495 h 104"/>
                <a:gd name="T16" fmla="*/ 50151 w 186"/>
                <a:gd name="T17" fmla="*/ 4946 h 104"/>
                <a:gd name="T18" fmla="*/ 44382 w 186"/>
                <a:gd name="T19" fmla="*/ 4396 h 104"/>
                <a:gd name="T20" fmla="*/ 39056 w 186"/>
                <a:gd name="T21" fmla="*/ 3297 h 104"/>
                <a:gd name="T22" fmla="*/ 33286 w 186"/>
                <a:gd name="T23" fmla="*/ 1649 h 104"/>
                <a:gd name="T24" fmla="*/ 28404 w 186"/>
                <a:gd name="T25" fmla="*/ 550 h 104"/>
                <a:gd name="T26" fmla="*/ 26629 w 186"/>
                <a:gd name="T27" fmla="*/ 0 h 104"/>
                <a:gd name="T28" fmla="*/ 23966 w 186"/>
                <a:gd name="T29" fmla="*/ 0 h 104"/>
                <a:gd name="T30" fmla="*/ 22635 w 186"/>
                <a:gd name="T31" fmla="*/ 550 h 104"/>
                <a:gd name="T32" fmla="*/ 20416 w 186"/>
                <a:gd name="T33" fmla="*/ 1099 h 104"/>
                <a:gd name="T34" fmla="*/ 19528 w 186"/>
                <a:gd name="T35" fmla="*/ 2198 h 104"/>
                <a:gd name="T36" fmla="*/ 18640 w 186"/>
                <a:gd name="T37" fmla="*/ 3297 h 104"/>
                <a:gd name="T38" fmla="*/ 18197 w 186"/>
                <a:gd name="T39" fmla="*/ 5495 h 104"/>
                <a:gd name="T40" fmla="*/ 17753 w 186"/>
                <a:gd name="T41" fmla="*/ 8243 h 104"/>
                <a:gd name="T42" fmla="*/ 15090 w 186"/>
                <a:gd name="T43" fmla="*/ 14837 h 104"/>
                <a:gd name="T44" fmla="*/ 8876 w 186"/>
                <a:gd name="T45" fmla="*/ 25827 h 104"/>
                <a:gd name="T46" fmla="*/ 3107 w 186"/>
                <a:gd name="T47" fmla="*/ 36268 h 104"/>
                <a:gd name="T48" fmla="*/ 0 w 186"/>
                <a:gd name="T49" fmla="*/ 42313 h 104"/>
                <a:gd name="T50" fmla="*/ 3551 w 186"/>
                <a:gd name="T51" fmla="*/ 42313 h 104"/>
                <a:gd name="T52" fmla="*/ 7101 w 186"/>
                <a:gd name="T53" fmla="*/ 42862 h 104"/>
                <a:gd name="T54" fmla="*/ 9320 w 186"/>
                <a:gd name="T55" fmla="*/ 43412 h 104"/>
                <a:gd name="T56" fmla="*/ 11095 w 186"/>
                <a:gd name="T57" fmla="*/ 44511 h 104"/>
                <a:gd name="T58" fmla="*/ 14646 w 186"/>
                <a:gd name="T59" fmla="*/ 46709 h 104"/>
                <a:gd name="T60" fmla="*/ 17753 w 186"/>
                <a:gd name="T61" fmla="*/ 48907 h 104"/>
                <a:gd name="T62" fmla="*/ 19972 w 186"/>
                <a:gd name="T63" fmla="*/ 51655 h 104"/>
                <a:gd name="T64" fmla="*/ 23078 w 186"/>
                <a:gd name="T65" fmla="*/ 53853 h 104"/>
                <a:gd name="T66" fmla="*/ 24854 w 186"/>
                <a:gd name="T67" fmla="*/ 54952 h 104"/>
                <a:gd name="T68" fmla="*/ 27073 w 186"/>
                <a:gd name="T69" fmla="*/ 55501 h 104"/>
                <a:gd name="T70" fmla="*/ 29292 w 186"/>
                <a:gd name="T71" fmla="*/ 56051 h 104"/>
                <a:gd name="T72" fmla="*/ 32842 w 186"/>
                <a:gd name="T73" fmla="*/ 56051 h 104"/>
                <a:gd name="T74" fmla="*/ 47488 w 186"/>
                <a:gd name="T75" fmla="*/ 56600 h 104"/>
                <a:gd name="T76" fmla="*/ 58140 w 186"/>
                <a:gd name="T77" fmla="*/ 57150 h 104"/>
                <a:gd name="T78" fmla="*/ 59915 w 186"/>
                <a:gd name="T79" fmla="*/ 56600 h 104"/>
                <a:gd name="T80" fmla="*/ 61691 w 186"/>
                <a:gd name="T81" fmla="*/ 56051 h 104"/>
                <a:gd name="T82" fmla="*/ 63022 w 186"/>
                <a:gd name="T83" fmla="*/ 54952 h 104"/>
                <a:gd name="T84" fmla="*/ 64353 w 186"/>
                <a:gd name="T85" fmla="*/ 53303 h 104"/>
                <a:gd name="T86" fmla="*/ 65241 w 186"/>
                <a:gd name="T87" fmla="*/ 51655 h 104"/>
                <a:gd name="T88" fmla="*/ 66573 w 186"/>
                <a:gd name="T89" fmla="*/ 48358 h 104"/>
                <a:gd name="T90" fmla="*/ 67460 w 186"/>
                <a:gd name="T91" fmla="*/ 45610 h 104"/>
                <a:gd name="T92" fmla="*/ 67904 w 186"/>
                <a:gd name="T93" fmla="*/ 42313 h 104"/>
                <a:gd name="T94" fmla="*/ 82550 w 186"/>
                <a:gd name="T95" fmla="*/ 14837 h 104"/>
                <a:gd name="T96" fmla="*/ 67904 w 186"/>
                <a:gd name="T97" fmla="*/ 11540 h 104"/>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186" h="104">
                  <a:moveTo>
                    <a:pt x="153" y="21"/>
                  </a:moveTo>
                  <a:lnTo>
                    <a:pt x="146" y="21"/>
                  </a:lnTo>
                  <a:lnTo>
                    <a:pt x="141" y="20"/>
                  </a:lnTo>
                  <a:lnTo>
                    <a:pt x="136" y="18"/>
                  </a:lnTo>
                  <a:lnTo>
                    <a:pt x="133" y="15"/>
                  </a:lnTo>
                  <a:lnTo>
                    <a:pt x="130" y="13"/>
                  </a:lnTo>
                  <a:lnTo>
                    <a:pt x="125" y="11"/>
                  </a:lnTo>
                  <a:lnTo>
                    <a:pt x="120" y="10"/>
                  </a:lnTo>
                  <a:lnTo>
                    <a:pt x="113" y="9"/>
                  </a:lnTo>
                  <a:lnTo>
                    <a:pt x="100" y="8"/>
                  </a:lnTo>
                  <a:lnTo>
                    <a:pt x="88" y="6"/>
                  </a:lnTo>
                  <a:lnTo>
                    <a:pt x="75" y="3"/>
                  </a:lnTo>
                  <a:lnTo>
                    <a:pt x="64" y="1"/>
                  </a:lnTo>
                  <a:lnTo>
                    <a:pt x="60" y="0"/>
                  </a:lnTo>
                  <a:lnTo>
                    <a:pt x="54" y="0"/>
                  </a:lnTo>
                  <a:lnTo>
                    <a:pt x="51" y="1"/>
                  </a:lnTo>
                  <a:lnTo>
                    <a:pt x="46" y="2"/>
                  </a:lnTo>
                  <a:lnTo>
                    <a:pt x="44" y="4"/>
                  </a:lnTo>
                  <a:lnTo>
                    <a:pt x="42" y="6"/>
                  </a:lnTo>
                  <a:lnTo>
                    <a:pt x="41" y="10"/>
                  </a:lnTo>
                  <a:lnTo>
                    <a:pt x="40" y="15"/>
                  </a:lnTo>
                  <a:lnTo>
                    <a:pt x="34" y="27"/>
                  </a:lnTo>
                  <a:lnTo>
                    <a:pt x="20" y="47"/>
                  </a:lnTo>
                  <a:lnTo>
                    <a:pt x="7" y="66"/>
                  </a:lnTo>
                  <a:lnTo>
                    <a:pt x="0" y="77"/>
                  </a:lnTo>
                  <a:lnTo>
                    <a:pt x="8" y="77"/>
                  </a:lnTo>
                  <a:lnTo>
                    <a:pt x="16" y="78"/>
                  </a:lnTo>
                  <a:lnTo>
                    <a:pt x="21" y="79"/>
                  </a:lnTo>
                  <a:lnTo>
                    <a:pt x="25" y="81"/>
                  </a:lnTo>
                  <a:lnTo>
                    <a:pt x="33" y="85"/>
                  </a:lnTo>
                  <a:lnTo>
                    <a:pt x="40" y="89"/>
                  </a:lnTo>
                  <a:lnTo>
                    <a:pt x="45" y="94"/>
                  </a:lnTo>
                  <a:lnTo>
                    <a:pt x="52" y="98"/>
                  </a:lnTo>
                  <a:lnTo>
                    <a:pt x="56" y="100"/>
                  </a:lnTo>
                  <a:lnTo>
                    <a:pt x="61" y="101"/>
                  </a:lnTo>
                  <a:lnTo>
                    <a:pt x="66" y="102"/>
                  </a:lnTo>
                  <a:lnTo>
                    <a:pt x="74" y="102"/>
                  </a:lnTo>
                  <a:lnTo>
                    <a:pt x="107" y="103"/>
                  </a:lnTo>
                  <a:lnTo>
                    <a:pt x="131" y="104"/>
                  </a:lnTo>
                  <a:lnTo>
                    <a:pt x="135" y="103"/>
                  </a:lnTo>
                  <a:lnTo>
                    <a:pt x="139" y="102"/>
                  </a:lnTo>
                  <a:lnTo>
                    <a:pt x="142" y="100"/>
                  </a:lnTo>
                  <a:lnTo>
                    <a:pt x="145" y="97"/>
                  </a:lnTo>
                  <a:lnTo>
                    <a:pt x="147" y="94"/>
                  </a:lnTo>
                  <a:lnTo>
                    <a:pt x="150" y="88"/>
                  </a:lnTo>
                  <a:lnTo>
                    <a:pt x="152" y="83"/>
                  </a:lnTo>
                  <a:lnTo>
                    <a:pt x="153" y="77"/>
                  </a:lnTo>
                  <a:lnTo>
                    <a:pt x="186" y="27"/>
                  </a:lnTo>
                  <a:lnTo>
                    <a:pt x="153" y="2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8" name="Freeform 446">
              <a:extLst>
                <a:ext uri="{FF2B5EF4-FFF2-40B4-BE49-F238E27FC236}">
                  <a16:creationId xmlns:a16="http://schemas.microsoft.com/office/drawing/2014/main" id="{4CCA76EE-93DE-4786-8B1E-F860B1C1F967}"/>
                </a:ext>
              </a:extLst>
            </p:cNvPr>
            <p:cNvSpPr>
              <a:spLocks/>
            </p:cNvSpPr>
            <p:nvPr>
              <p:custDataLst>
                <p:tags r:id="rId284"/>
              </p:custDataLst>
            </p:nvPr>
          </p:nvSpPr>
          <p:spPr bwMode="auto">
            <a:xfrm>
              <a:off x="4522782" y="2263757"/>
              <a:ext cx="133350" cy="96837"/>
            </a:xfrm>
            <a:custGeom>
              <a:avLst/>
              <a:gdLst>
                <a:gd name="T0" fmla="*/ 33873 w 311"/>
                <a:gd name="T1" fmla="*/ 20558 h 179"/>
                <a:gd name="T2" fmla="*/ 49309 w 311"/>
                <a:gd name="T3" fmla="*/ 14066 h 179"/>
                <a:gd name="T4" fmla="*/ 63459 w 311"/>
                <a:gd name="T5" fmla="*/ 7574 h 179"/>
                <a:gd name="T6" fmla="*/ 76323 w 311"/>
                <a:gd name="T7" fmla="*/ 2164 h 179"/>
                <a:gd name="T8" fmla="*/ 90472 w 311"/>
                <a:gd name="T9" fmla="*/ 0 h 179"/>
                <a:gd name="T10" fmla="*/ 101192 w 311"/>
                <a:gd name="T11" fmla="*/ 1082 h 179"/>
                <a:gd name="T12" fmla="*/ 109767 w 311"/>
                <a:gd name="T13" fmla="*/ 3246 h 179"/>
                <a:gd name="T14" fmla="*/ 125203 w 311"/>
                <a:gd name="T15" fmla="*/ 6492 h 179"/>
                <a:gd name="T16" fmla="*/ 123059 w 311"/>
                <a:gd name="T17" fmla="*/ 15148 h 179"/>
                <a:gd name="T18" fmla="*/ 119200 w 311"/>
                <a:gd name="T19" fmla="*/ 22722 h 179"/>
                <a:gd name="T20" fmla="*/ 115341 w 311"/>
                <a:gd name="T21" fmla="*/ 28673 h 179"/>
                <a:gd name="T22" fmla="*/ 113626 w 311"/>
                <a:gd name="T23" fmla="*/ 33542 h 179"/>
                <a:gd name="T24" fmla="*/ 114055 w 311"/>
                <a:gd name="T25" fmla="*/ 35706 h 179"/>
                <a:gd name="T26" fmla="*/ 116199 w 311"/>
                <a:gd name="T27" fmla="*/ 38411 h 179"/>
                <a:gd name="T28" fmla="*/ 122202 w 311"/>
                <a:gd name="T29" fmla="*/ 42739 h 179"/>
                <a:gd name="T30" fmla="*/ 133350 w 311"/>
                <a:gd name="T31" fmla="*/ 50312 h 179"/>
                <a:gd name="T32" fmla="*/ 123059 w 311"/>
                <a:gd name="T33" fmla="*/ 57886 h 179"/>
                <a:gd name="T34" fmla="*/ 120487 w 311"/>
                <a:gd name="T35" fmla="*/ 62214 h 179"/>
                <a:gd name="T36" fmla="*/ 119200 w 311"/>
                <a:gd name="T37" fmla="*/ 69788 h 179"/>
                <a:gd name="T38" fmla="*/ 108052 w 311"/>
                <a:gd name="T39" fmla="*/ 73575 h 179"/>
                <a:gd name="T40" fmla="*/ 90472 w 311"/>
                <a:gd name="T41" fmla="*/ 80067 h 179"/>
                <a:gd name="T42" fmla="*/ 81897 w 311"/>
                <a:gd name="T43" fmla="*/ 90887 h 179"/>
                <a:gd name="T44" fmla="*/ 76323 w 311"/>
                <a:gd name="T45" fmla="*/ 95215 h 179"/>
                <a:gd name="T46" fmla="*/ 70748 w 311"/>
                <a:gd name="T47" fmla="*/ 96838 h 179"/>
                <a:gd name="T48" fmla="*/ 64745 w 311"/>
                <a:gd name="T49" fmla="*/ 94674 h 179"/>
                <a:gd name="T50" fmla="*/ 58743 w 311"/>
                <a:gd name="T51" fmla="*/ 90346 h 179"/>
                <a:gd name="T52" fmla="*/ 51453 w 311"/>
                <a:gd name="T53" fmla="*/ 85477 h 179"/>
                <a:gd name="T54" fmla="*/ 42020 w 311"/>
                <a:gd name="T55" fmla="*/ 83854 h 179"/>
                <a:gd name="T56" fmla="*/ 28299 w 311"/>
                <a:gd name="T57" fmla="*/ 83854 h 179"/>
                <a:gd name="T58" fmla="*/ 21868 w 311"/>
                <a:gd name="T59" fmla="*/ 84936 h 179"/>
                <a:gd name="T60" fmla="*/ 16722 w 311"/>
                <a:gd name="T61" fmla="*/ 87100 h 179"/>
                <a:gd name="T62" fmla="*/ 15436 w 311"/>
                <a:gd name="T63" fmla="*/ 76821 h 179"/>
                <a:gd name="T64" fmla="*/ 13721 w 311"/>
                <a:gd name="T65" fmla="*/ 66542 h 179"/>
                <a:gd name="T66" fmla="*/ 9004 w 311"/>
                <a:gd name="T67" fmla="*/ 69247 h 179"/>
                <a:gd name="T68" fmla="*/ 5574 w 311"/>
                <a:gd name="T69" fmla="*/ 69788 h 179"/>
                <a:gd name="T70" fmla="*/ 3001 w 311"/>
                <a:gd name="T71" fmla="*/ 68165 h 179"/>
                <a:gd name="T72" fmla="*/ 1286 w 311"/>
                <a:gd name="T73" fmla="*/ 65460 h 179"/>
                <a:gd name="T74" fmla="*/ 0 w 311"/>
                <a:gd name="T75" fmla="*/ 56804 h 179"/>
                <a:gd name="T76" fmla="*/ 0 w 311"/>
                <a:gd name="T77" fmla="*/ 47067 h 179"/>
                <a:gd name="T78" fmla="*/ 1286 w 311"/>
                <a:gd name="T79" fmla="*/ 44362 h 179"/>
                <a:gd name="T80" fmla="*/ 5574 w 311"/>
                <a:gd name="T81" fmla="*/ 42198 h 179"/>
                <a:gd name="T82" fmla="*/ 9004 w 311"/>
                <a:gd name="T83" fmla="*/ 38952 h 179"/>
                <a:gd name="T84" fmla="*/ 10719 w 311"/>
                <a:gd name="T85" fmla="*/ 36788 h 179"/>
                <a:gd name="T86" fmla="*/ 11148 w 311"/>
                <a:gd name="T87" fmla="*/ 33542 h 179"/>
                <a:gd name="T88" fmla="*/ 10291 w 311"/>
                <a:gd name="T89" fmla="*/ 27591 h 179"/>
                <a:gd name="T90" fmla="*/ 8147 w 311"/>
                <a:gd name="T91" fmla="*/ 23263 h 179"/>
                <a:gd name="T92" fmla="*/ 3430 w 311"/>
                <a:gd name="T93" fmla="*/ 15689 h 179"/>
                <a:gd name="T94" fmla="*/ 429 w 311"/>
                <a:gd name="T95" fmla="*/ 9738 h 179"/>
                <a:gd name="T96" fmla="*/ 429 w 311"/>
                <a:gd name="T97" fmla="*/ 7033 h 179"/>
                <a:gd name="T98" fmla="*/ 2573 w 311"/>
                <a:gd name="T99" fmla="*/ 3246 h 179"/>
                <a:gd name="T100" fmla="*/ 0 w 311"/>
                <a:gd name="T101" fmla="*/ 3246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89" name="Freeform 447">
              <a:extLst>
                <a:ext uri="{FF2B5EF4-FFF2-40B4-BE49-F238E27FC236}">
                  <a16:creationId xmlns:a16="http://schemas.microsoft.com/office/drawing/2014/main" id="{834A3FEC-1DDD-4528-B4BA-FAA4CCF91FDA}"/>
                </a:ext>
              </a:extLst>
            </p:cNvPr>
            <p:cNvSpPr>
              <a:spLocks/>
            </p:cNvSpPr>
            <p:nvPr>
              <p:custDataLst>
                <p:tags r:id="rId285"/>
              </p:custDataLst>
            </p:nvPr>
          </p:nvSpPr>
          <p:spPr bwMode="auto">
            <a:xfrm>
              <a:off x="3878259" y="3190850"/>
              <a:ext cx="177800" cy="165099"/>
            </a:xfrm>
            <a:custGeom>
              <a:avLst/>
              <a:gdLst>
                <a:gd name="T0" fmla="*/ 2634 w 405"/>
                <a:gd name="T1" fmla="*/ 136707 h 314"/>
                <a:gd name="T2" fmla="*/ 5707 w 405"/>
                <a:gd name="T3" fmla="*/ 124614 h 314"/>
                <a:gd name="T4" fmla="*/ 7463 w 405"/>
                <a:gd name="T5" fmla="*/ 106211 h 314"/>
                <a:gd name="T6" fmla="*/ 10097 w 405"/>
                <a:gd name="T7" fmla="*/ 90963 h 314"/>
                <a:gd name="T8" fmla="*/ 14048 w 405"/>
                <a:gd name="T9" fmla="*/ 85179 h 314"/>
                <a:gd name="T10" fmla="*/ 21073 w 405"/>
                <a:gd name="T11" fmla="*/ 78869 h 314"/>
                <a:gd name="T12" fmla="*/ 31609 w 405"/>
                <a:gd name="T13" fmla="*/ 74137 h 314"/>
                <a:gd name="T14" fmla="*/ 40828 w 405"/>
                <a:gd name="T15" fmla="*/ 70457 h 314"/>
                <a:gd name="T16" fmla="*/ 45657 w 405"/>
                <a:gd name="T17" fmla="*/ 65725 h 314"/>
                <a:gd name="T18" fmla="*/ 49608 w 405"/>
                <a:gd name="T19" fmla="*/ 59941 h 314"/>
                <a:gd name="T20" fmla="*/ 53999 w 405"/>
                <a:gd name="T21" fmla="*/ 48899 h 314"/>
                <a:gd name="T22" fmla="*/ 59706 w 405"/>
                <a:gd name="T23" fmla="*/ 36280 h 314"/>
                <a:gd name="T24" fmla="*/ 64535 w 405"/>
                <a:gd name="T25" fmla="*/ 28919 h 314"/>
                <a:gd name="T26" fmla="*/ 68047 w 405"/>
                <a:gd name="T27" fmla="*/ 26816 h 314"/>
                <a:gd name="T28" fmla="*/ 74632 w 405"/>
                <a:gd name="T29" fmla="*/ 26816 h 314"/>
                <a:gd name="T30" fmla="*/ 82973 w 405"/>
                <a:gd name="T31" fmla="*/ 25238 h 314"/>
                <a:gd name="T32" fmla="*/ 93510 w 405"/>
                <a:gd name="T33" fmla="*/ 18403 h 314"/>
                <a:gd name="T34" fmla="*/ 104046 w 405"/>
                <a:gd name="T35" fmla="*/ 10516 h 314"/>
                <a:gd name="T36" fmla="*/ 112826 w 405"/>
                <a:gd name="T37" fmla="*/ 5784 h 314"/>
                <a:gd name="T38" fmla="*/ 123801 w 405"/>
                <a:gd name="T39" fmla="*/ 2103 h 314"/>
                <a:gd name="T40" fmla="*/ 137850 w 405"/>
                <a:gd name="T41" fmla="*/ 0 h 314"/>
                <a:gd name="T42" fmla="*/ 145752 w 405"/>
                <a:gd name="T43" fmla="*/ 7361 h 314"/>
                <a:gd name="T44" fmla="*/ 147947 w 405"/>
                <a:gd name="T45" fmla="*/ 17877 h 314"/>
                <a:gd name="T46" fmla="*/ 150581 w 405"/>
                <a:gd name="T47" fmla="*/ 26290 h 314"/>
                <a:gd name="T48" fmla="*/ 154532 w 405"/>
                <a:gd name="T49" fmla="*/ 32599 h 314"/>
                <a:gd name="T50" fmla="*/ 161557 w 405"/>
                <a:gd name="T51" fmla="*/ 38909 h 314"/>
                <a:gd name="T52" fmla="*/ 167703 w 405"/>
                <a:gd name="T53" fmla="*/ 44693 h 314"/>
                <a:gd name="T54" fmla="*/ 171215 w 405"/>
                <a:gd name="T55" fmla="*/ 48899 h 314"/>
                <a:gd name="T56" fmla="*/ 173849 w 405"/>
                <a:gd name="T57" fmla="*/ 60467 h 314"/>
                <a:gd name="T58" fmla="*/ 174727 w 405"/>
                <a:gd name="T59" fmla="*/ 75189 h 314"/>
                <a:gd name="T60" fmla="*/ 174727 w 405"/>
                <a:gd name="T61" fmla="*/ 89385 h 314"/>
                <a:gd name="T62" fmla="*/ 176483 w 405"/>
                <a:gd name="T63" fmla="*/ 103056 h 314"/>
                <a:gd name="T64" fmla="*/ 174727 w 405"/>
                <a:gd name="T65" fmla="*/ 114098 h 314"/>
                <a:gd name="T66" fmla="*/ 167703 w 405"/>
                <a:gd name="T67" fmla="*/ 118830 h 314"/>
                <a:gd name="T68" fmla="*/ 160240 w 405"/>
                <a:gd name="T69" fmla="*/ 126717 h 314"/>
                <a:gd name="T70" fmla="*/ 159361 w 405"/>
                <a:gd name="T71" fmla="*/ 124614 h 314"/>
                <a:gd name="T72" fmla="*/ 157166 w 405"/>
                <a:gd name="T73" fmla="*/ 122511 h 314"/>
                <a:gd name="T74" fmla="*/ 150142 w 405"/>
                <a:gd name="T75" fmla="*/ 119356 h 314"/>
                <a:gd name="T76" fmla="*/ 140045 w 405"/>
                <a:gd name="T77" fmla="*/ 117253 h 314"/>
                <a:gd name="T78" fmla="*/ 66730 w 405"/>
                <a:gd name="T79" fmla="*/ 126717 h 314"/>
                <a:gd name="T80" fmla="*/ 65852 w 405"/>
                <a:gd name="T81" fmla="*/ 135130 h 314"/>
                <a:gd name="T82" fmla="*/ 65852 w 405"/>
                <a:gd name="T83" fmla="*/ 144068 h 314"/>
                <a:gd name="T84" fmla="*/ 66730 w 405"/>
                <a:gd name="T85" fmla="*/ 165100 h 314"/>
                <a:gd name="T86" fmla="*/ 61023 w 405"/>
                <a:gd name="T87" fmla="*/ 164048 h 314"/>
                <a:gd name="T88" fmla="*/ 55316 w 405"/>
                <a:gd name="T89" fmla="*/ 160368 h 314"/>
                <a:gd name="T90" fmla="*/ 43901 w 405"/>
                <a:gd name="T91" fmla="*/ 152481 h 314"/>
                <a:gd name="T92" fmla="*/ 39072 w 405"/>
                <a:gd name="T93" fmla="*/ 161419 h 314"/>
                <a:gd name="T94" fmla="*/ 35999 w 405"/>
                <a:gd name="T95" fmla="*/ 164048 h 314"/>
                <a:gd name="T96" fmla="*/ 32048 w 405"/>
                <a:gd name="T97" fmla="*/ 165100 h 314"/>
                <a:gd name="T98" fmla="*/ 26341 w 405"/>
                <a:gd name="T99" fmla="*/ 163523 h 314"/>
                <a:gd name="T100" fmla="*/ 20634 w 405"/>
                <a:gd name="T101" fmla="*/ 158790 h 314"/>
                <a:gd name="T102" fmla="*/ 12292 w 405"/>
                <a:gd name="T103" fmla="*/ 153007 h 314"/>
                <a:gd name="T104" fmla="*/ 0 w 405"/>
                <a:gd name="T105" fmla="*/ 149326 h 31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405" h="314">
                  <a:moveTo>
                    <a:pt x="0" y="272"/>
                  </a:moveTo>
                  <a:lnTo>
                    <a:pt x="6" y="260"/>
                  </a:lnTo>
                  <a:lnTo>
                    <a:pt x="11" y="248"/>
                  </a:lnTo>
                  <a:lnTo>
                    <a:pt x="13" y="237"/>
                  </a:lnTo>
                  <a:lnTo>
                    <a:pt x="15" y="226"/>
                  </a:lnTo>
                  <a:lnTo>
                    <a:pt x="17" y="202"/>
                  </a:lnTo>
                  <a:lnTo>
                    <a:pt x="20" y="179"/>
                  </a:lnTo>
                  <a:lnTo>
                    <a:pt x="23" y="173"/>
                  </a:lnTo>
                  <a:lnTo>
                    <a:pt x="26" y="167"/>
                  </a:lnTo>
                  <a:lnTo>
                    <a:pt x="32" y="162"/>
                  </a:lnTo>
                  <a:lnTo>
                    <a:pt x="36" y="158"/>
                  </a:lnTo>
                  <a:lnTo>
                    <a:pt x="48" y="150"/>
                  </a:lnTo>
                  <a:lnTo>
                    <a:pt x="60" y="145"/>
                  </a:lnTo>
                  <a:lnTo>
                    <a:pt x="72" y="141"/>
                  </a:lnTo>
                  <a:lnTo>
                    <a:pt x="83" y="137"/>
                  </a:lnTo>
                  <a:lnTo>
                    <a:pt x="93" y="134"/>
                  </a:lnTo>
                  <a:lnTo>
                    <a:pt x="100" y="130"/>
                  </a:lnTo>
                  <a:lnTo>
                    <a:pt x="104" y="125"/>
                  </a:lnTo>
                  <a:lnTo>
                    <a:pt x="109" y="120"/>
                  </a:lnTo>
                  <a:lnTo>
                    <a:pt x="113" y="114"/>
                  </a:lnTo>
                  <a:lnTo>
                    <a:pt x="116" y="107"/>
                  </a:lnTo>
                  <a:lnTo>
                    <a:pt x="123" y="93"/>
                  </a:lnTo>
                  <a:lnTo>
                    <a:pt x="129" y="81"/>
                  </a:lnTo>
                  <a:lnTo>
                    <a:pt x="136" y="69"/>
                  </a:lnTo>
                  <a:lnTo>
                    <a:pt x="143" y="59"/>
                  </a:lnTo>
                  <a:lnTo>
                    <a:pt x="147" y="55"/>
                  </a:lnTo>
                  <a:lnTo>
                    <a:pt x="150" y="53"/>
                  </a:lnTo>
                  <a:lnTo>
                    <a:pt x="155" y="51"/>
                  </a:lnTo>
                  <a:lnTo>
                    <a:pt x="159" y="50"/>
                  </a:lnTo>
                  <a:lnTo>
                    <a:pt x="170" y="51"/>
                  </a:lnTo>
                  <a:lnTo>
                    <a:pt x="180" y="50"/>
                  </a:lnTo>
                  <a:lnTo>
                    <a:pt x="189" y="48"/>
                  </a:lnTo>
                  <a:lnTo>
                    <a:pt x="196" y="44"/>
                  </a:lnTo>
                  <a:lnTo>
                    <a:pt x="213" y="35"/>
                  </a:lnTo>
                  <a:lnTo>
                    <a:pt x="228" y="25"/>
                  </a:lnTo>
                  <a:lnTo>
                    <a:pt x="237" y="20"/>
                  </a:lnTo>
                  <a:lnTo>
                    <a:pt x="247" y="15"/>
                  </a:lnTo>
                  <a:lnTo>
                    <a:pt x="257" y="11"/>
                  </a:lnTo>
                  <a:lnTo>
                    <a:pt x="269" y="7"/>
                  </a:lnTo>
                  <a:lnTo>
                    <a:pt x="282" y="4"/>
                  </a:lnTo>
                  <a:lnTo>
                    <a:pt x="296" y="1"/>
                  </a:lnTo>
                  <a:lnTo>
                    <a:pt x="314" y="0"/>
                  </a:lnTo>
                  <a:lnTo>
                    <a:pt x="332" y="1"/>
                  </a:lnTo>
                  <a:lnTo>
                    <a:pt x="332" y="14"/>
                  </a:lnTo>
                  <a:lnTo>
                    <a:pt x="335" y="25"/>
                  </a:lnTo>
                  <a:lnTo>
                    <a:pt x="337" y="34"/>
                  </a:lnTo>
                  <a:lnTo>
                    <a:pt x="340" y="43"/>
                  </a:lnTo>
                  <a:lnTo>
                    <a:pt x="343" y="50"/>
                  </a:lnTo>
                  <a:lnTo>
                    <a:pt x="348" y="56"/>
                  </a:lnTo>
                  <a:lnTo>
                    <a:pt x="352" y="62"/>
                  </a:lnTo>
                  <a:lnTo>
                    <a:pt x="357" y="66"/>
                  </a:lnTo>
                  <a:lnTo>
                    <a:pt x="368" y="74"/>
                  </a:lnTo>
                  <a:lnTo>
                    <a:pt x="378" y="81"/>
                  </a:lnTo>
                  <a:lnTo>
                    <a:pt x="382" y="85"/>
                  </a:lnTo>
                  <a:lnTo>
                    <a:pt x="385" y="89"/>
                  </a:lnTo>
                  <a:lnTo>
                    <a:pt x="390" y="93"/>
                  </a:lnTo>
                  <a:lnTo>
                    <a:pt x="392" y="100"/>
                  </a:lnTo>
                  <a:lnTo>
                    <a:pt x="396" y="115"/>
                  </a:lnTo>
                  <a:lnTo>
                    <a:pt x="398" y="129"/>
                  </a:lnTo>
                  <a:lnTo>
                    <a:pt x="398" y="143"/>
                  </a:lnTo>
                  <a:lnTo>
                    <a:pt x="398" y="157"/>
                  </a:lnTo>
                  <a:lnTo>
                    <a:pt x="398" y="170"/>
                  </a:lnTo>
                  <a:lnTo>
                    <a:pt x="399" y="183"/>
                  </a:lnTo>
                  <a:lnTo>
                    <a:pt x="402" y="196"/>
                  </a:lnTo>
                  <a:lnTo>
                    <a:pt x="405" y="211"/>
                  </a:lnTo>
                  <a:lnTo>
                    <a:pt x="398" y="217"/>
                  </a:lnTo>
                  <a:lnTo>
                    <a:pt x="390" y="221"/>
                  </a:lnTo>
                  <a:lnTo>
                    <a:pt x="382" y="226"/>
                  </a:lnTo>
                  <a:lnTo>
                    <a:pt x="374" y="233"/>
                  </a:lnTo>
                  <a:lnTo>
                    <a:pt x="365" y="241"/>
                  </a:lnTo>
                  <a:lnTo>
                    <a:pt x="365" y="239"/>
                  </a:lnTo>
                  <a:lnTo>
                    <a:pt x="363" y="237"/>
                  </a:lnTo>
                  <a:lnTo>
                    <a:pt x="361" y="235"/>
                  </a:lnTo>
                  <a:lnTo>
                    <a:pt x="358" y="233"/>
                  </a:lnTo>
                  <a:lnTo>
                    <a:pt x="351" y="230"/>
                  </a:lnTo>
                  <a:lnTo>
                    <a:pt x="342" y="227"/>
                  </a:lnTo>
                  <a:lnTo>
                    <a:pt x="326" y="224"/>
                  </a:lnTo>
                  <a:lnTo>
                    <a:pt x="319" y="223"/>
                  </a:lnTo>
                  <a:lnTo>
                    <a:pt x="300" y="241"/>
                  </a:lnTo>
                  <a:lnTo>
                    <a:pt x="152" y="241"/>
                  </a:lnTo>
                  <a:lnTo>
                    <a:pt x="151" y="249"/>
                  </a:lnTo>
                  <a:lnTo>
                    <a:pt x="150" y="257"/>
                  </a:lnTo>
                  <a:lnTo>
                    <a:pt x="150" y="266"/>
                  </a:lnTo>
                  <a:lnTo>
                    <a:pt x="150" y="274"/>
                  </a:lnTo>
                  <a:lnTo>
                    <a:pt x="152" y="291"/>
                  </a:lnTo>
                  <a:lnTo>
                    <a:pt x="152" y="314"/>
                  </a:lnTo>
                  <a:lnTo>
                    <a:pt x="146" y="314"/>
                  </a:lnTo>
                  <a:lnTo>
                    <a:pt x="139" y="312"/>
                  </a:lnTo>
                  <a:lnTo>
                    <a:pt x="133" y="308"/>
                  </a:lnTo>
                  <a:lnTo>
                    <a:pt x="126" y="305"/>
                  </a:lnTo>
                  <a:lnTo>
                    <a:pt x="114" y="297"/>
                  </a:lnTo>
                  <a:lnTo>
                    <a:pt x="100" y="290"/>
                  </a:lnTo>
                  <a:lnTo>
                    <a:pt x="94" y="299"/>
                  </a:lnTo>
                  <a:lnTo>
                    <a:pt x="89" y="307"/>
                  </a:lnTo>
                  <a:lnTo>
                    <a:pt x="85" y="310"/>
                  </a:lnTo>
                  <a:lnTo>
                    <a:pt x="82" y="312"/>
                  </a:lnTo>
                  <a:lnTo>
                    <a:pt x="78" y="314"/>
                  </a:lnTo>
                  <a:lnTo>
                    <a:pt x="73" y="314"/>
                  </a:lnTo>
                  <a:lnTo>
                    <a:pt x="66" y="313"/>
                  </a:lnTo>
                  <a:lnTo>
                    <a:pt x="60" y="311"/>
                  </a:lnTo>
                  <a:lnTo>
                    <a:pt x="54" y="306"/>
                  </a:lnTo>
                  <a:lnTo>
                    <a:pt x="47" y="302"/>
                  </a:lnTo>
                  <a:lnTo>
                    <a:pt x="38" y="296"/>
                  </a:lnTo>
                  <a:lnTo>
                    <a:pt x="28" y="291"/>
                  </a:lnTo>
                  <a:lnTo>
                    <a:pt x="16" y="287"/>
                  </a:lnTo>
                  <a:lnTo>
                    <a:pt x="0" y="284"/>
                  </a:lnTo>
                  <a:lnTo>
                    <a:pt x="0" y="27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0" name="Freeform 448">
              <a:extLst>
                <a:ext uri="{FF2B5EF4-FFF2-40B4-BE49-F238E27FC236}">
                  <a16:creationId xmlns:a16="http://schemas.microsoft.com/office/drawing/2014/main" id="{589CDE75-C6B4-4851-8B6C-5CE776D146B4}"/>
                </a:ext>
              </a:extLst>
            </p:cNvPr>
            <p:cNvSpPr>
              <a:spLocks/>
            </p:cNvSpPr>
            <p:nvPr>
              <p:custDataLst>
                <p:tags r:id="rId286"/>
              </p:custDataLst>
            </p:nvPr>
          </p:nvSpPr>
          <p:spPr bwMode="auto">
            <a:xfrm>
              <a:off x="4225920" y="3259113"/>
              <a:ext cx="193675" cy="349247"/>
            </a:xfrm>
            <a:custGeom>
              <a:avLst/>
              <a:gdLst>
                <a:gd name="T0" fmla="*/ 143225 w 453"/>
                <a:gd name="T1" fmla="*/ 19021 h 661"/>
                <a:gd name="T2" fmla="*/ 137240 w 453"/>
                <a:gd name="T3" fmla="*/ 51780 h 661"/>
                <a:gd name="T4" fmla="*/ 118428 w 453"/>
                <a:gd name="T5" fmla="*/ 85595 h 661"/>
                <a:gd name="T6" fmla="*/ 108167 w 453"/>
                <a:gd name="T7" fmla="*/ 115712 h 661"/>
                <a:gd name="T8" fmla="*/ 99189 w 453"/>
                <a:gd name="T9" fmla="*/ 143716 h 661"/>
                <a:gd name="T10" fmla="*/ 89356 w 453"/>
                <a:gd name="T11" fmla="*/ 173832 h 661"/>
                <a:gd name="T12" fmla="*/ 83798 w 453"/>
                <a:gd name="T13" fmla="*/ 191269 h 661"/>
                <a:gd name="T14" fmla="*/ 76957 w 453"/>
                <a:gd name="T15" fmla="*/ 200779 h 661"/>
                <a:gd name="T16" fmla="*/ 71399 w 453"/>
                <a:gd name="T17" fmla="*/ 206063 h 661"/>
                <a:gd name="T18" fmla="*/ 60283 w 453"/>
                <a:gd name="T19" fmla="*/ 201836 h 661"/>
                <a:gd name="T20" fmla="*/ 51732 w 453"/>
                <a:gd name="T21" fmla="*/ 195495 h 661"/>
                <a:gd name="T22" fmla="*/ 40189 w 453"/>
                <a:gd name="T23" fmla="*/ 193910 h 661"/>
                <a:gd name="T24" fmla="*/ 27362 w 453"/>
                <a:gd name="T25" fmla="*/ 200779 h 661"/>
                <a:gd name="T26" fmla="*/ 18812 w 453"/>
                <a:gd name="T27" fmla="*/ 212932 h 661"/>
                <a:gd name="T28" fmla="*/ 8978 w 453"/>
                <a:gd name="T29" fmla="*/ 239878 h 661"/>
                <a:gd name="T30" fmla="*/ 2993 w 453"/>
                <a:gd name="T31" fmla="*/ 254672 h 661"/>
                <a:gd name="T32" fmla="*/ 428 w 453"/>
                <a:gd name="T33" fmla="*/ 264183 h 661"/>
                <a:gd name="T34" fmla="*/ 3420 w 453"/>
                <a:gd name="T35" fmla="*/ 273165 h 661"/>
                <a:gd name="T36" fmla="*/ 8551 w 453"/>
                <a:gd name="T37" fmla="*/ 277921 h 661"/>
                <a:gd name="T38" fmla="*/ 23515 w 453"/>
                <a:gd name="T39" fmla="*/ 277921 h 661"/>
                <a:gd name="T40" fmla="*/ 30355 w 453"/>
                <a:gd name="T41" fmla="*/ 289545 h 661"/>
                <a:gd name="T42" fmla="*/ 31210 w 453"/>
                <a:gd name="T43" fmla="*/ 311736 h 661"/>
                <a:gd name="T44" fmla="*/ 28645 w 453"/>
                <a:gd name="T45" fmla="*/ 332871 h 661"/>
                <a:gd name="T46" fmla="*/ 185124 w 453"/>
                <a:gd name="T47" fmla="*/ 349250 h 661"/>
                <a:gd name="T48" fmla="*/ 188972 w 453"/>
                <a:gd name="T49" fmla="*/ 307509 h 661"/>
                <a:gd name="T50" fmla="*/ 177429 w 453"/>
                <a:gd name="T51" fmla="*/ 300112 h 661"/>
                <a:gd name="T52" fmla="*/ 159472 w 453"/>
                <a:gd name="T53" fmla="*/ 294300 h 661"/>
                <a:gd name="T54" fmla="*/ 150921 w 453"/>
                <a:gd name="T55" fmla="*/ 290073 h 661"/>
                <a:gd name="T56" fmla="*/ 145363 w 453"/>
                <a:gd name="T57" fmla="*/ 283733 h 661"/>
                <a:gd name="T58" fmla="*/ 142370 w 453"/>
                <a:gd name="T59" fmla="*/ 272109 h 661"/>
                <a:gd name="T60" fmla="*/ 142370 w 453"/>
                <a:gd name="T61" fmla="*/ 245162 h 661"/>
                <a:gd name="T62" fmla="*/ 144081 w 453"/>
                <a:gd name="T63" fmla="*/ 226141 h 661"/>
                <a:gd name="T64" fmla="*/ 150066 w 453"/>
                <a:gd name="T65" fmla="*/ 209761 h 661"/>
                <a:gd name="T66" fmla="*/ 159472 w 453"/>
                <a:gd name="T67" fmla="*/ 192325 h 661"/>
                <a:gd name="T68" fmla="*/ 167595 w 453"/>
                <a:gd name="T69" fmla="*/ 174361 h 661"/>
                <a:gd name="T70" fmla="*/ 170588 w 453"/>
                <a:gd name="T71" fmla="*/ 156925 h 661"/>
                <a:gd name="T72" fmla="*/ 166313 w 453"/>
                <a:gd name="T73" fmla="*/ 141074 h 661"/>
                <a:gd name="T74" fmla="*/ 159472 w 453"/>
                <a:gd name="T75" fmla="*/ 129978 h 661"/>
                <a:gd name="T76" fmla="*/ 146646 w 453"/>
                <a:gd name="T77" fmla="*/ 114655 h 661"/>
                <a:gd name="T78" fmla="*/ 142370 w 453"/>
                <a:gd name="T79" fmla="*/ 101446 h 661"/>
                <a:gd name="T80" fmla="*/ 143225 w 453"/>
                <a:gd name="T81" fmla="*/ 91407 h 661"/>
                <a:gd name="T82" fmla="*/ 150921 w 453"/>
                <a:gd name="T83" fmla="*/ 86652 h 661"/>
                <a:gd name="T84" fmla="*/ 173581 w 453"/>
                <a:gd name="T85" fmla="*/ 85595 h 661"/>
                <a:gd name="T86" fmla="*/ 168878 w 453"/>
                <a:gd name="T87" fmla="*/ 79783 h 661"/>
                <a:gd name="T88" fmla="*/ 162037 w 453"/>
                <a:gd name="T89" fmla="*/ 61819 h 661"/>
                <a:gd name="T90" fmla="*/ 158617 w 453"/>
                <a:gd name="T91" fmla="*/ 38571 h 661"/>
                <a:gd name="T92" fmla="*/ 159472 w 453"/>
                <a:gd name="T93" fmla="*/ 23776 h 661"/>
                <a:gd name="T94" fmla="*/ 156907 w 453"/>
                <a:gd name="T95" fmla="*/ 5812 h 661"/>
                <a:gd name="T96" fmla="*/ 148356 w 453"/>
                <a:gd name="T97" fmla="*/ 0 h 661"/>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53" h="661">
                  <a:moveTo>
                    <a:pt x="330" y="9"/>
                  </a:moveTo>
                  <a:lnTo>
                    <a:pt x="332" y="23"/>
                  </a:lnTo>
                  <a:lnTo>
                    <a:pt x="335" y="36"/>
                  </a:lnTo>
                  <a:lnTo>
                    <a:pt x="340" y="50"/>
                  </a:lnTo>
                  <a:lnTo>
                    <a:pt x="346" y="63"/>
                  </a:lnTo>
                  <a:lnTo>
                    <a:pt x="321" y="98"/>
                  </a:lnTo>
                  <a:lnTo>
                    <a:pt x="298" y="129"/>
                  </a:lnTo>
                  <a:lnTo>
                    <a:pt x="287" y="145"/>
                  </a:lnTo>
                  <a:lnTo>
                    <a:pt x="277" y="162"/>
                  </a:lnTo>
                  <a:lnTo>
                    <a:pt x="268" y="179"/>
                  </a:lnTo>
                  <a:lnTo>
                    <a:pt x="259" y="200"/>
                  </a:lnTo>
                  <a:lnTo>
                    <a:pt x="253" y="219"/>
                  </a:lnTo>
                  <a:lnTo>
                    <a:pt x="245" y="237"/>
                  </a:lnTo>
                  <a:lnTo>
                    <a:pt x="239" y="255"/>
                  </a:lnTo>
                  <a:lnTo>
                    <a:pt x="232" y="272"/>
                  </a:lnTo>
                  <a:lnTo>
                    <a:pt x="225" y="289"/>
                  </a:lnTo>
                  <a:lnTo>
                    <a:pt x="218" y="309"/>
                  </a:lnTo>
                  <a:lnTo>
                    <a:pt x="209" y="329"/>
                  </a:lnTo>
                  <a:lnTo>
                    <a:pt x="200" y="353"/>
                  </a:lnTo>
                  <a:lnTo>
                    <a:pt x="199" y="356"/>
                  </a:lnTo>
                  <a:lnTo>
                    <a:pt x="196" y="362"/>
                  </a:lnTo>
                  <a:lnTo>
                    <a:pt x="191" y="368"/>
                  </a:lnTo>
                  <a:lnTo>
                    <a:pt x="186" y="374"/>
                  </a:lnTo>
                  <a:lnTo>
                    <a:pt x="180" y="380"/>
                  </a:lnTo>
                  <a:lnTo>
                    <a:pt x="175" y="385"/>
                  </a:lnTo>
                  <a:lnTo>
                    <a:pt x="171" y="389"/>
                  </a:lnTo>
                  <a:lnTo>
                    <a:pt x="167" y="390"/>
                  </a:lnTo>
                  <a:lnTo>
                    <a:pt x="157" y="389"/>
                  </a:lnTo>
                  <a:lnTo>
                    <a:pt x="149" y="386"/>
                  </a:lnTo>
                  <a:lnTo>
                    <a:pt x="141" y="382"/>
                  </a:lnTo>
                  <a:lnTo>
                    <a:pt x="134" y="378"/>
                  </a:lnTo>
                  <a:lnTo>
                    <a:pt x="128" y="374"/>
                  </a:lnTo>
                  <a:lnTo>
                    <a:pt x="121" y="370"/>
                  </a:lnTo>
                  <a:lnTo>
                    <a:pt x="115" y="367"/>
                  </a:lnTo>
                  <a:lnTo>
                    <a:pt x="107" y="366"/>
                  </a:lnTo>
                  <a:lnTo>
                    <a:pt x="94" y="367"/>
                  </a:lnTo>
                  <a:lnTo>
                    <a:pt x="83" y="370"/>
                  </a:lnTo>
                  <a:lnTo>
                    <a:pt x="73" y="374"/>
                  </a:lnTo>
                  <a:lnTo>
                    <a:pt x="64" y="380"/>
                  </a:lnTo>
                  <a:lnTo>
                    <a:pt x="56" y="387"/>
                  </a:lnTo>
                  <a:lnTo>
                    <a:pt x="50" y="395"/>
                  </a:lnTo>
                  <a:lnTo>
                    <a:pt x="44" y="403"/>
                  </a:lnTo>
                  <a:lnTo>
                    <a:pt x="39" y="413"/>
                  </a:lnTo>
                  <a:lnTo>
                    <a:pt x="30" y="434"/>
                  </a:lnTo>
                  <a:lnTo>
                    <a:pt x="21" y="454"/>
                  </a:lnTo>
                  <a:lnTo>
                    <a:pt x="17" y="463"/>
                  </a:lnTo>
                  <a:lnTo>
                    <a:pt x="11" y="473"/>
                  </a:lnTo>
                  <a:lnTo>
                    <a:pt x="7" y="482"/>
                  </a:lnTo>
                  <a:lnTo>
                    <a:pt x="0" y="489"/>
                  </a:lnTo>
                  <a:lnTo>
                    <a:pt x="1" y="494"/>
                  </a:lnTo>
                  <a:lnTo>
                    <a:pt x="1" y="500"/>
                  </a:lnTo>
                  <a:lnTo>
                    <a:pt x="4" y="506"/>
                  </a:lnTo>
                  <a:lnTo>
                    <a:pt x="6" y="512"/>
                  </a:lnTo>
                  <a:lnTo>
                    <a:pt x="8" y="517"/>
                  </a:lnTo>
                  <a:lnTo>
                    <a:pt x="11" y="521"/>
                  </a:lnTo>
                  <a:lnTo>
                    <a:pt x="16" y="524"/>
                  </a:lnTo>
                  <a:lnTo>
                    <a:pt x="20" y="526"/>
                  </a:lnTo>
                  <a:lnTo>
                    <a:pt x="28" y="526"/>
                  </a:lnTo>
                  <a:lnTo>
                    <a:pt x="40" y="526"/>
                  </a:lnTo>
                  <a:lnTo>
                    <a:pt x="55" y="526"/>
                  </a:lnTo>
                  <a:lnTo>
                    <a:pt x="74" y="526"/>
                  </a:lnTo>
                  <a:lnTo>
                    <a:pt x="72" y="537"/>
                  </a:lnTo>
                  <a:lnTo>
                    <a:pt x="71" y="548"/>
                  </a:lnTo>
                  <a:lnTo>
                    <a:pt x="71" y="558"/>
                  </a:lnTo>
                  <a:lnTo>
                    <a:pt x="72" y="569"/>
                  </a:lnTo>
                  <a:lnTo>
                    <a:pt x="73" y="590"/>
                  </a:lnTo>
                  <a:lnTo>
                    <a:pt x="74" y="612"/>
                  </a:lnTo>
                  <a:lnTo>
                    <a:pt x="71" y="621"/>
                  </a:lnTo>
                  <a:lnTo>
                    <a:pt x="67" y="630"/>
                  </a:lnTo>
                  <a:lnTo>
                    <a:pt x="167" y="630"/>
                  </a:lnTo>
                  <a:lnTo>
                    <a:pt x="273" y="630"/>
                  </a:lnTo>
                  <a:lnTo>
                    <a:pt x="433" y="661"/>
                  </a:lnTo>
                  <a:lnTo>
                    <a:pt x="453" y="594"/>
                  </a:lnTo>
                  <a:lnTo>
                    <a:pt x="447" y="588"/>
                  </a:lnTo>
                  <a:lnTo>
                    <a:pt x="442" y="582"/>
                  </a:lnTo>
                  <a:lnTo>
                    <a:pt x="435" y="577"/>
                  </a:lnTo>
                  <a:lnTo>
                    <a:pt x="430" y="573"/>
                  </a:lnTo>
                  <a:lnTo>
                    <a:pt x="415" y="568"/>
                  </a:lnTo>
                  <a:lnTo>
                    <a:pt x="402" y="564"/>
                  </a:lnTo>
                  <a:lnTo>
                    <a:pt x="387" y="561"/>
                  </a:lnTo>
                  <a:lnTo>
                    <a:pt x="373" y="557"/>
                  </a:lnTo>
                  <a:lnTo>
                    <a:pt x="366" y="555"/>
                  </a:lnTo>
                  <a:lnTo>
                    <a:pt x="359" y="552"/>
                  </a:lnTo>
                  <a:lnTo>
                    <a:pt x="353" y="549"/>
                  </a:lnTo>
                  <a:lnTo>
                    <a:pt x="346" y="544"/>
                  </a:lnTo>
                  <a:lnTo>
                    <a:pt x="343" y="541"/>
                  </a:lnTo>
                  <a:lnTo>
                    <a:pt x="340" y="537"/>
                  </a:lnTo>
                  <a:lnTo>
                    <a:pt x="337" y="532"/>
                  </a:lnTo>
                  <a:lnTo>
                    <a:pt x="335" y="527"/>
                  </a:lnTo>
                  <a:lnTo>
                    <a:pt x="333" y="515"/>
                  </a:lnTo>
                  <a:lnTo>
                    <a:pt x="332" y="504"/>
                  </a:lnTo>
                  <a:lnTo>
                    <a:pt x="332" y="482"/>
                  </a:lnTo>
                  <a:lnTo>
                    <a:pt x="333" y="464"/>
                  </a:lnTo>
                  <a:lnTo>
                    <a:pt x="333" y="451"/>
                  </a:lnTo>
                  <a:lnTo>
                    <a:pt x="335" y="439"/>
                  </a:lnTo>
                  <a:lnTo>
                    <a:pt x="337" y="428"/>
                  </a:lnTo>
                  <a:lnTo>
                    <a:pt x="342" y="417"/>
                  </a:lnTo>
                  <a:lnTo>
                    <a:pt x="345" y="406"/>
                  </a:lnTo>
                  <a:lnTo>
                    <a:pt x="351" y="397"/>
                  </a:lnTo>
                  <a:lnTo>
                    <a:pt x="355" y="389"/>
                  </a:lnTo>
                  <a:lnTo>
                    <a:pt x="362" y="380"/>
                  </a:lnTo>
                  <a:lnTo>
                    <a:pt x="373" y="364"/>
                  </a:lnTo>
                  <a:lnTo>
                    <a:pt x="384" y="347"/>
                  </a:lnTo>
                  <a:lnTo>
                    <a:pt x="388" y="338"/>
                  </a:lnTo>
                  <a:lnTo>
                    <a:pt x="392" y="330"/>
                  </a:lnTo>
                  <a:lnTo>
                    <a:pt x="397" y="320"/>
                  </a:lnTo>
                  <a:lnTo>
                    <a:pt x="399" y="310"/>
                  </a:lnTo>
                  <a:lnTo>
                    <a:pt x="399" y="297"/>
                  </a:lnTo>
                  <a:lnTo>
                    <a:pt x="397" y="286"/>
                  </a:lnTo>
                  <a:lnTo>
                    <a:pt x="393" y="276"/>
                  </a:lnTo>
                  <a:lnTo>
                    <a:pt x="389" y="267"/>
                  </a:lnTo>
                  <a:lnTo>
                    <a:pt x="384" y="260"/>
                  </a:lnTo>
                  <a:lnTo>
                    <a:pt x="378" y="253"/>
                  </a:lnTo>
                  <a:lnTo>
                    <a:pt x="373" y="246"/>
                  </a:lnTo>
                  <a:lnTo>
                    <a:pt x="366" y="240"/>
                  </a:lnTo>
                  <a:lnTo>
                    <a:pt x="354" y="229"/>
                  </a:lnTo>
                  <a:lnTo>
                    <a:pt x="343" y="217"/>
                  </a:lnTo>
                  <a:lnTo>
                    <a:pt x="339" y="209"/>
                  </a:lnTo>
                  <a:lnTo>
                    <a:pt x="335" y="201"/>
                  </a:lnTo>
                  <a:lnTo>
                    <a:pt x="333" y="192"/>
                  </a:lnTo>
                  <a:lnTo>
                    <a:pt x="333" y="180"/>
                  </a:lnTo>
                  <a:lnTo>
                    <a:pt x="333" y="176"/>
                  </a:lnTo>
                  <a:lnTo>
                    <a:pt x="335" y="173"/>
                  </a:lnTo>
                  <a:lnTo>
                    <a:pt x="339" y="170"/>
                  </a:lnTo>
                  <a:lnTo>
                    <a:pt x="343" y="167"/>
                  </a:lnTo>
                  <a:lnTo>
                    <a:pt x="353" y="164"/>
                  </a:lnTo>
                  <a:lnTo>
                    <a:pt x="365" y="162"/>
                  </a:lnTo>
                  <a:lnTo>
                    <a:pt x="389" y="162"/>
                  </a:lnTo>
                  <a:lnTo>
                    <a:pt x="406" y="162"/>
                  </a:lnTo>
                  <a:lnTo>
                    <a:pt x="402" y="160"/>
                  </a:lnTo>
                  <a:lnTo>
                    <a:pt x="399" y="156"/>
                  </a:lnTo>
                  <a:lnTo>
                    <a:pt x="395" y="151"/>
                  </a:lnTo>
                  <a:lnTo>
                    <a:pt x="391" y="146"/>
                  </a:lnTo>
                  <a:lnTo>
                    <a:pt x="385" y="132"/>
                  </a:lnTo>
                  <a:lnTo>
                    <a:pt x="379" y="117"/>
                  </a:lnTo>
                  <a:lnTo>
                    <a:pt x="375" y="101"/>
                  </a:lnTo>
                  <a:lnTo>
                    <a:pt x="373" y="83"/>
                  </a:lnTo>
                  <a:lnTo>
                    <a:pt x="371" y="73"/>
                  </a:lnTo>
                  <a:lnTo>
                    <a:pt x="371" y="64"/>
                  </a:lnTo>
                  <a:lnTo>
                    <a:pt x="371" y="54"/>
                  </a:lnTo>
                  <a:lnTo>
                    <a:pt x="373" y="45"/>
                  </a:lnTo>
                  <a:lnTo>
                    <a:pt x="371" y="33"/>
                  </a:lnTo>
                  <a:lnTo>
                    <a:pt x="369" y="21"/>
                  </a:lnTo>
                  <a:lnTo>
                    <a:pt x="367" y="11"/>
                  </a:lnTo>
                  <a:lnTo>
                    <a:pt x="366" y="2"/>
                  </a:lnTo>
                  <a:lnTo>
                    <a:pt x="357" y="1"/>
                  </a:lnTo>
                  <a:lnTo>
                    <a:pt x="347" y="0"/>
                  </a:lnTo>
                  <a:lnTo>
                    <a:pt x="346" y="2"/>
                  </a:lnTo>
                  <a:lnTo>
                    <a:pt x="330" y="9"/>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1" name="Freeform 449">
              <a:extLst>
                <a:ext uri="{FF2B5EF4-FFF2-40B4-BE49-F238E27FC236}">
                  <a16:creationId xmlns:a16="http://schemas.microsoft.com/office/drawing/2014/main" id="{DBCCC9C8-36D7-4AD7-A2EA-31DD27DE0741}"/>
                </a:ext>
              </a:extLst>
            </p:cNvPr>
            <p:cNvSpPr>
              <a:spLocks/>
            </p:cNvSpPr>
            <p:nvPr>
              <p:custDataLst>
                <p:tags r:id="rId287"/>
              </p:custDataLst>
            </p:nvPr>
          </p:nvSpPr>
          <p:spPr bwMode="auto">
            <a:xfrm>
              <a:off x="6677017" y="3017814"/>
              <a:ext cx="55563" cy="57150"/>
            </a:xfrm>
            <a:custGeom>
              <a:avLst/>
              <a:gdLst>
                <a:gd name="T0" fmla="*/ 0 w 126"/>
                <a:gd name="T1" fmla="*/ 30480 h 105"/>
                <a:gd name="T2" fmla="*/ 1764 w 126"/>
                <a:gd name="T3" fmla="*/ 26670 h 105"/>
                <a:gd name="T4" fmla="*/ 4410 w 126"/>
                <a:gd name="T5" fmla="*/ 22316 h 105"/>
                <a:gd name="T6" fmla="*/ 7056 w 126"/>
                <a:gd name="T7" fmla="*/ 17961 h 105"/>
                <a:gd name="T8" fmla="*/ 10583 w 126"/>
                <a:gd name="T9" fmla="*/ 13607 h 105"/>
                <a:gd name="T10" fmla="*/ 16316 w 126"/>
                <a:gd name="T11" fmla="*/ 5987 h 105"/>
                <a:gd name="T12" fmla="*/ 20726 w 126"/>
                <a:gd name="T13" fmla="*/ 0 h 105"/>
                <a:gd name="T14" fmla="*/ 49830 w 126"/>
                <a:gd name="T15" fmla="*/ 0 h 105"/>
                <a:gd name="T16" fmla="*/ 50271 w 126"/>
                <a:gd name="T17" fmla="*/ 2177 h 105"/>
                <a:gd name="T18" fmla="*/ 50712 w 126"/>
                <a:gd name="T19" fmla="*/ 4354 h 105"/>
                <a:gd name="T20" fmla="*/ 51594 w 126"/>
                <a:gd name="T21" fmla="*/ 6531 h 105"/>
                <a:gd name="T22" fmla="*/ 52476 w 126"/>
                <a:gd name="T23" fmla="*/ 7620 h 105"/>
                <a:gd name="T24" fmla="*/ 54681 w 126"/>
                <a:gd name="T25" fmla="*/ 10886 h 105"/>
                <a:gd name="T26" fmla="*/ 55563 w 126"/>
                <a:gd name="T27" fmla="*/ 13063 h 105"/>
                <a:gd name="T28" fmla="*/ 55563 w 126"/>
                <a:gd name="T29" fmla="*/ 17417 h 105"/>
                <a:gd name="T30" fmla="*/ 55122 w 126"/>
                <a:gd name="T31" fmla="*/ 22316 h 105"/>
                <a:gd name="T32" fmla="*/ 54681 w 126"/>
                <a:gd name="T33" fmla="*/ 26126 h 105"/>
                <a:gd name="T34" fmla="*/ 53799 w 126"/>
                <a:gd name="T35" fmla="*/ 29936 h 105"/>
                <a:gd name="T36" fmla="*/ 52476 w 126"/>
                <a:gd name="T37" fmla="*/ 33746 h 105"/>
                <a:gd name="T38" fmla="*/ 51153 w 126"/>
                <a:gd name="T39" fmla="*/ 37556 h 105"/>
                <a:gd name="T40" fmla="*/ 49389 w 126"/>
                <a:gd name="T41" fmla="*/ 40821 h 105"/>
                <a:gd name="T42" fmla="*/ 47625 w 126"/>
                <a:gd name="T43" fmla="*/ 44087 h 105"/>
                <a:gd name="T44" fmla="*/ 45862 w 126"/>
                <a:gd name="T45" fmla="*/ 46809 h 105"/>
                <a:gd name="T46" fmla="*/ 43657 w 126"/>
                <a:gd name="T47" fmla="*/ 48986 h 105"/>
                <a:gd name="T48" fmla="*/ 41011 w 126"/>
                <a:gd name="T49" fmla="*/ 51163 h 105"/>
                <a:gd name="T50" fmla="*/ 38806 w 126"/>
                <a:gd name="T51" fmla="*/ 53884 h 105"/>
                <a:gd name="T52" fmla="*/ 35719 w 126"/>
                <a:gd name="T53" fmla="*/ 54973 h 105"/>
                <a:gd name="T54" fmla="*/ 32632 w 126"/>
                <a:gd name="T55" fmla="*/ 56061 h 105"/>
                <a:gd name="T56" fmla="*/ 29545 w 126"/>
                <a:gd name="T57" fmla="*/ 57150 h 105"/>
                <a:gd name="T58" fmla="*/ 26459 w 126"/>
                <a:gd name="T59" fmla="*/ 57150 h 105"/>
                <a:gd name="T60" fmla="*/ 21167 w 126"/>
                <a:gd name="T61" fmla="*/ 56606 h 105"/>
                <a:gd name="T62" fmla="*/ 16757 w 126"/>
                <a:gd name="T63" fmla="*/ 55517 h 105"/>
                <a:gd name="T64" fmla="*/ 13670 w 126"/>
                <a:gd name="T65" fmla="*/ 53340 h 105"/>
                <a:gd name="T66" fmla="*/ 10583 w 126"/>
                <a:gd name="T67" fmla="*/ 50074 h 105"/>
                <a:gd name="T68" fmla="*/ 8820 w 126"/>
                <a:gd name="T69" fmla="*/ 46809 h 105"/>
                <a:gd name="T70" fmla="*/ 7056 w 126"/>
                <a:gd name="T71" fmla="*/ 42454 h 105"/>
                <a:gd name="T72" fmla="*/ 6174 w 126"/>
                <a:gd name="T73" fmla="*/ 38100 h 105"/>
                <a:gd name="T74" fmla="*/ 5733 w 126"/>
                <a:gd name="T75" fmla="*/ 33746 h 105"/>
                <a:gd name="T76" fmla="*/ 0 w 126"/>
                <a:gd name="T77" fmla="*/ 30480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2" name="Freeform 450">
              <a:extLst>
                <a:ext uri="{FF2B5EF4-FFF2-40B4-BE49-F238E27FC236}">
                  <a16:creationId xmlns:a16="http://schemas.microsoft.com/office/drawing/2014/main" id="{92A4061D-344F-4C11-A6C6-51CD3DD1B37B}"/>
                </a:ext>
              </a:extLst>
            </p:cNvPr>
            <p:cNvSpPr>
              <a:spLocks/>
            </p:cNvSpPr>
            <p:nvPr>
              <p:custDataLst>
                <p:tags r:id="rId288"/>
              </p:custDataLst>
            </p:nvPr>
          </p:nvSpPr>
          <p:spPr bwMode="auto">
            <a:xfrm>
              <a:off x="2031998" y="3281337"/>
              <a:ext cx="298450" cy="523871"/>
            </a:xfrm>
            <a:custGeom>
              <a:avLst/>
              <a:gdLst>
                <a:gd name="T0" fmla="*/ 292778 w 684"/>
                <a:gd name="T1" fmla="*/ 300782 h 998"/>
                <a:gd name="T2" fmla="*/ 296705 w 684"/>
                <a:gd name="T3" fmla="*/ 288709 h 998"/>
                <a:gd name="T4" fmla="*/ 292778 w 684"/>
                <a:gd name="T5" fmla="*/ 257738 h 998"/>
                <a:gd name="T6" fmla="*/ 287542 w 684"/>
                <a:gd name="T7" fmla="*/ 222043 h 998"/>
                <a:gd name="T8" fmla="*/ 295832 w 684"/>
                <a:gd name="T9" fmla="*/ 204196 h 998"/>
                <a:gd name="T10" fmla="*/ 243036 w 684"/>
                <a:gd name="T11" fmla="*/ 189498 h 998"/>
                <a:gd name="T12" fmla="*/ 232564 w 684"/>
                <a:gd name="T13" fmla="*/ 171126 h 998"/>
                <a:gd name="T14" fmla="*/ 201585 w 684"/>
                <a:gd name="T15" fmla="*/ 162727 h 998"/>
                <a:gd name="T16" fmla="*/ 175405 w 684"/>
                <a:gd name="T17" fmla="*/ 141730 h 998"/>
                <a:gd name="T18" fmla="*/ 163624 w 684"/>
                <a:gd name="T19" fmla="*/ 105510 h 998"/>
                <a:gd name="T20" fmla="*/ 163624 w 684"/>
                <a:gd name="T21" fmla="*/ 69815 h 998"/>
                <a:gd name="T22" fmla="*/ 172351 w 684"/>
                <a:gd name="T23" fmla="*/ 44094 h 998"/>
                <a:gd name="T24" fmla="*/ 189804 w 684"/>
                <a:gd name="T25" fmla="*/ 25196 h 998"/>
                <a:gd name="T26" fmla="*/ 202021 w 684"/>
                <a:gd name="T27" fmla="*/ 5774 h 998"/>
                <a:gd name="T28" fmla="*/ 169733 w 684"/>
                <a:gd name="T29" fmla="*/ 20472 h 998"/>
                <a:gd name="T30" fmla="*/ 146171 w 684"/>
                <a:gd name="T31" fmla="*/ 35695 h 998"/>
                <a:gd name="T32" fmla="*/ 132644 w 684"/>
                <a:gd name="T33" fmla="*/ 40944 h 998"/>
                <a:gd name="T34" fmla="*/ 121300 w 684"/>
                <a:gd name="T35" fmla="*/ 44094 h 998"/>
                <a:gd name="T36" fmla="*/ 105156 w 684"/>
                <a:gd name="T37" fmla="*/ 42519 h 998"/>
                <a:gd name="T38" fmla="*/ 94684 w 684"/>
                <a:gd name="T39" fmla="*/ 56692 h 998"/>
                <a:gd name="T40" fmla="*/ 85521 w 684"/>
                <a:gd name="T41" fmla="*/ 91862 h 998"/>
                <a:gd name="T42" fmla="*/ 68504 w 684"/>
                <a:gd name="T43" fmla="*/ 119158 h 998"/>
                <a:gd name="T44" fmla="*/ 46687 w 684"/>
                <a:gd name="T45" fmla="*/ 149079 h 998"/>
                <a:gd name="T46" fmla="*/ 39270 w 684"/>
                <a:gd name="T47" fmla="*/ 166401 h 998"/>
                <a:gd name="T48" fmla="*/ 37524 w 684"/>
                <a:gd name="T49" fmla="*/ 186873 h 998"/>
                <a:gd name="T50" fmla="*/ 42324 w 684"/>
                <a:gd name="T51" fmla="*/ 200521 h 998"/>
                <a:gd name="T52" fmla="*/ 42324 w 684"/>
                <a:gd name="T53" fmla="*/ 236741 h 998"/>
                <a:gd name="T54" fmla="*/ 41451 w 684"/>
                <a:gd name="T55" fmla="*/ 275586 h 998"/>
                <a:gd name="T56" fmla="*/ 31416 w 684"/>
                <a:gd name="T57" fmla="*/ 295533 h 998"/>
                <a:gd name="T58" fmla="*/ 16144 w 684"/>
                <a:gd name="T59" fmla="*/ 310756 h 998"/>
                <a:gd name="T60" fmla="*/ 4800 w 684"/>
                <a:gd name="T61" fmla="*/ 321254 h 998"/>
                <a:gd name="T62" fmla="*/ 13090 w 684"/>
                <a:gd name="T63" fmla="*/ 350650 h 998"/>
                <a:gd name="T64" fmla="*/ 53669 w 684"/>
                <a:gd name="T65" fmla="*/ 380571 h 998"/>
                <a:gd name="T66" fmla="*/ 76358 w 684"/>
                <a:gd name="T67" fmla="*/ 382145 h 998"/>
                <a:gd name="T68" fmla="*/ 102101 w 684"/>
                <a:gd name="T69" fmla="*/ 391594 h 998"/>
                <a:gd name="T70" fmla="*/ 130463 w 684"/>
                <a:gd name="T71" fmla="*/ 417315 h 998"/>
                <a:gd name="T72" fmla="*/ 147043 w 684"/>
                <a:gd name="T73" fmla="*/ 446186 h 998"/>
                <a:gd name="T74" fmla="*/ 160133 w 684"/>
                <a:gd name="T75" fmla="*/ 462459 h 998"/>
                <a:gd name="T76" fmla="*/ 179768 w 684"/>
                <a:gd name="T77" fmla="*/ 465083 h 998"/>
                <a:gd name="T78" fmla="*/ 201585 w 684"/>
                <a:gd name="T79" fmla="*/ 459834 h 998"/>
                <a:gd name="T80" fmla="*/ 214675 w 684"/>
                <a:gd name="T81" fmla="*/ 460884 h 998"/>
                <a:gd name="T82" fmla="*/ 224710 w 684"/>
                <a:gd name="T83" fmla="*/ 474532 h 998"/>
                <a:gd name="T84" fmla="*/ 223838 w 684"/>
                <a:gd name="T85" fmla="*/ 483981 h 998"/>
                <a:gd name="T86" fmla="*/ 212929 w 684"/>
                <a:gd name="T87" fmla="*/ 491855 h 998"/>
                <a:gd name="T88" fmla="*/ 212929 w 684"/>
                <a:gd name="T89" fmla="*/ 505503 h 998"/>
                <a:gd name="T90" fmla="*/ 222965 w 684"/>
                <a:gd name="T91" fmla="*/ 521775 h 998"/>
                <a:gd name="T92" fmla="*/ 236491 w 684"/>
                <a:gd name="T93" fmla="*/ 504978 h 998"/>
                <a:gd name="T94" fmla="*/ 246963 w 684"/>
                <a:gd name="T95" fmla="*/ 451960 h 998"/>
                <a:gd name="T96" fmla="*/ 249145 w 684"/>
                <a:gd name="T97" fmla="*/ 421515 h 998"/>
                <a:gd name="T98" fmla="*/ 242163 w 684"/>
                <a:gd name="T99" fmla="*/ 404717 h 998"/>
                <a:gd name="T100" fmla="*/ 228201 w 684"/>
                <a:gd name="T101" fmla="*/ 393169 h 998"/>
                <a:gd name="T102" fmla="*/ 227328 w 684"/>
                <a:gd name="T103" fmla="*/ 379521 h 998"/>
                <a:gd name="T104" fmla="*/ 246963 w 684"/>
                <a:gd name="T105" fmla="*/ 367447 h 998"/>
                <a:gd name="T106" fmla="*/ 242600 w 684"/>
                <a:gd name="T107" fmla="*/ 349075 h 998"/>
                <a:gd name="T108" fmla="*/ 242600 w 684"/>
                <a:gd name="T109" fmla="*/ 340676 h 998"/>
                <a:gd name="T110" fmla="*/ 285796 w 684"/>
                <a:gd name="T111" fmla="*/ 329653 h 99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84" h="998">
                  <a:moveTo>
                    <a:pt x="684" y="622"/>
                  </a:moveTo>
                  <a:lnTo>
                    <a:pt x="680" y="609"/>
                  </a:lnTo>
                  <a:lnTo>
                    <a:pt x="676" y="596"/>
                  </a:lnTo>
                  <a:lnTo>
                    <a:pt x="672" y="583"/>
                  </a:lnTo>
                  <a:lnTo>
                    <a:pt x="671" y="573"/>
                  </a:lnTo>
                  <a:lnTo>
                    <a:pt x="671" y="568"/>
                  </a:lnTo>
                  <a:lnTo>
                    <a:pt x="673" y="564"/>
                  </a:lnTo>
                  <a:lnTo>
                    <a:pt x="676" y="559"/>
                  </a:lnTo>
                  <a:lnTo>
                    <a:pt x="678" y="555"/>
                  </a:lnTo>
                  <a:lnTo>
                    <a:pt x="680" y="550"/>
                  </a:lnTo>
                  <a:lnTo>
                    <a:pt x="682" y="546"/>
                  </a:lnTo>
                  <a:lnTo>
                    <a:pt x="683" y="541"/>
                  </a:lnTo>
                  <a:lnTo>
                    <a:pt x="684" y="537"/>
                  </a:lnTo>
                  <a:lnTo>
                    <a:pt x="680" y="519"/>
                  </a:lnTo>
                  <a:lnTo>
                    <a:pt x="671" y="491"/>
                  </a:lnTo>
                  <a:lnTo>
                    <a:pt x="666" y="475"/>
                  </a:lnTo>
                  <a:lnTo>
                    <a:pt x="662" y="459"/>
                  </a:lnTo>
                  <a:lnTo>
                    <a:pt x="659" y="444"/>
                  </a:lnTo>
                  <a:lnTo>
                    <a:pt x="658" y="432"/>
                  </a:lnTo>
                  <a:lnTo>
                    <a:pt x="659" y="423"/>
                  </a:lnTo>
                  <a:lnTo>
                    <a:pt x="661" y="415"/>
                  </a:lnTo>
                  <a:lnTo>
                    <a:pt x="665" y="409"/>
                  </a:lnTo>
                  <a:lnTo>
                    <a:pt x="669" y="403"/>
                  </a:lnTo>
                  <a:lnTo>
                    <a:pt x="673" y="396"/>
                  </a:lnTo>
                  <a:lnTo>
                    <a:pt x="678" y="389"/>
                  </a:lnTo>
                  <a:lnTo>
                    <a:pt x="681" y="381"/>
                  </a:lnTo>
                  <a:lnTo>
                    <a:pt x="684" y="370"/>
                  </a:lnTo>
                  <a:lnTo>
                    <a:pt x="571" y="370"/>
                  </a:lnTo>
                  <a:lnTo>
                    <a:pt x="564" y="366"/>
                  </a:lnTo>
                  <a:lnTo>
                    <a:pt x="557" y="361"/>
                  </a:lnTo>
                  <a:lnTo>
                    <a:pt x="550" y="355"/>
                  </a:lnTo>
                  <a:lnTo>
                    <a:pt x="544" y="347"/>
                  </a:lnTo>
                  <a:lnTo>
                    <a:pt x="539" y="340"/>
                  </a:lnTo>
                  <a:lnTo>
                    <a:pt x="535" y="333"/>
                  </a:lnTo>
                  <a:lnTo>
                    <a:pt x="533" y="326"/>
                  </a:lnTo>
                  <a:lnTo>
                    <a:pt x="532" y="321"/>
                  </a:lnTo>
                  <a:lnTo>
                    <a:pt x="512" y="320"/>
                  </a:lnTo>
                  <a:lnTo>
                    <a:pt x="494" y="318"/>
                  </a:lnTo>
                  <a:lnTo>
                    <a:pt x="477" y="315"/>
                  </a:lnTo>
                  <a:lnTo>
                    <a:pt x="462" y="310"/>
                  </a:lnTo>
                  <a:lnTo>
                    <a:pt x="447" y="304"/>
                  </a:lnTo>
                  <a:lnTo>
                    <a:pt x="434" y="298"/>
                  </a:lnTo>
                  <a:lnTo>
                    <a:pt x="423" y="290"/>
                  </a:lnTo>
                  <a:lnTo>
                    <a:pt x="412" y="281"/>
                  </a:lnTo>
                  <a:lnTo>
                    <a:pt x="402" y="270"/>
                  </a:lnTo>
                  <a:lnTo>
                    <a:pt x="395" y="259"/>
                  </a:lnTo>
                  <a:lnTo>
                    <a:pt x="388" y="246"/>
                  </a:lnTo>
                  <a:lnTo>
                    <a:pt x="382" y="232"/>
                  </a:lnTo>
                  <a:lnTo>
                    <a:pt x="378" y="218"/>
                  </a:lnTo>
                  <a:lnTo>
                    <a:pt x="375" y="201"/>
                  </a:lnTo>
                  <a:lnTo>
                    <a:pt x="373" y="184"/>
                  </a:lnTo>
                  <a:lnTo>
                    <a:pt x="373" y="167"/>
                  </a:lnTo>
                  <a:lnTo>
                    <a:pt x="373" y="155"/>
                  </a:lnTo>
                  <a:lnTo>
                    <a:pt x="374" y="144"/>
                  </a:lnTo>
                  <a:lnTo>
                    <a:pt x="375" y="133"/>
                  </a:lnTo>
                  <a:lnTo>
                    <a:pt x="377" y="123"/>
                  </a:lnTo>
                  <a:lnTo>
                    <a:pt x="380" y="113"/>
                  </a:lnTo>
                  <a:lnTo>
                    <a:pt x="385" y="103"/>
                  </a:lnTo>
                  <a:lnTo>
                    <a:pt x="389" y="94"/>
                  </a:lnTo>
                  <a:lnTo>
                    <a:pt x="395" y="84"/>
                  </a:lnTo>
                  <a:lnTo>
                    <a:pt x="401" y="76"/>
                  </a:lnTo>
                  <a:lnTo>
                    <a:pt x="408" y="68"/>
                  </a:lnTo>
                  <a:lnTo>
                    <a:pt x="416" y="61"/>
                  </a:lnTo>
                  <a:lnTo>
                    <a:pt x="425" y="54"/>
                  </a:lnTo>
                  <a:lnTo>
                    <a:pt x="435" y="48"/>
                  </a:lnTo>
                  <a:lnTo>
                    <a:pt x="446" y="42"/>
                  </a:lnTo>
                  <a:lnTo>
                    <a:pt x="458" y="36"/>
                  </a:lnTo>
                  <a:lnTo>
                    <a:pt x="471" y="31"/>
                  </a:lnTo>
                  <a:lnTo>
                    <a:pt x="471" y="18"/>
                  </a:lnTo>
                  <a:lnTo>
                    <a:pt x="463" y="11"/>
                  </a:lnTo>
                  <a:lnTo>
                    <a:pt x="455" y="7"/>
                  </a:lnTo>
                  <a:lnTo>
                    <a:pt x="447" y="4"/>
                  </a:lnTo>
                  <a:lnTo>
                    <a:pt x="438" y="0"/>
                  </a:lnTo>
                  <a:lnTo>
                    <a:pt x="414" y="19"/>
                  </a:lnTo>
                  <a:lnTo>
                    <a:pt x="389" y="39"/>
                  </a:lnTo>
                  <a:lnTo>
                    <a:pt x="378" y="48"/>
                  </a:lnTo>
                  <a:lnTo>
                    <a:pt x="367" y="56"/>
                  </a:lnTo>
                  <a:lnTo>
                    <a:pt x="356" y="63"/>
                  </a:lnTo>
                  <a:lnTo>
                    <a:pt x="345" y="68"/>
                  </a:lnTo>
                  <a:lnTo>
                    <a:pt x="335" y="68"/>
                  </a:lnTo>
                  <a:lnTo>
                    <a:pt x="326" y="68"/>
                  </a:lnTo>
                  <a:lnTo>
                    <a:pt x="319" y="68"/>
                  </a:lnTo>
                  <a:lnTo>
                    <a:pt x="312" y="68"/>
                  </a:lnTo>
                  <a:lnTo>
                    <a:pt x="309" y="74"/>
                  </a:lnTo>
                  <a:lnTo>
                    <a:pt x="304" y="78"/>
                  </a:lnTo>
                  <a:lnTo>
                    <a:pt x="299" y="81"/>
                  </a:lnTo>
                  <a:lnTo>
                    <a:pt x="295" y="83"/>
                  </a:lnTo>
                  <a:lnTo>
                    <a:pt x="289" y="85"/>
                  </a:lnTo>
                  <a:lnTo>
                    <a:pt x="284" y="85"/>
                  </a:lnTo>
                  <a:lnTo>
                    <a:pt x="278" y="84"/>
                  </a:lnTo>
                  <a:lnTo>
                    <a:pt x="273" y="84"/>
                  </a:lnTo>
                  <a:lnTo>
                    <a:pt x="262" y="82"/>
                  </a:lnTo>
                  <a:lnTo>
                    <a:pt x="251" y="81"/>
                  </a:lnTo>
                  <a:lnTo>
                    <a:pt x="245" y="81"/>
                  </a:lnTo>
                  <a:lnTo>
                    <a:pt x="241" y="81"/>
                  </a:lnTo>
                  <a:lnTo>
                    <a:pt x="236" y="83"/>
                  </a:lnTo>
                  <a:lnTo>
                    <a:pt x="233" y="86"/>
                  </a:lnTo>
                  <a:lnTo>
                    <a:pt x="225" y="94"/>
                  </a:lnTo>
                  <a:lnTo>
                    <a:pt x="221" y="101"/>
                  </a:lnTo>
                  <a:lnTo>
                    <a:pt x="217" y="108"/>
                  </a:lnTo>
                  <a:lnTo>
                    <a:pt x="213" y="114"/>
                  </a:lnTo>
                  <a:lnTo>
                    <a:pt x="209" y="128"/>
                  </a:lnTo>
                  <a:lnTo>
                    <a:pt x="206" y="143"/>
                  </a:lnTo>
                  <a:lnTo>
                    <a:pt x="201" y="159"/>
                  </a:lnTo>
                  <a:lnTo>
                    <a:pt x="196" y="175"/>
                  </a:lnTo>
                  <a:lnTo>
                    <a:pt x="192" y="183"/>
                  </a:lnTo>
                  <a:lnTo>
                    <a:pt x="187" y="191"/>
                  </a:lnTo>
                  <a:lnTo>
                    <a:pt x="180" y="200"/>
                  </a:lnTo>
                  <a:lnTo>
                    <a:pt x="173" y="210"/>
                  </a:lnTo>
                  <a:lnTo>
                    <a:pt x="157" y="227"/>
                  </a:lnTo>
                  <a:lnTo>
                    <a:pt x="140" y="244"/>
                  </a:lnTo>
                  <a:lnTo>
                    <a:pt x="131" y="253"/>
                  </a:lnTo>
                  <a:lnTo>
                    <a:pt x="122" y="263"/>
                  </a:lnTo>
                  <a:lnTo>
                    <a:pt x="115" y="273"/>
                  </a:lnTo>
                  <a:lnTo>
                    <a:pt x="107" y="284"/>
                  </a:lnTo>
                  <a:lnTo>
                    <a:pt x="102" y="288"/>
                  </a:lnTo>
                  <a:lnTo>
                    <a:pt x="98" y="294"/>
                  </a:lnTo>
                  <a:lnTo>
                    <a:pt x="96" y="299"/>
                  </a:lnTo>
                  <a:lnTo>
                    <a:pt x="94" y="305"/>
                  </a:lnTo>
                  <a:lnTo>
                    <a:pt x="90" y="317"/>
                  </a:lnTo>
                  <a:lnTo>
                    <a:pt x="86" y="327"/>
                  </a:lnTo>
                  <a:lnTo>
                    <a:pt x="85" y="331"/>
                  </a:lnTo>
                  <a:lnTo>
                    <a:pt x="84" y="338"/>
                  </a:lnTo>
                  <a:lnTo>
                    <a:pt x="84" y="347"/>
                  </a:lnTo>
                  <a:lnTo>
                    <a:pt x="86" y="356"/>
                  </a:lnTo>
                  <a:lnTo>
                    <a:pt x="88" y="366"/>
                  </a:lnTo>
                  <a:lnTo>
                    <a:pt x="91" y="375"/>
                  </a:lnTo>
                  <a:lnTo>
                    <a:pt x="93" y="378"/>
                  </a:lnTo>
                  <a:lnTo>
                    <a:pt x="95" y="380"/>
                  </a:lnTo>
                  <a:lnTo>
                    <a:pt x="97" y="382"/>
                  </a:lnTo>
                  <a:lnTo>
                    <a:pt x="100" y="382"/>
                  </a:lnTo>
                  <a:lnTo>
                    <a:pt x="98" y="397"/>
                  </a:lnTo>
                  <a:lnTo>
                    <a:pt x="97" y="414"/>
                  </a:lnTo>
                  <a:lnTo>
                    <a:pt x="97" y="433"/>
                  </a:lnTo>
                  <a:lnTo>
                    <a:pt x="97" y="451"/>
                  </a:lnTo>
                  <a:lnTo>
                    <a:pt x="99" y="484"/>
                  </a:lnTo>
                  <a:lnTo>
                    <a:pt x="100" y="505"/>
                  </a:lnTo>
                  <a:lnTo>
                    <a:pt x="99" y="511"/>
                  </a:lnTo>
                  <a:lnTo>
                    <a:pt x="98" y="518"/>
                  </a:lnTo>
                  <a:lnTo>
                    <a:pt x="95" y="525"/>
                  </a:lnTo>
                  <a:lnTo>
                    <a:pt x="91" y="532"/>
                  </a:lnTo>
                  <a:lnTo>
                    <a:pt x="88" y="541"/>
                  </a:lnTo>
                  <a:lnTo>
                    <a:pt x="83" y="548"/>
                  </a:lnTo>
                  <a:lnTo>
                    <a:pt x="77" y="556"/>
                  </a:lnTo>
                  <a:lnTo>
                    <a:pt x="72" y="563"/>
                  </a:lnTo>
                  <a:lnTo>
                    <a:pt x="65" y="570"/>
                  </a:lnTo>
                  <a:lnTo>
                    <a:pt x="59" y="576"/>
                  </a:lnTo>
                  <a:lnTo>
                    <a:pt x="51" y="582"/>
                  </a:lnTo>
                  <a:lnTo>
                    <a:pt x="43" y="587"/>
                  </a:lnTo>
                  <a:lnTo>
                    <a:pt x="37" y="592"/>
                  </a:lnTo>
                  <a:lnTo>
                    <a:pt x="29" y="596"/>
                  </a:lnTo>
                  <a:lnTo>
                    <a:pt x="21" y="598"/>
                  </a:lnTo>
                  <a:lnTo>
                    <a:pt x="14" y="598"/>
                  </a:lnTo>
                  <a:lnTo>
                    <a:pt x="12" y="605"/>
                  </a:lnTo>
                  <a:lnTo>
                    <a:pt x="11" y="612"/>
                  </a:lnTo>
                  <a:lnTo>
                    <a:pt x="9" y="618"/>
                  </a:lnTo>
                  <a:lnTo>
                    <a:pt x="7" y="625"/>
                  </a:lnTo>
                  <a:lnTo>
                    <a:pt x="3" y="637"/>
                  </a:lnTo>
                  <a:lnTo>
                    <a:pt x="0" y="648"/>
                  </a:lnTo>
                  <a:lnTo>
                    <a:pt x="30" y="668"/>
                  </a:lnTo>
                  <a:lnTo>
                    <a:pt x="67" y="694"/>
                  </a:lnTo>
                  <a:lnTo>
                    <a:pt x="87" y="707"/>
                  </a:lnTo>
                  <a:lnTo>
                    <a:pt x="106" y="718"/>
                  </a:lnTo>
                  <a:lnTo>
                    <a:pt x="115" y="722"/>
                  </a:lnTo>
                  <a:lnTo>
                    <a:pt x="123" y="725"/>
                  </a:lnTo>
                  <a:lnTo>
                    <a:pt x="132" y="727"/>
                  </a:lnTo>
                  <a:lnTo>
                    <a:pt x="140" y="727"/>
                  </a:lnTo>
                  <a:lnTo>
                    <a:pt x="153" y="727"/>
                  </a:lnTo>
                  <a:lnTo>
                    <a:pt x="166" y="727"/>
                  </a:lnTo>
                  <a:lnTo>
                    <a:pt x="175" y="728"/>
                  </a:lnTo>
                  <a:lnTo>
                    <a:pt x="184" y="729"/>
                  </a:lnTo>
                  <a:lnTo>
                    <a:pt x="192" y="730"/>
                  </a:lnTo>
                  <a:lnTo>
                    <a:pt x="201" y="732"/>
                  </a:lnTo>
                  <a:lnTo>
                    <a:pt x="218" y="738"/>
                  </a:lnTo>
                  <a:lnTo>
                    <a:pt x="234" y="746"/>
                  </a:lnTo>
                  <a:lnTo>
                    <a:pt x="250" y="755"/>
                  </a:lnTo>
                  <a:lnTo>
                    <a:pt x="265" y="767"/>
                  </a:lnTo>
                  <a:lnTo>
                    <a:pt x="279" y="778"/>
                  </a:lnTo>
                  <a:lnTo>
                    <a:pt x="292" y="789"/>
                  </a:lnTo>
                  <a:lnTo>
                    <a:pt x="299" y="795"/>
                  </a:lnTo>
                  <a:lnTo>
                    <a:pt x="306" y="802"/>
                  </a:lnTo>
                  <a:lnTo>
                    <a:pt x="312" y="809"/>
                  </a:lnTo>
                  <a:lnTo>
                    <a:pt x="318" y="818"/>
                  </a:lnTo>
                  <a:lnTo>
                    <a:pt x="328" y="834"/>
                  </a:lnTo>
                  <a:lnTo>
                    <a:pt x="337" y="850"/>
                  </a:lnTo>
                  <a:lnTo>
                    <a:pt x="342" y="857"/>
                  </a:lnTo>
                  <a:lnTo>
                    <a:pt x="347" y="864"/>
                  </a:lnTo>
                  <a:lnTo>
                    <a:pt x="354" y="871"/>
                  </a:lnTo>
                  <a:lnTo>
                    <a:pt x="359" y="877"/>
                  </a:lnTo>
                  <a:lnTo>
                    <a:pt x="367" y="881"/>
                  </a:lnTo>
                  <a:lnTo>
                    <a:pt x="374" y="885"/>
                  </a:lnTo>
                  <a:lnTo>
                    <a:pt x="382" y="887"/>
                  </a:lnTo>
                  <a:lnTo>
                    <a:pt x="392" y="888"/>
                  </a:lnTo>
                  <a:lnTo>
                    <a:pt x="402" y="887"/>
                  </a:lnTo>
                  <a:lnTo>
                    <a:pt x="412" y="886"/>
                  </a:lnTo>
                  <a:lnTo>
                    <a:pt x="422" y="884"/>
                  </a:lnTo>
                  <a:lnTo>
                    <a:pt x="432" y="882"/>
                  </a:lnTo>
                  <a:lnTo>
                    <a:pt x="442" y="879"/>
                  </a:lnTo>
                  <a:lnTo>
                    <a:pt x="452" y="877"/>
                  </a:lnTo>
                  <a:lnTo>
                    <a:pt x="462" y="876"/>
                  </a:lnTo>
                  <a:lnTo>
                    <a:pt x="471" y="875"/>
                  </a:lnTo>
                  <a:lnTo>
                    <a:pt x="478" y="876"/>
                  </a:lnTo>
                  <a:lnTo>
                    <a:pt x="485" y="878"/>
                  </a:lnTo>
                  <a:lnTo>
                    <a:pt x="489" y="878"/>
                  </a:lnTo>
                  <a:lnTo>
                    <a:pt x="492" y="878"/>
                  </a:lnTo>
                  <a:lnTo>
                    <a:pt x="496" y="877"/>
                  </a:lnTo>
                  <a:lnTo>
                    <a:pt x="499" y="875"/>
                  </a:lnTo>
                  <a:lnTo>
                    <a:pt x="501" y="883"/>
                  </a:lnTo>
                  <a:lnTo>
                    <a:pt x="509" y="894"/>
                  </a:lnTo>
                  <a:lnTo>
                    <a:pt x="515" y="904"/>
                  </a:lnTo>
                  <a:lnTo>
                    <a:pt x="519" y="912"/>
                  </a:lnTo>
                  <a:lnTo>
                    <a:pt x="518" y="915"/>
                  </a:lnTo>
                  <a:lnTo>
                    <a:pt x="516" y="918"/>
                  </a:lnTo>
                  <a:lnTo>
                    <a:pt x="515" y="920"/>
                  </a:lnTo>
                  <a:lnTo>
                    <a:pt x="513" y="922"/>
                  </a:lnTo>
                  <a:lnTo>
                    <a:pt x="508" y="927"/>
                  </a:lnTo>
                  <a:lnTo>
                    <a:pt x="502" y="930"/>
                  </a:lnTo>
                  <a:lnTo>
                    <a:pt x="496" y="933"/>
                  </a:lnTo>
                  <a:lnTo>
                    <a:pt x="490" y="936"/>
                  </a:lnTo>
                  <a:lnTo>
                    <a:pt x="488" y="937"/>
                  </a:lnTo>
                  <a:lnTo>
                    <a:pt x="487" y="939"/>
                  </a:lnTo>
                  <a:lnTo>
                    <a:pt x="486" y="941"/>
                  </a:lnTo>
                  <a:lnTo>
                    <a:pt x="485" y="943"/>
                  </a:lnTo>
                  <a:lnTo>
                    <a:pt x="486" y="954"/>
                  </a:lnTo>
                  <a:lnTo>
                    <a:pt x="488" y="963"/>
                  </a:lnTo>
                  <a:lnTo>
                    <a:pt x="490" y="970"/>
                  </a:lnTo>
                  <a:lnTo>
                    <a:pt x="494" y="977"/>
                  </a:lnTo>
                  <a:lnTo>
                    <a:pt x="499" y="984"/>
                  </a:lnTo>
                  <a:lnTo>
                    <a:pt x="504" y="989"/>
                  </a:lnTo>
                  <a:lnTo>
                    <a:pt x="511" y="994"/>
                  </a:lnTo>
                  <a:lnTo>
                    <a:pt x="519" y="998"/>
                  </a:lnTo>
                  <a:lnTo>
                    <a:pt x="538" y="998"/>
                  </a:lnTo>
                  <a:lnTo>
                    <a:pt x="538" y="986"/>
                  </a:lnTo>
                  <a:lnTo>
                    <a:pt x="539" y="973"/>
                  </a:lnTo>
                  <a:lnTo>
                    <a:pt x="542" y="962"/>
                  </a:lnTo>
                  <a:lnTo>
                    <a:pt x="544" y="950"/>
                  </a:lnTo>
                  <a:lnTo>
                    <a:pt x="548" y="928"/>
                  </a:lnTo>
                  <a:lnTo>
                    <a:pt x="555" y="906"/>
                  </a:lnTo>
                  <a:lnTo>
                    <a:pt x="561" y="884"/>
                  </a:lnTo>
                  <a:lnTo>
                    <a:pt x="566" y="861"/>
                  </a:lnTo>
                  <a:lnTo>
                    <a:pt x="568" y="850"/>
                  </a:lnTo>
                  <a:lnTo>
                    <a:pt x="570" y="838"/>
                  </a:lnTo>
                  <a:lnTo>
                    <a:pt x="571" y="826"/>
                  </a:lnTo>
                  <a:lnTo>
                    <a:pt x="571" y="813"/>
                  </a:lnTo>
                  <a:lnTo>
                    <a:pt x="571" y="803"/>
                  </a:lnTo>
                  <a:lnTo>
                    <a:pt x="569" y="794"/>
                  </a:lnTo>
                  <a:lnTo>
                    <a:pt x="567" y="786"/>
                  </a:lnTo>
                  <a:lnTo>
                    <a:pt x="564" y="780"/>
                  </a:lnTo>
                  <a:lnTo>
                    <a:pt x="559" y="775"/>
                  </a:lnTo>
                  <a:lnTo>
                    <a:pt x="555" y="771"/>
                  </a:lnTo>
                  <a:lnTo>
                    <a:pt x="549" y="768"/>
                  </a:lnTo>
                  <a:lnTo>
                    <a:pt x="545" y="765"/>
                  </a:lnTo>
                  <a:lnTo>
                    <a:pt x="535" y="759"/>
                  </a:lnTo>
                  <a:lnTo>
                    <a:pt x="526" y="752"/>
                  </a:lnTo>
                  <a:lnTo>
                    <a:pt x="523" y="749"/>
                  </a:lnTo>
                  <a:lnTo>
                    <a:pt x="521" y="745"/>
                  </a:lnTo>
                  <a:lnTo>
                    <a:pt x="519" y="740"/>
                  </a:lnTo>
                  <a:lnTo>
                    <a:pt x="519" y="733"/>
                  </a:lnTo>
                  <a:lnTo>
                    <a:pt x="519" y="728"/>
                  </a:lnTo>
                  <a:lnTo>
                    <a:pt x="521" y="723"/>
                  </a:lnTo>
                  <a:lnTo>
                    <a:pt x="523" y="719"/>
                  </a:lnTo>
                  <a:lnTo>
                    <a:pt x="526" y="716"/>
                  </a:lnTo>
                  <a:lnTo>
                    <a:pt x="535" y="710"/>
                  </a:lnTo>
                  <a:lnTo>
                    <a:pt x="546" y="706"/>
                  </a:lnTo>
                  <a:lnTo>
                    <a:pt x="566" y="700"/>
                  </a:lnTo>
                  <a:lnTo>
                    <a:pt x="578" y="696"/>
                  </a:lnTo>
                  <a:lnTo>
                    <a:pt x="578" y="678"/>
                  </a:lnTo>
                  <a:lnTo>
                    <a:pt x="568" y="673"/>
                  </a:lnTo>
                  <a:lnTo>
                    <a:pt x="560" y="668"/>
                  </a:lnTo>
                  <a:lnTo>
                    <a:pt x="556" y="665"/>
                  </a:lnTo>
                  <a:lnTo>
                    <a:pt x="554" y="662"/>
                  </a:lnTo>
                  <a:lnTo>
                    <a:pt x="552" y="658"/>
                  </a:lnTo>
                  <a:lnTo>
                    <a:pt x="552" y="654"/>
                  </a:lnTo>
                  <a:lnTo>
                    <a:pt x="553" y="651"/>
                  </a:lnTo>
                  <a:lnTo>
                    <a:pt x="556" y="649"/>
                  </a:lnTo>
                  <a:lnTo>
                    <a:pt x="563" y="646"/>
                  </a:lnTo>
                  <a:lnTo>
                    <a:pt x="569" y="644"/>
                  </a:lnTo>
                  <a:lnTo>
                    <a:pt x="588" y="639"/>
                  </a:lnTo>
                  <a:lnTo>
                    <a:pt x="611" y="635"/>
                  </a:lnTo>
                  <a:lnTo>
                    <a:pt x="655" y="628"/>
                  </a:lnTo>
                  <a:lnTo>
                    <a:pt x="684" y="62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3" name="Freeform 451">
              <a:extLst>
                <a:ext uri="{FF2B5EF4-FFF2-40B4-BE49-F238E27FC236}">
                  <a16:creationId xmlns:a16="http://schemas.microsoft.com/office/drawing/2014/main" id="{DF32A482-7389-49AE-8FBC-0B6BA15213A3}"/>
                </a:ext>
              </a:extLst>
            </p:cNvPr>
            <p:cNvSpPr>
              <a:spLocks/>
            </p:cNvSpPr>
            <p:nvPr>
              <p:custDataLst>
                <p:tags r:id="rId289"/>
              </p:custDataLst>
            </p:nvPr>
          </p:nvSpPr>
          <p:spPr bwMode="auto">
            <a:xfrm>
              <a:off x="4284658" y="3549622"/>
              <a:ext cx="187325" cy="274636"/>
            </a:xfrm>
            <a:custGeom>
              <a:avLst/>
              <a:gdLst>
                <a:gd name="T0" fmla="*/ 187325 w 429"/>
                <a:gd name="T1" fmla="*/ 11531 h 524"/>
                <a:gd name="T2" fmla="*/ 186888 w 429"/>
                <a:gd name="T3" fmla="*/ 22537 h 524"/>
                <a:gd name="T4" fmla="*/ 185142 w 429"/>
                <a:gd name="T5" fmla="*/ 28302 h 524"/>
                <a:gd name="T6" fmla="*/ 181212 w 429"/>
                <a:gd name="T7" fmla="*/ 35116 h 524"/>
                <a:gd name="T8" fmla="*/ 180339 w 429"/>
                <a:gd name="T9" fmla="*/ 42454 h 524"/>
                <a:gd name="T10" fmla="*/ 180775 w 429"/>
                <a:gd name="T11" fmla="*/ 83859 h 524"/>
                <a:gd name="T12" fmla="*/ 178155 w 429"/>
                <a:gd name="T13" fmla="*/ 108492 h 524"/>
                <a:gd name="T14" fmla="*/ 172915 w 429"/>
                <a:gd name="T15" fmla="*/ 126313 h 524"/>
                <a:gd name="T16" fmla="*/ 162436 w 429"/>
                <a:gd name="T17" fmla="*/ 145705 h 524"/>
                <a:gd name="T18" fmla="*/ 147589 w 429"/>
                <a:gd name="T19" fmla="*/ 161953 h 524"/>
                <a:gd name="T20" fmla="*/ 139293 w 429"/>
                <a:gd name="T21" fmla="*/ 174531 h 524"/>
                <a:gd name="T22" fmla="*/ 136236 w 429"/>
                <a:gd name="T23" fmla="*/ 215937 h 524"/>
                <a:gd name="T24" fmla="*/ 132743 w 429"/>
                <a:gd name="T25" fmla="*/ 230088 h 524"/>
                <a:gd name="T26" fmla="*/ 126630 w 429"/>
                <a:gd name="T27" fmla="*/ 234805 h 524"/>
                <a:gd name="T28" fmla="*/ 117460 w 429"/>
                <a:gd name="T29" fmla="*/ 238474 h 524"/>
                <a:gd name="T30" fmla="*/ 110474 w 429"/>
                <a:gd name="T31" fmla="*/ 247384 h 524"/>
                <a:gd name="T32" fmla="*/ 102177 w 429"/>
                <a:gd name="T33" fmla="*/ 262059 h 524"/>
                <a:gd name="T34" fmla="*/ 97374 w 429"/>
                <a:gd name="T35" fmla="*/ 264680 h 524"/>
                <a:gd name="T36" fmla="*/ 87768 w 429"/>
                <a:gd name="T37" fmla="*/ 264156 h 524"/>
                <a:gd name="T38" fmla="*/ 82528 w 429"/>
                <a:gd name="T39" fmla="*/ 261011 h 524"/>
                <a:gd name="T40" fmla="*/ 63315 w 429"/>
                <a:gd name="T41" fmla="*/ 262059 h 524"/>
                <a:gd name="T42" fmla="*/ 53709 w 429"/>
                <a:gd name="T43" fmla="*/ 262059 h 524"/>
                <a:gd name="T44" fmla="*/ 49342 w 429"/>
                <a:gd name="T45" fmla="*/ 258914 h 524"/>
                <a:gd name="T46" fmla="*/ 41482 w 429"/>
                <a:gd name="T47" fmla="*/ 258390 h 524"/>
                <a:gd name="T48" fmla="*/ 34059 w 429"/>
                <a:gd name="T49" fmla="*/ 263107 h 524"/>
                <a:gd name="T50" fmla="*/ 27073 w 429"/>
                <a:gd name="T51" fmla="*/ 272017 h 524"/>
                <a:gd name="T52" fmla="*/ 11790 w 429"/>
                <a:gd name="T53" fmla="*/ 257342 h 524"/>
                <a:gd name="T54" fmla="*/ 2620 w 429"/>
                <a:gd name="T55" fmla="*/ 234281 h 524"/>
                <a:gd name="T56" fmla="*/ 10916 w 429"/>
                <a:gd name="T57" fmla="*/ 225371 h 524"/>
                <a:gd name="T58" fmla="*/ 18340 w 429"/>
                <a:gd name="T59" fmla="*/ 222226 h 524"/>
                <a:gd name="T60" fmla="*/ 26636 w 429"/>
                <a:gd name="T61" fmla="*/ 224323 h 524"/>
                <a:gd name="T62" fmla="*/ 25326 w 429"/>
                <a:gd name="T63" fmla="*/ 219081 h 524"/>
                <a:gd name="T64" fmla="*/ 19649 w 429"/>
                <a:gd name="T65" fmla="*/ 202310 h 524"/>
                <a:gd name="T66" fmla="*/ 20523 w 429"/>
                <a:gd name="T67" fmla="*/ 191827 h 524"/>
                <a:gd name="T68" fmla="*/ 24889 w 429"/>
                <a:gd name="T69" fmla="*/ 186586 h 524"/>
                <a:gd name="T70" fmla="*/ 31003 w 429"/>
                <a:gd name="T71" fmla="*/ 184490 h 524"/>
                <a:gd name="T72" fmla="*/ 38862 w 429"/>
                <a:gd name="T73" fmla="*/ 176628 h 524"/>
                <a:gd name="T74" fmla="*/ 45412 w 429"/>
                <a:gd name="T75" fmla="*/ 174531 h 524"/>
                <a:gd name="T76" fmla="*/ 50215 w 429"/>
                <a:gd name="T77" fmla="*/ 179248 h 524"/>
                <a:gd name="T78" fmla="*/ 58948 w 429"/>
                <a:gd name="T79" fmla="*/ 188158 h 524"/>
                <a:gd name="T80" fmla="*/ 67245 w 429"/>
                <a:gd name="T81" fmla="*/ 183966 h 524"/>
                <a:gd name="T82" fmla="*/ 79035 w 429"/>
                <a:gd name="T83" fmla="*/ 185014 h 524"/>
                <a:gd name="T84" fmla="*/ 86894 w 429"/>
                <a:gd name="T85" fmla="*/ 178200 h 524"/>
                <a:gd name="T86" fmla="*/ 91698 w 429"/>
                <a:gd name="T87" fmla="*/ 165097 h 524"/>
                <a:gd name="T88" fmla="*/ 93008 w 429"/>
                <a:gd name="T89" fmla="*/ 151994 h 524"/>
                <a:gd name="T90" fmla="*/ 93881 w 429"/>
                <a:gd name="T91" fmla="*/ 140988 h 524"/>
                <a:gd name="T92" fmla="*/ 87768 w 429"/>
                <a:gd name="T93" fmla="*/ 123692 h 524"/>
                <a:gd name="T94" fmla="*/ 82091 w 429"/>
                <a:gd name="T95" fmla="*/ 106396 h 524"/>
                <a:gd name="T96" fmla="*/ 90388 w 429"/>
                <a:gd name="T97" fmla="*/ 92769 h 524"/>
                <a:gd name="T98" fmla="*/ 91698 w 429"/>
                <a:gd name="T99" fmla="*/ 85955 h 524"/>
                <a:gd name="T100" fmla="*/ 87331 w 429"/>
                <a:gd name="T101" fmla="*/ 81238 h 524"/>
                <a:gd name="T102" fmla="*/ 86021 w 429"/>
                <a:gd name="T103" fmla="*/ 71804 h 524"/>
                <a:gd name="T104" fmla="*/ 82091 w 429"/>
                <a:gd name="T105" fmla="*/ 67611 h 524"/>
                <a:gd name="T106" fmla="*/ 70301 w 429"/>
                <a:gd name="T107" fmla="*/ 69184 h 524"/>
                <a:gd name="T108" fmla="*/ 59822 w 429"/>
                <a:gd name="T109" fmla="*/ 68660 h 524"/>
                <a:gd name="T110" fmla="*/ 54582 w 429"/>
                <a:gd name="T111" fmla="*/ 62370 h 524"/>
                <a:gd name="T112" fmla="*/ 53709 w 429"/>
                <a:gd name="T113" fmla="*/ 53984 h 524"/>
                <a:gd name="T114" fmla="*/ 57638 w 429"/>
                <a:gd name="T115" fmla="*/ 39833 h 524"/>
                <a:gd name="T116" fmla="*/ 133616 w 429"/>
                <a:gd name="T117" fmla="*/ 19916 h 524"/>
                <a:gd name="T118" fmla="*/ 141040 w 429"/>
                <a:gd name="T119" fmla="*/ 8910 h 524"/>
                <a:gd name="T120" fmla="*/ 149773 w 429"/>
                <a:gd name="T121" fmla="*/ 3669 h 524"/>
                <a:gd name="T122" fmla="*/ 163309 w 429"/>
                <a:gd name="T123" fmla="*/ 2621 h 524"/>
                <a:gd name="T124" fmla="*/ 178155 w 429"/>
                <a:gd name="T125" fmla="*/ 2096 h 524"/>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29" h="524">
                  <a:moveTo>
                    <a:pt x="426" y="0"/>
                  </a:moveTo>
                  <a:lnTo>
                    <a:pt x="427" y="12"/>
                  </a:lnTo>
                  <a:lnTo>
                    <a:pt x="429" y="22"/>
                  </a:lnTo>
                  <a:lnTo>
                    <a:pt x="429" y="31"/>
                  </a:lnTo>
                  <a:lnTo>
                    <a:pt x="429" y="38"/>
                  </a:lnTo>
                  <a:lnTo>
                    <a:pt x="428" y="43"/>
                  </a:lnTo>
                  <a:lnTo>
                    <a:pt x="427" y="48"/>
                  </a:lnTo>
                  <a:lnTo>
                    <a:pt x="426" y="51"/>
                  </a:lnTo>
                  <a:lnTo>
                    <a:pt x="424" y="54"/>
                  </a:lnTo>
                  <a:lnTo>
                    <a:pt x="419" y="60"/>
                  </a:lnTo>
                  <a:lnTo>
                    <a:pt x="416" y="64"/>
                  </a:lnTo>
                  <a:lnTo>
                    <a:pt x="415" y="67"/>
                  </a:lnTo>
                  <a:lnTo>
                    <a:pt x="413" y="71"/>
                  </a:lnTo>
                  <a:lnTo>
                    <a:pt x="413" y="75"/>
                  </a:lnTo>
                  <a:lnTo>
                    <a:pt x="413" y="81"/>
                  </a:lnTo>
                  <a:lnTo>
                    <a:pt x="413" y="109"/>
                  </a:lnTo>
                  <a:lnTo>
                    <a:pt x="414" y="135"/>
                  </a:lnTo>
                  <a:lnTo>
                    <a:pt x="414" y="160"/>
                  </a:lnTo>
                  <a:lnTo>
                    <a:pt x="413" y="183"/>
                  </a:lnTo>
                  <a:lnTo>
                    <a:pt x="410" y="196"/>
                  </a:lnTo>
                  <a:lnTo>
                    <a:pt x="408" y="207"/>
                  </a:lnTo>
                  <a:lnTo>
                    <a:pt x="405" y="218"/>
                  </a:lnTo>
                  <a:lnTo>
                    <a:pt x="401" y="229"/>
                  </a:lnTo>
                  <a:lnTo>
                    <a:pt x="396" y="241"/>
                  </a:lnTo>
                  <a:lnTo>
                    <a:pt x="390" y="254"/>
                  </a:lnTo>
                  <a:lnTo>
                    <a:pt x="382" y="266"/>
                  </a:lnTo>
                  <a:lnTo>
                    <a:pt x="372" y="278"/>
                  </a:lnTo>
                  <a:lnTo>
                    <a:pt x="360" y="288"/>
                  </a:lnTo>
                  <a:lnTo>
                    <a:pt x="346" y="300"/>
                  </a:lnTo>
                  <a:lnTo>
                    <a:pt x="338" y="309"/>
                  </a:lnTo>
                  <a:lnTo>
                    <a:pt x="331" y="316"/>
                  </a:lnTo>
                  <a:lnTo>
                    <a:pt x="325" y="324"/>
                  </a:lnTo>
                  <a:lnTo>
                    <a:pt x="319" y="333"/>
                  </a:lnTo>
                  <a:lnTo>
                    <a:pt x="318" y="361"/>
                  </a:lnTo>
                  <a:lnTo>
                    <a:pt x="314" y="395"/>
                  </a:lnTo>
                  <a:lnTo>
                    <a:pt x="312" y="412"/>
                  </a:lnTo>
                  <a:lnTo>
                    <a:pt x="308" y="428"/>
                  </a:lnTo>
                  <a:lnTo>
                    <a:pt x="306" y="434"/>
                  </a:lnTo>
                  <a:lnTo>
                    <a:pt x="304" y="439"/>
                  </a:lnTo>
                  <a:lnTo>
                    <a:pt x="302" y="442"/>
                  </a:lnTo>
                  <a:lnTo>
                    <a:pt x="300" y="444"/>
                  </a:lnTo>
                  <a:lnTo>
                    <a:pt x="290" y="448"/>
                  </a:lnTo>
                  <a:lnTo>
                    <a:pt x="280" y="451"/>
                  </a:lnTo>
                  <a:lnTo>
                    <a:pt x="274" y="453"/>
                  </a:lnTo>
                  <a:lnTo>
                    <a:pt x="269" y="455"/>
                  </a:lnTo>
                  <a:lnTo>
                    <a:pt x="264" y="458"/>
                  </a:lnTo>
                  <a:lnTo>
                    <a:pt x="259" y="462"/>
                  </a:lnTo>
                  <a:lnTo>
                    <a:pt x="253" y="472"/>
                  </a:lnTo>
                  <a:lnTo>
                    <a:pt x="245" y="487"/>
                  </a:lnTo>
                  <a:lnTo>
                    <a:pt x="239" y="494"/>
                  </a:lnTo>
                  <a:lnTo>
                    <a:pt x="234" y="500"/>
                  </a:lnTo>
                  <a:lnTo>
                    <a:pt x="230" y="502"/>
                  </a:lnTo>
                  <a:lnTo>
                    <a:pt x="227" y="504"/>
                  </a:lnTo>
                  <a:lnTo>
                    <a:pt x="223" y="505"/>
                  </a:lnTo>
                  <a:lnTo>
                    <a:pt x="219" y="506"/>
                  </a:lnTo>
                  <a:lnTo>
                    <a:pt x="210" y="505"/>
                  </a:lnTo>
                  <a:lnTo>
                    <a:pt x="201" y="504"/>
                  </a:lnTo>
                  <a:lnTo>
                    <a:pt x="196" y="503"/>
                  </a:lnTo>
                  <a:lnTo>
                    <a:pt x="192" y="501"/>
                  </a:lnTo>
                  <a:lnTo>
                    <a:pt x="189" y="498"/>
                  </a:lnTo>
                  <a:lnTo>
                    <a:pt x="186" y="494"/>
                  </a:lnTo>
                  <a:lnTo>
                    <a:pt x="166" y="496"/>
                  </a:lnTo>
                  <a:lnTo>
                    <a:pt x="145" y="500"/>
                  </a:lnTo>
                  <a:lnTo>
                    <a:pt x="135" y="502"/>
                  </a:lnTo>
                  <a:lnTo>
                    <a:pt x="126" y="501"/>
                  </a:lnTo>
                  <a:lnTo>
                    <a:pt x="123" y="500"/>
                  </a:lnTo>
                  <a:lnTo>
                    <a:pt x="119" y="499"/>
                  </a:lnTo>
                  <a:lnTo>
                    <a:pt x="116" y="497"/>
                  </a:lnTo>
                  <a:lnTo>
                    <a:pt x="113" y="494"/>
                  </a:lnTo>
                  <a:lnTo>
                    <a:pt x="106" y="493"/>
                  </a:lnTo>
                  <a:lnTo>
                    <a:pt x="100" y="493"/>
                  </a:lnTo>
                  <a:lnTo>
                    <a:pt x="95" y="493"/>
                  </a:lnTo>
                  <a:lnTo>
                    <a:pt x="91" y="494"/>
                  </a:lnTo>
                  <a:lnTo>
                    <a:pt x="83" y="497"/>
                  </a:lnTo>
                  <a:lnTo>
                    <a:pt x="78" y="502"/>
                  </a:lnTo>
                  <a:lnTo>
                    <a:pt x="73" y="507"/>
                  </a:lnTo>
                  <a:lnTo>
                    <a:pt x="68" y="513"/>
                  </a:lnTo>
                  <a:lnTo>
                    <a:pt x="62" y="519"/>
                  </a:lnTo>
                  <a:lnTo>
                    <a:pt x="54" y="524"/>
                  </a:lnTo>
                  <a:lnTo>
                    <a:pt x="39" y="507"/>
                  </a:lnTo>
                  <a:lnTo>
                    <a:pt x="27" y="491"/>
                  </a:lnTo>
                  <a:lnTo>
                    <a:pt x="14" y="474"/>
                  </a:lnTo>
                  <a:lnTo>
                    <a:pt x="0" y="456"/>
                  </a:lnTo>
                  <a:lnTo>
                    <a:pt x="6" y="447"/>
                  </a:lnTo>
                  <a:lnTo>
                    <a:pt x="13" y="440"/>
                  </a:lnTo>
                  <a:lnTo>
                    <a:pt x="18" y="434"/>
                  </a:lnTo>
                  <a:lnTo>
                    <a:pt x="25" y="430"/>
                  </a:lnTo>
                  <a:lnTo>
                    <a:pt x="31" y="427"/>
                  </a:lnTo>
                  <a:lnTo>
                    <a:pt x="36" y="425"/>
                  </a:lnTo>
                  <a:lnTo>
                    <a:pt x="42" y="424"/>
                  </a:lnTo>
                  <a:lnTo>
                    <a:pt x="46" y="424"/>
                  </a:lnTo>
                  <a:lnTo>
                    <a:pt x="55" y="425"/>
                  </a:lnTo>
                  <a:lnTo>
                    <a:pt x="61" y="428"/>
                  </a:lnTo>
                  <a:lnTo>
                    <a:pt x="65" y="431"/>
                  </a:lnTo>
                  <a:lnTo>
                    <a:pt x="67" y="432"/>
                  </a:lnTo>
                  <a:lnTo>
                    <a:pt x="58" y="418"/>
                  </a:lnTo>
                  <a:lnTo>
                    <a:pt x="51" y="405"/>
                  </a:lnTo>
                  <a:lnTo>
                    <a:pt x="47" y="395"/>
                  </a:lnTo>
                  <a:lnTo>
                    <a:pt x="45" y="386"/>
                  </a:lnTo>
                  <a:lnTo>
                    <a:pt x="45" y="378"/>
                  </a:lnTo>
                  <a:lnTo>
                    <a:pt x="45" y="372"/>
                  </a:lnTo>
                  <a:lnTo>
                    <a:pt x="47" y="366"/>
                  </a:lnTo>
                  <a:lnTo>
                    <a:pt x="50" y="362"/>
                  </a:lnTo>
                  <a:lnTo>
                    <a:pt x="54" y="359"/>
                  </a:lnTo>
                  <a:lnTo>
                    <a:pt x="57" y="356"/>
                  </a:lnTo>
                  <a:lnTo>
                    <a:pt x="61" y="354"/>
                  </a:lnTo>
                  <a:lnTo>
                    <a:pt x="65" y="353"/>
                  </a:lnTo>
                  <a:lnTo>
                    <a:pt x="71" y="352"/>
                  </a:lnTo>
                  <a:lnTo>
                    <a:pt x="73" y="351"/>
                  </a:lnTo>
                  <a:lnTo>
                    <a:pt x="81" y="343"/>
                  </a:lnTo>
                  <a:lnTo>
                    <a:pt x="89" y="337"/>
                  </a:lnTo>
                  <a:lnTo>
                    <a:pt x="94" y="334"/>
                  </a:lnTo>
                  <a:lnTo>
                    <a:pt x="100" y="333"/>
                  </a:lnTo>
                  <a:lnTo>
                    <a:pt x="104" y="333"/>
                  </a:lnTo>
                  <a:lnTo>
                    <a:pt x="109" y="335"/>
                  </a:lnTo>
                  <a:lnTo>
                    <a:pt x="112" y="339"/>
                  </a:lnTo>
                  <a:lnTo>
                    <a:pt x="115" y="342"/>
                  </a:lnTo>
                  <a:lnTo>
                    <a:pt x="123" y="350"/>
                  </a:lnTo>
                  <a:lnTo>
                    <a:pt x="130" y="356"/>
                  </a:lnTo>
                  <a:lnTo>
                    <a:pt x="135" y="359"/>
                  </a:lnTo>
                  <a:lnTo>
                    <a:pt x="140" y="359"/>
                  </a:lnTo>
                  <a:lnTo>
                    <a:pt x="146" y="356"/>
                  </a:lnTo>
                  <a:lnTo>
                    <a:pt x="154" y="351"/>
                  </a:lnTo>
                  <a:lnTo>
                    <a:pt x="163" y="354"/>
                  </a:lnTo>
                  <a:lnTo>
                    <a:pt x="172" y="354"/>
                  </a:lnTo>
                  <a:lnTo>
                    <a:pt x="181" y="353"/>
                  </a:lnTo>
                  <a:lnTo>
                    <a:pt x="188" y="350"/>
                  </a:lnTo>
                  <a:lnTo>
                    <a:pt x="193" y="345"/>
                  </a:lnTo>
                  <a:lnTo>
                    <a:pt x="199" y="340"/>
                  </a:lnTo>
                  <a:lnTo>
                    <a:pt x="202" y="334"/>
                  </a:lnTo>
                  <a:lnTo>
                    <a:pt x="205" y="328"/>
                  </a:lnTo>
                  <a:lnTo>
                    <a:pt x="210" y="315"/>
                  </a:lnTo>
                  <a:lnTo>
                    <a:pt x="212" y="302"/>
                  </a:lnTo>
                  <a:lnTo>
                    <a:pt x="213" y="293"/>
                  </a:lnTo>
                  <a:lnTo>
                    <a:pt x="213" y="290"/>
                  </a:lnTo>
                  <a:lnTo>
                    <a:pt x="215" y="283"/>
                  </a:lnTo>
                  <a:lnTo>
                    <a:pt x="215" y="276"/>
                  </a:lnTo>
                  <a:lnTo>
                    <a:pt x="215" y="269"/>
                  </a:lnTo>
                  <a:lnTo>
                    <a:pt x="213" y="262"/>
                  </a:lnTo>
                  <a:lnTo>
                    <a:pt x="208" y="249"/>
                  </a:lnTo>
                  <a:lnTo>
                    <a:pt x="201" y="236"/>
                  </a:lnTo>
                  <a:lnTo>
                    <a:pt x="186" y="217"/>
                  </a:lnTo>
                  <a:lnTo>
                    <a:pt x="180" y="210"/>
                  </a:lnTo>
                  <a:lnTo>
                    <a:pt x="188" y="203"/>
                  </a:lnTo>
                  <a:lnTo>
                    <a:pt x="202" y="187"/>
                  </a:lnTo>
                  <a:lnTo>
                    <a:pt x="205" y="182"/>
                  </a:lnTo>
                  <a:lnTo>
                    <a:pt x="207" y="177"/>
                  </a:lnTo>
                  <a:lnTo>
                    <a:pt x="210" y="173"/>
                  </a:lnTo>
                  <a:lnTo>
                    <a:pt x="211" y="168"/>
                  </a:lnTo>
                  <a:lnTo>
                    <a:pt x="210" y="164"/>
                  </a:lnTo>
                  <a:lnTo>
                    <a:pt x="208" y="161"/>
                  </a:lnTo>
                  <a:lnTo>
                    <a:pt x="205" y="157"/>
                  </a:lnTo>
                  <a:lnTo>
                    <a:pt x="200" y="155"/>
                  </a:lnTo>
                  <a:lnTo>
                    <a:pt x="200" y="148"/>
                  </a:lnTo>
                  <a:lnTo>
                    <a:pt x="200" y="142"/>
                  </a:lnTo>
                  <a:lnTo>
                    <a:pt x="197" y="137"/>
                  </a:lnTo>
                  <a:lnTo>
                    <a:pt x="195" y="133"/>
                  </a:lnTo>
                  <a:lnTo>
                    <a:pt x="192" y="131"/>
                  </a:lnTo>
                  <a:lnTo>
                    <a:pt x="188" y="129"/>
                  </a:lnTo>
                  <a:lnTo>
                    <a:pt x="183" y="129"/>
                  </a:lnTo>
                  <a:lnTo>
                    <a:pt x="179" y="129"/>
                  </a:lnTo>
                  <a:lnTo>
                    <a:pt x="161" y="132"/>
                  </a:lnTo>
                  <a:lnTo>
                    <a:pt x="154" y="137"/>
                  </a:lnTo>
                  <a:lnTo>
                    <a:pt x="144" y="134"/>
                  </a:lnTo>
                  <a:lnTo>
                    <a:pt x="137" y="131"/>
                  </a:lnTo>
                  <a:lnTo>
                    <a:pt x="132" y="128"/>
                  </a:lnTo>
                  <a:lnTo>
                    <a:pt x="127" y="124"/>
                  </a:lnTo>
                  <a:lnTo>
                    <a:pt x="125" y="119"/>
                  </a:lnTo>
                  <a:lnTo>
                    <a:pt x="123" y="114"/>
                  </a:lnTo>
                  <a:lnTo>
                    <a:pt x="123" y="109"/>
                  </a:lnTo>
                  <a:lnTo>
                    <a:pt x="123" y="103"/>
                  </a:lnTo>
                  <a:lnTo>
                    <a:pt x="125" y="93"/>
                  </a:lnTo>
                  <a:lnTo>
                    <a:pt x="128" y="84"/>
                  </a:lnTo>
                  <a:lnTo>
                    <a:pt x="132" y="76"/>
                  </a:lnTo>
                  <a:lnTo>
                    <a:pt x="133" y="74"/>
                  </a:lnTo>
                  <a:lnTo>
                    <a:pt x="293" y="105"/>
                  </a:lnTo>
                  <a:lnTo>
                    <a:pt x="306" y="38"/>
                  </a:lnTo>
                  <a:lnTo>
                    <a:pt x="311" y="30"/>
                  </a:lnTo>
                  <a:lnTo>
                    <a:pt x="317" y="22"/>
                  </a:lnTo>
                  <a:lnTo>
                    <a:pt x="323" y="17"/>
                  </a:lnTo>
                  <a:lnTo>
                    <a:pt x="329" y="12"/>
                  </a:lnTo>
                  <a:lnTo>
                    <a:pt x="336" y="9"/>
                  </a:lnTo>
                  <a:lnTo>
                    <a:pt x="343" y="7"/>
                  </a:lnTo>
                  <a:lnTo>
                    <a:pt x="350" y="6"/>
                  </a:lnTo>
                  <a:lnTo>
                    <a:pt x="358" y="5"/>
                  </a:lnTo>
                  <a:lnTo>
                    <a:pt x="374" y="5"/>
                  </a:lnTo>
                  <a:lnTo>
                    <a:pt x="391" y="4"/>
                  </a:lnTo>
                  <a:lnTo>
                    <a:pt x="399" y="4"/>
                  </a:lnTo>
                  <a:lnTo>
                    <a:pt x="408" y="4"/>
                  </a:lnTo>
                  <a:lnTo>
                    <a:pt x="417" y="2"/>
                  </a:lnTo>
                  <a:lnTo>
                    <a:pt x="426"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4" name="Freeform 452">
              <a:extLst>
                <a:ext uri="{FF2B5EF4-FFF2-40B4-BE49-F238E27FC236}">
                  <a16:creationId xmlns:a16="http://schemas.microsoft.com/office/drawing/2014/main" id="{01335760-B297-4853-91AE-6AB6CFA97E1F}"/>
                </a:ext>
              </a:extLst>
            </p:cNvPr>
            <p:cNvSpPr>
              <a:spLocks/>
            </p:cNvSpPr>
            <p:nvPr>
              <p:custDataLst>
                <p:tags r:id="rId290"/>
              </p:custDataLst>
            </p:nvPr>
          </p:nvSpPr>
          <p:spPr bwMode="auto">
            <a:xfrm>
              <a:off x="4316408" y="2192321"/>
              <a:ext cx="127000" cy="114299"/>
            </a:xfrm>
            <a:custGeom>
              <a:avLst/>
              <a:gdLst>
                <a:gd name="T0" fmla="*/ 112647 w 292"/>
                <a:gd name="T1" fmla="*/ 47668 h 223"/>
                <a:gd name="T2" fmla="*/ 72199 w 292"/>
                <a:gd name="T3" fmla="*/ 39467 h 223"/>
                <a:gd name="T4" fmla="*/ 66110 w 292"/>
                <a:gd name="T5" fmla="*/ 40492 h 223"/>
                <a:gd name="T6" fmla="*/ 60455 w 292"/>
                <a:gd name="T7" fmla="*/ 40492 h 223"/>
                <a:gd name="T8" fmla="*/ 54801 w 292"/>
                <a:gd name="T9" fmla="*/ 39467 h 223"/>
                <a:gd name="T10" fmla="*/ 51757 w 292"/>
                <a:gd name="T11" fmla="*/ 47668 h 223"/>
                <a:gd name="T12" fmla="*/ 62630 w 292"/>
                <a:gd name="T13" fmla="*/ 67145 h 223"/>
                <a:gd name="T14" fmla="*/ 73068 w 292"/>
                <a:gd name="T15" fmla="*/ 80471 h 223"/>
                <a:gd name="T16" fmla="*/ 82202 w 292"/>
                <a:gd name="T17" fmla="*/ 94823 h 223"/>
                <a:gd name="T18" fmla="*/ 85682 w 292"/>
                <a:gd name="T19" fmla="*/ 103536 h 223"/>
                <a:gd name="T20" fmla="*/ 89161 w 292"/>
                <a:gd name="T21" fmla="*/ 113787 h 223"/>
                <a:gd name="T22" fmla="*/ 76113 w 292"/>
                <a:gd name="T23" fmla="*/ 114300 h 223"/>
                <a:gd name="T24" fmla="*/ 70024 w 292"/>
                <a:gd name="T25" fmla="*/ 113787 h 223"/>
                <a:gd name="T26" fmla="*/ 63500 w 292"/>
                <a:gd name="T27" fmla="*/ 110712 h 223"/>
                <a:gd name="T28" fmla="*/ 58281 w 292"/>
                <a:gd name="T29" fmla="*/ 107124 h 223"/>
                <a:gd name="T30" fmla="*/ 55236 w 292"/>
                <a:gd name="T31" fmla="*/ 101486 h 223"/>
                <a:gd name="T32" fmla="*/ 52627 w 292"/>
                <a:gd name="T33" fmla="*/ 95848 h 223"/>
                <a:gd name="T34" fmla="*/ 49147 w 292"/>
                <a:gd name="T35" fmla="*/ 92260 h 223"/>
                <a:gd name="T36" fmla="*/ 39579 w 292"/>
                <a:gd name="T37" fmla="*/ 74321 h 223"/>
                <a:gd name="T38" fmla="*/ 29575 w 292"/>
                <a:gd name="T39" fmla="*/ 57919 h 223"/>
                <a:gd name="T40" fmla="*/ 23921 w 292"/>
                <a:gd name="T41" fmla="*/ 50743 h 223"/>
                <a:gd name="T42" fmla="*/ 18267 w 292"/>
                <a:gd name="T43" fmla="*/ 44592 h 223"/>
                <a:gd name="T44" fmla="*/ 11743 w 292"/>
                <a:gd name="T45" fmla="*/ 40492 h 223"/>
                <a:gd name="T46" fmla="*/ 5654 w 292"/>
                <a:gd name="T47" fmla="*/ 38442 h 223"/>
                <a:gd name="T48" fmla="*/ 1740 w 292"/>
                <a:gd name="T49" fmla="*/ 33316 h 223"/>
                <a:gd name="T50" fmla="*/ 435 w 292"/>
                <a:gd name="T51" fmla="*/ 29728 h 223"/>
                <a:gd name="T52" fmla="*/ 0 w 292"/>
                <a:gd name="T53" fmla="*/ 25115 h 223"/>
                <a:gd name="T54" fmla="*/ 17397 w 292"/>
                <a:gd name="T55" fmla="*/ 28191 h 223"/>
                <a:gd name="T56" fmla="*/ 30445 w 292"/>
                <a:gd name="T57" fmla="*/ 28191 h 223"/>
                <a:gd name="T58" fmla="*/ 39579 w 292"/>
                <a:gd name="T59" fmla="*/ 25628 h 223"/>
                <a:gd name="T60" fmla="*/ 46103 w 292"/>
                <a:gd name="T61" fmla="*/ 21015 h 223"/>
                <a:gd name="T62" fmla="*/ 55236 w 292"/>
                <a:gd name="T63" fmla="*/ 10251 h 223"/>
                <a:gd name="T64" fmla="*/ 60021 w 292"/>
                <a:gd name="T65" fmla="*/ 4613 h 223"/>
                <a:gd name="T66" fmla="*/ 66110 w 292"/>
                <a:gd name="T67" fmla="*/ 0 h 223"/>
                <a:gd name="T68" fmla="*/ 74808 w 292"/>
                <a:gd name="T69" fmla="*/ 7176 h 223"/>
                <a:gd name="T70" fmla="*/ 84377 w 292"/>
                <a:gd name="T71" fmla="*/ 13326 h 223"/>
                <a:gd name="T72" fmla="*/ 94815 w 292"/>
                <a:gd name="T73" fmla="*/ 17427 h 223"/>
                <a:gd name="T74" fmla="*/ 106993 w 292"/>
                <a:gd name="T75" fmla="*/ 18965 h 223"/>
                <a:gd name="T76" fmla="*/ 113952 w 292"/>
                <a:gd name="T77" fmla="*/ 17427 h 223"/>
                <a:gd name="T78" fmla="*/ 121346 w 292"/>
                <a:gd name="T79" fmla="*/ 15889 h 223"/>
                <a:gd name="T80" fmla="*/ 123955 w 292"/>
                <a:gd name="T81" fmla="*/ 24090 h 223"/>
                <a:gd name="T82" fmla="*/ 124825 w 292"/>
                <a:gd name="T83" fmla="*/ 25115 h 223"/>
                <a:gd name="T84" fmla="*/ 127000 w 292"/>
                <a:gd name="T85" fmla="*/ 35366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5" name="Freeform 453">
              <a:extLst>
                <a:ext uri="{FF2B5EF4-FFF2-40B4-BE49-F238E27FC236}">
                  <a16:creationId xmlns:a16="http://schemas.microsoft.com/office/drawing/2014/main" id="{5836A60A-7305-4FC9-9E5F-6F4BA73BBB54}"/>
                </a:ext>
              </a:extLst>
            </p:cNvPr>
            <p:cNvSpPr>
              <a:spLocks/>
            </p:cNvSpPr>
            <p:nvPr>
              <p:custDataLst>
                <p:tags r:id="rId291"/>
              </p:custDataLst>
            </p:nvPr>
          </p:nvSpPr>
          <p:spPr bwMode="auto">
            <a:xfrm>
              <a:off x="4267195" y="2051034"/>
              <a:ext cx="168275" cy="77787"/>
            </a:xfrm>
            <a:custGeom>
              <a:avLst/>
              <a:gdLst>
                <a:gd name="T0" fmla="*/ 166499 w 379"/>
                <a:gd name="T1" fmla="*/ 49742 h 147"/>
                <a:gd name="T2" fmla="*/ 159839 w 379"/>
                <a:gd name="T3" fmla="*/ 53446 h 147"/>
                <a:gd name="T4" fmla="*/ 157175 w 379"/>
                <a:gd name="T5" fmla="*/ 57150 h 147"/>
                <a:gd name="T6" fmla="*/ 154067 w 379"/>
                <a:gd name="T7" fmla="*/ 61913 h 147"/>
                <a:gd name="T8" fmla="*/ 147851 w 379"/>
                <a:gd name="T9" fmla="*/ 67205 h 147"/>
                <a:gd name="T10" fmla="*/ 142079 w 379"/>
                <a:gd name="T11" fmla="*/ 69321 h 147"/>
                <a:gd name="T12" fmla="*/ 138083 w 379"/>
                <a:gd name="T13" fmla="*/ 69850 h 147"/>
                <a:gd name="T14" fmla="*/ 133643 w 379"/>
                <a:gd name="T15" fmla="*/ 68792 h 147"/>
                <a:gd name="T16" fmla="*/ 129203 w 379"/>
                <a:gd name="T17" fmla="*/ 66675 h 147"/>
                <a:gd name="T18" fmla="*/ 124763 w 379"/>
                <a:gd name="T19" fmla="*/ 62971 h 147"/>
                <a:gd name="T20" fmla="*/ 122099 w 379"/>
                <a:gd name="T21" fmla="*/ 61384 h 147"/>
                <a:gd name="T22" fmla="*/ 119435 w 379"/>
                <a:gd name="T23" fmla="*/ 62442 h 147"/>
                <a:gd name="T24" fmla="*/ 118547 w 379"/>
                <a:gd name="T25" fmla="*/ 65088 h 147"/>
                <a:gd name="T26" fmla="*/ 118103 w 379"/>
                <a:gd name="T27" fmla="*/ 74084 h 147"/>
                <a:gd name="T28" fmla="*/ 114107 w 379"/>
                <a:gd name="T29" fmla="*/ 76730 h 147"/>
                <a:gd name="T30" fmla="*/ 108335 w 379"/>
                <a:gd name="T31" fmla="*/ 74084 h 147"/>
                <a:gd name="T32" fmla="*/ 101675 w 379"/>
                <a:gd name="T33" fmla="*/ 69321 h 147"/>
                <a:gd name="T34" fmla="*/ 50172 w 379"/>
                <a:gd name="T35" fmla="*/ 74613 h 147"/>
                <a:gd name="T36" fmla="*/ 35520 w 379"/>
                <a:gd name="T37" fmla="*/ 65617 h 147"/>
                <a:gd name="T38" fmla="*/ 25752 w 379"/>
                <a:gd name="T39" fmla="*/ 57680 h 147"/>
                <a:gd name="T40" fmla="*/ 19980 w 379"/>
                <a:gd name="T41" fmla="*/ 49742 h 147"/>
                <a:gd name="T42" fmla="*/ 16428 w 379"/>
                <a:gd name="T43" fmla="*/ 43392 h 147"/>
                <a:gd name="T44" fmla="*/ 11544 w 379"/>
                <a:gd name="T45" fmla="*/ 31221 h 147"/>
                <a:gd name="T46" fmla="*/ 7104 w 379"/>
                <a:gd name="T47" fmla="*/ 25400 h 147"/>
                <a:gd name="T48" fmla="*/ 0 w 379"/>
                <a:gd name="T49" fmla="*/ 19050 h 147"/>
                <a:gd name="T50" fmla="*/ 12876 w 379"/>
                <a:gd name="T51" fmla="*/ 21167 h 147"/>
                <a:gd name="T52" fmla="*/ 23088 w 379"/>
                <a:gd name="T53" fmla="*/ 20108 h 147"/>
                <a:gd name="T54" fmla="*/ 31968 w 379"/>
                <a:gd name="T55" fmla="*/ 17463 h 147"/>
                <a:gd name="T56" fmla="*/ 38628 w 379"/>
                <a:gd name="T57" fmla="*/ 13229 h 147"/>
                <a:gd name="T58" fmla="*/ 52836 w 379"/>
                <a:gd name="T59" fmla="*/ 4233 h 147"/>
                <a:gd name="T60" fmla="*/ 61272 w 379"/>
                <a:gd name="T61" fmla="*/ 1058 h 147"/>
                <a:gd name="T62" fmla="*/ 70596 w 379"/>
                <a:gd name="T63" fmla="*/ 0 h 147"/>
                <a:gd name="T64" fmla="*/ 88799 w 379"/>
                <a:gd name="T65" fmla="*/ 12171 h 147"/>
                <a:gd name="T66" fmla="*/ 108335 w 379"/>
                <a:gd name="T67" fmla="*/ 23813 h 147"/>
                <a:gd name="T68" fmla="*/ 129647 w 379"/>
                <a:gd name="T69" fmla="*/ 35454 h 147"/>
                <a:gd name="T70" fmla="*/ 147851 w 379"/>
                <a:gd name="T71" fmla="*/ 42334 h 147"/>
                <a:gd name="T72" fmla="*/ 157175 w 379"/>
                <a:gd name="T73" fmla="*/ 45509 h 147"/>
                <a:gd name="T74" fmla="*/ 168275 w 379"/>
                <a:gd name="T75" fmla="*/ 48684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6" name="Freeform 454">
              <a:extLst>
                <a:ext uri="{FF2B5EF4-FFF2-40B4-BE49-F238E27FC236}">
                  <a16:creationId xmlns:a16="http://schemas.microsoft.com/office/drawing/2014/main" id="{07CD4640-8DBB-43A0-8C3D-DFB1BC295155}"/>
                </a:ext>
              </a:extLst>
            </p:cNvPr>
            <p:cNvSpPr>
              <a:spLocks/>
            </p:cNvSpPr>
            <p:nvPr>
              <p:custDataLst>
                <p:tags r:id="rId292"/>
              </p:custDataLst>
            </p:nvPr>
          </p:nvSpPr>
          <p:spPr bwMode="auto">
            <a:xfrm>
              <a:off x="4230683" y="1906574"/>
              <a:ext cx="30162" cy="60325"/>
            </a:xfrm>
            <a:custGeom>
              <a:avLst/>
              <a:gdLst>
                <a:gd name="T0" fmla="*/ 0 w 61"/>
                <a:gd name="T1" fmla="*/ 0 h 67"/>
                <a:gd name="T2" fmla="*/ 0 w 61"/>
                <a:gd name="T3" fmla="*/ 8103 h 67"/>
                <a:gd name="T4" fmla="*/ 0 w 61"/>
                <a:gd name="T5" fmla="*/ 16207 h 67"/>
                <a:gd name="T6" fmla="*/ 494 w 61"/>
                <a:gd name="T7" fmla="*/ 21609 h 67"/>
                <a:gd name="T8" fmla="*/ 989 w 61"/>
                <a:gd name="T9" fmla="*/ 27011 h 67"/>
                <a:gd name="T10" fmla="*/ 1483 w 61"/>
                <a:gd name="T11" fmla="*/ 32413 h 67"/>
                <a:gd name="T12" fmla="*/ 2967 w 61"/>
                <a:gd name="T13" fmla="*/ 37816 h 67"/>
                <a:gd name="T14" fmla="*/ 5934 w 61"/>
                <a:gd name="T15" fmla="*/ 49521 h 67"/>
                <a:gd name="T16" fmla="*/ 10384 w 61"/>
                <a:gd name="T17" fmla="*/ 60325 h 67"/>
                <a:gd name="T18" fmla="*/ 13845 w 61"/>
                <a:gd name="T19" fmla="*/ 58524 h 67"/>
                <a:gd name="T20" fmla="*/ 17306 w 61"/>
                <a:gd name="T21" fmla="*/ 54923 h 67"/>
                <a:gd name="T22" fmla="*/ 20767 w 61"/>
                <a:gd name="T23" fmla="*/ 52222 h 67"/>
                <a:gd name="T24" fmla="*/ 23734 w 61"/>
                <a:gd name="T25" fmla="*/ 47720 h 67"/>
                <a:gd name="T26" fmla="*/ 26206 w 61"/>
                <a:gd name="T27" fmla="*/ 42318 h 67"/>
                <a:gd name="T28" fmla="*/ 28184 w 61"/>
                <a:gd name="T29" fmla="*/ 36015 h 67"/>
                <a:gd name="T30" fmla="*/ 29173 w 61"/>
                <a:gd name="T31" fmla="*/ 28812 h 67"/>
                <a:gd name="T32" fmla="*/ 30162 w 61"/>
                <a:gd name="T33" fmla="*/ 21609 h 67"/>
                <a:gd name="T34" fmla="*/ 26206 w 61"/>
                <a:gd name="T35" fmla="*/ 12605 h 67"/>
                <a:gd name="T36" fmla="*/ 20273 w 61"/>
                <a:gd name="T37" fmla="*/ 0 h 67"/>
                <a:gd name="T38" fmla="*/ 13845 w 61"/>
                <a:gd name="T39" fmla="*/ 2701 h 67"/>
                <a:gd name="T40" fmla="*/ 8900 w 61"/>
                <a:gd name="T41" fmla="*/ 3601 h 67"/>
                <a:gd name="T42" fmla="*/ 6428 w 61"/>
                <a:gd name="T43" fmla="*/ 3601 h 67"/>
                <a:gd name="T44" fmla="*/ 4945 w 61"/>
                <a:gd name="T45" fmla="*/ 2701 h 67"/>
                <a:gd name="T46" fmla="*/ 2967 w 61"/>
                <a:gd name="T47" fmla="*/ 1801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7" name="Freeform 455">
              <a:extLst>
                <a:ext uri="{FF2B5EF4-FFF2-40B4-BE49-F238E27FC236}">
                  <a16:creationId xmlns:a16="http://schemas.microsoft.com/office/drawing/2014/main" id="{B6D01B55-1085-495E-BCB4-6A5B983DDDE3}"/>
                </a:ext>
              </a:extLst>
            </p:cNvPr>
            <p:cNvSpPr>
              <a:spLocks/>
            </p:cNvSpPr>
            <p:nvPr>
              <p:custDataLst>
                <p:tags r:id="rId293"/>
              </p:custDataLst>
            </p:nvPr>
          </p:nvSpPr>
          <p:spPr bwMode="auto">
            <a:xfrm>
              <a:off x="4202108" y="1911336"/>
              <a:ext cx="25400" cy="58738"/>
            </a:xfrm>
            <a:custGeom>
              <a:avLst/>
              <a:gdLst>
                <a:gd name="T0" fmla="*/ 0 w 60"/>
                <a:gd name="T1" fmla="*/ 6408 h 55"/>
                <a:gd name="T2" fmla="*/ 0 w 60"/>
                <a:gd name="T3" fmla="*/ 25631 h 55"/>
                <a:gd name="T4" fmla="*/ 2117 w 60"/>
                <a:gd name="T5" fmla="*/ 34175 h 55"/>
                <a:gd name="T6" fmla="*/ 4233 w 60"/>
                <a:gd name="T7" fmla="*/ 42719 h 55"/>
                <a:gd name="T8" fmla="*/ 6773 w 60"/>
                <a:gd name="T9" fmla="*/ 48058 h 55"/>
                <a:gd name="T10" fmla="*/ 8890 w 60"/>
                <a:gd name="T11" fmla="*/ 52330 h 55"/>
                <a:gd name="T12" fmla="*/ 11430 w 60"/>
                <a:gd name="T13" fmla="*/ 55534 h 55"/>
                <a:gd name="T14" fmla="*/ 13970 w 60"/>
                <a:gd name="T15" fmla="*/ 57670 h 55"/>
                <a:gd name="T16" fmla="*/ 16933 w 60"/>
                <a:gd name="T17" fmla="*/ 58738 h 55"/>
                <a:gd name="T18" fmla="*/ 19473 w 60"/>
                <a:gd name="T19" fmla="*/ 58738 h 55"/>
                <a:gd name="T20" fmla="*/ 22437 w 60"/>
                <a:gd name="T21" fmla="*/ 55534 h 55"/>
                <a:gd name="T22" fmla="*/ 25400 w 60"/>
                <a:gd name="T23" fmla="*/ 52330 h 55"/>
                <a:gd name="T24" fmla="*/ 21167 w 60"/>
                <a:gd name="T25" fmla="*/ 36311 h 55"/>
                <a:gd name="T26" fmla="*/ 17780 w 60"/>
                <a:gd name="T27" fmla="*/ 23495 h 55"/>
                <a:gd name="T28" fmla="*/ 16510 w 60"/>
                <a:gd name="T29" fmla="*/ 18155 h 55"/>
                <a:gd name="T30" fmla="*/ 14817 w 60"/>
                <a:gd name="T31" fmla="*/ 12816 h 55"/>
                <a:gd name="T32" fmla="*/ 14393 w 60"/>
                <a:gd name="T33" fmla="*/ 6408 h 55"/>
                <a:gd name="T34" fmla="*/ 13970 w 60"/>
                <a:gd name="T35" fmla="*/ 0 h 55"/>
                <a:gd name="T36" fmla="*/ 9737 w 60"/>
                <a:gd name="T37" fmla="*/ 1068 h 55"/>
                <a:gd name="T38" fmla="*/ 6350 w 60"/>
                <a:gd name="T39" fmla="*/ 3204 h 55"/>
                <a:gd name="T40" fmla="*/ 2963 w 60"/>
                <a:gd name="T41" fmla="*/ 5340 h 55"/>
                <a:gd name="T42" fmla="*/ 0 w 60"/>
                <a:gd name="T43" fmla="*/ 6408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8" name="Freeform 456">
              <a:extLst>
                <a:ext uri="{FF2B5EF4-FFF2-40B4-BE49-F238E27FC236}">
                  <a16:creationId xmlns:a16="http://schemas.microsoft.com/office/drawing/2014/main" id="{AACD99F2-539E-407F-8D5C-68EFEE126A0C}"/>
                </a:ext>
              </a:extLst>
            </p:cNvPr>
            <p:cNvSpPr>
              <a:spLocks/>
            </p:cNvSpPr>
            <p:nvPr>
              <p:custDataLst>
                <p:tags r:id="rId294"/>
              </p:custDataLst>
            </p:nvPr>
          </p:nvSpPr>
          <p:spPr bwMode="auto">
            <a:xfrm>
              <a:off x="4171945" y="1857361"/>
              <a:ext cx="52388" cy="77787"/>
            </a:xfrm>
            <a:custGeom>
              <a:avLst/>
              <a:gdLst>
                <a:gd name="T0" fmla="*/ 32306 w 120"/>
                <a:gd name="T1" fmla="*/ 67802 h 148"/>
                <a:gd name="T2" fmla="*/ 30560 w 120"/>
                <a:gd name="T3" fmla="*/ 68853 h 148"/>
                <a:gd name="T4" fmla="*/ 29250 w 120"/>
                <a:gd name="T5" fmla="*/ 69378 h 148"/>
                <a:gd name="T6" fmla="*/ 27940 w 120"/>
                <a:gd name="T7" fmla="*/ 69904 h 148"/>
                <a:gd name="T8" fmla="*/ 26194 w 120"/>
                <a:gd name="T9" fmla="*/ 69904 h 148"/>
                <a:gd name="T10" fmla="*/ 24448 w 120"/>
                <a:gd name="T11" fmla="*/ 69904 h 148"/>
                <a:gd name="T12" fmla="*/ 23138 w 120"/>
                <a:gd name="T13" fmla="*/ 69378 h 148"/>
                <a:gd name="T14" fmla="*/ 21828 w 120"/>
                <a:gd name="T15" fmla="*/ 68853 h 148"/>
                <a:gd name="T16" fmla="*/ 20519 w 120"/>
                <a:gd name="T17" fmla="*/ 67802 h 148"/>
                <a:gd name="T18" fmla="*/ 17899 w 120"/>
                <a:gd name="T19" fmla="*/ 67276 h 148"/>
                <a:gd name="T20" fmla="*/ 14843 w 120"/>
                <a:gd name="T21" fmla="*/ 65699 h 148"/>
                <a:gd name="T22" fmla="*/ 11351 w 120"/>
                <a:gd name="T23" fmla="*/ 63071 h 148"/>
                <a:gd name="T24" fmla="*/ 8295 w 120"/>
                <a:gd name="T25" fmla="*/ 60443 h 148"/>
                <a:gd name="T26" fmla="*/ 4802 w 120"/>
                <a:gd name="T27" fmla="*/ 56764 h 148"/>
                <a:gd name="T28" fmla="*/ 2619 w 120"/>
                <a:gd name="T29" fmla="*/ 53085 h 148"/>
                <a:gd name="T30" fmla="*/ 1310 w 120"/>
                <a:gd name="T31" fmla="*/ 50983 h 148"/>
                <a:gd name="T32" fmla="*/ 873 w 120"/>
                <a:gd name="T33" fmla="*/ 49406 h 148"/>
                <a:gd name="T34" fmla="*/ 437 w 120"/>
                <a:gd name="T35" fmla="*/ 47304 h 148"/>
                <a:gd name="T36" fmla="*/ 0 w 120"/>
                <a:gd name="T37" fmla="*/ 45727 h 148"/>
                <a:gd name="T38" fmla="*/ 873 w 120"/>
                <a:gd name="T39" fmla="*/ 38368 h 148"/>
                <a:gd name="T40" fmla="*/ 3493 w 120"/>
                <a:gd name="T41" fmla="*/ 28908 h 148"/>
                <a:gd name="T42" fmla="*/ 6112 w 120"/>
                <a:gd name="T43" fmla="*/ 18396 h 148"/>
                <a:gd name="T44" fmla="*/ 8731 w 120"/>
                <a:gd name="T45" fmla="*/ 9461 h 148"/>
                <a:gd name="T46" fmla="*/ 13970 w 120"/>
                <a:gd name="T47" fmla="*/ 8935 h 148"/>
                <a:gd name="T48" fmla="*/ 18336 w 120"/>
                <a:gd name="T49" fmla="*/ 8410 h 148"/>
                <a:gd name="T50" fmla="*/ 22265 w 120"/>
                <a:gd name="T51" fmla="*/ 7358 h 148"/>
                <a:gd name="T52" fmla="*/ 25321 w 120"/>
                <a:gd name="T53" fmla="*/ 5782 h 148"/>
                <a:gd name="T54" fmla="*/ 30560 w 120"/>
                <a:gd name="T55" fmla="*/ 2628 h 148"/>
                <a:gd name="T56" fmla="*/ 34925 w 120"/>
                <a:gd name="T57" fmla="*/ 0 h 148"/>
                <a:gd name="T58" fmla="*/ 37108 w 120"/>
                <a:gd name="T59" fmla="*/ 1051 h 148"/>
                <a:gd name="T60" fmla="*/ 40601 w 120"/>
                <a:gd name="T61" fmla="*/ 3679 h 148"/>
                <a:gd name="T62" fmla="*/ 42784 w 120"/>
                <a:gd name="T63" fmla="*/ 5256 h 148"/>
                <a:gd name="T64" fmla="*/ 44530 w 120"/>
                <a:gd name="T65" fmla="*/ 6833 h 148"/>
                <a:gd name="T66" fmla="*/ 46276 w 120"/>
                <a:gd name="T67" fmla="*/ 8410 h 148"/>
                <a:gd name="T68" fmla="*/ 46713 w 120"/>
                <a:gd name="T69" fmla="*/ 9461 h 148"/>
                <a:gd name="T70" fmla="*/ 43657 w 120"/>
                <a:gd name="T71" fmla="*/ 14717 h 148"/>
                <a:gd name="T72" fmla="*/ 40601 w 120"/>
                <a:gd name="T73" fmla="*/ 19447 h 148"/>
                <a:gd name="T74" fmla="*/ 41474 w 120"/>
                <a:gd name="T75" fmla="*/ 22075 h 148"/>
                <a:gd name="T76" fmla="*/ 42784 w 120"/>
                <a:gd name="T77" fmla="*/ 25754 h 148"/>
                <a:gd name="T78" fmla="*/ 44530 w 120"/>
                <a:gd name="T79" fmla="*/ 29433 h 148"/>
                <a:gd name="T80" fmla="*/ 46713 w 120"/>
                <a:gd name="T81" fmla="*/ 33112 h 148"/>
                <a:gd name="T82" fmla="*/ 50205 w 120"/>
                <a:gd name="T83" fmla="*/ 39420 h 148"/>
                <a:gd name="T84" fmla="*/ 52388 w 120"/>
                <a:gd name="T85" fmla="*/ 41522 h 148"/>
                <a:gd name="T86" fmla="*/ 49332 w 120"/>
                <a:gd name="T87" fmla="*/ 42573 h 148"/>
                <a:gd name="T88" fmla="*/ 46713 w 120"/>
                <a:gd name="T89" fmla="*/ 44150 h 148"/>
                <a:gd name="T90" fmla="*/ 43657 w 120"/>
                <a:gd name="T91" fmla="*/ 45727 h 148"/>
                <a:gd name="T92" fmla="*/ 41910 w 120"/>
                <a:gd name="T93" fmla="*/ 47829 h 148"/>
                <a:gd name="T94" fmla="*/ 39291 w 120"/>
                <a:gd name="T95" fmla="*/ 49931 h 148"/>
                <a:gd name="T96" fmla="*/ 37981 w 120"/>
                <a:gd name="T97" fmla="*/ 52034 h 148"/>
                <a:gd name="T98" fmla="*/ 35798 w 120"/>
                <a:gd name="T99" fmla="*/ 54662 h 148"/>
                <a:gd name="T100" fmla="*/ 34925 w 120"/>
                <a:gd name="T101" fmla="*/ 57290 h 148"/>
                <a:gd name="T102" fmla="*/ 34052 w 120"/>
                <a:gd name="T103" fmla="*/ 59918 h 148"/>
                <a:gd name="T104" fmla="*/ 33616 w 120"/>
                <a:gd name="T105" fmla="*/ 63071 h 148"/>
                <a:gd name="T106" fmla="*/ 33179 w 120"/>
                <a:gd name="T107" fmla="*/ 65699 h 148"/>
                <a:gd name="T108" fmla="*/ 32743 w 120"/>
                <a:gd name="T109" fmla="*/ 68327 h 148"/>
                <a:gd name="T110" fmla="*/ 33179 w 120"/>
                <a:gd name="T111" fmla="*/ 70955 h 148"/>
                <a:gd name="T112" fmla="*/ 33616 w 120"/>
                <a:gd name="T113" fmla="*/ 73583 h 148"/>
                <a:gd name="T114" fmla="*/ 34052 w 120"/>
                <a:gd name="T115" fmla="*/ 75686 h 148"/>
                <a:gd name="T116" fmla="*/ 34925 w 120"/>
                <a:gd name="T117" fmla="*/ 77788 h 148"/>
                <a:gd name="T118" fmla="*/ 32306 w 120"/>
                <a:gd name="T119" fmla="*/ 67802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299" name="Freeform 457">
              <a:extLst>
                <a:ext uri="{FF2B5EF4-FFF2-40B4-BE49-F238E27FC236}">
                  <a16:creationId xmlns:a16="http://schemas.microsoft.com/office/drawing/2014/main" id="{6EF39004-B7B2-4770-B718-1B55D40DD349}"/>
                </a:ext>
              </a:extLst>
            </p:cNvPr>
            <p:cNvSpPr>
              <a:spLocks/>
            </p:cNvSpPr>
            <p:nvPr>
              <p:custDataLst>
                <p:tags r:id="rId295"/>
              </p:custDataLst>
            </p:nvPr>
          </p:nvSpPr>
          <p:spPr bwMode="auto">
            <a:xfrm>
              <a:off x="4603744" y="2662217"/>
              <a:ext cx="273049" cy="307973"/>
            </a:xfrm>
            <a:custGeom>
              <a:avLst/>
              <a:gdLst>
                <a:gd name="T0" fmla="*/ 9087 w 631"/>
                <a:gd name="T1" fmla="*/ 1040 h 592"/>
                <a:gd name="T2" fmla="*/ 13847 w 631"/>
                <a:gd name="T3" fmla="*/ 2081 h 592"/>
                <a:gd name="T4" fmla="*/ 23367 w 631"/>
                <a:gd name="T5" fmla="*/ 4162 h 592"/>
                <a:gd name="T6" fmla="*/ 33753 w 631"/>
                <a:gd name="T7" fmla="*/ 5723 h 592"/>
                <a:gd name="T8" fmla="*/ 45003 w 631"/>
                <a:gd name="T9" fmla="*/ 9884 h 592"/>
                <a:gd name="T10" fmla="*/ 56254 w 631"/>
                <a:gd name="T11" fmla="*/ 16647 h 592"/>
                <a:gd name="T12" fmla="*/ 63178 w 631"/>
                <a:gd name="T13" fmla="*/ 20809 h 592"/>
                <a:gd name="T14" fmla="*/ 68803 w 631"/>
                <a:gd name="T15" fmla="*/ 22370 h 592"/>
                <a:gd name="T16" fmla="*/ 81785 w 631"/>
                <a:gd name="T17" fmla="*/ 22370 h 592"/>
                <a:gd name="T18" fmla="*/ 98229 w 631"/>
                <a:gd name="T19" fmla="*/ 19248 h 592"/>
                <a:gd name="T20" fmla="*/ 119865 w 631"/>
                <a:gd name="T21" fmla="*/ 11965 h 592"/>
                <a:gd name="T22" fmla="*/ 172658 w 631"/>
                <a:gd name="T23" fmla="*/ 19769 h 592"/>
                <a:gd name="T24" fmla="*/ 174389 w 631"/>
                <a:gd name="T25" fmla="*/ 35896 h 592"/>
                <a:gd name="T26" fmla="*/ 177418 w 631"/>
                <a:gd name="T27" fmla="*/ 49422 h 592"/>
                <a:gd name="T28" fmla="*/ 180447 w 631"/>
                <a:gd name="T29" fmla="*/ 61907 h 592"/>
                <a:gd name="T30" fmla="*/ 184774 w 631"/>
                <a:gd name="T31" fmla="*/ 72832 h 592"/>
                <a:gd name="T32" fmla="*/ 194727 w 631"/>
                <a:gd name="T33" fmla="*/ 91040 h 592"/>
                <a:gd name="T34" fmla="*/ 204247 w 631"/>
                <a:gd name="T35" fmla="*/ 106127 h 592"/>
                <a:gd name="T36" fmla="*/ 208574 w 631"/>
                <a:gd name="T37" fmla="*/ 115491 h 592"/>
                <a:gd name="T38" fmla="*/ 209872 w 631"/>
                <a:gd name="T39" fmla="*/ 124855 h 592"/>
                <a:gd name="T40" fmla="*/ 212468 w 631"/>
                <a:gd name="T41" fmla="*/ 132658 h 592"/>
                <a:gd name="T42" fmla="*/ 214632 w 631"/>
                <a:gd name="T43" fmla="*/ 135780 h 592"/>
                <a:gd name="T44" fmla="*/ 218527 w 631"/>
                <a:gd name="T45" fmla="*/ 138381 h 592"/>
                <a:gd name="T46" fmla="*/ 221988 w 631"/>
                <a:gd name="T47" fmla="*/ 140462 h 592"/>
                <a:gd name="T48" fmla="*/ 224585 w 631"/>
                <a:gd name="T49" fmla="*/ 144623 h 592"/>
                <a:gd name="T50" fmla="*/ 230643 w 631"/>
                <a:gd name="T51" fmla="*/ 157629 h 592"/>
                <a:gd name="T52" fmla="*/ 234105 w 631"/>
                <a:gd name="T53" fmla="*/ 172195 h 592"/>
                <a:gd name="T54" fmla="*/ 235836 w 631"/>
                <a:gd name="T55" fmla="*/ 186242 h 592"/>
                <a:gd name="T56" fmla="*/ 237134 w 631"/>
                <a:gd name="T57" fmla="*/ 191444 h 592"/>
                <a:gd name="T58" fmla="*/ 241028 w 631"/>
                <a:gd name="T59" fmla="*/ 198207 h 592"/>
                <a:gd name="T60" fmla="*/ 252279 w 631"/>
                <a:gd name="T61" fmla="*/ 215895 h 592"/>
                <a:gd name="T62" fmla="*/ 264828 w 631"/>
                <a:gd name="T63" fmla="*/ 232542 h 592"/>
                <a:gd name="T64" fmla="*/ 273050 w 631"/>
                <a:gd name="T65" fmla="*/ 240866 h 592"/>
                <a:gd name="T66" fmla="*/ 264828 w 631"/>
                <a:gd name="T67" fmla="*/ 250230 h 592"/>
                <a:gd name="T68" fmla="*/ 270021 w 631"/>
                <a:gd name="T69" fmla="*/ 258033 h 592"/>
                <a:gd name="T70" fmla="*/ 270886 w 631"/>
                <a:gd name="T71" fmla="*/ 263756 h 592"/>
                <a:gd name="T72" fmla="*/ 270886 w 631"/>
                <a:gd name="T73" fmla="*/ 268438 h 592"/>
                <a:gd name="T74" fmla="*/ 273050 w 631"/>
                <a:gd name="T75" fmla="*/ 276241 h 592"/>
                <a:gd name="T76" fmla="*/ 270886 w 631"/>
                <a:gd name="T77" fmla="*/ 280403 h 592"/>
                <a:gd name="T78" fmla="*/ 266992 w 631"/>
                <a:gd name="T79" fmla="*/ 285085 h 592"/>
                <a:gd name="T80" fmla="*/ 256174 w 631"/>
                <a:gd name="T81" fmla="*/ 296010 h 592"/>
                <a:gd name="T82" fmla="*/ 241461 w 631"/>
                <a:gd name="T83" fmla="*/ 307975 h 592"/>
                <a:gd name="T84" fmla="*/ 19905 w 631"/>
                <a:gd name="T85" fmla="*/ 90520 h 592"/>
                <a:gd name="T86" fmla="*/ 10818 w 631"/>
                <a:gd name="T87" fmla="*/ 81676 h 592"/>
                <a:gd name="T88" fmla="*/ 4760 w 631"/>
                <a:gd name="T89" fmla="*/ 71791 h 592"/>
                <a:gd name="T90" fmla="*/ 865 w 631"/>
                <a:gd name="T91" fmla="*/ 60867 h 592"/>
                <a:gd name="T92" fmla="*/ 0 w 631"/>
                <a:gd name="T93" fmla="*/ 48381 h 592"/>
                <a:gd name="T94" fmla="*/ 1298 w 631"/>
                <a:gd name="T95" fmla="*/ 46300 h 592"/>
                <a:gd name="T96" fmla="*/ 4327 w 631"/>
                <a:gd name="T97" fmla="*/ 43179 h 592"/>
                <a:gd name="T98" fmla="*/ 7356 w 631"/>
                <a:gd name="T99" fmla="*/ 40058 h 592"/>
                <a:gd name="T100" fmla="*/ 8655 w 631"/>
                <a:gd name="T101" fmla="*/ 35896 h 592"/>
                <a:gd name="T102" fmla="*/ 7789 w 631"/>
                <a:gd name="T103" fmla="*/ 27572 h 592"/>
                <a:gd name="T104" fmla="*/ 5625 w 631"/>
                <a:gd name="T105" fmla="*/ 21850 h 592"/>
                <a:gd name="T106" fmla="*/ 3895 w 631"/>
                <a:gd name="T107" fmla="*/ 17688 h 592"/>
                <a:gd name="T108" fmla="*/ 3029 w 631"/>
                <a:gd name="T109" fmla="*/ 13526 h 592"/>
                <a:gd name="T110" fmla="*/ 5625 w 631"/>
                <a:gd name="T111" fmla="*/ 0 h 592"/>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631" h="592">
                  <a:moveTo>
                    <a:pt x="13" y="0"/>
                  </a:moveTo>
                  <a:lnTo>
                    <a:pt x="21" y="2"/>
                  </a:lnTo>
                  <a:lnTo>
                    <a:pt x="26" y="2"/>
                  </a:lnTo>
                  <a:lnTo>
                    <a:pt x="32" y="4"/>
                  </a:lnTo>
                  <a:lnTo>
                    <a:pt x="40" y="7"/>
                  </a:lnTo>
                  <a:lnTo>
                    <a:pt x="54" y="8"/>
                  </a:lnTo>
                  <a:lnTo>
                    <a:pt x="67" y="9"/>
                  </a:lnTo>
                  <a:lnTo>
                    <a:pt x="78" y="11"/>
                  </a:lnTo>
                  <a:lnTo>
                    <a:pt x="88" y="13"/>
                  </a:lnTo>
                  <a:lnTo>
                    <a:pt x="104" y="19"/>
                  </a:lnTo>
                  <a:lnTo>
                    <a:pt x="118" y="26"/>
                  </a:lnTo>
                  <a:lnTo>
                    <a:pt x="130" y="32"/>
                  </a:lnTo>
                  <a:lnTo>
                    <a:pt x="141" y="38"/>
                  </a:lnTo>
                  <a:lnTo>
                    <a:pt x="146" y="40"/>
                  </a:lnTo>
                  <a:lnTo>
                    <a:pt x="153" y="42"/>
                  </a:lnTo>
                  <a:lnTo>
                    <a:pt x="159" y="43"/>
                  </a:lnTo>
                  <a:lnTo>
                    <a:pt x="166" y="44"/>
                  </a:lnTo>
                  <a:lnTo>
                    <a:pt x="189" y="43"/>
                  </a:lnTo>
                  <a:lnTo>
                    <a:pt x="210" y="41"/>
                  </a:lnTo>
                  <a:lnTo>
                    <a:pt x="227" y="37"/>
                  </a:lnTo>
                  <a:lnTo>
                    <a:pt x="244" y="33"/>
                  </a:lnTo>
                  <a:lnTo>
                    <a:pt x="277" y="23"/>
                  </a:lnTo>
                  <a:lnTo>
                    <a:pt x="312" y="14"/>
                  </a:lnTo>
                  <a:lnTo>
                    <a:pt x="399" y="38"/>
                  </a:lnTo>
                  <a:lnTo>
                    <a:pt x="400" y="53"/>
                  </a:lnTo>
                  <a:lnTo>
                    <a:pt x="403" y="69"/>
                  </a:lnTo>
                  <a:lnTo>
                    <a:pt x="405" y="82"/>
                  </a:lnTo>
                  <a:lnTo>
                    <a:pt x="410" y="95"/>
                  </a:lnTo>
                  <a:lnTo>
                    <a:pt x="413" y="107"/>
                  </a:lnTo>
                  <a:lnTo>
                    <a:pt x="417" y="119"/>
                  </a:lnTo>
                  <a:lnTo>
                    <a:pt x="423" y="130"/>
                  </a:lnTo>
                  <a:lnTo>
                    <a:pt x="427" y="140"/>
                  </a:lnTo>
                  <a:lnTo>
                    <a:pt x="438" y="158"/>
                  </a:lnTo>
                  <a:lnTo>
                    <a:pt x="450" y="175"/>
                  </a:lnTo>
                  <a:lnTo>
                    <a:pt x="461" y="190"/>
                  </a:lnTo>
                  <a:lnTo>
                    <a:pt x="472" y="204"/>
                  </a:lnTo>
                  <a:lnTo>
                    <a:pt x="478" y="213"/>
                  </a:lnTo>
                  <a:lnTo>
                    <a:pt x="482" y="222"/>
                  </a:lnTo>
                  <a:lnTo>
                    <a:pt x="484" y="232"/>
                  </a:lnTo>
                  <a:lnTo>
                    <a:pt x="485" y="240"/>
                  </a:lnTo>
                  <a:lnTo>
                    <a:pt x="488" y="248"/>
                  </a:lnTo>
                  <a:lnTo>
                    <a:pt x="491" y="255"/>
                  </a:lnTo>
                  <a:lnTo>
                    <a:pt x="494" y="258"/>
                  </a:lnTo>
                  <a:lnTo>
                    <a:pt x="496" y="261"/>
                  </a:lnTo>
                  <a:lnTo>
                    <a:pt x="501" y="263"/>
                  </a:lnTo>
                  <a:lnTo>
                    <a:pt x="505" y="266"/>
                  </a:lnTo>
                  <a:lnTo>
                    <a:pt x="508" y="267"/>
                  </a:lnTo>
                  <a:lnTo>
                    <a:pt x="513" y="270"/>
                  </a:lnTo>
                  <a:lnTo>
                    <a:pt x="516" y="274"/>
                  </a:lnTo>
                  <a:lnTo>
                    <a:pt x="519" y="278"/>
                  </a:lnTo>
                  <a:lnTo>
                    <a:pt x="526" y="290"/>
                  </a:lnTo>
                  <a:lnTo>
                    <a:pt x="533" y="303"/>
                  </a:lnTo>
                  <a:lnTo>
                    <a:pt x="537" y="317"/>
                  </a:lnTo>
                  <a:lnTo>
                    <a:pt x="541" y="331"/>
                  </a:lnTo>
                  <a:lnTo>
                    <a:pt x="544" y="346"/>
                  </a:lnTo>
                  <a:lnTo>
                    <a:pt x="545" y="358"/>
                  </a:lnTo>
                  <a:lnTo>
                    <a:pt x="546" y="363"/>
                  </a:lnTo>
                  <a:lnTo>
                    <a:pt x="548" y="368"/>
                  </a:lnTo>
                  <a:lnTo>
                    <a:pt x="551" y="374"/>
                  </a:lnTo>
                  <a:lnTo>
                    <a:pt x="557" y="381"/>
                  </a:lnTo>
                  <a:lnTo>
                    <a:pt x="569" y="398"/>
                  </a:lnTo>
                  <a:lnTo>
                    <a:pt x="583" y="415"/>
                  </a:lnTo>
                  <a:lnTo>
                    <a:pt x="598" y="432"/>
                  </a:lnTo>
                  <a:lnTo>
                    <a:pt x="612" y="447"/>
                  </a:lnTo>
                  <a:lnTo>
                    <a:pt x="624" y="458"/>
                  </a:lnTo>
                  <a:lnTo>
                    <a:pt x="631" y="463"/>
                  </a:lnTo>
                  <a:lnTo>
                    <a:pt x="622" y="472"/>
                  </a:lnTo>
                  <a:lnTo>
                    <a:pt x="612" y="481"/>
                  </a:lnTo>
                  <a:lnTo>
                    <a:pt x="619" y="489"/>
                  </a:lnTo>
                  <a:lnTo>
                    <a:pt x="624" y="496"/>
                  </a:lnTo>
                  <a:lnTo>
                    <a:pt x="626" y="501"/>
                  </a:lnTo>
                  <a:lnTo>
                    <a:pt x="626" y="507"/>
                  </a:lnTo>
                  <a:lnTo>
                    <a:pt x="626" y="511"/>
                  </a:lnTo>
                  <a:lnTo>
                    <a:pt x="626" y="516"/>
                  </a:lnTo>
                  <a:lnTo>
                    <a:pt x="627" y="523"/>
                  </a:lnTo>
                  <a:lnTo>
                    <a:pt x="631" y="531"/>
                  </a:lnTo>
                  <a:lnTo>
                    <a:pt x="629" y="535"/>
                  </a:lnTo>
                  <a:lnTo>
                    <a:pt x="626" y="539"/>
                  </a:lnTo>
                  <a:lnTo>
                    <a:pt x="622" y="543"/>
                  </a:lnTo>
                  <a:lnTo>
                    <a:pt x="617" y="548"/>
                  </a:lnTo>
                  <a:lnTo>
                    <a:pt x="605" y="559"/>
                  </a:lnTo>
                  <a:lnTo>
                    <a:pt x="592" y="569"/>
                  </a:lnTo>
                  <a:lnTo>
                    <a:pt x="569" y="585"/>
                  </a:lnTo>
                  <a:lnTo>
                    <a:pt x="558" y="592"/>
                  </a:lnTo>
                  <a:lnTo>
                    <a:pt x="53" y="592"/>
                  </a:lnTo>
                  <a:lnTo>
                    <a:pt x="46" y="174"/>
                  </a:lnTo>
                  <a:lnTo>
                    <a:pt x="35" y="166"/>
                  </a:lnTo>
                  <a:lnTo>
                    <a:pt x="25" y="157"/>
                  </a:lnTo>
                  <a:lnTo>
                    <a:pt x="18" y="148"/>
                  </a:lnTo>
                  <a:lnTo>
                    <a:pt x="11" y="138"/>
                  </a:lnTo>
                  <a:lnTo>
                    <a:pt x="6" y="128"/>
                  </a:lnTo>
                  <a:lnTo>
                    <a:pt x="2" y="117"/>
                  </a:lnTo>
                  <a:lnTo>
                    <a:pt x="1" y="105"/>
                  </a:lnTo>
                  <a:lnTo>
                    <a:pt x="0" y="93"/>
                  </a:lnTo>
                  <a:lnTo>
                    <a:pt x="1" y="91"/>
                  </a:lnTo>
                  <a:lnTo>
                    <a:pt x="3" y="89"/>
                  </a:lnTo>
                  <a:lnTo>
                    <a:pt x="7" y="86"/>
                  </a:lnTo>
                  <a:lnTo>
                    <a:pt x="10" y="83"/>
                  </a:lnTo>
                  <a:lnTo>
                    <a:pt x="13" y="80"/>
                  </a:lnTo>
                  <a:lnTo>
                    <a:pt x="17" y="77"/>
                  </a:lnTo>
                  <a:lnTo>
                    <a:pt x="19" y="73"/>
                  </a:lnTo>
                  <a:lnTo>
                    <a:pt x="20" y="69"/>
                  </a:lnTo>
                  <a:lnTo>
                    <a:pt x="20" y="61"/>
                  </a:lnTo>
                  <a:lnTo>
                    <a:pt x="18" y="53"/>
                  </a:lnTo>
                  <a:lnTo>
                    <a:pt x="15" y="47"/>
                  </a:lnTo>
                  <a:lnTo>
                    <a:pt x="13" y="42"/>
                  </a:lnTo>
                  <a:lnTo>
                    <a:pt x="11" y="38"/>
                  </a:lnTo>
                  <a:lnTo>
                    <a:pt x="9" y="34"/>
                  </a:lnTo>
                  <a:lnTo>
                    <a:pt x="7" y="30"/>
                  </a:lnTo>
                  <a:lnTo>
                    <a:pt x="7" y="26"/>
                  </a:lnTo>
                  <a:lnTo>
                    <a:pt x="10" y="11"/>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0" name="Freeform 458">
              <a:extLst>
                <a:ext uri="{FF2B5EF4-FFF2-40B4-BE49-F238E27FC236}">
                  <a16:creationId xmlns:a16="http://schemas.microsoft.com/office/drawing/2014/main" id="{7CA0FA9A-F0C2-456B-A338-F50DF3F82A2D}"/>
                </a:ext>
              </a:extLst>
            </p:cNvPr>
            <p:cNvSpPr>
              <a:spLocks/>
            </p:cNvSpPr>
            <p:nvPr>
              <p:custDataLst>
                <p:tags r:id="rId296"/>
              </p:custDataLst>
            </p:nvPr>
          </p:nvSpPr>
          <p:spPr bwMode="auto">
            <a:xfrm>
              <a:off x="4198933" y="2297095"/>
              <a:ext cx="17462" cy="57150"/>
            </a:xfrm>
            <a:custGeom>
              <a:avLst/>
              <a:gdLst>
                <a:gd name="T0" fmla="*/ 3056 w 40"/>
                <a:gd name="T1" fmla="*/ 19050 h 93"/>
                <a:gd name="T2" fmla="*/ 4366 w 40"/>
                <a:gd name="T3" fmla="*/ 18435 h 93"/>
                <a:gd name="T4" fmla="*/ 6112 w 40"/>
                <a:gd name="T5" fmla="*/ 15977 h 93"/>
                <a:gd name="T6" fmla="*/ 8731 w 40"/>
                <a:gd name="T7" fmla="*/ 12290 h 93"/>
                <a:gd name="T8" fmla="*/ 10914 w 40"/>
                <a:gd name="T9" fmla="*/ 9218 h 93"/>
                <a:gd name="T10" fmla="*/ 15279 w 40"/>
                <a:gd name="T11" fmla="*/ 2458 h 93"/>
                <a:gd name="T12" fmla="*/ 17462 w 40"/>
                <a:gd name="T13" fmla="*/ 0 h 93"/>
                <a:gd name="T14" fmla="*/ 16152 w 40"/>
                <a:gd name="T15" fmla="*/ 15977 h 93"/>
                <a:gd name="T16" fmla="*/ 15279 w 40"/>
                <a:gd name="T17" fmla="*/ 32569 h 93"/>
                <a:gd name="T18" fmla="*/ 14843 w 40"/>
                <a:gd name="T19" fmla="*/ 39944 h 93"/>
                <a:gd name="T20" fmla="*/ 14843 w 40"/>
                <a:gd name="T21" fmla="*/ 47318 h 93"/>
                <a:gd name="T22" fmla="*/ 15279 w 40"/>
                <a:gd name="T23" fmla="*/ 50390 h 93"/>
                <a:gd name="T24" fmla="*/ 15716 w 40"/>
                <a:gd name="T25" fmla="*/ 52848 h 93"/>
                <a:gd name="T26" fmla="*/ 16152 w 40"/>
                <a:gd name="T27" fmla="*/ 55306 h 93"/>
                <a:gd name="T28" fmla="*/ 17462 w 40"/>
                <a:gd name="T29" fmla="*/ 57150 h 93"/>
                <a:gd name="T30" fmla="*/ 11350 w 40"/>
                <a:gd name="T31" fmla="*/ 57150 h 93"/>
                <a:gd name="T32" fmla="*/ 5675 w 40"/>
                <a:gd name="T33" fmla="*/ 57150 h 93"/>
                <a:gd name="T34" fmla="*/ 4802 w 40"/>
                <a:gd name="T35" fmla="*/ 56535 h 93"/>
                <a:gd name="T36" fmla="*/ 3492 w 40"/>
                <a:gd name="T37" fmla="*/ 55921 h 93"/>
                <a:gd name="T38" fmla="*/ 2619 w 40"/>
                <a:gd name="T39" fmla="*/ 54077 h 93"/>
                <a:gd name="T40" fmla="*/ 1746 w 40"/>
                <a:gd name="T41" fmla="*/ 52848 h 93"/>
                <a:gd name="T42" fmla="*/ 437 w 40"/>
                <a:gd name="T43" fmla="*/ 49161 h 93"/>
                <a:gd name="T44" fmla="*/ 0 w 40"/>
                <a:gd name="T45" fmla="*/ 44860 h 93"/>
                <a:gd name="T46" fmla="*/ 437 w 40"/>
                <a:gd name="T47" fmla="*/ 39329 h 93"/>
                <a:gd name="T48" fmla="*/ 1310 w 40"/>
                <a:gd name="T49" fmla="*/ 30726 h 93"/>
                <a:gd name="T50" fmla="*/ 2619 w 40"/>
                <a:gd name="T51" fmla="*/ 22737 h 93"/>
                <a:gd name="T52" fmla="*/ 3056 w 40"/>
                <a:gd name="T53" fmla="*/ 19050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1" name="Freeform 459">
              <a:extLst>
                <a:ext uri="{FF2B5EF4-FFF2-40B4-BE49-F238E27FC236}">
                  <a16:creationId xmlns:a16="http://schemas.microsoft.com/office/drawing/2014/main" id="{05A6BFA2-4186-4C58-9C5E-16DB4C5FEFB7}"/>
                </a:ext>
              </a:extLst>
            </p:cNvPr>
            <p:cNvSpPr>
              <a:spLocks/>
            </p:cNvSpPr>
            <p:nvPr>
              <p:custDataLst>
                <p:tags r:id="rId297"/>
              </p:custDataLst>
            </p:nvPr>
          </p:nvSpPr>
          <p:spPr bwMode="auto">
            <a:xfrm>
              <a:off x="3838571" y="2047860"/>
              <a:ext cx="295274" cy="273048"/>
            </a:xfrm>
            <a:custGeom>
              <a:avLst/>
              <a:gdLst>
                <a:gd name="T0" fmla="*/ 66259 w 664"/>
                <a:gd name="T1" fmla="*/ 234570 h 518"/>
                <a:gd name="T2" fmla="*/ 67148 w 664"/>
                <a:gd name="T3" fmla="*/ 227190 h 518"/>
                <a:gd name="T4" fmla="*/ 64925 w 664"/>
                <a:gd name="T5" fmla="*/ 210849 h 518"/>
                <a:gd name="T6" fmla="*/ 67148 w 664"/>
                <a:gd name="T7" fmla="*/ 186075 h 518"/>
                <a:gd name="T8" fmla="*/ 64925 w 664"/>
                <a:gd name="T9" fmla="*/ 157083 h 518"/>
                <a:gd name="T10" fmla="*/ 59589 w 664"/>
                <a:gd name="T11" fmla="*/ 132308 h 518"/>
                <a:gd name="T12" fmla="*/ 48471 w 664"/>
                <a:gd name="T13" fmla="*/ 127037 h 518"/>
                <a:gd name="T14" fmla="*/ 8894 w 664"/>
                <a:gd name="T15" fmla="*/ 101208 h 518"/>
                <a:gd name="T16" fmla="*/ 10673 w 664"/>
                <a:gd name="T17" fmla="*/ 90138 h 518"/>
                <a:gd name="T18" fmla="*/ 16009 w 664"/>
                <a:gd name="T19" fmla="*/ 83813 h 518"/>
                <a:gd name="T20" fmla="*/ 21345 w 664"/>
                <a:gd name="T21" fmla="*/ 78014 h 518"/>
                <a:gd name="T22" fmla="*/ 44469 w 664"/>
                <a:gd name="T23" fmla="*/ 81704 h 518"/>
                <a:gd name="T24" fmla="*/ 55586 w 664"/>
                <a:gd name="T25" fmla="*/ 80123 h 518"/>
                <a:gd name="T26" fmla="*/ 65370 w 664"/>
                <a:gd name="T27" fmla="*/ 82758 h 518"/>
                <a:gd name="T28" fmla="*/ 73374 w 664"/>
                <a:gd name="T29" fmla="*/ 49550 h 518"/>
                <a:gd name="T30" fmla="*/ 82268 w 664"/>
                <a:gd name="T31" fmla="*/ 57456 h 518"/>
                <a:gd name="T32" fmla="*/ 92051 w 664"/>
                <a:gd name="T33" fmla="*/ 57984 h 518"/>
                <a:gd name="T34" fmla="*/ 104947 w 664"/>
                <a:gd name="T35" fmla="*/ 52185 h 518"/>
                <a:gd name="T36" fmla="*/ 117398 w 664"/>
                <a:gd name="T37" fmla="*/ 42170 h 518"/>
                <a:gd name="T38" fmla="*/ 128516 w 664"/>
                <a:gd name="T39" fmla="*/ 30046 h 518"/>
                <a:gd name="T40" fmla="*/ 136965 w 664"/>
                <a:gd name="T41" fmla="*/ 16868 h 518"/>
                <a:gd name="T42" fmla="*/ 141412 w 664"/>
                <a:gd name="T43" fmla="*/ 6325 h 518"/>
                <a:gd name="T44" fmla="*/ 164536 w 664"/>
                <a:gd name="T45" fmla="*/ 2108 h 518"/>
                <a:gd name="T46" fmla="*/ 179655 w 664"/>
                <a:gd name="T47" fmla="*/ 16868 h 518"/>
                <a:gd name="T48" fmla="*/ 203224 w 664"/>
                <a:gd name="T49" fmla="*/ 32155 h 518"/>
                <a:gd name="T50" fmla="*/ 227237 w 664"/>
                <a:gd name="T51" fmla="*/ 47441 h 518"/>
                <a:gd name="T52" fmla="*/ 245470 w 664"/>
                <a:gd name="T53" fmla="*/ 56402 h 518"/>
                <a:gd name="T54" fmla="*/ 257032 w 664"/>
                <a:gd name="T55" fmla="*/ 61146 h 518"/>
                <a:gd name="T56" fmla="*/ 277043 w 664"/>
                <a:gd name="T57" fmla="*/ 63782 h 518"/>
                <a:gd name="T58" fmla="*/ 292607 w 664"/>
                <a:gd name="T59" fmla="*/ 71689 h 518"/>
                <a:gd name="T60" fmla="*/ 286826 w 664"/>
                <a:gd name="T61" fmla="*/ 87503 h 518"/>
                <a:gd name="T62" fmla="*/ 275709 w 664"/>
                <a:gd name="T63" fmla="*/ 124401 h 518"/>
                <a:gd name="T64" fmla="*/ 265925 w 664"/>
                <a:gd name="T65" fmla="*/ 143378 h 518"/>
                <a:gd name="T66" fmla="*/ 260144 w 664"/>
                <a:gd name="T67" fmla="*/ 150757 h 518"/>
                <a:gd name="T68" fmla="*/ 266370 w 664"/>
                <a:gd name="T69" fmla="*/ 157083 h 518"/>
                <a:gd name="T70" fmla="*/ 274819 w 664"/>
                <a:gd name="T71" fmla="*/ 161827 h 518"/>
                <a:gd name="T72" fmla="*/ 277043 w 664"/>
                <a:gd name="T73" fmla="*/ 176059 h 518"/>
                <a:gd name="T74" fmla="*/ 275709 w 664"/>
                <a:gd name="T75" fmla="*/ 182912 h 518"/>
                <a:gd name="T76" fmla="*/ 274819 w 664"/>
                <a:gd name="T77" fmla="*/ 196090 h 518"/>
                <a:gd name="T78" fmla="*/ 276598 w 664"/>
                <a:gd name="T79" fmla="*/ 210322 h 518"/>
                <a:gd name="T80" fmla="*/ 281045 w 664"/>
                <a:gd name="T81" fmla="*/ 222973 h 518"/>
                <a:gd name="T82" fmla="*/ 270372 w 664"/>
                <a:gd name="T83" fmla="*/ 240895 h 518"/>
                <a:gd name="T84" fmla="*/ 253029 w 664"/>
                <a:gd name="T85" fmla="*/ 255128 h 518"/>
                <a:gd name="T86" fmla="*/ 241023 w 664"/>
                <a:gd name="T87" fmla="*/ 257763 h 518"/>
                <a:gd name="T88" fmla="*/ 226348 w 664"/>
                <a:gd name="T89" fmla="*/ 253546 h 518"/>
                <a:gd name="T90" fmla="*/ 212118 w 664"/>
                <a:gd name="T91" fmla="*/ 242477 h 518"/>
                <a:gd name="T92" fmla="*/ 205892 w 664"/>
                <a:gd name="T93" fmla="*/ 240368 h 518"/>
                <a:gd name="T94" fmla="*/ 196998 w 664"/>
                <a:gd name="T95" fmla="*/ 240895 h 518"/>
                <a:gd name="T96" fmla="*/ 188104 w 664"/>
                <a:gd name="T97" fmla="*/ 245112 h 518"/>
                <a:gd name="T98" fmla="*/ 180545 w 664"/>
                <a:gd name="T99" fmla="*/ 251438 h 518"/>
                <a:gd name="T100" fmla="*/ 172540 w 664"/>
                <a:gd name="T101" fmla="*/ 265143 h 518"/>
                <a:gd name="T102" fmla="*/ 171206 w 664"/>
                <a:gd name="T103" fmla="*/ 272523 h 518"/>
                <a:gd name="T104" fmla="*/ 148082 w 664"/>
                <a:gd name="T105" fmla="*/ 271469 h 518"/>
                <a:gd name="T106" fmla="*/ 140967 w 664"/>
                <a:gd name="T107" fmla="*/ 267252 h 518"/>
                <a:gd name="T108" fmla="*/ 136520 w 664"/>
                <a:gd name="T109" fmla="*/ 263562 h 518"/>
                <a:gd name="T110" fmla="*/ 131629 w 664"/>
                <a:gd name="T111" fmla="*/ 267779 h 518"/>
                <a:gd name="T112" fmla="*/ 127626 w 664"/>
                <a:gd name="T113" fmla="*/ 271996 h 518"/>
                <a:gd name="T114" fmla="*/ 119177 w 664"/>
                <a:gd name="T115" fmla="*/ 271996 h 518"/>
                <a:gd name="T116" fmla="*/ 100945 w 664"/>
                <a:gd name="T117" fmla="*/ 266725 h 518"/>
                <a:gd name="T118" fmla="*/ 82268 w 664"/>
                <a:gd name="T119" fmla="*/ 256709 h 518"/>
                <a:gd name="T120" fmla="*/ 71151 w 664"/>
                <a:gd name="T121" fmla="*/ 247221 h 518"/>
                <a:gd name="T122" fmla="*/ 64925 w 664"/>
                <a:gd name="T123" fmla="*/ 237206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2" name="Freeform 460">
              <a:extLst>
                <a:ext uri="{FF2B5EF4-FFF2-40B4-BE49-F238E27FC236}">
                  <a16:creationId xmlns:a16="http://schemas.microsoft.com/office/drawing/2014/main" id="{1BDCF2FB-4907-40BB-9B36-2149142A3777}"/>
                </a:ext>
              </a:extLst>
            </p:cNvPr>
            <p:cNvSpPr>
              <a:spLocks/>
            </p:cNvSpPr>
            <p:nvPr>
              <p:custDataLst>
                <p:tags r:id="rId298"/>
              </p:custDataLst>
            </p:nvPr>
          </p:nvSpPr>
          <p:spPr bwMode="auto">
            <a:xfrm>
              <a:off x="4919657" y="2282808"/>
              <a:ext cx="150812" cy="82549"/>
            </a:xfrm>
            <a:custGeom>
              <a:avLst/>
              <a:gdLst>
                <a:gd name="T0" fmla="*/ 142243 w 352"/>
                <a:gd name="T1" fmla="*/ 49098 h 153"/>
                <a:gd name="T2" fmla="*/ 150812 w 352"/>
                <a:gd name="T3" fmla="*/ 82550 h 153"/>
                <a:gd name="T4" fmla="*/ 139672 w 352"/>
                <a:gd name="T5" fmla="*/ 76075 h 153"/>
                <a:gd name="T6" fmla="*/ 128105 w 352"/>
                <a:gd name="T7" fmla="*/ 69601 h 153"/>
                <a:gd name="T8" fmla="*/ 113966 w 352"/>
                <a:gd name="T9" fmla="*/ 76075 h 153"/>
                <a:gd name="T10" fmla="*/ 99399 w 352"/>
                <a:gd name="T11" fmla="*/ 76075 h 153"/>
                <a:gd name="T12" fmla="*/ 97257 w 352"/>
                <a:gd name="T13" fmla="*/ 72838 h 153"/>
                <a:gd name="T14" fmla="*/ 96828 w 352"/>
                <a:gd name="T15" fmla="*/ 72838 h 153"/>
                <a:gd name="T16" fmla="*/ 93829 w 352"/>
                <a:gd name="T17" fmla="*/ 69601 h 153"/>
                <a:gd name="T18" fmla="*/ 91258 w 352"/>
                <a:gd name="T19" fmla="*/ 67443 h 153"/>
                <a:gd name="T20" fmla="*/ 87831 w 352"/>
                <a:gd name="T21" fmla="*/ 65285 h 153"/>
                <a:gd name="T22" fmla="*/ 84403 w 352"/>
                <a:gd name="T23" fmla="*/ 63666 h 153"/>
                <a:gd name="T24" fmla="*/ 77548 w 352"/>
                <a:gd name="T25" fmla="*/ 60968 h 153"/>
                <a:gd name="T26" fmla="*/ 69836 w 352"/>
                <a:gd name="T27" fmla="*/ 59350 h 153"/>
                <a:gd name="T28" fmla="*/ 53984 w 352"/>
                <a:gd name="T29" fmla="*/ 57731 h 153"/>
                <a:gd name="T30" fmla="*/ 36846 w 352"/>
                <a:gd name="T31" fmla="*/ 56112 h 153"/>
                <a:gd name="T32" fmla="*/ 36418 w 352"/>
                <a:gd name="T33" fmla="*/ 50717 h 153"/>
                <a:gd name="T34" fmla="*/ 35132 w 352"/>
                <a:gd name="T35" fmla="*/ 45322 h 153"/>
                <a:gd name="T36" fmla="*/ 34275 w 352"/>
                <a:gd name="T37" fmla="*/ 40466 h 153"/>
                <a:gd name="T38" fmla="*/ 32133 w 352"/>
                <a:gd name="T39" fmla="*/ 36149 h 153"/>
                <a:gd name="T40" fmla="*/ 30419 w 352"/>
                <a:gd name="T41" fmla="*/ 31833 h 153"/>
                <a:gd name="T42" fmla="*/ 28706 w 352"/>
                <a:gd name="T43" fmla="*/ 28056 h 153"/>
                <a:gd name="T44" fmla="*/ 26135 w 352"/>
                <a:gd name="T45" fmla="*/ 23740 h 153"/>
                <a:gd name="T46" fmla="*/ 23993 w 352"/>
                <a:gd name="T47" fmla="*/ 19963 h 153"/>
                <a:gd name="T48" fmla="*/ 18852 w 352"/>
                <a:gd name="T49" fmla="*/ 14028 h 153"/>
                <a:gd name="T50" fmla="*/ 12425 w 352"/>
                <a:gd name="T51" fmla="*/ 8633 h 153"/>
                <a:gd name="T52" fmla="*/ 6427 w 352"/>
                <a:gd name="T53" fmla="*/ 3777 h 153"/>
                <a:gd name="T54" fmla="*/ 0 w 352"/>
                <a:gd name="T55" fmla="*/ 0 h 153"/>
                <a:gd name="T56" fmla="*/ 2999 w 352"/>
                <a:gd name="T57" fmla="*/ 0 h 153"/>
                <a:gd name="T58" fmla="*/ 25707 w 352"/>
                <a:gd name="T59" fmla="*/ 9712 h 153"/>
                <a:gd name="T60" fmla="*/ 45415 w 352"/>
                <a:gd name="T61" fmla="*/ 16186 h 153"/>
                <a:gd name="T62" fmla="*/ 57411 w 352"/>
                <a:gd name="T63" fmla="*/ 9712 h 153"/>
                <a:gd name="T64" fmla="*/ 77120 w 352"/>
                <a:gd name="T65" fmla="*/ 19424 h 153"/>
                <a:gd name="T66" fmla="*/ 88259 w 352"/>
                <a:gd name="T67" fmla="*/ 29675 h 153"/>
                <a:gd name="T68" fmla="*/ 105397 w 352"/>
                <a:gd name="T69" fmla="*/ 26438 h 153"/>
                <a:gd name="T70" fmla="*/ 122535 w 352"/>
                <a:gd name="T71" fmla="*/ 32912 h 153"/>
                <a:gd name="T72" fmla="*/ 134103 w 352"/>
                <a:gd name="T73" fmla="*/ 42624 h 153"/>
                <a:gd name="T74" fmla="*/ 142243 w 352"/>
                <a:gd name="T75" fmla="*/ 49098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3" name="Freeform 461">
              <a:extLst>
                <a:ext uri="{FF2B5EF4-FFF2-40B4-BE49-F238E27FC236}">
                  <a16:creationId xmlns:a16="http://schemas.microsoft.com/office/drawing/2014/main" id="{8194A7BA-623D-480B-B70A-A2D319DAA30B}"/>
                </a:ext>
              </a:extLst>
            </p:cNvPr>
            <p:cNvSpPr>
              <a:spLocks/>
            </p:cNvSpPr>
            <p:nvPr>
              <p:custDataLst>
                <p:tags r:id="rId299"/>
              </p:custDataLst>
            </p:nvPr>
          </p:nvSpPr>
          <p:spPr bwMode="auto">
            <a:xfrm>
              <a:off x="4468808" y="2343132"/>
              <a:ext cx="147637" cy="173037"/>
            </a:xfrm>
            <a:custGeom>
              <a:avLst/>
              <a:gdLst>
                <a:gd name="T0" fmla="*/ 102588 w 331"/>
                <a:gd name="T1" fmla="*/ 21167 h 327"/>
                <a:gd name="T2" fmla="*/ 86084 w 331"/>
                <a:gd name="T3" fmla="*/ 29633 h 327"/>
                <a:gd name="T4" fmla="*/ 81178 w 331"/>
                <a:gd name="T5" fmla="*/ 35454 h 327"/>
                <a:gd name="T6" fmla="*/ 80732 w 331"/>
                <a:gd name="T7" fmla="*/ 42863 h 327"/>
                <a:gd name="T8" fmla="*/ 82070 w 331"/>
                <a:gd name="T9" fmla="*/ 49742 h 327"/>
                <a:gd name="T10" fmla="*/ 78948 w 331"/>
                <a:gd name="T11" fmla="*/ 53975 h 327"/>
                <a:gd name="T12" fmla="*/ 74934 w 331"/>
                <a:gd name="T13" fmla="*/ 55563 h 327"/>
                <a:gd name="T14" fmla="*/ 71365 w 331"/>
                <a:gd name="T15" fmla="*/ 51858 h 327"/>
                <a:gd name="T16" fmla="*/ 66459 w 331"/>
                <a:gd name="T17" fmla="*/ 44979 h 327"/>
                <a:gd name="T18" fmla="*/ 56200 w 331"/>
                <a:gd name="T19" fmla="*/ 39158 h 327"/>
                <a:gd name="T20" fmla="*/ 56646 w 331"/>
                <a:gd name="T21" fmla="*/ 50800 h 327"/>
                <a:gd name="T22" fmla="*/ 61999 w 331"/>
                <a:gd name="T23" fmla="*/ 61384 h 327"/>
                <a:gd name="T24" fmla="*/ 68689 w 331"/>
                <a:gd name="T25" fmla="*/ 68263 h 327"/>
                <a:gd name="T26" fmla="*/ 70919 w 331"/>
                <a:gd name="T27" fmla="*/ 68792 h 327"/>
                <a:gd name="T28" fmla="*/ 70919 w 331"/>
                <a:gd name="T29" fmla="*/ 93663 h 327"/>
                <a:gd name="T30" fmla="*/ 70919 w 331"/>
                <a:gd name="T31" fmla="*/ 125413 h 327"/>
                <a:gd name="T32" fmla="*/ 69581 w 331"/>
                <a:gd name="T33" fmla="*/ 132821 h 327"/>
                <a:gd name="T34" fmla="*/ 65567 w 331"/>
                <a:gd name="T35" fmla="*/ 137055 h 327"/>
                <a:gd name="T36" fmla="*/ 64675 w 331"/>
                <a:gd name="T37" fmla="*/ 139700 h 327"/>
                <a:gd name="T38" fmla="*/ 72257 w 331"/>
                <a:gd name="T39" fmla="*/ 146050 h 327"/>
                <a:gd name="T40" fmla="*/ 74488 w 331"/>
                <a:gd name="T41" fmla="*/ 151342 h 327"/>
                <a:gd name="T42" fmla="*/ 69135 w 331"/>
                <a:gd name="T43" fmla="*/ 156105 h 327"/>
                <a:gd name="T44" fmla="*/ 62445 w 331"/>
                <a:gd name="T45" fmla="*/ 157163 h 327"/>
                <a:gd name="T46" fmla="*/ 57984 w 331"/>
                <a:gd name="T47" fmla="*/ 162455 h 327"/>
                <a:gd name="T48" fmla="*/ 56200 w 331"/>
                <a:gd name="T49" fmla="*/ 169863 h 327"/>
                <a:gd name="T50" fmla="*/ 53970 w 331"/>
                <a:gd name="T51" fmla="*/ 158750 h 327"/>
                <a:gd name="T52" fmla="*/ 55308 w 331"/>
                <a:gd name="T53" fmla="*/ 152400 h 327"/>
                <a:gd name="T54" fmla="*/ 48618 w 331"/>
                <a:gd name="T55" fmla="*/ 151342 h 327"/>
                <a:gd name="T56" fmla="*/ 41481 w 331"/>
                <a:gd name="T57" fmla="*/ 154517 h 327"/>
                <a:gd name="T58" fmla="*/ 35237 w 331"/>
                <a:gd name="T59" fmla="*/ 156634 h 327"/>
                <a:gd name="T60" fmla="*/ 32560 w 331"/>
                <a:gd name="T61" fmla="*/ 128059 h 327"/>
                <a:gd name="T62" fmla="*/ 35237 w 331"/>
                <a:gd name="T63" fmla="*/ 114300 h 327"/>
                <a:gd name="T64" fmla="*/ 21410 w 331"/>
                <a:gd name="T65" fmla="*/ 111654 h 327"/>
                <a:gd name="T66" fmla="*/ 12489 w 331"/>
                <a:gd name="T67" fmla="*/ 104775 h 327"/>
                <a:gd name="T68" fmla="*/ 5798 w 331"/>
                <a:gd name="T69" fmla="*/ 91546 h 327"/>
                <a:gd name="T70" fmla="*/ 0 w 331"/>
                <a:gd name="T71" fmla="*/ 68792 h 327"/>
                <a:gd name="T72" fmla="*/ 12489 w 331"/>
                <a:gd name="T73" fmla="*/ 58738 h 327"/>
                <a:gd name="T74" fmla="*/ 22302 w 331"/>
                <a:gd name="T75" fmla="*/ 42863 h 327"/>
                <a:gd name="T76" fmla="*/ 32560 w 331"/>
                <a:gd name="T77" fmla="*/ 29104 h 327"/>
                <a:gd name="T78" fmla="*/ 51294 w 331"/>
                <a:gd name="T79" fmla="*/ 21696 h 327"/>
                <a:gd name="T80" fmla="*/ 80286 w 331"/>
                <a:gd name="T81" fmla="*/ 7408 h 327"/>
                <a:gd name="T82" fmla="*/ 97235 w 331"/>
                <a:gd name="T83" fmla="*/ 3704 h 327"/>
                <a:gd name="T84" fmla="*/ 111062 w 331"/>
                <a:gd name="T85" fmla="*/ 7408 h 327"/>
                <a:gd name="T86" fmla="*/ 120875 w 331"/>
                <a:gd name="T87" fmla="*/ 14288 h 327"/>
                <a:gd name="T88" fmla="*/ 130242 w 331"/>
                <a:gd name="T89" fmla="*/ 15875 h 327"/>
                <a:gd name="T90" fmla="*/ 136932 w 331"/>
                <a:gd name="T91" fmla="*/ 10583 h 327"/>
                <a:gd name="T92" fmla="*/ 145853 w 331"/>
                <a:gd name="T93" fmla="*/ 3175 h 327"/>
                <a:gd name="T94" fmla="*/ 147191 w 331"/>
                <a:gd name="T95" fmla="*/ 16933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4" name="Freeform 462">
              <a:extLst>
                <a:ext uri="{FF2B5EF4-FFF2-40B4-BE49-F238E27FC236}">
                  <a16:creationId xmlns:a16="http://schemas.microsoft.com/office/drawing/2014/main" id="{FEA0DB21-CA9E-4A40-9ECD-904DA14FB4C8}"/>
                </a:ext>
              </a:extLst>
            </p:cNvPr>
            <p:cNvSpPr>
              <a:spLocks/>
            </p:cNvSpPr>
            <p:nvPr>
              <p:custDataLst>
                <p:tags r:id="rId300"/>
              </p:custDataLst>
            </p:nvPr>
          </p:nvSpPr>
          <p:spPr bwMode="auto">
            <a:xfrm>
              <a:off x="4552945" y="2535218"/>
              <a:ext cx="69850" cy="57150"/>
            </a:xfrm>
            <a:custGeom>
              <a:avLst/>
              <a:gdLst>
                <a:gd name="T0" fmla="*/ 0 w 153"/>
                <a:gd name="T1" fmla="*/ 0 h 49"/>
                <a:gd name="T2" fmla="*/ 20088 w 153"/>
                <a:gd name="T3" fmla="*/ 2333 h 49"/>
                <a:gd name="T4" fmla="*/ 37892 w 153"/>
                <a:gd name="T5" fmla="*/ 6998 h 49"/>
                <a:gd name="T6" fmla="*/ 47023 w 153"/>
                <a:gd name="T7" fmla="*/ 9331 h 49"/>
                <a:gd name="T8" fmla="*/ 55241 w 153"/>
                <a:gd name="T9" fmla="*/ 8164 h 49"/>
                <a:gd name="T10" fmla="*/ 59350 w 153"/>
                <a:gd name="T11" fmla="*/ 6998 h 49"/>
                <a:gd name="T12" fmla="*/ 62545 w 153"/>
                <a:gd name="T13" fmla="*/ 5832 h 49"/>
                <a:gd name="T14" fmla="*/ 66198 w 153"/>
                <a:gd name="T15" fmla="*/ 3499 h 49"/>
                <a:gd name="T16" fmla="*/ 69850 w 153"/>
                <a:gd name="T17" fmla="*/ 0 h 49"/>
                <a:gd name="T18" fmla="*/ 69850 w 153"/>
                <a:gd name="T19" fmla="*/ 10497 h 49"/>
                <a:gd name="T20" fmla="*/ 69850 w 153"/>
                <a:gd name="T21" fmla="*/ 29158 h 49"/>
                <a:gd name="T22" fmla="*/ 65285 w 153"/>
                <a:gd name="T23" fmla="*/ 36156 h 49"/>
                <a:gd name="T24" fmla="*/ 60719 w 153"/>
                <a:gd name="T25" fmla="*/ 41988 h 49"/>
                <a:gd name="T26" fmla="*/ 56610 w 153"/>
                <a:gd name="T27" fmla="*/ 46653 h 49"/>
                <a:gd name="T28" fmla="*/ 52045 w 153"/>
                <a:gd name="T29" fmla="*/ 51318 h 49"/>
                <a:gd name="T30" fmla="*/ 48393 w 153"/>
                <a:gd name="T31" fmla="*/ 53651 h 49"/>
                <a:gd name="T32" fmla="*/ 45197 w 153"/>
                <a:gd name="T33" fmla="*/ 55984 h 49"/>
                <a:gd name="T34" fmla="*/ 42001 w 153"/>
                <a:gd name="T35" fmla="*/ 57150 h 49"/>
                <a:gd name="T36" fmla="*/ 39719 w 153"/>
                <a:gd name="T37" fmla="*/ 57150 h 49"/>
                <a:gd name="T38" fmla="*/ 32871 w 153"/>
                <a:gd name="T39" fmla="*/ 55984 h 49"/>
                <a:gd name="T40" fmla="*/ 27392 w 153"/>
                <a:gd name="T41" fmla="*/ 53651 h 49"/>
                <a:gd name="T42" fmla="*/ 22827 w 153"/>
                <a:gd name="T43" fmla="*/ 50152 h 49"/>
                <a:gd name="T44" fmla="*/ 18718 w 153"/>
                <a:gd name="T45" fmla="*/ 44320 h 49"/>
                <a:gd name="T46" fmla="*/ 10044 w 153"/>
                <a:gd name="T47" fmla="*/ 33823 h 49"/>
                <a:gd name="T48" fmla="*/ 0 w 153"/>
                <a:gd name="T49" fmla="*/ 22160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5" name="Freeform 463">
              <a:extLst>
                <a:ext uri="{FF2B5EF4-FFF2-40B4-BE49-F238E27FC236}">
                  <a16:creationId xmlns:a16="http://schemas.microsoft.com/office/drawing/2014/main" id="{0F26AFA7-3BCB-4DCD-BF63-522F5BADDAA9}"/>
                </a:ext>
              </a:extLst>
            </p:cNvPr>
            <p:cNvSpPr>
              <a:spLocks/>
            </p:cNvSpPr>
            <p:nvPr>
              <p:custDataLst>
                <p:tags r:id="rId301"/>
              </p:custDataLst>
            </p:nvPr>
          </p:nvSpPr>
          <p:spPr bwMode="auto">
            <a:xfrm>
              <a:off x="3632196" y="3267049"/>
              <a:ext cx="187325" cy="158749"/>
            </a:xfrm>
            <a:custGeom>
              <a:avLst/>
              <a:gdLst>
                <a:gd name="T0" fmla="*/ 85308 w 426"/>
                <a:gd name="T1" fmla="*/ 8495 h 299"/>
                <a:gd name="T2" fmla="*/ 94982 w 426"/>
                <a:gd name="T3" fmla="*/ 11681 h 299"/>
                <a:gd name="T4" fmla="*/ 101138 w 426"/>
                <a:gd name="T5" fmla="*/ 15397 h 299"/>
                <a:gd name="T6" fmla="*/ 111252 w 426"/>
                <a:gd name="T7" fmla="*/ 18583 h 299"/>
                <a:gd name="T8" fmla="*/ 122685 w 426"/>
                <a:gd name="T9" fmla="*/ 19645 h 299"/>
                <a:gd name="T10" fmla="*/ 131919 w 426"/>
                <a:gd name="T11" fmla="*/ 19645 h 299"/>
                <a:gd name="T12" fmla="*/ 140274 w 426"/>
                <a:gd name="T13" fmla="*/ 18052 h 299"/>
                <a:gd name="T14" fmla="*/ 144671 w 426"/>
                <a:gd name="T15" fmla="*/ 15397 h 299"/>
                <a:gd name="T16" fmla="*/ 160501 w 426"/>
                <a:gd name="T17" fmla="*/ 13273 h 299"/>
                <a:gd name="T18" fmla="*/ 163580 w 426"/>
                <a:gd name="T19" fmla="*/ 26016 h 299"/>
                <a:gd name="T20" fmla="*/ 168417 w 426"/>
                <a:gd name="T21" fmla="*/ 39289 h 299"/>
                <a:gd name="T22" fmla="*/ 171934 w 426"/>
                <a:gd name="T23" fmla="*/ 44599 h 299"/>
                <a:gd name="T24" fmla="*/ 175892 w 426"/>
                <a:gd name="T25" fmla="*/ 48846 h 299"/>
                <a:gd name="T26" fmla="*/ 181169 w 426"/>
                <a:gd name="T27" fmla="*/ 51501 h 299"/>
                <a:gd name="T28" fmla="*/ 186885 w 426"/>
                <a:gd name="T29" fmla="*/ 52563 h 299"/>
                <a:gd name="T30" fmla="*/ 186885 w 426"/>
                <a:gd name="T31" fmla="*/ 63712 h 299"/>
                <a:gd name="T32" fmla="*/ 186885 w 426"/>
                <a:gd name="T33" fmla="*/ 75393 h 299"/>
                <a:gd name="T34" fmla="*/ 182928 w 426"/>
                <a:gd name="T35" fmla="*/ 83888 h 299"/>
                <a:gd name="T36" fmla="*/ 181169 w 426"/>
                <a:gd name="T37" fmla="*/ 90259 h 299"/>
                <a:gd name="T38" fmla="*/ 181169 w 426"/>
                <a:gd name="T39" fmla="*/ 96099 h 299"/>
                <a:gd name="T40" fmla="*/ 182488 w 426"/>
                <a:gd name="T41" fmla="*/ 100878 h 299"/>
                <a:gd name="T42" fmla="*/ 186006 w 426"/>
                <a:gd name="T43" fmla="*/ 112028 h 299"/>
                <a:gd name="T44" fmla="*/ 187325 w 426"/>
                <a:gd name="T45" fmla="*/ 119992 h 299"/>
                <a:gd name="T46" fmla="*/ 186885 w 426"/>
                <a:gd name="T47" fmla="*/ 131141 h 299"/>
                <a:gd name="T48" fmla="*/ 187325 w 426"/>
                <a:gd name="T49" fmla="*/ 145477 h 299"/>
                <a:gd name="T50" fmla="*/ 186006 w 426"/>
                <a:gd name="T51" fmla="*/ 151317 h 299"/>
                <a:gd name="T52" fmla="*/ 181169 w 426"/>
                <a:gd name="T53" fmla="*/ 157157 h 299"/>
                <a:gd name="T54" fmla="*/ 167097 w 426"/>
                <a:gd name="T55" fmla="*/ 158219 h 299"/>
                <a:gd name="T56" fmla="*/ 162700 w 426"/>
                <a:gd name="T57" fmla="*/ 158750 h 299"/>
                <a:gd name="T58" fmla="*/ 158303 w 426"/>
                <a:gd name="T59" fmla="*/ 157157 h 299"/>
                <a:gd name="T60" fmla="*/ 154345 w 426"/>
                <a:gd name="T61" fmla="*/ 153972 h 299"/>
                <a:gd name="T62" fmla="*/ 148629 w 426"/>
                <a:gd name="T63" fmla="*/ 147600 h 299"/>
                <a:gd name="T64" fmla="*/ 142473 w 426"/>
                <a:gd name="T65" fmla="*/ 138574 h 299"/>
                <a:gd name="T66" fmla="*/ 136756 w 426"/>
                <a:gd name="T67" fmla="*/ 134327 h 299"/>
                <a:gd name="T68" fmla="*/ 129281 w 426"/>
                <a:gd name="T69" fmla="*/ 133265 h 299"/>
                <a:gd name="T70" fmla="*/ 122245 w 426"/>
                <a:gd name="T71" fmla="*/ 123177 h 299"/>
                <a:gd name="T72" fmla="*/ 120486 w 426"/>
                <a:gd name="T73" fmla="*/ 111497 h 299"/>
                <a:gd name="T74" fmla="*/ 118287 w 426"/>
                <a:gd name="T75" fmla="*/ 104594 h 299"/>
                <a:gd name="T76" fmla="*/ 114770 w 426"/>
                <a:gd name="T77" fmla="*/ 97692 h 299"/>
                <a:gd name="T78" fmla="*/ 110372 w 426"/>
                <a:gd name="T79" fmla="*/ 91852 h 299"/>
                <a:gd name="T80" fmla="*/ 104656 w 426"/>
                <a:gd name="T81" fmla="*/ 87605 h 299"/>
                <a:gd name="T82" fmla="*/ 97620 w 426"/>
                <a:gd name="T83" fmla="*/ 85481 h 299"/>
                <a:gd name="T84" fmla="*/ 89705 w 426"/>
                <a:gd name="T85" fmla="*/ 85481 h 299"/>
                <a:gd name="T86" fmla="*/ 82669 w 426"/>
                <a:gd name="T87" fmla="*/ 86543 h 299"/>
                <a:gd name="T88" fmla="*/ 76073 w 426"/>
                <a:gd name="T89" fmla="*/ 89197 h 299"/>
                <a:gd name="T90" fmla="*/ 70357 w 426"/>
                <a:gd name="T91" fmla="*/ 93445 h 299"/>
                <a:gd name="T92" fmla="*/ 62002 w 426"/>
                <a:gd name="T93" fmla="*/ 101409 h 299"/>
                <a:gd name="T94" fmla="*/ 51888 w 426"/>
                <a:gd name="T95" fmla="*/ 114151 h 299"/>
                <a:gd name="T96" fmla="*/ 46172 w 426"/>
                <a:gd name="T97" fmla="*/ 115744 h 299"/>
                <a:gd name="T98" fmla="*/ 43973 w 426"/>
                <a:gd name="T99" fmla="*/ 106718 h 299"/>
                <a:gd name="T100" fmla="*/ 39576 w 426"/>
                <a:gd name="T101" fmla="*/ 98754 h 299"/>
                <a:gd name="T102" fmla="*/ 33419 w 426"/>
                <a:gd name="T103" fmla="*/ 90790 h 299"/>
                <a:gd name="T104" fmla="*/ 21987 w 426"/>
                <a:gd name="T105" fmla="*/ 81233 h 299"/>
                <a:gd name="T106" fmla="*/ 10554 w 426"/>
                <a:gd name="T107" fmla="*/ 71145 h 299"/>
                <a:gd name="T108" fmla="*/ 3518 w 426"/>
                <a:gd name="T109" fmla="*/ 63181 h 299"/>
                <a:gd name="T110" fmla="*/ 6596 w 426"/>
                <a:gd name="T111" fmla="*/ 53625 h 299"/>
                <a:gd name="T112" fmla="*/ 20228 w 426"/>
                <a:gd name="T113" fmla="*/ 40882 h 299"/>
                <a:gd name="T114" fmla="*/ 32980 w 426"/>
                <a:gd name="T115" fmla="*/ 25485 h 299"/>
                <a:gd name="T116" fmla="*/ 43094 w 426"/>
                <a:gd name="T117" fmla="*/ 9026 h 299"/>
                <a:gd name="T118" fmla="*/ 78712 w 426"/>
                <a:gd name="T119" fmla="*/ 6902 h 29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426" h="299">
                  <a:moveTo>
                    <a:pt x="179" y="13"/>
                  </a:moveTo>
                  <a:lnTo>
                    <a:pt x="194" y="16"/>
                  </a:lnTo>
                  <a:lnTo>
                    <a:pt x="207" y="19"/>
                  </a:lnTo>
                  <a:lnTo>
                    <a:pt x="216" y="22"/>
                  </a:lnTo>
                  <a:lnTo>
                    <a:pt x="223" y="24"/>
                  </a:lnTo>
                  <a:lnTo>
                    <a:pt x="230" y="29"/>
                  </a:lnTo>
                  <a:lnTo>
                    <a:pt x="233" y="31"/>
                  </a:lnTo>
                  <a:lnTo>
                    <a:pt x="253" y="35"/>
                  </a:lnTo>
                  <a:lnTo>
                    <a:pt x="269" y="37"/>
                  </a:lnTo>
                  <a:lnTo>
                    <a:pt x="279" y="37"/>
                  </a:lnTo>
                  <a:lnTo>
                    <a:pt x="285" y="37"/>
                  </a:lnTo>
                  <a:lnTo>
                    <a:pt x="300" y="37"/>
                  </a:lnTo>
                  <a:lnTo>
                    <a:pt x="314" y="36"/>
                  </a:lnTo>
                  <a:lnTo>
                    <a:pt x="319" y="34"/>
                  </a:lnTo>
                  <a:lnTo>
                    <a:pt x="325" y="32"/>
                  </a:lnTo>
                  <a:lnTo>
                    <a:pt x="329" y="29"/>
                  </a:lnTo>
                  <a:lnTo>
                    <a:pt x="331" y="25"/>
                  </a:lnTo>
                  <a:lnTo>
                    <a:pt x="365" y="25"/>
                  </a:lnTo>
                  <a:lnTo>
                    <a:pt x="368" y="37"/>
                  </a:lnTo>
                  <a:lnTo>
                    <a:pt x="372" y="49"/>
                  </a:lnTo>
                  <a:lnTo>
                    <a:pt x="376" y="62"/>
                  </a:lnTo>
                  <a:lnTo>
                    <a:pt x="383" y="74"/>
                  </a:lnTo>
                  <a:lnTo>
                    <a:pt x="386" y="79"/>
                  </a:lnTo>
                  <a:lnTo>
                    <a:pt x="391" y="84"/>
                  </a:lnTo>
                  <a:lnTo>
                    <a:pt x="395" y="88"/>
                  </a:lnTo>
                  <a:lnTo>
                    <a:pt x="400" y="92"/>
                  </a:lnTo>
                  <a:lnTo>
                    <a:pt x="405" y="95"/>
                  </a:lnTo>
                  <a:lnTo>
                    <a:pt x="412" y="97"/>
                  </a:lnTo>
                  <a:lnTo>
                    <a:pt x="418" y="98"/>
                  </a:lnTo>
                  <a:lnTo>
                    <a:pt x="425" y="99"/>
                  </a:lnTo>
                  <a:lnTo>
                    <a:pt x="425" y="111"/>
                  </a:lnTo>
                  <a:lnTo>
                    <a:pt x="425" y="120"/>
                  </a:lnTo>
                  <a:lnTo>
                    <a:pt x="425" y="130"/>
                  </a:lnTo>
                  <a:lnTo>
                    <a:pt x="425" y="142"/>
                  </a:lnTo>
                  <a:lnTo>
                    <a:pt x="419" y="151"/>
                  </a:lnTo>
                  <a:lnTo>
                    <a:pt x="416" y="158"/>
                  </a:lnTo>
                  <a:lnTo>
                    <a:pt x="413" y="164"/>
                  </a:lnTo>
                  <a:lnTo>
                    <a:pt x="412" y="170"/>
                  </a:lnTo>
                  <a:lnTo>
                    <a:pt x="412" y="175"/>
                  </a:lnTo>
                  <a:lnTo>
                    <a:pt x="412" y="181"/>
                  </a:lnTo>
                  <a:lnTo>
                    <a:pt x="414" y="186"/>
                  </a:lnTo>
                  <a:lnTo>
                    <a:pt x="415" y="190"/>
                  </a:lnTo>
                  <a:lnTo>
                    <a:pt x="419" y="200"/>
                  </a:lnTo>
                  <a:lnTo>
                    <a:pt x="423" y="211"/>
                  </a:lnTo>
                  <a:lnTo>
                    <a:pt x="425" y="218"/>
                  </a:lnTo>
                  <a:lnTo>
                    <a:pt x="426" y="226"/>
                  </a:lnTo>
                  <a:lnTo>
                    <a:pt x="426" y="236"/>
                  </a:lnTo>
                  <a:lnTo>
                    <a:pt x="425" y="247"/>
                  </a:lnTo>
                  <a:lnTo>
                    <a:pt x="426" y="261"/>
                  </a:lnTo>
                  <a:lnTo>
                    <a:pt x="426" y="274"/>
                  </a:lnTo>
                  <a:lnTo>
                    <a:pt x="425" y="280"/>
                  </a:lnTo>
                  <a:lnTo>
                    <a:pt x="423" y="285"/>
                  </a:lnTo>
                  <a:lnTo>
                    <a:pt x="418" y="292"/>
                  </a:lnTo>
                  <a:lnTo>
                    <a:pt x="412" y="296"/>
                  </a:lnTo>
                  <a:lnTo>
                    <a:pt x="385" y="296"/>
                  </a:lnTo>
                  <a:lnTo>
                    <a:pt x="380" y="298"/>
                  </a:lnTo>
                  <a:lnTo>
                    <a:pt x="375" y="299"/>
                  </a:lnTo>
                  <a:lnTo>
                    <a:pt x="370" y="299"/>
                  </a:lnTo>
                  <a:lnTo>
                    <a:pt x="365" y="297"/>
                  </a:lnTo>
                  <a:lnTo>
                    <a:pt x="360" y="296"/>
                  </a:lnTo>
                  <a:lnTo>
                    <a:pt x="356" y="293"/>
                  </a:lnTo>
                  <a:lnTo>
                    <a:pt x="351" y="290"/>
                  </a:lnTo>
                  <a:lnTo>
                    <a:pt x="347" y="286"/>
                  </a:lnTo>
                  <a:lnTo>
                    <a:pt x="338" y="278"/>
                  </a:lnTo>
                  <a:lnTo>
                    <a:pt x="330" y="269"/>
                  </a:lnTo>
                  <a:lnTo>
                    <a:pt x="324" y="261"/>
                  </a:lnTo>
                  <a:lnTo>
                    <a:pt x="318" y="253"/>
                  </a:lnTo>
                  <a:lnTo>
                    <a:pt x="311" y="253"/>
                  </a:lnTo>
                  <a:lnTo>
                    <a:pt x="304" y="252"/>
                  </a:lnTo>
                  <a:lnTo>
                    <a:pt x="294" y="251"/>
                  </a:lnTo>
                  <a:lnTo>
                    <a:pt x="279" y="247"/>
                  </a:lnTo>
                  <a:lnTo>
                    <a:pt x="278" y="232"/>
                  </a:lnTo>
                  <a:lnTo>
                    <a:pt x="275" y="217"/>
                  </a:lnTo>
                  <a:lnTo>
                    <a:pt x="274" y="210"/>
                  </a:lnTo>
                  <a:lnTo>
                    <a:pt x="272" y="203"/>
                  </a:lnTo>
                  <a:lnTo>
                    <a:pt x="269" y="197"/>
                  </a:lnTo>
                  <a:lnTo>
                    <a:pt x="266" y="190"/>
                  </a:lnTo>
                  <a:lnTo>
                    <a:pt x="261" y="184"/>
                  </a:lnTo>
                  <a:lnTo>
                    <a:pt x="257" y="179"/>
                  </a:lnTo>
                  <a:lnTo>
                    <a:pt x="251" y="173"/>
                  </a:lnTo>
                  <a:lnTo>
                    <a:pt x="245" y="168"/>
                  </a:lnTo>
                  <a:lnTo>
                    <a:pt x="238" y="165"/>
                  </a:lnTo>
                  <a:lnTo>
                    <a:pt x="230" y="162"/>
                  </a:lnTo>
                  <a:lnTo>
                    <a:pt x="222" y="161"/>
                  </a:lnTo>
                  <a:lnTo>
                    <a:pt x="213" y="160"/>
                  </a:lnTo>
                  <a:lnTo>
                    <a:pt x="204" y="161"/>
                  </a:lnTo>
                  <a:lnTo>
                    <a:pt x="195" y="162"/>
                  </a:lnTo>
                  <a:lnTo>
                    <a:pt x="188" y="163"/>
                  </a:lnTo>
                  <a:lnTo>
                    <a:pt x="181" y="166"/>
                  </a:lnTo>
                  <a:lnTo>
                    <a:pt x="173" y="168"/>
                  </a:lnTo>
                  <a:lnTo>
                    <a:pt x="167" y="172"/>
                  </a:lnTo>
                  <a:lnTo>
                    <a:pt x="160" y="176"/>
                  </a:lnTo>
                  <a:lnTo>
                    <a:pt x="155" y="181"/>
                  </a:lnTo>
                  <a:lnTo>
                    <a:pt x="141" y="191"/>
                  </a:lnTo>
                  <a:lnTo>
                    <a:pt x="131" y="202"/>
                  </a:lnTo>
                  <a:lnTo>
                    <a:pt x="118" y="215"/>
                  </a:lnTo>
                  <a:lnTo>
                    <a:pt x="106" y="228"/>
                  </a:lnTo>
                  <a:lnTo>
                    <a:pt x="105" y="218"/>
                  </a:lnTo>
                  <a:lnTo>
                    <a:pt x="103" y="209"/>
                  </a:lnTo>
                  <a:lnTo>
                    <a:pt x="100" y="201"/>
                  </a:lnTo>
                  <a:lnTo>
                    <a:pt x="95" y="193"/>
                  </a:lnTo>
                  <a:lnTo>
                    <a:pt x="90" y="186"/>
                  </a:lnTo>
                  <a:lnTo>
                    <a:pt x="83" y="179"/>
                  </a:lnTo>
                  <a:lnTo>
                    <a:pt x="76" y="171"/>
                  </a:lnTo>
                  <a:lnTo>
                    <a:pt x="68" y="165"/>
                  </a:lnTo>
                  <a:lnTo>
                    <a:pt x="50" y="153"/>
                  </a:lnTo>
                  <a:lnTo>
                    <a:pt x="33" y="140"/>
                  </a:lnTo>
                  <a:lnTo>
                    <a:pt x="24" y="134"/>
                  </a:lnTo>
                  <a:lnTo>
                    <a:pt x="15" y="127"/>
                  </a:lnTo>
                  <a:lnTo>
                    <a:pt x="8" y="119"/>
                  </a:lnTo>
                  <a:lnTo>
                    <a:pt x="0" y="111"/>
                  </a:lnTo>
                  <a:lnTo>
                    <a:pt x="15" y="101"/>
                  </a:lnTo>
                  <a:lnTo>
                    <a:pt x="31" y="90"/>
                  </a:lnTo>
                  <a:lnTo>
                    <a:pt x="46" y="77"/>
                  </a:lnTo>
                  <a:lnTo>
                    <a:pt x="60" y="62"/>
                  </a:lnTo>
                  <a:lnTo>
                    <a:pt x="75" y="48"/>
                  </a:lnTo>
                  <a:lnTo>
                    <a:pt x="87" y="33"/>
                  </a:lnTo>
                  <a:lnTo>
                    <a:pt x="98" y="17"/>
                  </a:lnTo>
                  <a:lnTo>
                    <a:pt x="106" y="0"/>
                  </a:lnTo>
                  <a:lnTo>
                    <a:pt x="179" y="1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6" name="Freeform 464">
              <a:extLst>
                <a:ext uri="{FF2B5EF4-FFF2-40B4-BE49-F238E27FC236}">
                  <a16:creationId xmlns:a16="http://schemas.microsoft.com/office/drawing/2014/main" id="{E6B4D387-6E37-4BE0-AF52-796C0C600336}"/>
                </a:ext>
              </a:extLst>
            </p:cNvPr>
            <p:cNvSpPr>
              <a:spLocks/>
            </p:cNvSpPr>
            <p:nvPr>
              <p:custDataLst>
                <p:tags r:id="rId302"/>
              </p:custDataLst>
            </p:nvPr>
          </p:nvSpPr>
          <p:spPr bwMode="auto">
            <a:xfrm>
              <a:off x="5676893" y="2530456"/>
              <a:ext cx="692149" cy="874706"/>
            </a:xfrm>
            <a:custGeom>
              <a:avLst/>
              <a:gdLst>
                <a:gd name="T0" fmla="*/ 207124 w 1594"/>
                <a:gd name="T1" fmla="*/ 56044 h 1670"/>
                <a:gd name="T2" fmla="*/ 210598 w 1594"/>
                <a:gd name="T3" fmla="*/ 96899 h 1670"/>
                <a:gd name="T4" fmla="*/ 250980 w 1594"/>
                <a:gd name="T5" fmla="*/ 150325 h 1670"/>
                <a:gd name="T6" fmla="*/ 304390 w 1594"/>
                <a:gd name="T7" fmla="*/ 240415 h 1670"/>
                <a:gd name="T8" fmla="*/ 345207 w 1594"/>
                <a:gd name="T9" fmla="*/ 261366 h 1670"/>
                <a:gd name="T10" fmla="*/ 380813 w 1594"/>
                <a:gd name="T11" fmla="*/ 258224 h 1670"/>
                <a:gd name="T12" fmla="*/ 403827 w 1594"/>
                <a:gd name="T13" fmla="*/ 281270 h 1670"/>
                <a:gd name="T14" fmla="*/ 478513 w 1594"/>
                <a:gd name="T15" fmla="*/ 296983 h 1670"/>
                <a:gd name="T16" fmla="*/ 486763 w 1594"/>
                <a:gd name="T17" fmla="*/ 241463 h 1670"/>
                <a:gd name="T18" fmla="*/ 511948 w 1594"/>
                <a:gd name="T19" fmla="*/ 282318 h 1670"/>
                <a:gd name="T20" fmla="*/ 539738 w 1594"/>
                <a:gd name="T21" fmla="*/ 293841 h 1670"/>
                <a:gd name="T22" fmla="*/ 564054 w 1594"/>
                <a:gd name="T23" fmla="*/ 260843 h 1670"/>
                <a:gd name="T24" fmla="*/ 609648 w 1594"/>
                <a:gd name="T25" fmla="*/ 214226 h 1670"/>
                <a:gd name="T26" fmla="*/ 672610 w 1594"/>
                <a:gd name="T27" fmla="*/ 224178 h 1670"/>
                <a:gd name="T28" fmla="*/ 685637 w 1594"/>
                <a:gd name="T29" fmla="*/ 260843 h 1670"/>
                <a:gd name="T30" fmla="*/ 653070 w 1594"/>
                <a:gd name="T31" fmla="*/ 283889 h 1670"/>
                <a:gd name="T32" fmla="*/ 644820 w 1594"/>
                <a:gd name="T33" fmla="*/ 355647 h 1670"/>
                <a:gd name="T34" fmla="*/ 620503 w 1594"/>
                <a:gd name="T35" fmla="*/ 368741 h 1670"/>
                <a:gd name="T36" fmla="*/ 611385 w 1594"/>
                <a:gd name="T37" fmla="*/ 426357 h 1670"/>
                <a:gd name="T38" fmla="*/ 573607 w 1594"/>
                <a:gd name="T39" fmla="*/ 394930 h 1670"/>
                <a:gd name="T40" fmla="*/ 574476 w 1594"/>
                <a:gd name="T41" fmla="*/ 365599 h 1670"/>
                <a:gd name="T42" fmla="*/ 531922 w 1594"/>
                <a:gd name="T43" fmla="*/ 334172 h 1670"/>
                <a:gd name="T44" fmla="*/ 515422 w 1594"/>
                <a:gd name="T45" fmla="*/ 307983 h 1670"/>
                <a:gd name="T46" fmla="*/ 491105 w 1594"/>
                <a:gd name="T47" fmla="*/ 301174 h 1670"/>
                <a:gd name="T48" fmla="*/ 489368 w 1594"/>
                <a:gd name="T49" fmla="*/ 327363 h 1670"/>
                <a:gd name="T50" fmla="*/ 485026 w 1594"/>
                <a:gd name="T51" fmla="*/ 357742 h 1670"/>
                <a:gd name="T52" fmla="*/ 503698 w 1594"/>
                <a:gd name="T53" fmla="*/ 384978 h 1670"/>
                <a:gd name="T54" fmla="*/ 498921 w 1594"/>
                <a:gd name="T55" fmla="*/ 441547 h 1670"/>
                <a:gd name="T56" fmla="*/ 466789 w 1594"/>
                <a:gd name="T57" fmla="*/ 452546 h 1670"/>
                <a:gd name="T58" fmla="*/ 455499 w 1594"/>
                <a:gd name="T59" fmla="*/ 490782 h 1670"/>
                <a:gd name="T60" fmla="*/ 414248 w 1594"/>
                <a:gd name="T61" fmla="*/ 524304 h 1670"/>
                <a:gd name="T62" fmla="*/ 396011 w 1594"/>
                <a:gd name="T63" fmla="*/ 549969 h 1670"/>
                <a:gd name="T64" fmla="*/ 338693 w 1594"/>
                <a:gd name="T65" fmla="*/ 622251 h 1670"/>
                <a:gd name="T66" fmla="*/ 313943 w 1594"/>
                <a:gd name="T67" fmla="*/ 645821 h 1670"/>
                <a:gd name="T68" fmla="*/ 323061 w 1594"/>
                <a:gd name="T69" fmla="*/ 703961 h 1670"/>
                <a:gd name="T70" fmla="*/ 309166 w 1594"/>
                <a:gd name="T71" fmla="*/ 756862 h 1670"/>
                <a:gd name="T72" fmla="*/ 313508 w 1594"/>
                <a:gd name="T73" fmla="*/ 798241 h 1670"/>
                <a:gd name="T74" fmla="*/ 300916 w 1594"/>
                <a:gd name="T75" fmla="*/ 825478 h 1670"/>
                <a:gd name="T76" fmla="*/ 258362 w 1594"/>
                <a:gd name="T77" fmla="*/ 871047 h 1670"/>
                <a:gd name="T78" fmla="*/ 224059 w 1594"/>
                <a:gd name="T79" fmla="*/ 800860 h 1670"/>
                <a:gd name="T80" fmla="*/ 181939 w 1594"/>
                <a:gd name="T81" fmla="*/ 698723 h 1670"/>
                <a:gd name="T82" fmla="*/ 130701 w 1594"/>
                <a:gd name="T83" fmla="*/ 583491 h 1670"/>
                <a:gd name="T84" fmla="*/ 112464 w 1594"/>
                <a:gd name="T85" fmla="*/ 450975 h 1670"/>
                <a:gd name="T86" fmla="*/ 99871 w 1594"/>
                <a:gd name="T87" fmla="*/ 426357 h 1670"/>
                <a:gd name="T88" fmla="*/ 71212 w 1594"/>
                <a:gd name="T89" fmla="*/ 471402 h 1670"/>
                <a:gd name="T90" fmla="*/ 39080 w 1594"/>
                <a:gd name="T91" fmla="*/ 458831 h 1670"/>
                <a:gd name="T92" fmla="*/ 22145 w 1594"/>
                <a:gd name="T93" fmla="*/ 417977 h 1670"/>
                <a:gd name="T94" fmla="*/ 13027 w 1594"/>
                <a:gd name="T95" fmla="*/ 403835 h 1670"/>
                <a:gd name="T96" fmla="*/ 13895 w 1594"/>
                <a:gd name="T97" fmla="*/ 370836 h 1670"/>
                <a:gd name="T98" fmla="*/ 69041 w 1594"/>
                <a:gd name="T99" fmla="*/ 345171 h 1670"/>
                <a:gd name="T100" fmla="*/ 39948 w 1594"/>
                <a:gd name="T101" fmla="*/ 298031 h 1670"/>
                <a:gd name="T102" fmla="*/ 25619 w 1594"/>
                <a:gd name="T103" fmla="*/ 261890 h 1670"/>
                <a:gd name="T104" fmla="*/ 70344 w 1594"/>
                <a:gd name="T105" fmla="*/ 240415 h 1670"/>
                <a:gd name="T106" fmla="*/ 117240 w 1594"/>
                <a:gd name="T107" fmla="*/ 153991 h 1670"/>
                <a:gd name="T108" fmla="*/ 118977 w 1594"/>
                <a:gd name="T109" fmla="*/ 120469 h 1670"/>
                <a:gd name="T110" fmla="*/ 98568 w 1594"/>
                <a:gd name="T111" fmla="*/ 74377 h 1670"/>
                <a:gd name="T112" fmla="*/ 139820 w 1594"/>
                <a:gd name="T113" fmla="*/ 28284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3282BE"/>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7" name="Freeform 465">
              <a:extLst>
                <a:ext uri="{FF2B5EF4-FFF2-40B4-BE49-F238E27FC236}">
                  <a16:creationId xmlns:a16="http://schemas.microsoft.com/office/drawing/2014/main" id="{121CAEC0-C803-470A-923A-C65FE8E293D3}"/>
                </a:ext>
              </a:extLst>
            </p:cNvPr>
            <p:cNvSpPr>
              <a:spLocks/>
            </p:cNvSpPr>
            <p:nvPr>
              <p:custDataLst>
                <p:tags r:id="rId303"/>
              </p:custDataLst>
            </p:nvPr>
          </p:nvSpPr>
          <p:spPr bwMode="auto">
            <a:xfrm>
              <a:off x="3798883" y="3325787"/>
              <a:ext cx="158750" cy="206373"/>
            </a:xfrm>
            <a:custGeom>
              <a:avLst/>
              <a:gdLst>
                <a:gd name="T0" fmla="*/ 23437 w 359"/>
                <a:gd name="T1" fmla="*/ 200089 h 394"/>
                <a:gd name="T2" fmla="*/ 23437 w 359"/>
                <a:gd name="T3" fmla="*/ 187518 h 394"/>
                <a:gd name="T4" fmla="*/ 23437 w 359"/>
                <a:gd name="T5" fmla="*/ 174424 h 394"/>
                <a:gd name="T6" fmla="*/ 22110 w 359"/>
                <a:gd name="T7" fmla="*/ 163424 h 394"/>
                <a:gd name="T8" fmla="*/ 19015 w 359"/>
                <a:gd name="T9" fmla="*/ 153472 h 394"/>
                <a:gd name="T10" fmla="*/ 15477 w 359"/>
                <a:gd name="T11" fmla="*/ 145091 h 394"/>
                <a:gd name="T12" fmla="*/ 5749 w 359"/>
                <a:gd name="T13" fmla="*/ 128330 h 394"/>
                <a:gd name="T14" fmla="*/ 0 w 359"/>
                <a:gd name="T15" fmla="*/ 96902 h 394"/>
                <a:gd name="T16" fmla="*/ 14593 w 359"/>
                <a:gd name="T17" fmla="*/ 94807 h 394"/>
                <a:gd name="T18" fmla="*/ 17688 w 359"/>
                <a:gd name="T19" fmla="*/ 88521 h 394"/>
                <a:gd name="T20" fmla="*/ 18130 w 359"/>
                <a:gd name="T21" fmla="*/ 78569 h 394"/>
                <a:gd name="T22" fmla="*/ 16804 w 359"/>
                <a:gd name="T23" fmla="*/ 56046 h 394"/>
                <a:gd name="T24" fmla="*/ 13708 w 359"/>
                <a:gd name="T25" fmla="*/ 34047 h 394"/>
                <a:gd name="T26" fmla="*/ 14150 w 359"/>
                <a:gd name="T27" fmla="*/ 24618 h 394"/>
                <a:gd name="T28" fmla="*/ 15919 w 359"/>
                <a:gd name="T29" fmla="*/ 18857 h 394"/>
                <a:gd name="T30" fmla="*/ 53064 w 359"/>
                <a:gd name="T31" fmla="*/ 16238 h 394"/>
                <a:gd name="T32" fmla="*/ 53948 w 359"/>
                <a:gd name="T33" fmla="*/ 11523 h 394"/>
                <a:gd name="T34" fmla="*/ 56602 w 359"/>
                <a:gd name="T35" fmla="*/ 7333 h 394"/>
                <a:gd name="T36" fmla="*/ 61908 w 359"/>
                <a:gd name="T37" fmla="*/ 0 h 394"/>
                <a:gd name="T38" fmla="*/ 62792 w 359"/>
                <a:gd name="T39" fmla="*/ 9428 h 394"/>
                <a:gd name="T40" fmla="*/ 62792 w 359"/>
                <a:gd name="T41" fmla="*/ 13619 h 394"/>
                <a:gd name="T42" fmla="*/ 61908 w 359"/>
                <a:gd name="T43" fmla="*/ 16238 h 394"/>
                <a:gd name="T44" fmla="*/ 74290 w 359"/>
                <a:gd name="T45" fmla="*/ 16238 h 394"/>
                <a:gd name="T46" fmla="*/ 82249 w 359"/>
                <a:gd name="T47" fmla="*/ 16238 h 394"/>
                <a:gd name="T48" fmla="*/ 94631 w 359"/>
                <a:gd name="T49" fmla="*/ 19904 h 394"/>
                <a:gd name="T50" fmla="*/ 103033 w 359"/>
                <a:gd name="T51" fmla="*/ 25666 h 394"/>
                <a:gd name="T52" fmla="*/ 108781 w 359"/>
                <a:gd name="T53" fmla="*/ 30380 h 394"/>
                <a:gd name="T54" fmla="*/ 114530 w 359"/>
                <a:gd name="T55" fmla="*/ 31951 h 394"/>
                <a:gd name="T56" fmla="*/ 118510 w 359"/>
                <a:gd name="T57" fmla="*/ 30904 h 394"/>
                <a:gd name="T58" fmla="*/ 121605 w 359"/>
                <a:gd name="T59" fmla="*/ 28285 h 394"/>
                <a:gd name="T60" fmla="*/ 126469 w 359"/>
                <a:gd name="T61" fmla="*/ 19380 h 394"/>
                <a:gd name="T62" fmla="*/ 137967 w 359"/>
                <a:gd name="T63" fmla="*/ 27237 h 394"/>
                <a:gd name="T64" fmla="*/ 143715 w 359"/>
                <a:gd name="T65" fmla="*/ 30904 h 394"/>
                <a:gd name="T66" fmla="*/ 149464 w 359"/>
                <a:gd name="T67" fmla="*/ 31951 h 394"/>
                <a:gd name="T68" fmla="*/ 156097 w 359"/>
                <a:gd name="T69" fmla="*/ 84331 h 394"/>
                <a:gd name="T70" fmla="*/ 149464 w 359"/>
                <a:gd name="T71" fmla="*/ 96902 h 394"/>
                <a:gd name="T72" fmla="*/ 142831 w 359"/>
                <a:gd name="T73" fmla="*/ 107902 h 394"/>
                <a:gd name="T74" fmla="*/ 139293 w 359"/>
                <a:gd name="T75" fmla="*/ 117330 h 394"/>
                <a:gd name="T76" fmla="*/ 138409 w 359"/>
                <a:gd name="T77" fmla="*/ 125187 h 394"/>
                <a:gd name="T78" fmla="*/ 138409 w 359"/>
                <a:gd name="T79" fmla="*/ 133568 h 394"/>
                <a:gd name="T80" fmla="*/ 141946 w 359"/>
                <a:gd name="T81" fmla="*/ 142996 h 394"/>
                <a:gd name="T82" fmla="*/ 146368 w 359"/>
                <a:gd name="T83" fmla="*/ 153472 h 394"/>
                <a:gd name="T84" fmla="*/ 149022 w 359"/>
                <a:gd name="T85" fmla="*/ 161852 h 394"/>
                <a:gd name="T86" fmla="*/ 149022 w 359"/>
                <a:gd name="T87" fmla="*/ 168138 h 394"/>
                <a:gd name="T88" fmla="*/ 145926 w 359"/>
                <a:gd name="T89" fmla="*/ 176519 h 394"/>
                <a:gd name="T90" fmla="*/ 144157 w 359"/>
                <a:gd name="T91" fmla="*/ 183852 h 394"/>
                <a:gd name="T92" fmla="*/ 141062 w 359"/>
                <a:gd name="T93" fmla="*/ 187518 h 394"/>
                <a:gd name="T94" fmla="*/ 136198 w 359"/>
                <a:gd name="T95" fmla="*/ 186471 h 394"/>
                <a:gd name="T96" fmla="*/ 131776 w 359"/>
                <a:gd name="T97" fmla="*/ 183328 h 394"/>
                <a:gd name="T98" fmla="*/ 126912 w 359"/>
                <a:gd name="T99" fmla="*/ 178090 h 394"/>
                <a:gd name="T100" fmla="*/ 122490 w 359"/>
                <a:gd name="T101" fmla="*/ 175471 h 394"/>
                <a:gd name="T102" fmla="*/ 117625 w 359"/>
                <a:gd name="T103" fmla="*/ 174424 h 394"/>
                <a:gd name="T104" fmla="*/ 108781 w 359"/>
                <a:gd name="T105" fmla="*/ 174424 h 394"/>
                <a:gd name="T106" fmla="*/ 97726 w 359"/>
                <a:gd name="T107" fmla="*/ 175995 h 394"/>
                <a:gd name="T108" fmla="*/ 80038 w 359"/>
                <a:gd name="T109" fmla="*/ 179661 h 394"/>
                <a:gd name="T110" fmla="*/ 57928 w 359"/>
                <a:gd name="T111" fmla="*/ 188042 h 394"/>
                <a:gd name="T112" fmla="*/ 38029 w 359"/>
                <a:gd name="T113" fmla="*/ 196423 h 394"/>
                <a:gd name="T114" fmla="*/ 23437 w 359"/>
                <a:gd name="T115" fmla="*/ 206375 h 394"/>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59" h="394">
                  <a:moveTo>
                    <a:pt x="53" y="394"/>
                  </a:moveTo>
                  <a:lnTo>
                    <a:pt x="53" y="382"/>
                  </a:lnTo>
                  <a:lnTo>
                    <a:pt x="53" y="370"/>
                  </a:lnTo>
                  <a:lnTo>
                    <a:pt x="53" y="358"/>
                  </a:lnTo>
                  <a:lnTo>
                    <a:pt x="53" y="346"/>
                  </a:lnTo>
                  <a:lnTo>
                    <a:pt x="53" y="333"/>
                  </a:lnTo>
                  <a:lnTo>
                    <a:pt x="52" y="322"/>
                  </a:lnTo>
                  <a:lnTo>
                    <a:pt x="50" y="312"/>
                  </a:lnTo>
                  <a:lnTo>
                    <a:pt x="46" y="302"/>
                  </a:lnTo>
                  <a:lnTo>
                    <a:pt x="43" y="293"/>
                  </a:lnTo>
                  <a:lnTo>
                    <a:pt x="40" y="284"/>
                  </a:lnTo>
                  <a:lnTo>
                    <a:pt x="35" y="277"/>
                  </a:lnTo>
                  <a:lnTo>
                    <a:pt x="32" y="270"/>
                  </a:lnTo>
                  <a:lnTo>
                    <a:pt x="13" y="245"/>
                  </a:lnTo>
                  <a:lnTo>
                    <a:pt x="0" y="222"/>
                  </a:lnTo>
                  <a:lnTo>
                    <a:pt x="0" y="185"/>
                  </a:lnTo>
                  <a:lnTo>
                    <a:pt x="27" y="185"/>
                  </a:lnTo>
                  <a:lnTo>
                    <a:pt x="33" y="181"/>
                  </a:lnTo>
                  <a:lnTo>
                    <a:pt x="38" y="174"/>
                  </a:lnTo>
                  <a:lnTo>
                    <a:pt x="40" y="169"/>
                  </a:lnTo>
                  <a:lnTo>
                    <a:pt x="41" y="163"/>
                  </a:lnTo>
                  <a:lnTo>
                    <a:pt x="41" y="150"/>
                  </a:lnTo>
                  <a:lnTo>
                    <a:pt x="40" y="136"/>
                  </a:lnTo>
                  <a:lnTo>
                    <a:pt x="38" y="107"/>
                  </a:lnTo>
                  <a:lnTo>
                    <a:pt x="32" y="79"/>
                  </a:lnTo>
                  <a:lnTo>
                    <a:pt x="31" y="65"/>
                  </a:lnTo>
                  <a:lnTo>
                    <a:pt x="31" y="52"/>
                  </a:lnTo>
                  <a:lnTo>
                    <a:pt x="32" y="47"/>
                  </a:lnTo>
                  <a:lnTo>
                    <a:pt x="34" y="41"/>
                  </a:lnTo>
                  <a:lnTo>
                    <a:pt x="36" y="36"/>
                  </a:lnTo>
                  <a:lnTo>
                    <a:pt x="40" y="31"/>
                  </a:lnTo>
                  <a:lnTo>
                    <a:pt x="120" y="31"/>
                  </a:lnTo>
                  <a:lnTo>
                    <a:pt x="120" y="27"/>
                  </a:lnTo>
                  <a:lnTo>
                    <a:pt x="122" y="22"/>
                  </a:lnTo>
                  <a:lnTo>
                    <a:pt x="124" y="18"/>
                  </a:lnTo>
                  <a:lnTo>
                    <a:pt x="128" y="14"/>
                  </a:lnTo>
                  <a:lnTo>
                    <a:pt x="133" y="6"/>
                  </a:lnTo>
                  <a:lnTo>
                    <a:pt x="140" y="0"/>
                  </a:lnTo>
                  <a:lnTo>
                    <a:pt x="141" y="9"/>
                  </a:lnTo>
                  <a:lnTo>
                    <a:pt x="142" y="18"/>
                  </a:lnTo>
                  <a:lnTo>
                    <a:pt x="143" y="22"/>
                  </a:lnTo>
                  <a:lnTo>
                    <a:pt x="142" y="26"/>
                  </a:lnTo>
                  <a:lnTo>
                    <a:pt x="142" y="29"/>
                  </a:lnTo>
                  <a:lnTo>
                    <a:pt x="140" y="31"/>
                  </a:lnTo>
                  <a:lnTo>
                    <a:pt x="153" y="31"/>
                  </a:lnTo>
                  <a:lnTo>
                    <a:pt x="168" y="31"/>
                  </a:lnTo>
                  <a:lnTo>
                    <a:pt x="180" y="31"/>
                  </a:lnTo>
                  <a:lnTo>
                    <a:pt x="186" y="31"/>
                  </a:lnTo>
                  <a:lnTo>
                    <a:pt x="202" y="34"/>
                  </a:lnTo>
                  <a:lnTo>
                    <a:pt x="214" y="38"/>
                  </a:lnTo>
                  <a:lnTo>
                    <a:pt x="224" y="43"/>
                  </a:lnTo>
                  <a:lnTo>
                    <a:pt x="233" y="49"/>
                  </a:lnTo>
                  <a:lnTo>
                    <a:pt x="240" y="53"/>
                  </a:lnTo>
                  <a:lnTo>
                    <a:pt x="246" y="58"/>
                  </a:lnTo>
                  <a:lnTo>
                    <a:pt x="252" y="60"/>
                  </a:lnTo>
                  <a:lnTo>
                    <a:pt x="259" y="61"/>
                  </a:lnTo>
                  <a:lnTo>
                    <a:pt x="264" y="61"/>
                  </a:lnTo>
                  <a:lnTo>
                    <a:pt x="268" y="59"/>
                  </a:lnTo>
                  <a:lnTo>
                    <a:pt x="271" y="57"/>
                  </a:lnTo>
                  <a:lnTo>
                    <a:pt x="275" y="54"/>
                  </a:lnTo>
                  <a:lnTo>
                    <a:pt x="280" y="46"/>
                  </a:lnTo>
                  <a:lnTo>
                    <a:pt x="286" y="37"/>
                  </a:lnTo>
                  <a:lnTo>
                    <a:pt x="300" y="44"/>
                  </a:lnTo>
                  <a:lnTo>
                    <a:pt x="312" y="52"/>
                  </a:lnTo>
                  <a:lnTo>
                    <a:pt x="319" y="55"/>
                  </a:lnTo>
                  <a:lnTo>
                    <a:pt x="325" y="59"/>
                  </a:lnTo>
                  <a:lnTo>
                    <a:pt x="332" y="61"/>
                  </a:lnTo>
                  <a:lnTo>
                    <a:pt x="338" y="61"/>
                  </a:lnTo>
                  <a:lnTo>
                    <a:pt x="359" y="148"/>
                  </a:lnTo>
                  <a:lnTo>
                    <a:pt x="353" y="161"/>
                  </a:lnTo>
                  <a:lnTo>
                    <a:pt x="346" y="173"/>
                  </a:lnTo>
                  <a:lnTo>
                    <a:pt x="338" y="185"/>
                  </a:lnTo>
                  <a:lnTo>
                    <a:pt x="331" y="195"/>
                  </a:lnTo>
                  <a:lnTo>
                    <a:pt x="323" y="206"/>
                  </a:lnTo>
                  <a:lnTo>
                    <a:pt x="318" y="218"/>
                  </a:lnTo>
                  <a:lnTo>
                    <a:pt x="315" y="224"/>
                  </a:lnTo>
                  <a:lnTo>
                    <a:pt x="314" y="231"/>
                  </a:lnTo>
                  <a:lnTo>
                    <a:pt x="313" y="239"/>
                  </a:lnTo>
                  <a:lnTo>
                    <a:pt x="312" y="247"/>
                  </a:lnTo>
                  <a:lnTo>
                    <a:pt x="313" y="255"/>
                  </a:lnTo>
                  <a:lnTo>
                    <a:pt x="316" y="263"/>
                  </a:lnTo>
                  <a:lnTo>
                    <a:pt x="321" y="273"/>
                  </a:lnTo>
                  <a:lnTo>
                    <a:pt x="325" y="283"/>
                  </a:lnTo>
                  <a:lnTo>
                    <a:pt x="331" y="293"/>
                  </a:lnTo>
                  <a:lnTo>
                    <a:pt x="335" y="302"/>
                  </a:lnTo>
                  <a:lnTo>
                    <a:pt x="337" y="309"/>
                  </a:lnTo>
                  <a:lnTo>
                    <a:pt x="338" y="315"/>
                  </a:lnTo>
                  <a:lnTo>
                    <a:pt x="337" y="321"/>
                  </a:lnTo>
                  <a:lnTo>
                    <a:pt x="332" y="331"/>
                  </a:lnTo>
                  <a:lnTo>
                    <a:pt x="330" y="337"/>
                  </a:lnTo>
                  <a:lnTo>
                    <a:pt x="327" y="343"/>
                  </a:lnTo>
                  <a:lnTo>
                    <a:pt x="326" y="351"/>
                  </a:lnTo>
                  <a:lnTo>
                    <a:pt x="325" y="358"/>
                  </a:lnTo>
                  <a:lnTo>
                    <a:pt x="319" y="358"/>
                  </a:lnTo>
                  <a:lnTo>
                    <a:pt x="313" y="357"/>
                  </a:lnTo>
                  <a:lnTo>
                    <a:pt x="308" y="356"/>
                  </a:lnTo>
                  <a:lnTo>
                    <a:pt x="304" y="354"/>
                  </a:lnTo>
                  <a:lnTo>
                    <a:pt x="298" y="350"/>
                  </a:lnTo>
                  <a:lnTo>
                    <a:pt x="292" y="346"/>
                  </a:lnTo>
                  <a:lnTo>
                    <a:pt x="287" y="340"/>
                  </a:lnTo>
                  <a:lnTo>
                    <a:pt x="280" y="336"/>
                  </a:lnTo>
                  <a:lnTo>
                    <a:pt x="277" y="335"/>
                  </a:lnTo>
                  <a:lnTo>
                    <a:pt x="271" y="334"/>
                  </a:lnTo>
                  <a:lnTo>
                    <a:pt x="266" y="333"/>
                  </a:lnTo>
                  <a:lnTo>
                    <a:pt x="259" y="333"/>
                  </a:lnTo>
                  <a:lnTo>
                    <a:pt x="246" y="333"/>
                  </a:lnTo>
                  <a:lnTo>
                    <a:pt x="234" y="334"/>
                  </a:lnTo>
                  <a:lnTo>
                    <a:pt x="221" y="336"/>
                  </a:lnTo>
                  <a:lnTo>
                    <a:pt x="208" y="338"/>
                  </a:lnTo>
                  <a:lnTo>
                    <a:pt x="181" y="343"/>
                  </a:lnTo>
                  <a:lnTo>
                    <a:pt x="155" y="351"/>
                  </a:lnTo>
                  <a:lnTo>
                    <a:pt x="131" y="359"/>
                  </a:lnTo>
                  <a:lnTo>
                    <a:pt x="107" y="367"/>
                  </a:lnTo>
                  <a:lnTo>
                    <a:pt x="86" y="375"/>
                  </a:lnTo>
                  <a:lnTo>
                    <a:pt x="66" y="382"/>
                  </a:lnTo>
                  <a:lnTo>
                    <a:pt x="53" y="39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8" name="Freeform 466">
              <a:extLst>
                <a:ext uri="{FF2B5EF4-FFF2-40B4-BE49-F238E27FC236}">
                  <a16:creationId xmlns:a16="http://schemas.microsoft.com/office/drawing/2014/main" id="{797AEC2A-FA9D-4875-9C1B-A62DBBE42CD8}"/>
                </a:ext>
              </a:extLst>
            </p:cNvPr>
            <p:cNvSpPr>
              <a:spLocks/>
            </p:cNvSpPr>
            <p:nvPr>
              <p:custDataLst>
                <p:tags r:id="rId304"/>
              </p:custDataLst>
            </p:nvPr>
          </p:nvSpPr>
          <p:spPr bwMode="auto">
            <a:xfrm>
              <a:off x="4867269" y="3521048"/>
              <a:ext cx="192088" cy="271461"/>
            </a:xfrm>
            <a:custGeom>
              <a:avLst/>
              <a:gdLst>
                <a:gd name="T0" fmla="*/ 175403 w 449"/>
                <a:gd name="T1" fmla="*/ 54500 h 523"/>
                <a:gd name="T2" fmla="*/ 173264 w 449"/>
                <a:gd name="T3" fmla="*/ 50867 h 523"/>
                <a:gd name="T4" fmla="*/ 174548 w 449"/>
                <a:gd name="T5" fmla="*/ 47753 h 523"/>
                <a:gd name="T6" fmla="*/ 180537 w 449"/>
                <a:gd name="T7" fmla="*/ 39967 h 523"/>
                <a:gd name="T8" fmla="*/ 188665 w 449"/>
                <a:gd name="T9" fmla="*/ 31143 h 523"/>
                <a:gd name="T10" fmla="*/ 191232 w 449"/>
                <a:gd name="T11" fmla="*/ 25952 h 523"/>
                <a:gd name="T12" fmla="*/ 192088 w 449"/>
                <a:gd name="T13" fmla="*/ 19205 h 523"/>
                <a:gd name="T14" fmla="*/ 184815 w 449"/>
                <a:gd name="T15" fmla="*/ 17648 h 523"/>
                <a:gd name="T16" fmla="*/ 180537 w 449"/>
                <a:gd name="T17" fmla="*/ 14014 h 523"/>
                <a:gd name="T18" fmla="*/ 175831 w 449"/>
                <a:gd name="T19" fmla="*/ 10900 h 523"/>
                <a:gd name="T20" fmla="*/ 166847 w 449"/>
                <a:gd name="T21" fmla="*/ 9343 h 523"/>
                <a:gd name="T22" fmla="*/ 161285 w 449"/>
                <a:gd name="T23" fmla="*/ 10381 h 523"/>
                <a:gd name="T24" fmla="*/ 157435 w 449"/>
                <a:gd name="T25" fmla="*/ 12457 h 523"/>
                <a:gd name="T26" fmla="*/ 151874 w 449"/>
                <a:gd name="T27" fmla="*/ 19205 h 523"/>
                <a:gd name="T28" fmla="*/ 145456 w 449"/>
                <a:gd name="T29" fmla="*/ 25952 h 523"/>
                <a:gd name="T30" fmla="*/ 139467 w 449"/>
                <a:gd name="T31" fmla="*/ 28029 h 523"/>
                <a:gd name="T32" fmla="*/ 132622 w 449"/>
                <a:gd name="T33" fmla="*/ 28548 h 523"/>
                <a:gd name="T34" fmla="*/ 122782 w 449"/>
                <a:gd name="T35" fmla="*/ 28029 h 523"/>
                <a:gd name="T36" fmla="*/ 114226 w 449"/>
                <a:gd name="T37" fmla="*/ 25952 h 523"/>
                <a:gd name="T38" fmla="*/ 100536 w 449"/>
                <a:gd name="T39" fmla="*/ 18686 h 523"/>
                <a:gd name="T40" fmla="*/ 88129 w 449"/>
                <a:gd name="T41" fmla="*/ 9862 h 523"/>
                <a:gd name="T42" fmla="*/ 80857 w 449"/>
                <a:gd name="T43" fmla="*/ 6229 h 523"/>
                <a:gd name="T44" fmla="*/ 72728 w 449"/>
                <a:gd name="T45" fmla="*/ 3114 h 523"/>
                <a:gd name="T46" fmla="*/ 57327 w 449"/>
                <a:gd name="T47" fmla="*/ 4152 h 523"/>
                <a:gd name="T48" fmla="*/ 50910 w 449"/>
                <a:gd name="T49" fmla="*/ 3114 h 523"/>
                <a:gd name="T50" fmla="*/ 44065 w 449"/>
                <a:gd name="T51" fmla="*/ 0 h 523"/>
                <a:gd name="T52" fmla="*/ 22246 w 449"/>
                <a:gd name="T53" fmla="*/ 0 h 523"/>
                <a:gd name="T54" fmla="*/ 2139 w 449"/>
                <a:gd name="T55" fmla="*/ 0 h 523"/>
                <a:gd name="T56" fmla="*/ 2139 w 449"/>
                <a:gd name="T57" fmla="*/ 9343 h 523"/>
                <a:gd name="T58" fmla="*/ 2139 w 449"/>
                <a:gd name="T59" fmla="*/ 19205 h 523"/>
                <a:gd name="T60" fmla="*/ 6417 w 449"/>
                <a:gd name="T61" fmla="*/ 31143 h 523"/>
                <a:gd name="T62" fmla="*/ 9840 w 449"/>
                <a:gd name="T63" fmla="*/ 47234 h 523"/>
                <a:gd name="T64" fmla="*/ 13262 w 449"/>
                <a:gd name="T65" fmla="*/ 66438 h 523"/>
                <a:gd name="T66" fmla="*/ 16257 w 449"/>
                <a:gd name="T67" fmla="*/ 89277 h 523"/>
                <a:gd name="T68" fmla="*/ 15829 w 449"/>
                <a:gd name="T69" fmla="*/ 106924 h 523"/>
                <a:gd name="T70" fmla="*/ 12407 w 449"/>
                <a:gd name="T71" fmla="*/ 119381 h 523"/>
                <a:gd name="T72" fmla="*/ 2995 w 449"/>
                <a:gd name="T73" fmla="*/ 139624 h 523"/>
                <a:gd name="T74" fmla="*/ 4278 w 449"/>
                <a:gd name="T75" fmla="*/ 166615 h 523"/>
                <a:gd name="T76" fmla="*/ 11979 w 449"/>
                <a:gd name="T77" fmla="*/ 175958 h 523"/>
                <a:gd name="T78" fmla="*/ 35936 w 449"/>
                <a:gd name="T79" fmla="*/ 190491 h 523"/>
                <a:gd name="T80" fmla="*/ 58183 w 449"/>
                <a:gd name="T81" fmla="*/ 205544 h 523"/>
                <a:gd name="T82" fmla="*/ 72728 w 449"/>
                <a:gd name="T83" fmla="*/ 218001 h 523"/>
                <a:gd name="T84" fmla="*/ 80857 w 449"/>
                <a:gd name="T85" fmla="*/ 226306 h 523"/>
                <a:gd name="T86" fmla="*/ 84707 w 449"/>
                <a:gd name="T87" fmla="*/ 234091 h 523"/>
                <a:gd name="T88" fmla="*/ 85990 w 449"/>
                <a:gd name="T89" fmla="*/ 240839 h 523"/>
                <a:gd name="T90" fmla="*/ 89413 w 449"/>
                <a:gd name="T91" fmla="*/ 248625 h 523"/>
                <a:gd name="T92" fmla="*/ 94119 w 449"/>
                <a:gd name="T93" fmla="*/ 255372 h 523"/>
                <a:gd name="T94" fmla="*/ 99680 w 449"/>
                <a:gd name="T95" fmla="*/ 261082 h 523"/>
                <a:gd name="T96" fmla="*/ 105670 w 449"/>
                <a:gd name="T97" fmla="*/ 265753 h 523"/>
                <a:gd name="T98" fmla="*/ 112943 w 449"/>
                <a:gd name="T99" fmla="*/ 269387 h 523"/>
                <a:gd name="T100" fmla="*/ 120215 w 449"/>
                <a:gd name="T101" fmla="*/ 271463 h 523"/>
                <a:gd name="T102" fmla="*/ 130055 w 449"/>
                <a:gd name="T103" fmla="*/ 260563 h 523"/>
                <a:gd name="T104" fmla="*/ 143317 w 449"/>
                <a:gd name="T105" fmla="*/ 239801 h 523"/>
                <a:gd name="T106" fmla="*/ 156152 w 449"/>
                <a:gd name="T107" fmla="*/ 221634 h 523"/>
                <a:gd name="T108" fmla="*/ 168558 w 449"/>
                <a:gd name="T109" fmla="*/ 202429 h 523"/>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49" h="523">
                  <a:moveTo>
                    <a:pt x="410" y="370"/>
                  </a:moveTo>
                  <a:lnTo>
                    <a:pt x="410" y="105"/>
                  </a:lnTo>
                  <a:lnTo>
                    <a:pt x="407" y="102"/>
                  </a:lnTo>
                  <a:lnTo>
                    <a:pt x="405" y="98"/>
                  </a:lnTo>
                  <a:lnTo>
                    <a:pt x="405" y="95"/>
                  </a:lnTo>
                  <a:lnTo>
                    <a:pt x="408" y="92"/>
                  </a:lnTo>
                  <a:lnTo>
                    <a:pt x="413" y="84"/>
                  </a:lnTo>
                  <a:lnTo>
                    <a:pt x="422" y="77"/>
                  </a:lnTo>
                  <a:lnTo>
                    <a:pt x="432" y="70"/>
                  </a:lnTo>
                  <a:lnTo>
                    <a:pt x="441" y="60"/>
                  </a:lnTo>
                  <a:lnTo>
                    <a:pt x="444" y="55"/>
                  </a:lnTo>
                  <a:lnTo>
                    <a:pt x="447" y="50"/>
                  </a:lnTo>
                  <a:lnTo>
                    <a:pt x="448" y="44"/>
                  </a:lnTo>
                  <a:lnTo>
                    <a:pt x="449" y="37"/>
                  </a:lnTo>
                  <a:lnTo>
                    <a:pt x="438" y="37"/>
                  </a:lnTo>
                  <a:lnTo>
                    <a:pt x="432" y="34"/>
                  </a:lnTo>
                  <a:lnTo>
                    <a:pt x="426" y="32"/>
                  </a:lnTo>
                  <a:lnTo>
                    <a:pt x="422" y="27"/>
                  </a:lnTo>
                  <a:lnTo>
                    <a:pt x="418" y="24"/>
                  </a:lnTo>
                  <a:lnTo>
                    <a:pt x="411" y="21"/>
                  </a:lnTo>
                  <a:lnTo>
                    <a:pt x="402" y="19"/>
                  </a:lnTo>
                  <a:lnTo>
                    <a:pt x="390" y="18"/>
                  </a:lnTo>
                  <a:lnTo>
                    <a:pt x="382" y="19"/>
                  </a:lnTo>
                  <a:lnTo>
                    <a:pt x="377" y="20"/>
                  </a:lnTo>
                  <a:lnTo>
                    <a:pt x="371" y="22"/>
                  </a:lnTo>
                  <a:lnTo>
                    <a:pt x="368" y="24"/>
                  </a:lnTo>
                  <a:lnTo>
                    <a:pt x="360" y="31"/>
                  </a:lnTo>
                  <a:lnTo>
                    <a:pt x="355" y="37"/>
                  </a:lnTo>
                  <a:lnTo>
                    <a:pt x="348" y="44"/>
                  </a:lnTo>
                  <a:lnTo>
                    <a:pt x="340" y="50"/>
                  </a:lnTo>
                  <a:lnTo>
                    <a:pt x="333" y="52"/>
                  </a:lnTo>
                  <a:lnTo>
                    <a:pt x="326" y="54"/>
                  </a:lnTo>
                  <a:lnTo>
                    <a:pt x="319" y="55"/>
                  </a:lnTo>
                  <a:lnTo>
                    <a:pt x="310" y="55"/>
                  </a:lnTo>
                  <a:lnTo>
                    <a:pt x="298" y="55"/>
                  </a:lnTo>
                  <a:lnTo>
                    <a:pt x="287" y="54"/>
                  </a:lnTo>
                  <a:lnTo>
                    <a:pt x="277" y="52"/>
                  </a:lnTo>
                  <a:lnTo>
                    <a:pt x="267" y="50"/>
                  </a:lnTo>
                  <a:lnTo>
                    <a:pt x="251" y="43"/>
                  </a:lnTo>
                  <a:lnTo>
                    <a:pt x="235" y="36"/>
                  </a:lnTo>
                  <a:lnTo>
                    <a:pt x="220" y="27"/>
                  </a:lnTo>
                  <a:lnTo>
                    <a:pt x="206" y="19"/>
                  </a:lnTo>
                  <a:lnTo>
                    <a:pt x="197" y="15"/>
                  </a:lnTo>
                  <a:lnTo>
                    <a:pt x="189" y="12"/>
                  </a:lnTo>
                  <a:lnTo>
                    <a:pt x="180" y="9"/>
                  </a:lnTo>
                  <a:lnTo>
                    <a:pt x="170" y="6"/>
                  </a:lnTo>
                  <a:lnTo>
                    <a:pt x="152" y="7"/>
                  </a:lnTo>
                  <a:lnTo>
                    <a:pt x="134" y="8"/>
                  </a:lnTo>
                  <a:lnTo>
                    <a:pt x="127" y="7"/>
                  </a:lnTo>
                  <a:lnTo>
                    <a:pt x="119" y="6"/>
                  </a:lnTo>
                  <a:lnTo>
                    <a:pt x="111" y="4"/>
                  </a:lnTo>
                  <a:lnTo>
                    <a:pt x="103" y="0"/>
                  </a:lnTo>
                  <a:lnTo>
                    <a:pt x="80" y="0"/>
                  </a:lnTo>
                  <a:lnTo>
                    <a:pt x="52" y="0"/>
                  </a:lnTo>
                  <a:lnTo>
                    <a:pt x="24" y="0"/>
                  </a:lnTo>
                  <a:lnTo>
                    <a:pt x="5" y="0"/>
                  </a:lnTo>
                  <a:lnTo>
                    <a:pt x="5" y="7"/>
                  </a:lnTo>
                  <a:lnTo>
                    <a:pt x="5" y="18"/>
                  </a:lnTo>
                  <a:lnTo>
                    <a:pt x="5" y="29"/>
                  </a:lnTo>
                  <a:lnTo>
                    <a:pt x="5" y="37"/>
                  </a:lnTo>
                  <a:lnTo>
                    <a:pt x="9" y="47"/>
                  </a:lnTo>
                  <a:lnTo>
                    <a:pt x="15" y="60"/>
                  </a:lnTo>
                  <a:lnTo>
                    <a:pt x="19" y="74"/>
                  </a:lnTo>
                  <a:lnTo>
                    <a:pt x="23" y="91"/>
                  </a:lnTo>
                  <a:lnTo>
                    <a:pt x="28" y="109"/>
                  </a:lnTo>
                  <a:lnTo>
                    <a:pt x="31" y="128"/>
                  </a:lnTo>
                  <a:lnTo>
                    <a:pt x="34" y="150"/>
                  </a:lnTo>
                  <a:lnTo>
                    <a:pt x="38" y="172"/>
                  </a:lnTo>
                  <a:lnTo>
                    <a:pt x="38" y="190"/>
                  </a:lnTo>
                  <a:lnTo>
                    <a:pt x="37" y="206"/>
                  </a:lnTo>
                  <a:lnTo>
                    <a:pt x="33" y="219"/>
                  </a:lnTo>
                  <a:lnTo>
                    <a:pt x="29" y="230"/>
                  </a:lnTo>
                  <a:lnTo>
                    <a:pt x="18" y="249"/>
                  </a:lnTo>
                  <a:lnTo>
                    <a:pt x="7" y="269"/>
                  </a:lnTo>
                  <a:lnTo>
                    <a:pt x="17" y="284"/>
                  </a:lnTo>
                  <a:lnTo>
                    <a:pt x="10" y="321"/>
                  </a:lnTo>
                  <a:lnTo>
                    <a:pt x="0" y="328"/>
                  </a:lnTo>
                  <a:lnTo>
                    <a:pt x="28" y="339"/>
                  </a:lnTo>
                  <a:lnTo>
                    <a:pt x="55" y="352"/>
                  </a:lnTo>
                  <a:lnTo>
                    <a:pt x="84" y="367"/>
                  </a:lnTo>
                  <a:lnTo>
                    <a:pt x="111" y="381"/>
                  </a:lnTo>
                  <a:lnTo>
                    <a:pt x="136" y="396"/>
                  </a:lnTo>
                  <a:lnTo>
                    <a:pt x="159" y="411"/>
                  </a:lnTo>
                  <a:lnTo>
                    <a:pt x="170" y="420"/>
                  </a:lnTo>
                  <a:lnTo>
                    <a:pt x="180" y="428"/>
                  </a:lnTo>
                  <a:lnTo>
                    <a:pt x="189" y="436"/>
                  </a:lnTo>
                  <a:lnTo>
                    <a:pt x="197" y="444"/>
                  </a:lnTo>
                  <a:lnTo>
                    <a:pt x="198" y="451"/>
                  </a:lnTo>
                  <a:lnTo>
                    <a:pt x="199" y="457"/>
                  </a:lnTo>
                  <a:lnTo>
                    <a:pt x="201" y="464"/>
                  </a:lnTo>
                  <a:lnTo>
                    <a:pt x="205" y="471"/>
                  </a:lnTo>
                  <a:lnTo>
                    <a:pt x="209" y="479"/>
                  </a:lnTo>
                  <a:lnTo>
                    <a:pt x="214" y="486"/>
                  </a:lnTo>
                  <a:lnTo>
                    <a:pt x="220" y="492"/>
                  </a:lnTo>
                  <a:lnTo>
                    <a:pt x="226" y="498"/>
                  </a:lnTo>
                  <a:lnTo>
                    <a:pt x="233" y="503"/>
                  </a:lnTo>
                  <a:lnTo>
                    <a:pt x="240" y="508"/>
                  </a:lnTo>
                  <a:lnTo>
                    <a:pt x="247" y="512"/>
                  </a:lnTo>
                  <a:lnTo>
                    <a:pt x="256" y="516"/>
                  </a:lnTo>
                  <a:lnTo>
                    <a:pt x="264" y="519"/>
                  </a:lnTo>
                  <a:lnTo>
                    <a:pt x="273" y="521"/>
                  </a:lnTo>
                  <a:lnTo>
                    <a:pt x="281" y="523"/>
                  </a:lnTo>
                  <a:lnTo>
                    <a:pt x="290" y="523"/>
                  </a:lnTo>
                  <a:lnTo>
                    <a:pt x="304" y="502"/>
                  </a:lnTo>
                  <a:lnTo>
                    <a:pt x="320" y="482"/>
                  </a:lnTo>
                  <a:lnTo>
                    <a:pt x="335" y="462"/>
                  </a:lnTo>
                  <a:lnTo>
                    <a:pt x="349" y="444"/>
                  </a:lnTo>
                  <a:lnTo>
                    <a:pt x="365" y="427"/>
                  </a:lnTo>
                  <a:lnTo>
                    <a:pt x="379" y="408"/>
                  </a:lnTo>
                  <a:lnTo>
                    <a:pt x="394" y="390"/>
                  </a:lnTo>
                  <a:lnTo>
                    <a:pt x="410" y="37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09" name="Freeform 467">
              <a:extLst>
                <a:ext uri="{FF2B5EF4-FFF2-40B4-BE49-F238E27FC236}">
                  <a16:creationId xmlns:a16="http://schemas.microsoft.com/office/drawing/2014/main" id="{34628FF5-C0B6-4ABF-9F89-1720EAB6B7C9}"/>
                </a:ext>
              </a:extLst>
            </p:cNvPr>
            <p:cNvSpPr>
              <a:spLocks/>
            </p:cNvSpPr>
            <p:nvPr>
              <p:custDataLst>
                <p:tags r:id="rId305"/>
              </p:custDataLst>
            </p:nvPr>
          </p:nvSpPr>
          <p:spPr bwMode="auto">
            <a:xfrm>
              <a:off x="4849807" y="2606655"/>
              <a:ext cx="101600" cy="130174"/>
            </a:xfrm>
            <a:custGeom>
              <a:avLst/>
              <a:gdLst>
                <a:gd name="T0" fmla="*/ 5395 w 226"/>
                <a:gd name="T1" fmla="*/ 120650 h 246"/>
                <a:gd name="T2" fmla="*/ 16184 w 226"/>
                <a:gd name="T3" fmla="*/ 127000 h 246"/>
                <a:gd name="T4" fmla="*/ 23827 w 226"/>
                <a:gd name="T5" fmla="*/ 129646 h 246"/>
                <a:gd name="T6" fmla="*/ 30570 w 226"/>
                <a:gd name="T7" fmla="*/ 129646 h 246"/>
                <a:gd name="T8" fmla="*/ 38212 w 226"/>
                <a:gd name="T9" fmla="*/ 127529 h 246"/>
                <a:gd name="T10" fmla="*/ 49451 w 226"/>
                <a:gd name="T11" fmla="*/ 120650 h 246"/>
                <a:gd name="T12" fmla="*/ 63388 w 226"/>
                <a:gd name="T13" fmla="*/ 108479 h 246"/>
                <a:gd name="T14" fmla="*/ 72379 w 226"/>
                <a:gd name="T15" fmla="*/ 97367 h 246"/>
                <a:gd name="T16" fmla="*/ 71480 w 226"/>
                <a:gd name="T17" fmla="*/ 91546 h 246"/>
                <a:gd name="T18" fmla="*/ 66984 w 226"/>
                <a:gd name="T19" fmla="*/ 84667 h 246"/>
                <a:gd name="T20" fmla="*/ 64287 w 226"/>
                <a:gd name="T21" fmla="*/ 76729 h 246"/>
                <a:gd name="T22" fmla="*/ 63388 w 226"/>
                <a:gd name="T23" fmla="*/ 68792 h 246"/>
                <a:gd name="T24" fmla="*/ 63388 w 226"/>
                <a:gd name="T25" fmla="*/ 61383 h 246"/>
                <a:gd name="T26" fmla="*/ 65635 w 226"/>
                <a:gd name="T27" fmla="*/ 55562 h 246"/>
                <a:gd name="T28" fmla="*/ 70131 w 226"/>
                <a:gd name="T29" fmla="*/ 49742 h 246"/>
                <a:gd name="T30" fmla="*/ 75526 w 226"/>
                <a:gd name="T31" fmla="*/ 45508 h 246"/>
                <a:gd name="T32" fmla="*/ 91710 w 226"/>
                <a:gd name="T33" fmla="*/ 37571 h 246"/>
                <a:gd name="T34" fmla="*/ 101150 w 226"/>
                <a:gd name="T35" fmla="*/ 25929 h 246"/>
                <a:gd name="T36" fmla="*/ 99352 w 226"/>
                <a:gd name="T37" fmla="*/ 15875 h 246"/>
                <a:gd name="T38" fmla="*/ 96205 w 226"/>
                <a:gd name="T39" fmla="*/ 8996 h 246"/>
                <a:gd name="T40" fmla="*/ 95306 w 226"/>
                <a:gd name="T41" fmla="*/ 3175 h 246"/>
                <a:gd name="T42" fmla="*/ 90811 w 226"/>
                <a:gd name="T43" fmla="*/ 529 h 246"/>
                <a:gd name="T44" fmla="*/ 81370 w 226"/>
                <a:gd name="T45" fmla="*/ 3704 h 246"/>
                <a:gd name="T46" fmla="*/ 69232 w 226"/>
                <a:gd name="T47" fmla="*/ 10583 h 246"/>
                <a:gd name="T48" fmla="*/ 54396 w 226"/>
                <a:gd name="T49" fmla="*/ 20108 h 246"/>
                <a:gd name="T50" fmla="*/ 44956 w 226"/>
                <a:gd name="T51" fmla="*/ 26987 h 246"/>
                <a:gd name="T52" fmla="*/ 39112 w 226"/>
                <a:gd name="T53" fmla="*/ 29104 h 246"/>
                <a:gd name="T54" fmla="*/ 33717 w 226"/>
                <a:gd name="T55" fmla="*/ 28575 h 246"/>
                <a:gd name="T56" fmla="*/ 26524 w 226"/>
                <a:gd name="T57" fmla="*/ 24871 h 246"/>
                <a:gd name="T58" fmla="*/ 16184 w 226"/>
                <a:gd name="T59" fmla="*/ 16404 h 246"/>
                <a:gd name="T60" fmla="*/ 10789 w 226"/>
                <a:gd name="T61" fmla="*/ 20638 h 246"/>
                <a:gd name="T62" fmla="*/ 8092 w 226"/>
                <a:gd name="T63" fmla="*/ 50271 h 246"/>
                <a:gd name="T64" fmla="*/ 4496 w 226"/>
                <a:gd name="T65" fmla="*/ 86254 h 246"/>
                <a:gd name="T66" fmla="*/ 1349 w 226"/>
                <a:gd name="T67" fmla="*/ 112183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0" name="Freeform 468">
              <a:extLst>
                <a:ext uri="{FF2B5EF4-FFF2-40B4-BE49-F238E27FC236}">
                  <a16:creationId xmlns:a16="http://schemas.microsoft.com/office/drawing/2014/main" id="{C5BBC5F3-885D-4CD5-AE89-8704BD0A3098}"/>
                </a:ext>
              </a:extLst>
            </p:cNvPr>
            <p:cNvSpPr>
              <a:spLocks/>
            </p:cNvSpPr>
            <p:nvPr>
              <p:custDataLst>
                <p:tags r:id="rId306"/>
              </p:custDataLst>
            </p:nvPr>
          </p:nvSpPr>
          <p:spPr bwMode="auto">
            <a:xfrm>
              <a:off x="5148257" y="2709842"/>
              <a:ext cx="22225" cy="55562"/>
            </a:xfrm>
            <a:custGeom>
              <a:avLst/>
              <a:gdLst>
                <a:gd name="T0" fmla="*/ 10001 w 60"/>
                <a:gd name="T1" fmla="*/ 0 h 81"/>
                <a:gd name="T2" fmla="*/ 10742 w 60"/>
                <a:gd name="T3" fmla="*/ 1372 h 81"/>
                <a:gd name="T4" fmla="*/ 11853 w 60"/>
                <a:gd name="T5" fmla="*/ 2058 h 81"/>
                <a:gd name="T6" fmla="*/ 13335 w 60"/>
                <a:gd name="T7" fmla="*/ 2058 h 81"/>
                <a:gd name="T8" fmla="*/ 14817 w 60"/>
                <a:gd name="T9" fmla="*/ 1372 h 81"/>
                <a:gd name="T10" fmla="*/ 17410 w 60"/>
                <a:gd name="T11" fmla="*/ 686 h 81"/>
                <a:gd name="T12" fmla="*/ 19632 w 60"/>
                <a:gd name="T13" fmla="*/ 0 h 81"/>
                <a:gd name="T14" fmla="*/ 19632 w 60"/>
                <a:gd name="T15" fmla="*/ 17835 h 81"/>
                <a:gd name="T16" fmla="*/ 20003 w 60"/>
                <a:gd name="T17" fmla="*/ 32240 h 81"/>
                <a:gd name="T18" fmla="*/ 20003 w 60"/>
                <a:gd name="T19" fmla="*/ 39099 h 81"/>
                <a:gd name="T20" fmla="*/ 20743 w 60"/>
                <a:gd name="T21" fmla="*/ 44587 h 81"/>
                <a:gd name="T22" fmla="*/ 21484 w 60"/>
                <a:gd name="T23" fmla="*/ 50074 h 81"/>
                <a:gd name="T24" fmla="*/ 22225 w 60"/>
                <a:gd name="T25" fmla="*/ 55562 h 81"/>
                <a:gd name="T26" fmla="*/ 7408 w 60"/>
                <a:gd name="T27" fmla="*/ 55562 h 81"/>
                <a:gd name="T28" fmla="*/ 5186 w 60"/>
                <a:gd name="T29" fmla="*/ 54876 h 81"/>
                <a:gd name="T30" fmla="*/ 2593 w 60"/>
                <a:gd name="T31" fmla="*/ 52818 h 81"/>
                <a:gd name="T32" fmla="*/ 1852 w 60"/>
                <a:gd name="T33" fmla="*/ 50760 h 81"/>
                <a:gd name="T34" fmla="*/ 741 w 60"/>
                <a:gd name="T35" fmla="*/ 49388 h 81"/>
                <a:gd name="T36" fmla="*/ 370 w 60"/>
                <a:gd name="T37" fmla="*/ 48017 h 81"/>
                <a:gd name="T38" fmla="*/ 0 w 60"/>
                <a:gd name="T39" fmla="*/ 46645 h 81"/>
                <a:gd name="T40" fmla="*/ 2593 w 60"/>
                <a:gd name="T41" fmla="*/ 8231 h 81"/>
                <a:gd name="T42" fmla="*/ 7408 w 60"/>
                <a:gd name="T43" fmla="*/ 4116 h 81"/>
                <a:gd name="T44" fmla="*/ 12594 w 60"/>
                <a:gd name="T45" fmla="*/ 0 h 81"/>
                <a:gd name="T46" fmla="*/ 10001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1" name="Freeform 469">
              <a:extLst>
                <a:ext uri="{FF2B5EF4-FFF2-40B4-BE49-F238E27FC236}">
                  <a16:creationId xmlns:a16="http://schemas.microsoft.com/office/drawing/2014/main" id="{FD2287D9-D886-4145-9F42-DF5EF56AA9D2}"/>
                </a:ext>
              </a:extLst>
            </p:cNvPr>
            <p:cNvSpPr>
              <a:spLocks/>
            </p:cNvSpPr>
            <p:nvPr>
              <p:custDataLst>
                <p:tags r:id="rId307"/>
              </p:custDataLst>
            </p:nvPr>
          </p:nvSpPr>
          <p:spPr bwMode="auto">
            <a:xfrm>
              <a:off x="4435470" y="1844661"/>
              <a:ext cx="161924" cy="66675"/>
            </a:xfrm>
            <a:custGeom>
              <a:avLst/>
              <a:gdLst>
                <a:gd name="T0" fmla="*/ 109409 w 370"/>
                <a:gd name="T1" fmla="*/ 60473 h 129"/>
                <a:gd name="T2" fmla="*/ 112910 w 370"/>
                <a:gd name="T3" fmla="*/ 61506 h 129"/>
                <a:gd name="T4" fmla="*/ 121225 w 370"/>
                <a:gd name="T5" fmla="*/ 63574 h 129"/>
                <a:gd name="T6" fmla="*/ 129102 w 370"/>
                <a:gd name="T7" fmla="*/ 65641 h 129"/>
                <a:gd name="T8" fmla="*/ 132603 w 370"/>
                <a:gd name="T9" fmla="*/ 66675 h 129"/>
                <a:gd name="T10" fmla="*/ 161925 w 370"/>
                <a:gd name="T11" fmla="*/ 50135 h 129"/>
                <a:gd name="T12" fmla="*/ 156673 w 370"/>
                <a:gd name="T13" fmla="*/ 38765 h 129"/>
                <a:gd name="T14" fmla="*/ 150984 w 370"/>
                <a:gd name="T15" fmla="*/ 24809 h 129"/>
                <a:gd name="T16" fmla="*/ 146608 w 370"/>
                <a:gd name="T17" fmla="*/ 13955 h 129"/>
                <a:gd name="T18" fmla="*/ 144420 w 370"/>
                <a:gd name="T19" fmla="*/ 9303 h 129"/>
                <a:gd name="T20" fmla="*/ 131291 w 370"/>
                <a:gd name="T21" fmla="*/ 7753 h 129"/>
                <a:gd name="T22" fmla="*/ 112472 w 370"/>
                <a:gd name="T23" fmla="*/ 4652 h 129"/>
                <a:gd name="T24" fmla="*/ 93654 w 370"/>
                <a:gd name="T25" fmla="*/ 1034 h 129"/>
                <a:gd name="T26" fmla="*/ 80087 w 370"/>
                <a:gd name="T27" fmla="*/ 0 h 129"/>
                <a:gd name="T28" fmla="*/ 78337 w 370"/>
                <a:gd name="T29" fmla="*/ 0 h 129"/>
                <a:gd name="T30" fmla="*/ 77024 w 370"/>
                <a:gd name="T31" fmla="*/ 517 h 129"/>
                <a:gd name="T32" fmla="*/ 75273 w 370"/>
                <a:gd name="T33" fmla="*/ 1034 h 129"/>
                <a:gd name="T34" fmla="*/ 74398 w 370"/>
                <a:gd name="T35" fmla="*/ 1551 h 129"/>
                <a:gd name="T36" fmla="*/ 70897 w 370"/>
                <a:gd name="T37" fmla="*/ 3618 h 129"/>
                <a:gd name="T38" fmla="*/ 65645 w 370"/>
                <a:gd name="T39" fmla="*/ 6202 h 129"/>
                <a:gd name="T40" fmla="*/ 64332 w 370"/>
                <a:gd name="T41" fmla="*/ 10854 h 129"/>
                <a:gd name="T42" fmla="*/ 61269 w 370"/>
                <a:gd name="T43" fmla="*/ 18090 h 129"/>
                <a:gd name="T44" fmla="*/ 58643 w 370"/>
                <a:gd name="T45" fmla="*/ 24809 h 129"/>
                <a:gd name="T46" fmla="*/ 57330 w 370"/>
                <a:gd name="T47" fmla="*/ 28427 h 129"/>
                <a:gd name="T48" fmla="*/ 53391 w 370"/>
                <a:gd name="T49" fmla="*/ 27910 h 129"/>
                <a:gd name="T50" fmla="*/ 48578 w 370"/>
                <a:gd name="T51" fmla="*/ 25326 h 129"/>
                <a:gd name="T52" fmla="*/ 42888 w 370"/>
                <a:gd name="T53" fmla="*/ 22742 h 129"/>
                <a:gd name="T54" fmla="*/ 36761 w 370"/>
                <a:gd name="T55" fmla="*/ 19641 h 129"/>
                <a:gd name="T56" fmla="*/ 26258 w 370"/>
                <a:gd name="T57" fmla="*/ 13438 h 129"/>
                <a:gd name="T58" fmla="*/ 19256 w 370"/>
                <a:gd name="T59" fmla="*/ 9303 h 129"/>
                <a:gd name="T60" fmla="*/ 14004 w 370"/>
                <a:gd name="T61" fmla="*/ 12922 h 129"/>
                <a:gd name="T62" fmla="*/ 9190 w 370"/>
                <a:gd name="T63" fmla="*/ 17056 h 129"/>
                <a:gd name="T64" fmla="*/ 7002 w 370"/>
                <a:gd name="T65" fmla="*/ 19124 h 129"/>
                <a:gd name="T66" fmla="*/ 5252 w 370"/>
                <a:gd name="T67" fmla="*/ 21191 h 129"/>
                <a:gd name="T68" fmla="*/ 3939 w 370"/>
                <a:gd name="T69" fmla="*/ 23776 h 129"/>
                <a:gd name="T70" fmla="*/ 2188 w 370"/>
                <a:gd name="T71" fmla="*/ 26877 h 129"/>
                <a:gd name="T72" fmla="*/ 1313 w 370"/>
                <a:gd name="T73" fmla="*/ 29461 h 129"/>
                <a:gd name="T74" fmla="*/ 438 w 370"/>
                <a:gd name="T75" fmla="*/ 32562 h 129"/>
                <a:gd name="T76" fmla="*/ 0 w 370"/>
                <a:gd name="T77" fmla="*/ 35663 h 129"/>
                <a:gd name="T78" fmla="*/ 0 w 370"/>
                <a:gd name="T79" fmla="*/ 38765 h 129"/>
                <a:gd name="T80" fmla="*/ 438 w 370"/>
                <a:gd name="T81" fmla="*/ 42383 h 129"/>
                <a:gd name="T82" fmla="*/ 1313 w 370"/>
                <a:gd name="T83" fmla="*/ 45484 h 129"/>
                <a:gd name="T84" fmla="*/ 2626 w 370"/>
                <a:gd name="T85" fmla="*/ 49619 h 129"/>
                <a:gd name="T86" fmla="*/ 4814 w 370"/>
                <a:gd name="T87" fmla="*/ 53237 h 129"/>
                <a:gd name="T88" fmla="*/ 8753 w 370"/>
                <a:gd name="T89" fmla="*/ 52203 h 129"/>
                <a:gd name="T90" fmla="*/ 14442 w 370"/>
                <a:gd name="T91" fmla="*/ 51169 h 129"/>
                <a:gd name="T92" fmla="*/ 21882 w 370"/>
                <a:gd name="T93" fmla="*/ 50135 h 129"/>
                <a:gd name="T94" fmla="*/ 30197 w 370"/>
                <a:gd name="T95" fmla="*/ 49102 h 129"/>
                <a:gd name="T96" fmla="*/ 44639 w 370"/>
                <a:gd name="T97" fmla="*/ 47551 h 129"/>
                <a:gd name="T98" fmla="*/ 51203 w 370"/>
                <a:gd name="T99" fmla="*/ 47034 h 129"/>
                <a:gd name="T100" fmla="*/ 59956 w 370"/>
                <a:gd name="T101" fmla="*/ 47551 h 129"/>
                <a:gd name="T102" fmla="*/ 66521 w 370"/>
                <a:gd name="T103" fmla="*/ 48585 h 129"/>
                <a:gd name="T104" fmla="*/ 72647 w 370"/>
                <a:gd name="T105" fmla="*/ 50135 h 129"/>
                <a:gd name="T106" fmla="*/ 77461 w 370"/>
                <a:gd name="T107" fmla="*/ 51686 h 129"/>
                <a:gd name="T108" fmla="*/ 82713 w 370"/>
                <a:gd name="T109" fmla="*/ 53753 h 129"/>
                <a:gd name="T110" fmla="*/ 87965 w 370"/>
                <a:gd name="T111" fmla="*/ 55821 h 129"/>
                <a:gd name="T112" fmla="*/ 94967 w 370"/>
                <a:gd name="T113" fmla="*/ 56855 h 129"/>
                <a:gd name="T114" fmla="*/ 103720 w 370"/>
                <a:gd name="T115" fmla="*/ 57372 h 129"/>
                <a:gd name="T116" fmla="*/ 103720 w 370"/>
                <a:gd name="T117" fmla="*/ 60473 h 129"/>
                <a:gd name="T118" fmla="*/ 109409 w 370"/>
                <a:gd name="T119" fmla="*/ 60473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2" name="Freeform 470">
              <a:extLst>
                <a:ext uri="{FF2B5EF4-FFF2-40B4-BE49-F238E27FC236}">
                  <a16:creationId xmlns:a16="http://schemas.microsoft.com/office/drawing/2014/main" id="{1230C535-0850-434B-95F4-0C22DF49E2E6}"/>
                </a:ext>
              </a:extLst>
            </p:cNvPr>
            <p:cNvSpPr>
              <a:spLocks/>
            </p:cNvSpPr>
            <p:nvPr>
              <p:custDataLst>
                <p:tags r:id="rId308"/>
              </p:custDataLst>
            </p:nvPr>
          </p:nvSpPr>
          <p:spPr bwMode="auto">
            <a:xfrm>
              <a:off x="4846632" y="2565380"/>
              <a:ext cx="30162" cy="57150"/>
            </a:xfrm>
            <a:custGeom>
              <a:avLst/>
              <a:gdLst>
                <a:gd name="T0" fmla="*/ 10180 w 80"/>
                <a:gd name="T1" fmla="*/ 608 h 94"/>
                <a:gd name="T2" fmla="*/ 12819 w 80"/>
                <a:gd name="T3" fmla="*/ 0 h 94"/>
                <a:gd name="T4" fmla="*/ 15458 w 80"/>
                <a:gd name="T5" fmla="*/ 0 h 94"/>
                <a:gd name="T6" fmla="*/ 17720 w 80"/>
                <a:gd name="T7" fmla="*/ 1216 h 94"/>
                <a:gd name="T8" fmla="*/ 20359 w 80"/>
                <a:gd name="T9" fmla="*/ 2432 h 94"/>
                <a:gd name="T10" fmla="*/ 22622 w 80"/>
                <a:gd name="T11" fmla="*/ 3648 h 94"/>
                <a:gd name="T12" fmla="*/ 24884 w 80"/>
                <a:gd name="T13" fmla="*/ 4864 h 94"/>
                <a:gd name="T14" fmla="*/ 27523 w 80"/>
                <a:gd name="T15" fmla="*/ 4864 h 94"/>
                <a:gd name="T16" fmla="*/ 30162 w 80"/>
                <a:gd name="T17" fmla="*/ 4256 h 94"/>
                <a:gd name="T18" fmla="*/ 30162 w 80"/>
                <a:gd name="T19" fmla="*/ 23103 h 94"/>
                <a:gd name="T20" fmla="*/ 28277 w 80"/>
                <a:gd name="T21" fmla="*/ 26751 h 94"/>
                <a:gd name="T22" fmla="*/ 26015 w 80"/>
                <a:gd name="T23" fmla="*/ 31007 h 94"/>
                <a:gd name="T24" fmla="*/ 24130 w 80"/>
                <a:gd name="T25" fmla="*/ 35871 h 94"/>
                <a:gd name="T26" fmla="*/ 21867 w 80"/>
                <a:gd name="T27" fmla="*/ 41343 h 94"/>
                <a:gd name="T28" fmla="*/ 19228 w 80"/>
                <a:gd name="T29" fmla="*/ 51070 h 94"/>
                <a:gd name="T30" fmla="*/ 17720 w 80"/>
                <a:gd name="T31" fmla="*/ 57150 h 94"/>
                <a:gd name="T32" fmla="*/ 16212 w 80"/>
                <a:gd name="T33" fmla="*/ 56542 h 94"/>
                <a:gd name="T34" fmla="*/ 15081 w 80"/>
                <a:gd name="T35" fmla="*/ 55934 h 94"/>
                <a:gd name="T36" fmla="*/ 13950 w 80"/>
                <a:gd name="T37" fmla="*/ 55326 h 94"/>
                <a:gd name="T38" fmla="*/ 12819 w 80"/>
                <a:gd name="T39" fmla="*/ 54110 h 94"/>
                <a:gd name="T40" fmla="*/ 10934 w 80"/>
                <a:gd name="T41" fmla="*/ 51070 h 94"/>
                <a:gd name="T42" fmla="*/ 8672 w 80"/>
                <a:gd name="T43" fmla="*/ 47422 h 94"/>
                <a:gd name="T44" fmla="*/ 7163 w 80"/>
                <a:gd name="T45" fmla="*/ 43774 h 94"/>
                <a:gd name="T46" fmla="*/ 4901 w 80"/>
                <a:gd name="T47" fmla="*/ 39519 h 94"/>
                <a:gd name="T48" fmla="*/ 2639 w 80"/>
                <a:gd name="T49" fmla="*/ 36479 h 94"/>
                <a:gd name="T50" fmla="*/ 0 w 80"/>
                <a:gd name="T51" fmla="*/ 34047 h 94"/>
                <a:gd name="T52" fmla="*/ 3016 w 80"/>
                <a:gd name="T53" fmla="*/ 24927 h 94"/>
                <a:gd name="T54" fmla="*/ 4901 w 80"/>
                <a:gd name="T55" fmla="*/ 17631 h 94"/>
                <a:gd name="T56" fmla="*/ 7163 w 80"/>
                <a:gd name="T57" fmla="*/ 10336 h 94"/>
                <a:gd name="T58" fmla="*/ 10180 w 80"/>
                <a:gd name="T59" fmla="*/ 608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3" name="Freeform 471">
              <a:extLst>
                <a:ext uri="{FF2B5EF4-FFF2-40B4-BE49-F238E27FC236}">
                  <a16:creationId xmlns:a16="http://schemas.microsoft.com/office/drawing/2014/main" id="{2AA0A807-D808-4749-A67C-73DA7CE3A4E3}"/>
                </a:ext>
              </a:extLst>
            </p:cNvPr>
            <p:cNvSpPr>
              <a:spLocks/>
            </p:cNvSpPr>
            <p:nvPr>
              <p:custDataLst>
                <p:tags r:id="rId309"/>
              </p:custDataLst>
            </p:nvPr>
          </p:nvSpPr>
          <p:spPr bwMode="auto">
            <a:xfrm>
              <a:off x="4662482" y="4576727"/>
              <a:ext cx="61912" cy="57150"/>
            </a:xfrm>
            <a:custGeom>
              <a:avLst/>
              <a:gdLst>
                <a:gd name="T0" fmla="*/ 1376 w 135"/>
                <a:gd name="T1" fmla="*/ 32074 h 98"/>
                <a:gd name="T2" fmla="*/ 5045 w 135"/>
                <a:gd name="T3" fmla="*/ 31491 h 98"/>
                <a:gd name="T4" fmla="*/ 8255 w 135"/>
                <a:gd name="T5" fmla="*/ 30908 h 98"/>
                <a:gd name="T6" fmla="*/ 11007 w 135"/>
                <a:gd name="T7" fmla="*/ 29158 h 98"/>
                <a:gd name="T8" fmla="*/ 14217 w 135"/>
                <a:gd name="T9" fmla="*/ 27409 h 98"/>
                <a:gd name="T10" fmla="*/ 19262 w 135"/>
                <a:gd name="T11" fmla="*/ 22160 h 98"/>
                <a:gd name="T12" fmla="*/ 23848 w 135"/>
                <a:gd name="T13" fmla="*/ 16329 h 98"/>
                <a:gd name="T14" fmla="*/ 27975 w 135"/>
                <a:gd name="T15" fmla="*/ 10497 h 98"/>
                <a:gd name="T16" fmla="*/ 32561 w 135"/>
                <a:gd name="T17" fmla="*/ 4665 h 98"/>
                <a:gd name="T18" fmla="*/ 34854 w 135"/>
                <a:gd name="T19" fmla="*/ 2916 h 98"/>
                <a:gd name="T20" fmla="*/ 37606 w 135"/>
                <a:gd name="T21" fmla="*/ 1166 h 98"/>
                <a:gd name="T22" fmla="*/ 40357 w 135"/>
                <a:gd name="T23" fmla="*/ 0 h 98"/>
                <a:gd name="T24" fmla="*/ 44026 w 135"/>
                <a:gd name="T25" fmla="*/ 0 h 98"/>
                <a:gd name="T26" fmla="*/ 46778 w 135"/>
                <a:gd name="T27" fmla="*/ 0 h 98"/>
                <a:gd name="T28" fmla="*/ 50447 w 135"/>
                <a:gd name="T29" fmla="*/ 1749 h 98"/>
                <a:gd name="T30" fmla="*/ 53657 w 135"/>
                <a:gd name="T31" fmla="*/ 3499 h 98"/>
                <a:gd name="T32" fmla="*/ 56409 w 135"/>
                <a:gd name="T33" fmla="*/ 6415 h 98"/>
                <a:gd name="T34" fmla="*/ 58702 w 135"/>
                <a:gd name="T35" fmla="*/ 9331 h 98"/>
                <a:gd name="T36" fmla="*/ 60536 w 135"/>
                <a:gd name="T37" fmla="*/ 13996 h 98"/>
                <a:gd name="T38" fmla="*/ 61453 w 135"/>
                <a:gd name="T39" fmla="*/ 17495 h 98"/>
                <a:gd name="T40" fmla="*/ 61912 w 135"/>
                <a:gd name="T41" fmla="*/ 21577 h 98"/>
                <a:gd name="T42" fmla="*/ 61453 w 135"/>
                <a:gd name="T43" fmla="*/ 23327 h 98"/>
                <a:gd name="T44" fmla="*/ 60536 w 135"/>
                <a:gd name="T45" fmla="*/ 25076 h 98"/>
                <a:gd name="T46" fmla="*/ 59160 w 135"/>
                <a:gd name="T47" fmla="*/ 27409 h 98"/>
                <a:gd name="T48" fmla="*/ 56867 w 135"/>
                <a:gd name="T49" fmla="*/ 29741 h 98"/>
                <a:gd name="T50" fmla="*/ 51823 w 135"/>
                <a:gd name="T51" fmla="*/ 35573 h 98"/>
                <a:gd name="T52" fmla="*/ 45861 w 135"/>
                <a:gd name="T53" fmla="*/ 41988 h 98"/>
                <a:gd name="T54" fmla="*/ 39899 w 135"/>
                <a:gd name="T55" fmla="*/ 47819 h 98"/>
                <a:gd name="T56" fmla="*/ 33937 w 135"/>
                <a:gd name="T57" fmla="*/ 53068 h 98"/>
                <a:gd name="T58" fmla="*/ 28892 w 135"/>
                <a:gd name="T59" fmla="*/ 55984 h 98"/>
                <a:gd name="T60" fmla="*/ 25223 w 135"/>
                <a:gd name="T61" fmla="*/ 57150 h 98"/>
                <a:gd name="T62" fmla="*/ 23389 w 135"/>
                <a:gd name="T63" fmla="*/ 56567 h 98"/>
                <a:gd name="T64" fmla="*/ 19720 w 135"/>
                <a:gd name="T65" fmla="*/ 53651 h 98"/>
                <a:gd name="T66" fmla="*/ 14675 w 135"/>
                <a:gd name="T67" fmla="*/ 49569 h 98"/>
                <a:gd name="T68" fmla="*/ 9631 w 135"/>
                <a:gd name="T69" fmla="*/ 44904 h 98"/>
                <a:gd name="T70" fmla="*/ 5045 w 135"/>
                <a:gd name="T71" fmla="*/ 39655 h 98"/>
                <a:gd name="T72" fmla="*/ 2293 w 135"/>
                <a:gd name="T73" fmla="*/ 36156 h 98"/>
                <a:gd name="T74" fmla="*/ 459 w 135"/>
                <a:gd name="T75" fmla="*/ 34407 h 98"/>
                <a:gd name="T76" fmla="*/ 0 w 135"/>
                <a:gd name="T77" fmla="*/ 33240 h 98"/>
                <a:gd name="T78" fmla="*/ 0 w 135"/>
                <a:gd name="T79" fmla="*/ 32657 h 98"/>
                <a:gd name="T80" fmla="*/ 1376 w 135"/>
                <a:gd name="T81" fmla="*/ 32074 h 9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35" h="98">
                  <a:moveTo>
                    <a:pt x="3" y="55"/>
                  </a:moveTo>
                  <a:lnTo>
                    <a:pt x="11" y="54"/>
                  </a:lnTo>
                  <a:lnTo>
                    <a:pt x="18" y="53"/>
                  </a:lnTo>
                  <a:lnTo>
                    <a:pt x="24" y="50"/>
                  </a:lnTo>
                  <a:lnTo>
                    <a:pt x="31" y="47"/>
                  </a:lnTo>
                  <a:lnTo>
                    <a:pt x="42" y="38"/>
                  </a:lnTo>
                  <a:lnTo>
                    <a:pt x="52" y="28"/>
                  </a:lnTo>
                  <a:lnTo>
                    <a:pt x="61" y="18"/>
                  </a:lnTo>
                  <a:lnTo>
                    <a:pt x="71" y="8"/>
                  </a:lnTo>
                  <a:lnTo>
                    <a:pt x="76" y="5"/>
                  </a:lnTo>
                  <a:lnTo>
                    <a:pt x="82" y="2"/>
                  </a:lnTo>
                  <a:lnTo>
                    <a:pt x="88" y="0"/>
                  </a:lnTo>
                  <a:lnTo>
                    <a:pt x="96" y="0"/>
                  </a:lnTo>
                  <a:lnTo>
                    <a:pt x="102" y="0"/>
                  </a:lnTo>
                  <a:lnTo>
                    <a:pt x="110" y="3"/>
                  </a:lnTo>
                  <a:lnTo>
                    <a:pt x="117" y="6"/>
                  </a:lnTo>
                  <a:lnTo>
                    <a:pt x="123" y="11"/>
                  </a:lnTo>
                  <a:lnTo>
                    <a:pt x="128" y="16"/>
                  </a:lnTo>
                  <a:lnTo>
                    <a:pt x="132" y="24"/>
                  </a:lnTo>
                  <a:lnTo>
                    <a:pt x="134" y="30"/>
                  </a:lnTo>
                  <a:lnTo>
                    <a:pt x="135" y="37"/>
                  </a:lnTo>
                  <a:lnTo>
                    <a:pt x="134" y="40"/>
                  </a:lnTo>
                  <a:lnTo>
                    <a:pt x="132" y="43"/>
                  </a:lnTo>
                  <a:lnTo>
                    <a:pt x="129" y="47"/>
                  </a:lnTo>
                  <a:lnTo>
                    <a:pt x="124" y="51"/>
                  </a:lnTo>
                  <a:lnTo>
                    <a:pt x="113" y="61"/>
                  </a:lnTo>
                  <a:lnTo>
                    <a:pt x="100" y="72"/>
                  </a:lnTo>
                  <a:lnTo>
                    <a:pt x="87" y="82"/>
                  </a:lnTo>
                  <a:lnTo>
                    <a:pt x="74" y="91"/>
                  </a:lnTo>
                  <a:lnTo>
                    <a:pt x="63" y="96"/>
                  </a:lnTo>
                  <a:lnTo>
                    <a:pt x="55" y="98"/>
                  </a:lnTo>
                  <a:lnTo>
                    <a:pt x="51" y="97"/>
                  </a:lnTo>
                  <a:lnTo>
                    <a:pt x="43" y="92"/>
                  </a:lnTo>
                  <a:lnTo>
                    <a:pt x="32" y="85"/>
                  </a:lnTo>
                  <a:lnTo>
                    <a:pt x="21" y="77"/>
                  </a:lnTo>
                  <a:lnTo>
                    <a:pt x="11" y="68"/>
                  </a:lnTo>
                  <a:lnTo>
                    <a:pt x="5" y="62"/>
                  </a:lnTo>
                  <a:lnTo>
                    <a:pt x="1" y="59"/>
                  </a:lnTo>
                  <a:lnTo>
                    <a:pt x="0" y="57"/>
                  </a:lnTo>
                  <a:lnTo>
                    <a:pt x="0" y="56"/>
                  </a:lnTo>
                  <a:lnTo>
                    <a:pt x="3" y="55"/>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4" name="Freeform 472">
              <a:extLst>
                <a:ext uri="{FF2B5EF4-FFF2-40B4-BE49-F238E27FC236}">
                  <a16:creationId xmlns:a16="http://schemas.microsoft.com/office/drawing/2014/main" id="{CDDA4FAC-EB62-4A60-94F7-A357064DF729}"/>
                </a:ext>
              </a:extLst>
            </p:cNvPr>
            <p:cNvSpPr>
              <a:spLocks/>
            </p:cNvSpPr>
            <p:nvPr>
              <p:custDataLst>
                <p:tags r:id="rId310"/>
              </p:custDataLst>
            </p:nvPr>
          </p:nvSpPr>
          <p:spPr bwMode="auto">
            <a:xfrm>
              <a:off x="4433883" y="1892286"/>
              <a:ext cx="131762" cy="84137"/>
            </a:xfrm>
            <a:custGeom>
              <a:avLst/>
              <a:gdLst>
                <a:gd name="T0" fmla="*/ 81084 w 312"/>
                <a:gd name="T1" fmla="*/ 84138 h 155"/>
                <a:gd name="T2" fmla="*/ 81929 w 312"/>
                <a:gd name="T3" fmla="*/ 81967 h 155"/>
                <a:gd name="T4" fmla="*/ 83196 w 312"/>
                <a:gd name="T5" fmla="*/ 80338 h 155"/>
                <a:gd name="T6" fmla="*/ 84463 w 312"/>
                <a:gd name="T7" fmla="*/ 78710 h 155"/>
                <a:gd name="T8" fmla="*/ 85730 w 312"/>
                <a:gd name="T9" fmla="*/ 77081 h 155"/>
                <a:gd name="T10" fmla="*/ 89108 w 312"/>
                <a:gd name="T11" fmla="*/ 74367 h 155"/>
                <a:gd name="T12" fmla="*/ 92909 w 312"/>
                <a:gd name="T13" fmla="*/ 71653 h 155"/>
                <a:gd name="T14" fmla="*/ 100511 w 312"/>
                <a:gd name="T15" fmla="*/ 66768 h 155"/>
                <a:gd name="T16" fmla="*/ 106845 w 312"/>
                <a:gd name="T17" fmla="*/ 63511 h 155"/>
                <a:gd name="T18" fmla="*/ 107690 w 312"/>
                <a:gd name="T19" fmla="*/ 59168 h 155"/>
                <a:gd name="T20" fmla="*/ 109802 w 312"/>
                <a:gd name="T21" fmla="*/ 52654 h 155"/>
                <a:gd name="T22" fmla="*/ 111491 w 312"/>
                <a:gd name="T23" fmla="*/ 49397 h 155"/>
                <a:gd name="T24" fmla="*/ 112758 w 312"/>
                <a:gd name="T25" fmla="*/ 46683 h 155"/>
                <a:gd name="T26" fmla="*/ 113602 w 312"/>
                <a:gd name="T27" fmla="*/ 44512 h 155"/>
                <a:gd name="T28" fmla="*/ 114869 w 312"/>
                <a:gd name="T29" fmla="*/ 43969 h 155"/>
                <a:gd name="T30" fmla="*/ 131762 w 312"/>
                <a:gd name="T31" fmla="*/ 23884 h 155"/>
                <a:gd name="T32" fmla="*/ 131762 w 312"/>
                <a:gd name="T33" fmla="*/ 21170 h 155"/>
                <a:gd name="T34" fmla="*/ 130917 w 312"/>
                <a:gd name="T35" fmla="*/ 18999 h 155"/>
                <a:gd name="T36" fmla="*/ 129228 w 312"/>
                <a:gd name="T37" fmla="*/ 17370 h 155"/>
                <a:gd name="T38" fmla="*/ 127539 w 312"/>
                <a:gd name="T39" fmla="*/ 16285 h 155"/>
                <a:gd name="T40" fmla="*/ 122893 w 312"/>
                <a:gd name="T41" fmla="*/ 15199 h 155"/>
                <a:gd name="T42" fmla="*/ 118248 w 312"/>
                <a:gd name="T43" fmla="*/ 14656 h 155"/>
                <a:gd name="T44" fmla="*/ 113180 w 312"/>
                <a:gd name="T45" fmla="*/ 14656 h 155"/>
                <a:gd name="T46" fmla="*/ 109379 w 312"/>
                <a:gd name="T47" fmla="*/ 14656 h 155"/>
                <a:gd name="T48" fmla="*/ 108112 w 312"/>
                <a:gd name="T49" fmla="*/ 14113 h 155"/>
                <a:gd name="T50" fmla="*/ 106845 w 312"/>
                <a:gd name="T51" fmla="*/ 13571 h 155"/>
                <a:gd name="T52" fmla="*/ 106423 w 312"/>
                <a:gd name="T53" fmla="*/ 12485 h 155"/>
                <a:gd name="T54" fmla="*/ 106845 w 312"/>
                <a:gd name="T55" fmla="*/ 10857 h 155"/>
                <a:gd name="T56" fmla="*/ 97977 w 312"/>
                <a:gd name="T57" fmla="*/ 10314 h 155"/>
                <a:gd name="T58" fmla="*/ 91220 w 312"/>
                <a:gd name="T59" fmla="*/ 9228 h 155"/>
                <a:gd name="T60" fmla="*/ 85307 w 312"/>
                <a:gd name="T61" fmla="*/ 7057 h 155"/>
                <a:gd name="T62" fmla="*/ 79817 w 312"/>
                <a:gd name="T63" fmla="*/ 4885 h 155"/>
                <a:gd name="T64" fmla="*/ 74750 w 312"/>
                <a:gd name="T65" fmla="*/ 3257 h 155"/>
                <a:gd name="T66" fmla="*/ 68837 w 312"/>
                <a:gd name="T67" fmla="*/ 1628 h 155"/>
                <a:gd name="T68" fmla="*/ 61658 w 312"/>
                <a:gd name="T69" fmla="*/ 543 h 155"/>
                <a:gd name="T70" fmla="*/ 53212 w 312"/>
                <a:gd name="T71" fmla="*/ 0 h 155"/>
                <a:gd name="T72" fmla="*/ 46455 w 312"/>
                <a:gd name="T73" fmla="*/ 543 h 155"/>
                <a:gd name="T74" fmla="*/ 31251 w 312"/>
                <a:gd name="T75" fmla="*/ 2171 h 155"/>
                <a:gd name="T76" fmla="*/ 22383 w 312"/>
                <a:gd name="T77" fmla="*/ 3257 h 155"/>
                <a:gd name="T78" fmla="*/ 14359 w 312"/>
                <a:gd name="T79" fmla="*/ 4343 h 155"/>
                <a:gd name="T80" fmla="*/ 7602 w 312"/>
                <a:gd name="T81" fmla="*/ 5428 h 155"/>
                <a:gd name="T82" fmla="*/ 2956 w 312"/>
                <a:gd name="T83" fmla="*/ 6514 h 155"/>
                <a:gd name="T84" fmla="*/ 3801 w 312"/>
                <a:gd name="T85" fmla="*/ 9228 h 155"/>
                <a:gd name="T86" fmla="*/ 4645 w 312"/>
                <a:gd name="T87" fmla="*/ 10314 h 155"/>
                <a:gd name="T88" fmla="*/ 5490 w 312"/>
                <a:gd name="T89" fmla="*/ 10314 h 155"/>
                <a:gd name="T90" fmla="*/ 6335 w 312"/>
                <a:gd name="T91" fmla="*/ 10857 h 155"/>
                <a:gd name="T92" fmla="*/ 7602 w 312"/>
                <a:gd name="T93" fmla="*/ 10857 h 155"/>
                <a:gd name="T94" fmla="*/ 8024 w 312"/>
                <a:gd name="T95" fmla="*/ 10857 h 155"/>
                <a:gd name="T96" fmla="*/ 8446 w 312"/>
                <a:gd name="T97" fmla="*/ 11942 h 155"/>
                <a:gd name="T98" fmla="*/ 8446 w 312"/>
                <a:gd name="T99" fmla="*/ 14113 h 155"/>
                <a:gd name="T100" fmla="*/ 8446 w 312"/>
                <a:gd name="T101" fmla="*/ 16285 h 155"/>
                <a:gd name="T102" fmla="*/ 8024 w 312"/>
                <a:gd name="T103" fmla="*/ 18999 h 155"/>
                <a:gd name="T104" fmla="*/ 7602 w 312"/>
                <a:gd name="T105" fmla="*/ 21170 h 155"/>
                <a:gd name="T106" fmla="*/ 6335 w 312"/>
                <a:gd name="T107" fmla="*/ 22799 h 155"/>
                <a:gd name="T108" fmla="*/ 5068 w 312"/>
                <a:gd name="T109" fmla="*/ 24427 h 155"/>
                <a:gd name="T110" fmla="*/ 3801 w 312"/>
                <a:gd name="T111" fmla="*/ 26056 h 155"/>
                <a:gd name="T112" fmla="*/ 1689 w 312"/>
                <a:gd name="T113" fmla="*/ 26598 h 155"/>
                <a:gd name="T114" fmla="*/ 0 w 312"/>
                <a:gd name="T115" fmla="*/ 27141 h 155"/>
                <a:gd name="T116" fmla="*/ 31251 w 312"/>
                <a:gd name="T117" fmla="*/ 36912 h 155"/>
                <a:gd name="T118" fmla="*/ 36741 w 312"/>
                <a:gd name="T119" fmla="*/ 60254 h 155"/>
                <a:gd name="T120" fmla="*/ 70104 w 312"/>
                <a:gd name="T121" fmla="*/ 66768 h 155"/>
                <a:gd name="T122" fmla="*/ 81084 w 312"/>
                <a:gd name="T123" fmla="*/ 84138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5" name="Freeform 473">
              <a:extLst>
                <a:ext uri="{FF2B5EF4-FFF2-40B4-BE49-F238E27FC236}">
                  <a16:creationId xmlns:a16="http://schemas.microsoft.com/office/drawing/2014/main" id="{D173EB10-DB9C-4AF2-9C42-E989A6FFAB85}"/>
                </a:ext>
              </a:extLst>
            </p:cNvPr>
            <p:cNvSpPr>
              <a:spLocks/>
            </p:cNvSpPr>
            <p:nvPr>
              <p:custDataLst>
                <p:tags r:id="rId311"/>
              </p:custDataLst>
            </p:nvPr>
          </p:nvSpPr>
          <p:spPr bwMode="auto">
            <a:xfrm>
              <a:off x="4140195" y="2078022"/>
              <a:ext cx="19050" cy="60325"/>
            </a:xfrm>
            <a:custGeom>
              <a:avLst/>
              <a:gdLst>
                <a:gd name="T0" fmla="*/ 0 w 46"/>
                <a:gd name="T1" fmla="*/ 30163 h 50"/>
                <a:gd name="T2" fmla="*/ 828 w 46"/>
                <a:gd name="T3" fmla="*/ 21717 h 50"/>
                <a:gd name="T4" fmla="*/ 414 w 46"/>
                <a:gd name="T5" fmla="*/ 16891 h 50"/>
                <a:gd name="T6" fmla="*/ 828 w 46"/>
                <a:gd name="T7" fmla="*/ 15685 h 50"/>
                <a:gd name="T8" fmla="*/ 1242 w 46"/>
                <a:gd name="T9" fmla="*/ 15685 h 50"/>
                <a:gd name="T10" fmla="*/ 2485 w 46"/>
                <a:gd name="T11" fmla="*/ 14478 h 50"/>
                <a:gd name="T12" fmla="*/ 5384 w 46"/>
                <a:gd name="T13" fmla="*/ 14478 h 50"/>
                <a:gd name="T14" fmla="*/ 19050 w 46"/>
                <a:gd name="T15" fmla="*/ 0 h 50"/>
                <a:gd name="T16" fmla="*/ 19050 w 46"/>
                <a:gd name="T17" fmla="*/ 60325 h 50"/>
                <a:gd name="T18" fmla="*/ 16565 w 46"/>
                <a:gd name="T19" fmla="*/ 59119 h 50"/>
                <a:gd name="T20" fmla="*/ 13666 w 46"/>
                <a:gd name="T21" fmla="*/ 54293 h 50"/>
                <a:gd name="T22" fmla="*/ 10353 w 46"/>
                <a:gd name="T23" fmla="*/ 49467 h 50"/>
                <a:gd name="T24" fmla="*/ 7040 w 46"/>
                <a:gd name="T25" fmla="*/ 44641 h 50"/>
                <a:gd name="T26" fmla="*/ 2071 w 46"/>
                <a:gd name="T27" fmla="*/ 33782 h 50"/>
                <a:gd name="T28" fmla="*/ 0 w 46"/>
                <a:gd name="T29" fmla="*/ 30163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6" name="Freeform 474">
              <a:extLst>
                <a:ext uri="{FF2B5EF4-FFF2-40B4-BE49-F238E27FC236}">
                  <a16:creationId xmlns:a16="http://schemas.microsoft.com/office/drawing/2014/main" id="{C232A6DB-734C-4942-B15E-1DC31A4DBE3D}"/>
                </a:ext>
              </a:extLst>
            </p:cNvPr>
            <p:cNvSpPr>
              <a:spLocks/>
            </p:cNvSpPr>
            <p:nvPr>
              <p:custDataLst>
                <p:tags r:id="rId312"/>
              </p:custDataLst>
            </p:nvPr>
          </p:nvSpPr>
          <p:spPr bwMode="auto">
            <a:xfrm>
              <a:off x="4837107" y="3962369"/>
              <a:ext cx="69850" cy="241298"/>
            </a:xfrm>
            <a:custGeom>
              <a:avLst/>
              <a:gdLst>
                <a:gd name="T0" fmla="*/ 4208 w 166"/>
                <a:gd name="T1" fmla="*/ 149225 h 456"/>
                <a:gd name="T2" fmla="*/ 7995 w 166"/>
                <a:gd name="T3" fmla="*/ 153458 h 456"/>
                <a:gd name="T4" fmla="*/ 15569 w 166"/>
                <a:gd name="T5" fmla="*/ 158750 h 456"/>
                <a:gd name="T6" fmla="*/ 24405 w 166"/>
                <a:gd name="T7" fmla="*/ 161925 h 456"/>
                <a:gd name="T8" fmla="*/ 29455 w 166"/>
                <a:gd name="T9" fmla="*/ 165100 h 456"/>
                <a:gd name="T10" fmla="*/ 33663 w 166"/>
                <a:gd name="T11" fmla="*/ 169333 h 456"/>
                <a:gd name="T12" fmla="*/ 36187 w 166"/>
                <a:gd name="T13" fmla="*/ 175154 h 456"/>
                <a:gd name="T14" fmla="*/ 36187 w 166"/>
                <a:gd name="T15" fmla="*/ 183621 h 456"/>
                <a:gd name="T16" fmla="*/ 32821 w 166"/>
                <a:gd name="T17" fmla="*/ 192088 h 456"/>
                <a:gd name="T18" fmla="*/ 28613 w 166"/>
                <a:gd name="T19" fmla="*/ 198438 h 456"/>
                <a:gd name="T20" fmla="*/ 26089 w 166"/>
                <a:gd name="T21" fmla="*/ 205317 h 456"/>
                <a:gd name="T22" fmla="*/ 25247 w 166"/>
                <a:gd name="T23" fmla="*/ 211667 h 456"/>
                <a:gd name="T24" fmla="*/ 26930 w 166"/>
                <a:gd name="T25" fmla="*/ 217487 h 456"/>
                <a:gd name="T26" fmla="*/ 31980 w 166"/>
                <a:gd name="T27" fmla="*/ 224367 h 456"/>
                <a:gd name="T28" fmla="*/ 43761 w 166"/>
                <a:gd name="T29" fmla="*/ 235479 h 456"/>
                <a:gd name="T30" fmla="*/ 50494 w 166"/>
                <a:gd name="T31" fmla="*/ 234421 h 456"/>
                <a:gd name="T32" fmla="*/ 50494 w 166"/>
                <a:gd name="T33" fmla="*/ 223837 h 456"/>
                <a:gd name="T34" fmla="*/ 55123 w 166"/>
                <a:gd name="T35" fmla="*/ 218546 h 456"/>
                <a:gd name="T36" fmla="*/ 61014 w 166"/>
                <a:gd name="T37" fmla="*/ 215371 h 456"/>
                <a:gd name="T38" fmla="*/ 64380 w 166"/>
                <a:gd name="T39" fmla="*/ 212725 h 456"/>
                <a:gd name="T40" fmla="*/ 67325 w 166"/>
                <a:gd name="T41" fmla="*/ 207962 h 456"/>
                <a:gd name="T42" fmla="*/ 69850 w 166"/>
                <a:gd name="T43" fmla="*/ 198438 h 456"/>
                <a:gd name="T44" fmla="*/ 69429 w 166"/>
                <a:gd name="T45" fmla="*/ 185208 h 456"/>
                <a:gd name="T46" fmla="*/ 66484 w 166"/>
                <a:gd name="T47" fmla="*/ 173567 h 456"/>
                <a:gd name="T48" fmla="*/ 62276 w 166"/>
                <a:gd name="T49" fmla="*/ 162454 h 456"/>
                <a:gd name="T50" fmla="*/ 59330 w 166"/>
                <a:gd name="T51" fmla="*/ 150283 h 456"/>
                <a:gd name="T52" fmla="*/ 56806 w 166"/>
                <a:gd name="T53" fmla="*/ 142346 h 456"/>
                <a:gd name="T54" fmla="*/ 49652 w 166"/>
                <a:gd name="T55" fmla="*/ 132821 h 456"/>
                <a:gd name="T56" fmla="*/ 40816 w 166"/>
                <a:gd name="T57" fmla="*/ 118533 h 456"/>
                <a:gd name="T58" fmla="*/ 35767 w 166"/>
                <a:gd name="T59" fmla="*/ 109008 h 456"/>
                <a:gd name="T60" fmla="*/ 33663 w 166"/>
                <a:gd name="T61" fmla="*/ 103187 h 456"/>
                <a:gd name="T62" fmla="*/ 34083 w 166"/>
                <a:gd name="T63" fmla="*/ 93663 h 456"/>
                <a:gd name="T64" fmla="*/ 37029 w 166"/>
                <a:gd name="T65" fmla="*/ 77788 h 456"/>
                <a:gd name="T66" fmla="*/ 40395 w 166"/>
                <a:gd name="T67" fmla="*/ 68263 h 456"/>
                <a:gd name="T68" fmla="*/ 41237 w 166"/>
                <a:gd name="T69" fmla="*/ 59796 h 456"/>
                <a:gd name="T70" fmla="*/ 39974 w 166"/>
                <a:gd name="T71" fmla="*/ 43392 h 456"/>
                <a:gd name="T72" fmla="*/ 38712 w 166"/>
                <a:gd name="T73" fmla="*/ 23813 h 456"/>
                <a:gd name="T74" fmla="*/ 37450 w 166"/>
                <a:gd name="T75" fmla="*/ 9525 h 456"/>
                <a:gd name="T76" fmla="*/ 29876 w 166"/>
                <a:gd name="T77" fmla="*/ 4233 h 456"/>
                <a:gd name="T78" fmla="*/ 13886 w 166"/>
                <a:gd name="T79" fmla="*/ 2117 h 456"/>
                <a:gd name="T80" fmla="*/ 5049 w 166"/>
                <a:gd name="T81" fmla="*/ 5292 h 456"/>
                <a:gd name="T82" fmla="*/ 9257 w 166"/>
                <a:gd name="T83" fmla="*/ 13229 h 456"/>
                <a:gd name="T84" fmla="*/ 13886 w 166"/>
                <a:gd name="T85" fmla="*/ 15875 h 456"/>
                <a:gd name="T86" fmla="*/ 16831 w 166"/>
                <a:gd name="T87" fmla="*/ 23283 h 456"/>
                <a:gd name="T88" fmla="*/ 16831 w 166"/>
                <a:gd name="T89" fmla="*/ 33867 h 456"/>
                <a:gd name="T90" fmla="*/ 16831 w 166"/>
                <a:gd name="T91" fmla="*/ 41275 h 456"/>
                <a:gd name="T92" fmla="*/ 15148 w 166"/>
                <a:gd name="T93" fmla="*/ 44979 h 456"/>
                <a:gd name="T94" fmla="*/ 12203 w 166"/>
                <a:gd name="T95" fmla="*/ 50271 h 456"/>
                <a:gd name="T96" fmla="*/ 6312 w 166"/>
                <a:gd name="T97" fmla="*/ 57679 h 456"/>
                <a:gd name="T98" fmla="*/ 1262 w 166"/>
                <a:gd name="T99" fmla="*/ 64558 h 456"/>
                <a:gd name="T100" fmla="*/ 2945 w 166"/>
                <a:gd name="T101" fmla="*/ 146579 h 45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6" h="456">
                  <a:moveTo>
                    <a:pt x="7" y="277"/>
                  </a:moveTo>
                  <a:lnTo>
                    <a:pt x="10" y="282"/>
                  </a:lnTo>
                  <a:lnTo>
                    <a:pt x="14" y="287"/>
                  </a:lnTo>
                  <a:lnTo>
                    <a:pt x="19" y="290"/>
                  </a:lnTo>
                  <a:lnTo>
                    <a:pt x="25" y="294"/>
                  </a:lnTo>
                  <a:lnTo>
                    <a:pt x="37" y="300"/>
                  </a:lnTo>
                  <a:lnTo>
                    <a:pt x="52" y="304"/>
                  </a:lnTo>
                  <a:lnTo>
                    <a:pt x="58" y="306"/>
                  </a:lnTo>
                  <a:lnTo>
                    <a:pt x="65" y="309"/>
                  </a:lnTo>
                  <a:lnTo>
                    <a:pt x="70" y="312"/>
                  </a:lnTo>
                  <a:lnTo>
                    <a:pt x="76" y="316"/>
                  </a:lnTo>
                  <a:lnTo>
                    <a:pt x="80" y="320"/>
                  </a:lnTo>
                  <a:lnTo>
                    <a:pt x="84" y="325"/>
                  </a:lnTo>
                  <a:lnTo>
                    <a:pt x="86" y="331"/>
                  </a:lnTo>
                  <a:lnTo>
                    <a:pt x="87" y="339"/>
                  </a:lnTo>
                  <a:lnTo>
                    <a:pt x="86" y="347"/>
                  </a:lnTo>
                  <a:lnTo>
                    <a:pt x="82" y="356"/>
                  </a:lnTo>
                  <a:lnTo>
                    <a:pt x="78" y="363"/>
                  </a:lnTo>
                  <a:lnTo>
                    <a:pt x="74" y="369"/>
                  </a:lnTo>
                  <a:lnTo>
                    <a:pt x="68" y="375"/>
                  </a:lnTo>
                  <a:lnTo>
                    <a:pt x="64" y="381"/>
                  </a:lnTo>
                  <a:lnTo>
                    <a:pt x="62" y="388"/>
                  </a:lnTo>
                  <a:lnTo>
                    <a:pt x="60" y="394"/>
                  </a:lnTo>
                  <a:lnTo>
                    <a:pt x="60" y="400"/>
                  </a:lnTo>
                  <a:lnTo>
                    <a:pt x="62" y="405"/>
                  </a:lnTo>
                  <a:lnTo>
                    <a:pt x="64" y="411"/>
                  </a:lnTo>
                  <a:lnTo>
                    <a:pt x="67" y="416"/>
                  </a:lnTo>
                  <a:lnTo>
                    <a:pt x="76" y="424"/>
                  </a:lnTo>
                  <a:lnTo>
                    <a:pt x="85" y="432"/>
                  </a:lnTo>
                  <a:lnTo>
                    <a:pt x="104" y="445"/>
                  </a:lnTo>
                  <a:lnTo>
                    <a:pt x="120" y="456"/>
                  </a:lnTo>
                  <a:lnTo>
                    <a:pt x="120" y="443"/>
                  </a:lnTo>
                  <a:lnTo>
                    <a:pt x="120" y="432"/>
                  </a:lnTo>
                  <a:lnTo>
                    <a:pt x="120" y="423"/>
                  </a:lnTo>
                  <a:lnTo>
                    <a:pt x="120" y="413"/>
                  </a:lnTo>
                  <a:lnTo>
                    <a:pt x="131" y="413"/>
                  </a:lnTo>
                  <a:lnTo>
                    <a:pt x="141" y="410"/>
                  </a:lnTo>
                  <a:lnTo>
                    <a:pt x="145" y="407"/>
                  </a:lnTo>
                  <a:lnTo>
                    <a:pt x="149" y="405"/>
                  </a:lnTo>
                  <a:lnTo>
                    <a:pt x="153" y="402"/>
                  </a:lnTo>
                  <a:lnTo>
                    <a:pt x="155" y="399"/>
                  </a:lnTo>
                  <a:lnTo>
                    <a:pt x="160" y="393"/>
                  </a:lnTo>
                  <a:lnTo>
                    <a:pt x="164" y="384"/>
                  </a:lnTo>
                  <a:lnTo>
                    <a:pt x="166" y="375"/>
                  </a:lnTo>
                  <a:lnTo>
                    <a:pt x="166" y="364"/>
                  </a:lnTo>
                  <a:lnTo>
                    <a:pt x="165" y="350"/>
                  </a:lnTo>
                  <a:lnTo>
                    <a:pt x="163" y="339"/>
                  </a:lnTo>
                  <a:lnTo>
                    <a:pt x="158" y="328"/>
                  </a:lnTo>
                  <a:lnTo>
                    <a:pt x="153" y="318"/>
                  </a:lnTo>
                  <a:lnTo>
                    <a:pt x="148" y="307"/>
                  </a:lnTo>
                  <a:lnTo>
                    <a:pt x="144" y="296"/>
                  </a:lnTo>
                  <a:lnTo>
                    <a:pt x="141" y="284"/>
                  </a:lnTo>
                  <a:lnTo>
                    <a:pt x="140" y="271"/>
                  </a:lnTo>
                  <a:lnTo>
                    <a:pt x="135" y="269"/>
                  </a:lnTo>
                  <a:lnTo>
                    <a:pt x="127" y="261"/>
                  </a:lnTo>
                  <a:lnTo>
                    <a:pt x="118" y="251"/>
                  </a:lnTo>
                  <a:lnTo>
                    <a:pt x="108" y="238"/>
                  </a:lnTo>
                  <a:lnTo>
                    <a:pt x="97" y="224"/>
                  </a:lnTo>
                  <a:lnTo>
                    <a:pt x="88" y="211"/>
                  </a:lnTo>
                  <a:lnTo>
                    <a:pt x="85" y="206"/>
                  </a:lnTo>
                  <a:lnTo>
                    <a:pt x="82" y="200"/>
                  </a:lnTo>
                  <a:lnTo>
                    <a:pt x="80" y="195"/>
                  </a:lnTo>
                  <a:lnTo>
                    <a:pt x="80" y="192"/>
                  </a:lnTo>
                  <a:lnTo>
                    <a:pt x="81" y="177"/>
                  </a:lnTo>
                  <a:lnTo>
                    <a:pt x="85" y="157"/>
                  </a:lnTo>
                  <a:lnTo>
                    <a:pt x="88" y="147"/>
                  </a:lnTo>
                  <a:lnTo>
                    <a:pt x="91" y="138"/>
                  </a:lnTo>
                  <a:lnTo>
                    <a:pt x="96" y="129"/>
                  </a:lnTo>
                  <a:lnTo>
                    <a:pt x="100" y="123"/>
                  </a:lnTo>
                  <a:lnTo>
                    <a:pt x="98" y="113"/>
                  </a:lnTo>
                  <a:lnTo>
                    <a:pt x="96" y="99"/>
                  </a:lnTo>
                  <a:lnTo>
                    <a:pt x="95" y="82"/>
                  </a:lnTo>
                  <a:lnTo>
                    <a:pt x="93" y="63"/>
                  </a:lnTo>
                  <a:lnTo>
                    <a:pt x="92" y="45"/>
                  </a:lnTo>
                  <a:lnTo>
                    <a:pt x="90" y="30"/>
                  </a:lnTo>
                  <a:lnTo>
                    <a:pt x="89" y="18"/>
                  </a:lnTo>
                  <a:lnTo>
                    <a:pt x="87" y="12"/>
                  </a:lnTo>
                  <a:lnTo>
                    <a:pt x="71" y="8"/>
                  </a:lnTo>
                  <a:lnTo>
                    <a:pt x="54" y="6"/>
                  </a:lnTo>
                  <a:lnTo>
                    <a:pt x="33" y="4"/>
                  </a:lnTo>
                  <a:lnTo>
                    <a:pt x="7" y="0"/>
                  </a:lnTo>
                  <a:lnTo>
                    <a:pt x="12" y="10"/>
                  </a:lnTo>
                  <a:lnTo>
                    <a:pt x="19" y="21"/>
                  </a:lnTo>
                  <a:lnTo>
                    <a:pt x="22" y="25"/>
                  </a:lnTo>
                  <a:lnTo>
                    <a:pt x="28" y="28"/>
                  </a:lnTo>
                  <a:lnTo>
                    <a:pt x="33" y="30"/>
                  </a:lnTo>
                  <a:lnTo>
                    <a:pt x="40" y="31"/>
                  </a:lnTo>
                  <a:lnTo>
                    <a:pt x="40" y="44"/>
                  </a:lnTo>
                  <a:lnTo>
                    <a:pt x="40" y="55"/>
                  </a:lnTo>
                  <a:lnTo>
                    <a:pt x="40" y="64"/>
                  </a:lnTo>
                  <a:lnTo>
                    <a:pt x="40" y="74"/>
                  </a:lnTo>
                  <a:lnTo>
                    <a:pt x="40" y="78"/>
                  </a:lnTo>
                  <a:lnTo>
                    <a:pt x="39" y="81"/>
                  </a:lnTo>
                  <a:lnTo>
                    <a:pt x="36" y="85"/>
                  </a:lnTo>
                  <a:lnTo>
                    <a:pt x="35" y="88"/>
                  </a:lnTo>
                  <a:lnTo>
                    <a:pt x="29" y="95"/>
                  </a:lnTo>
                  <a:lnTo>
                    <a:pt x="22" y="102"/>
                  </a:lnTo>
                  <a:lnTo>
                    <a:pt x="15" y="109"/>
                  </a:lnTo>
                  <a:lnTo>
                    <a:pt x="9" y="115"/>
                  </a:lnTo>
                  <a:lnTo>
                    <a:pt x="3" y="122"/>
                  </a:lnTo>
                  <a:lnTo>
                    <a:pt x="0" y="129"/>
                  </a:lnTo>
                  <a:lnTo>
                    <a:pt x="7" y="27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7" name="Freeform 475">
              <a:extLst>
                <a:ext uri="{FF2B5EF4-FFF2-40B4-BE49-F238E27FC236}">
                  <a16:creationId xmlns:a16="http://schemas.microsoft.com/office/drawing/2014/main" id="{9144300F-620E-427D-AB7C-A57B210AAA02}"/>
                </a:ext>
              </a:extLst>
            </p:cNvPr>
            <p:cNvSpPr>
              <a:spLocks/>
            </p:cNvSpPr>
            <p:nvPr>
              <p:custDataLst>
                <p:tags r:id="rId313"/>
              </p:custDataLst>
            </p:nvPr>
          </p:nvSpPr>
          <p:spPr bwMode="auto">
            <a:xfrm>
              <a:off x="4329108" y="2533630"/>
              <a:ext cx="14287" cy="57150"/>
            </a:xfrm>
            <a:custGeom>
              <a:avLst/>
              <a:gdLst>
                <a:gd name="T0" fmla="*/ 14287 w 27"/>
                <a:gd name="T1" fmla="*/ 0 h 19"/>
                <a:gd name="T2" fmla="*/ 14287 w 27"/>
                <a:gd name="T3" fmla="*/ 36095 h 19"/>
                <a:gd name="T4" fmla="*/ 14287 w 27"/>
                <a:gd name="T5" fmla="*/ 57150 h 19"/>
                <a:gd name="T6" fmla="*/ 4762 w 27"/>
                <a:gd name="T7" fmla="*/ 57150 h 19"/>
                <a:gd name="T8" fmla="*/ 0 w 27"/>
                <a:gd name="T9" fmla="*/ 57150 h 19"/>
                <a:gd name="T10" fmla="*/ 4762 w 27"/>
                <a:gd name="T11" fmla="*/ 36095 h 19"/>
                <a:gd name="T12" fmla="*/ 1428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8" name="Freeform 476">
              <a:extLst>
                <a:ext uri="{FF2B5EF4-FFF2-40B4-BE49-F238E27FC236}">
                  <a16:creationId xmlns:a16="http://schemas.microsoft.com/office/drawing/2014/main" id="{8E8E8B78-8473-42CE-B5D1-F36A1A58A0E7}"/>
                </a:ext>
              </a:extLst>
            </p:cNvPr>
            <p:cNvSpPr>
              <a:spLocks/>
            </p:cNvSpPr>
            <p:nvPr>
              <p:custDataLst>
                <p:tags r:id="rId314"/>
              </p:custDataLst>
            </p:nvPr>
          </p:nvSpPr>
          <p:spPr bwMode="auto">
            <a:xfrm>
              <a:off x="4648194" y="4154455"/>
              <a:ext cx="188913" cy="217485"/>
            </a:xfrm>
            <a:custGeom>
              <a:avLst/>
              <a:gdLst>
                <a:gd name="T0" fmla="*/ 122492 w 438"/>
                <a:gd name="T1" fmla="*/ 4285 h 406"/>
                <a:gd name="T2" fmla="*/ 138019 w 438"/>
                <a:gd name="T3" fmla="*/ 14463 h 406"/>
                <a:gd name="T4" fmla="*/ 156565 w 438"/>
                <a:gd name="T5" fmla="*/ 25177 h 406"/>
                <a:gd name="T6" fmla="*/ 170367 w 438"/>
                <a:gd name="T7" fmla="*/ 31070 h 406"/>
                <a:gd name="T8" fmla="*/ 179424 w 438"/>
                <a:gd name="T9" fmla="*/ 32677 h 406"/>
                <a:gd name="T10" fmla="*/ 183306 w 438"/>
                <a:gd name="T11" fmla="*/ 43390 h 406"/>
                <a:gd name="T12" fmla="*/ 185031 w 438"/>
                <a:gd name="T13" fmla="*/ 64282 h 406"/>
                <a:gd name="T14" fmla="*/ 187188 w 438"/>
                <a:gd name="T15" fmla="*/ 84102 h 406"/>
                <a:gd name="T16" fmla="*/ 188913 w 438"/>
                <a:gd name="T17" fmla="*/ 104458 h 406"/>
                <a:gd name="T18" fmla="*/ 188913 w 438"/>
                <a:gd name="T19" fmla="*/ 119457 h 406"/>
                <a:gd name="T20" fmla="*/ 187619 w 438"/>
                <a:gd name="T21" fmla="*/ 126957 h 406"/>
                <a:gd name="T22" fmla="*/ 183306 w 438"/>
                <a:gd name="T23" fmla="*/ 138742 h 406"/>
                <a:gd name="T24" fmla="*/ 175542 w 438"/>
                <a:gd name="T25" fmla="*/ 153741 h 406"/>
                <a:gd name="T26" fmla="*/ 168642 w 438"/>
                <a:gd name="T27" fmla="*/ 164454 h 406"/>
                <a:gd name="T28" fmla="*/ 164328 w 438"/>
                <a:gd name="T29" fmla="*/ 171418 h 406"/>
                <a:gd name="T30" fmla="*/ 161309 w 438"/>
                <a:gd name="T31" fmla="*/ 177847 h 406"/>
                <a:gd name="T32" fmla="*/ 160447 w 438"/>
                <a:gd name="T33" fmla="*/ 188560 h 406"/>
                <a:gd name="T34" fmla="*/ 154840 w 438"/>
                <a:gd name="T35" fmla="*/ 199274 h 406"/>
                <a:gd name="T36" fmla="*/ 138450 w 438"/>
                <a:gd name="T37" fmla="*/ 214809 h 406"/>
                <a:gd name="T38" fmla="*/ 88418 w 438"/>
                <a:gd name="T39" fmla="*/ 207845 h 406"/>
                <a:gd name="T40" fmla="*/ 78498 w 438"/>
                <a:gd name="T41" fmla="*/ 203024 h 406"/>
                <a:gd name="T42" fmla="*/ 71166 w 438"/>
                <a:gd name="T43" fmla="*/ 198202 h 406"/>
                <a:gd name="T44" fmla="*/ 64696 w 438"/>
                <a:gd name="T45" fmla="*/ 192310 h 406"/>
                <a:gd name="T46" fmla="*/ 59952 w 438"/>
                <a:gd name="T47" fmla="*/ 185346 h 406"/>
                <a:gd name="T48" fmla="*/ 53482 w 438"/>
                <a:gd name="T49" fmla="*/ 172490 h 406"/>
                <a:gd name="T50" fmla="*/ 46581 w 438"/>
                <a:gd name="T51" fmla="*/ 158562 h 406"/>
                <a:gd name="T52" fmla="*/ 40543 w 438"/>
                <a:gd name="T53" fmla="*/ 149455 h 406"/>
                <a:gd name="T54" fmla="*/ 31054 w 438"/>
                <a:gd name="T55" fmla="*/ 138742 h 406"/>
                <a:gd name="T56" fmla="*/ 18978 w 438"/>
                <a:gd name="T57" fmla="*/ 125350 h 406"/>
                <a:gd name="T58" fmla="*/ 10351 w 438"/>
                <a:gd name="T59" fmla="*/ 114100 h 406"/>
                <a:gd name="T60" fmla="*/ 5607 w 438"/>
                <a:gd name="T61" fmla="*/ 104458 h 406"/>
                <a:gd name="T62" fmla="*/ 1725 w 438"/>
                <a:gd name="T63" fmla="*/ 94280 h 406"/>
                <a:gd name="T64" fmla="*/ 0 w 438"/>
                <a:gd name="T65" fmla="*/ 82495 h 406"/>
                <a:gd name="T66" fmla="*/ 7764 w 438"/>
                <a:gd name="T67" fmla="*/ 75531 h 406"/>
                <a:gd name="T68" fmla="*/ 17252 w 438"/>
                <a:gd name="T69" fmla="*/ 75531 h 406"/>
                <a:gd name="T70" fmla="*/ 22859 w 438"/>
                <a:gd name="T71" fmla="*/ 75531 h 406"/>
                <a:gd name="T72" fmla="*/ 27172 w 438"/>
                <a:gd name="T73" fmla="*/ 73924 h 406"/>
                <a:gd name="T74" fmla="*/ 33211 w 438"/>
                <a:gd name="T75" fmla="*/ 70174 h 406"/>
                <a:gd name="T76" fmla="*/ 42700 w 438"/>
                <a:gd name="T77" fmla="*/ 57854 h 406"/>
                <a:gd name="T78" fmla="*/ 50463 w 438"/>
                <a:gd name="T79" fmla="*/ 46604 h 406"/>
                <a:gd name="T80" fmla="*/ 56070 w 438"/>
                <a:gd name="T81" fmla="*/ 42855 h 406"/>
                <a:gd name="T82" fmla="*/ 64696 w 438"/>
                <a:gd name="T83" fmla="*/ 38033 h 406"/>
                <a:gd name="T84" fmla="*/ 77204 w 438"/>
                <a:gd name="T85" fmla="*/ 32141 h 406"/>
                <a:gd name="T86" fmla="*/ 87556 w 438"/>
                <a:gd name="T87" fmla="*/ 26784 h 406"/>
                <a:gd name="T88" fmla="*/ 91006 w 438"/>
                <a:gd name="T89" fmla="*/ 23034 h 406"/>
                <a:gd name="T90" fmla="*/ 90575 w 438"/>
                <a:gd name="T91" fmla="*/ 20356 h 406"/>
                <a:gd name="T92" fmla="*/ 91006 w 438"/>
                <a:gd name="T93" fmla="*/ 16070 h 406"/>
                <a:gd name="T94" fmla="*/ 91869 w 438"/>
                <a:gd name="T95" fmla="*/ 9107 h 406"/>
                <a:gd name="T96" fmla="*/ 93594 w 438"/>
                <a:gd name="T97" fmla="*/ 6428 h 406"/>
                <a:gd name="T98" fmla="*/ 97044 w 438"/>
                <a:gd name="T99" fmla="*/ 6428 h 406"/>
                <a:gd name="T100" fmla="*/ 100064 w 438"/>
                <a:gd name="T101" fmla="*/ 4821 h 406"/>
                <a:gd name="T102" fmla="*/ 101789 w 438"/>
                <a:gd name="T103" fmla="*/ 2143 h 406"/>
                <a:gd name="T104" fmla="*/ 105239 w 438"/>
                <a:gd name="T105" fmla="*/ 1071 h 406"/>
                <a:gd name="T106" fmla="*/ 108258 w 438"/>
                <a:gd name="T107" fmla="*/ 1607 h 406"/>
                <a:gd name="T108" fmla="*/ 113865 w 438"/>
                <a:gd name="T109" fmla="*/ 536 h 40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438" h="406">
                  <a:moveTo>
                    <a:pt x="272" y="0"/>
                  </a:moveTo>
                  <a:lnTo>
                    <a:pt x="284" y="8"/>
                  </a:lnTo>
                  <a:lnTo>
                    <a:pt x="301" y="17"/>
                  </a:lnTo>
                  <a:lnTo>
                    <a:pt x="320" y="27"/>
                  </a:lnTo>
                  <a:lnTo>
                    <a:pt x="341" y="37"/>
                  </a:lnTo>
                  <a:lnTo>
                    <a:pt x="363" y="47"/>
                  </a:lnTo>
                  <a:lnTo>
                    <a:pt x="385" y="55"/>
                  </a:lnTo>
                  <a:lnTo>
                    <a:pt x="395" y="58"/>
                  </a:lnTo>
                  <a:lnTo>
                    <a:pt x="406" y="60"/>
                  </a:lnTo>
                  <a:lnTo>
                    <a:pt x="416" y="61"/>
                  </a:lnTo>
                  <a:lnTo>
                    <a:pt x="425" y="61"/>
                  </a:lnTo>
                  <a:lnTo>
                    <a:pt x="425" y="81"/>
                  </a:lnTo>
                  <a:lnTo>
                    <a:pt x="427" y="101"/>
                  </a:lnTo>
                  <a:lnTo>
                    <a:pt x="429" y="120"/>
                  </a:lnTo>
                  <a:lnTo>
                    <a:pt x="432" y="138"/>
                  </a:lnTo>
                  <a:lnTo>
                    <a:pt x="434" y="157"/>
                  </a:lnTo>
                  <a:lnTo>
                    <a:pt x="436" y="176"/>
                  </a:lnTo>
                  <a:lnTo>
                    <a:pt x="438" y="195"/>
                  </a:lnTo>
                  <a:lnTo>
                    <a:pt x="438" y="216"/>
                  </a:lnTo>
                  <a:lnTo>
                    <a:pt x="438" y="223"/>
                  </a:lnTo>
                  <a:lnTo>
                    <a:pt x="436" y="230"/>
                  </a:lnTo>
                  <a:lnTo>
                    <a:pt x="435" y="237"/>
                  </a:lnTo>
                  <a:lnTo>
                    <a:pt x="432" y="245"/>
                  </a:lnTo>
                  <a:lnTo>
                    <a:pt x="425" y="259"/>
                  </a:lnTo>
                  <a:lnTo>
                    <a:pt x="416" y="274"/>
                  </a:lnTo>
                  <a:lnTo>
                    <a:pt x="407" y="287"/>
                  </a:lnTo>
                  <a:lnTo>
                    <a:pt x="399" y="298"/>
                  </a:lnTo>
                  <a:lnTo>
                    <a:pt x="391" y="307"/>
                  </a:lnTo>
                  <a:lnTo>
                    <a:pt x="385" y="314"/>
                  </a:lnTo>
                  <a:lnTo>
                    <a:pt x="381" y="320"/>
                  </a:lnTo>
                  <a:lnTo>
                    <a:pt x="378" y="326"/>
                  </a:lnTo>
                  <a:lnTo>
                    <a:pt x="374" y="332"/>
                  </a:lnTo>
                  <a:lnTo>
                    <a:pt x="373" y="339"/>
                  </a:lnTo>
                  <a:lnTo>
                    <a:pt x="372" y="352"/>
                  </a:lnTo>
                  <a:lnTo>
                    <a:pt x="372" y="363"/>
                  </a:lnTo>
                  <a:lnTo>
                    <a:pt x="359" y="372"/>
                  </a:lnTo>
                  <a:lnTo>
                    <a:pt x="339" y="387"/>
                  </a:lnTo>
                  <a:lnTo>
                    <a:pt x="321" y="401"/>
                  </a:lnTo>
                  <a:lnTo>
                    <a:pt x="312" y="406"/>
                  </a:lnTo>
                  <a:lnTo>
                    <a:pt x="205" y="388"/>
                  </a:lnTo>
                  <a:lnTo>
                    <a:pt x="192" y="382"/>
                  </a:lnTo>
                  <a:lnTo>
                    <a:pt x="182" y="379"/>
                  </a:lnTo>
                  <a:lnTo>
                    <a:pt x="172" y="376"/>
                  </a:lnTo>
                  <a:lnTo>
                    <a:pt x="165" y="370"/>
                  </a:lnTo>
                  <a:lnTo>
                    <a:pt x="157" y="365"/>
                  </a:lnTo>
                  <a:lnTo>
                    <a:pt x="150" y="359"/>
                  </a:lnTo>
                  <a:lnTo>
                    <a:pt x="145" y="353"/>
                  </a:lnTo>
                  <a:lnTo>
                    <a:pt x="139" y="346"/>
                  </a:lnTo>
                  <a:lnTo>
                    <a:pt x="134" y="338"/>
                  </a:lnTo>
                  <a:lnTo>
                    <a:pt x="124" y="322"/>
                  </a:lnTo>
                  <a:lnTo>
                    <a:pt x="114" y="304"/>
                  </a:lnTo>
                  <a:lnTo>
                    <a:pt x="108" y="296"/>
                  </a:lnTo>
                  <a:lnTo>
                    <a:pt x="101" y="288"/>
                  </a:lnTo>
                  <a:lnTo>
                    <a:pt x="94" y="279"/>
                  </a:lnTo>
                  <a:lnTo>
                    <a:pt x="86" y="271"/>
                  </a:lnTo>
                  <a:lnTo>
                    <a:pt x="72" y="259"/>
                  </a:lnTo>
                  <a:lnTo>
                    <a:pt x="58" y="247"/>
                  </a:lnTo>
                  <a:lnTo>
                    <a:pt x="44" y="234"/>
                  </a:lnTo>
                  <a:lnTo>
                    <a:pt x="31" y="220"/>
                  </a:lnTo>
                  <a:lnTo>
                    <a:pt x="24" y="213"/>
                  </a:lnTo>
                  <a:lnTo>
                    <a:pt x="19" y="204"/>
                  </a:lnTo>
                  <a:lnTo>
                    <a:pt x="13" y="195"/>
                  </a:lnTo>
                  <a:lnTo>
                    <a:pt x="9" y="186"/>
                  </a:lnTo>
                  <a:lnTo>
                    <a:pt x="4" y="176"/>
                  </a:lnTo>
                  <a:lnTo>
                    <a:pt x="2" y="166"/>
                  </a:lnTo>
                  <a:lnTo>
                    <a:pt x="0" y="154"/>
                  </a:lnTo>
                  <a:lnTo>
                    <a:pt x="0" y="141"/>
                  </a:lnTo>
                  <a:lnTo>
                    <a:pt x="18" y="141"/>
                  </a:lnTo>
                  <a:lnTo>
                    <a:pt x="31" y="141"/>
                  </a:lnTo>
                  <a:lnTo>
                    <a:pt x="40" y="141"/>
                  </a:lnTo>
                  <a:lnTo>
                    <a:pt x="46" y="141"/>
                  </a:lnTo>
                  <a:lnTo>
                    <a:pt x="53" y="141"/>
                  </a:lnTo>
                  <a:lnTo>
                    <a:pt x="58" y="140"/>
                  </a:lnTo>
                  <a:lnTo>
                    <a:pt x="63" y="138"/>
                  </a:lnTo>
                  <a:lnTo>
                    <a:pt x="68" y="136"/>
                  </a:lnTo>
                  <a:lnTo>
                    <a:pt x="77" y="131"/>
                  </a:lnTo>
                  <a:lnTo>
                    <a:pt x="85" y="124"/>
                  </a:lnTo>
                  <a:lnTo>
                    <a:pt x="99" y="108"/>
                  </a:lnTo>
                  <a:lnTo>
                    <a:pt x="113" y="92"/>
                  </a:lnTo>
                  <a:lnTo>
                    <a:pt x="117" y="87"/>
                  </a:lnTo>
                  <a:lnTo>
                    <a:pt x="124" y="83"/>
                  </a:lnTo>
                  <a:lnTo>
                    <a:pt x="130" y="80"/>
                  </a:lnTo>
                  <a:lnTo>
                    <a:pt x="136" y="77"/>
                  </a:lnTo>
                  <a:lnTo>
                    <a:pt x="150" y="71"/>
                  </a:lnTo>
                  <a:lnTo>
                    <a:pt x="165" y="65"/>
                  </a:lnTo>
                  <a:lnTo>
                    <a:pt x="179" y="60"/>
                  </a:lnTo>
                  <a:lnTo>
                    <a:pt x="192" y="55"/>
                  </a:lnTo>
                  <a:lnTo>
                    <a:pt x="203" y="50"/>
                  </a:lnTo>
                  <a:lnTo>
                    <a:pt x="212" y="43"/>
                  </a:lnTo>
                  <a:lnTo>
                    <a:pt x="211" y="43"/>
                  </a:lnTo>
                  <a:lnTo>
                    <a:pt x="210" y="41"/>
                  </a:lnTo>
                  <a:lnTo>
                    <a:pt x="210" y="38"/>
                  </a:lnTo>
                  <a:lnTo>
                    <a:pt x="210" y="36"/>
                  </a:lnTo>
                  <a:lnTo>
                    <a:pt x="211" y="30"/>
                  </a:lnTo>
                  <a:lnTo>
                    <a:pt x="212" y="24"/>
                  </a:lnTo>
                  <a:lnTo>
                    <a:pt x="213" y="17"/>
                  </a:lnTo>
                  <a:lnTo>
                    <a:pt x="214" y="14"/>
                  </a:lnTo>
                  <a:lnTo>
                    <a:pt x="217" y="12"/>
                  </a:lnTo>
                  <a:lnTo>
                    <a:pt x="221" y="12"/>
                  </a:lnTo>
                  <a:lnTo>
                    <a:pt x="225" y="12"/>
                  </a:lnTo>
                  <a:lnTo>
                    <a:pt x="229" y="11"/>
                  </a:lnTo>
                  <a:lnTo>
                    <a:pt x="232" y="9"/>
                  </a:lnTo>
                  <a:lnTo>
                    <a:pt x="234" y="7"/>
                  </a:lnTo>
                  <a:lnTo>
                    <a:pt x="236" y="4"/>
                  </a:lnTo>
                  <a:lnTo>
                    <a:pt x="239" y="0"/>
                  </a:lnTo>
                  <a:lnTo>
                    <a:pt x="244" y="2"/>
                  </a:lnTo>
                  <a:lnTo>
                    <a:pt x="248" y="3"/>
                  </a:lnTo>
                  <a:lnTo>
                    <a:pt x="251" y="3"/>
                  </a:lnTo>
                  <a:lnTo>
                    <a:pt x="256" y="2"/>
                  </a:lnTo>
                  <a:lnTo>
                    <a:pt x="264" y="1"/>
                  </a:lnTo>
                  <a:lnTo>
                    <a:pt x="272"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19" name="Freeform 477">
              <a:extLst>
                <a:ext uri="{FF2B5EF4-FFF2-40B4-BE49-F238E27FC236}">
                  <a16:creationId xmlns:a16="http://schemas.microsoft.com/office/drawing/2014/main" id="{642AF4B9-F67B-4FD0-B90E-F64C05B5B3BD}"/>
                </a:ext>
              </a:extLst>
            </p:cNvPr>
            <p:cNvSpPr>
              <a:spLocks/>
            </p:cNvSpPr>
            <p:nvPr>
              <p:custDataLst>
                <p:tags r:id="rId315"/>
              </p:custDataLst>
            </p:nvPr>
          </p:nvSpPr>
          <p:spPr bwMode="auto">
            <a:xfrm>
              <a:off x="4560883" y="3930619"/>
              <a:ext cx="293687" cy="300036"/>
            </a:xfrm>
            <a:custGeom>
              <a:avLst/>
              <a:gdLst>
                <a:gd name="T0" fmla="*/ 222215 w 678"/>
                <a:gd name="T1" fmla="*/ 4182 h 574"/>
                <a:gd name="T2" fmla="*/ 239108 w 678"/>
                <a:gd name="T3" fmla="*/ 13591 h 574"/>
                <a:gd name="T4" fmla="*/ 279393 w 678"/>
                <a:gd name="T5" fmla="*/ 32931 h 574"/>
                <a:gd name="T6" fmla="*/ 285890 w 678"/>
                <a:gd name="T7" fmla="*/ 45999 h 574"/>
                <a:gd name="T8" fmla="*/ 293687 w 678"/>
                <a:gd name="T9" fmla="*/ 49135 h 574"/>
                <a:gd name="T10" fmla="*/ 293687 w 678"/>
                <a:gd name="T11" fmla="*/ 66385 h 574"/>
                <a:gd name="T12" fmla="*/ 293254 w 678"/>
                <a:gd name="T13" fmla="*/ 75271 h 574"/>
                <a:gd name="T14" fmla="*/ 288922 w 678"/>
                <a:gd name="T15" fmla="*/ 82589 h 574"/>
                <a:gd name="T16" fmla="*/ 280259 w 678"/>
                <a:gd name="T17" fmla="*/ 93043 h 574"/>
                <a:gd name="T18" fmla="*/ 276360 w 678"/>
                <a:gd name="T19" fmla="*/ 180859 h 574"/>
                <a:gd name="T20" fmla="*/ 199690 w 678"/>
                <a:gd name="T21" fmla="*/ 202813 h 574"/>
                <a:gd name="T22" fmla="*/ 199690 w 678"/>
                <a:gd name="T23" fmla="*/ 216926 h 574"/>
                <a:gd name="T24" fmla="*/ 197091 w 678"/>
                <a:gd name="T25" fmla="*/ 227381 h 574"/>
                <a:gd name="T26" fmla="*/ 192326 w 678"/>
                <a:gd name="T27" fmla="*/ 227381 h 574"/>
                <a:gd name="T28" fmla="*/ 187994 w 678"/>
                <a:gd name="T29" fmla="*/ 229994 h 574"/>
                <a:gd name="T30" fmla="*/ 184096 w 678"/>
                <a:gd name="T31" fmla="*/ 232608 h 574"/>
                <a:gd name="T32" fmla="*/ 179331 w 678"/>
                <a:gd name="T33" fmla="*/ 233653 h 574"/>
                <a:gd name="T34" fmla="*/ 178032 w 678"/>
                <a:gd name="T35" fmla="*/ 242017 h 574"/>
                <a:gd name="T36" fmla="*/ 177598 w 678"/>
                <a:gd name="T37" fmla="*/ 247767 h 574"/>
                <a:gd name="T38" fmla="*/ 174566 w 678"/>
                <a:gd name="T39" fmla="*/ 252471 h 574"/>
                <a:gd name="T40" fmla="*/ 158106 w 678"/>
                <a:gd name="T41" fmla="*/ 260312 h 574"/>
                <a:gd name="T42" fmla="*/ 142945 w 678"/>
                <a:gd name="T43" fmla="*/ 268152 h 574"/>
                <a:gd name="T44" fmla="*/ 135581 w 678"/>
                <a:gd name="T45" fmla="*/ 274425 h 574"/>
                <a:gd name="T46" fmla="*/ 119987 w 678"/>
                <a:gd name="T47" fmla="*/ 294811 h 574"/>
                <a:gd name="T48" fmla="*/ 111757 w 678"/>
                <a:gd name="T49" fmla="*/ 299515 h 574"/>
                <a:gd name="T50" fmla="*/ 103094 w 678"/>
                <a:gd name="T51" fmla="*/ 300038 h 574"/>
                <a:gd name="T52" fmla="*/ 83601 w 678"/>
                <a:gd name="T53" fmla="*/ 300038 h 574"/>
                <a:gd name="T54" fmla="*/ 80569 w 678"/>
                <a:gd name="T55" fmla="*/ 292197 h 574"/>
                <a:gd name="T56" fmla="*/ 71473 w 678"/>
                <a:gd name="T57" fmla="*/ 285925 h 574"/>
                <a:gd name="T58" fmla="*/ 57611 w 678"/>
                <a:gd name="T59" fmla="*/ 284879 h 574"/>
                <a:gd name="T60" fmla="*/ 40285 w 678"/>
                <a:gd name="T61" fmla="*/ 290629 h 574"/>
                <a:gd name="T62" fmla="*/ 14295 w 678"/>
                <a:gd name="T63" fmla="*/ 275470 h 574"/>
                <a:gd name="T64" fmla="*/ 0 w 678"/>
                <a:gd name="T65" fmla="*/ 148974 h 574"/>
                <a:gd name="T66" fmla="*/ 31621 w 678"/>
                <a:gd name="T67" fmla="*/ 149496 h 574"/>
                <a:gd name="T68" fmla="*/ 44616 w 678"/>
                <a:gd name="T69" fmla="*/ 147405 h 574"/>
                <a:gd name="T70" fmla="*/ 51547 w 678"/>
                <a:gd name="T71" fmla="*/ 143746 h 574"/>
                <a:gd name="T72" fmla="*/ 55879 w 678"/>
                <a:gd name="T73" fmla="*/ 133815 h 574"/>
                <a:gd name="T74" fmla="*/ 56745 w 678"/>
                <a:gd name="T75" fmla="*/ 119702 h 574"/>
                <a:gd name="T76" fmla="*/ 54579 w 678"/>
                <a:gd name="T77" fmla="*/ 96702 h 574"/>
                <a:gd name="T78" fmla="*/ 56312 w 678"/>
                <a:gd name="T79" fmla="*/ 86248 h 574"/>
                <a:gd name="T80" fmla="*/ 60643 w 678"/>
                <a:gd name="T81" fmla="*/ 89384 h 574"/>
                <a:gd name="T82" fmla="*/ 75371 w 678"/>
                <a:gd name="T83" fmla="*/ 91475 h 574"/>
                <a:gd name="T84" fmla="*/ 81435 w 678"/>
                <a:gd name="T85" fmla="*/ 97225 h 574"/>
                <a:gd name="T86" fmla="*/ 84468 w 678"/>
                <a:gd name="T87" fmla="*/ 105066 h 574"/>
                <a:gd name="T88" fmla="*/ 90099 w 678"/>
                <a:gd name="T89" fmla="*/ 109770 h 574"/>
                <a:gd name="T90" fmla="*/ 104393 w 678"/>
                <a:gd name="T91" fmla="*/ 113429 h 574"/>
                <a:gd name="T92" fmla="*/ 116522 w 678"/>
                <a:gd name="T93" fmla="*/ 111861 h 574"/>
                <a:gd name="T94" fmla="*/ 130383 w 678"/>
                <a:gd name="T95" fmla="*/ 104020 h 574"/>
                <a:gd name="T96" fmla="*/ 138180 w 678"/>
                <a:gd name="T97" fmla="*/ 102452 h 574"/>
                <a:gd name="T98" fmla="*/ 143378 w 678"/>
                <a:gd name="T99" fmla="*/ 100884 h 574"/>
                <a:gd name="T100" fmla="*/ 148576 w 678"/>
                <a:gd name="T101" fmla="*/ 99316 h 574"/>
                <a:gd name="T102" fmla="*/ 154641 w 678"/>
                <a:gd name="T103" fmla="*/ 95134 h 574"/>
                <a:gd name="T104" fmla="*/ 159405 w 678"/>
                <a:gd name="T105" fmla="*/ 87816 h 574"/>
                <a:gd name="T106" fmla="*/ 165903 w 678"/>
                <a:gd name="T107" fmla="*/ 65862 h 574"/>
                <a:gd name="T108" fmla="*/ 174566 w 678"/>
                <a:gd name="T109" fmla="*/ 24568 h 574"/>
                <a:gd name="T110" fmla="*/ 179331 w 678"/>
                <a:gd name="T111" fmla="*/ 5227 h 574"/>
                <a:gd name="T112" fmla="*/ 186695 w 678"/>
                <a:gd name="T113" fmla="*/ 3136 h 574"/>
                <a:gd name="T114" fmla="*/ 196225 w 678"/>
                <a:gd name="T115" fmla="*/ 4182 h 574"/>
                <a:gd name="T116" fmla="*/ 208786 w 678"/>
                <a:gd name="T117" fmla="*/ 523 h 57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678" h="574">
                  <a:moveTo>
                    <a:pt x="505" y="1"/>
                  </a:moveTo>
                  <a:lnTo>
                    <a:pt x="507" y="4"/>
                  </a:lnTo>
                  <a:lnTo>
                    <a:pt x="513" y="8"/>
                  </a:lnTo>
                  <a:lnTo>
                    <a:pt x="521" y="12"/>
                  </a:lnTo>
                  <a:lnTo>
                    <a:pt x="529" y="16"/>
                  </a:lnTo>
                  <a:lnTo>
                    <a:pt x="552" y="26"/>
                  </a:lnTo>
                  <a:lnTo>
                    <a:pt x="578" y="37"/>
                  </a:lnTo>
                  <a:lnTo>
                    <a:pt x="624" y="55"/>
                  </a:lnTo>
                  <a:lnTo>
                    <a:pt x="645" y="63"/>
                  </a:lnTo>
                  <a:lnTo>
                    <a:pt x="650" y="73"/>
                  </a:lnTo>
                  <a:lnTo>
                    <a:pt x="657" y="84"/>
                  </a:lnTo>
                  <a:lnTo>
                    <a:pt x="660" y="88"/>
                  </a:lnTo>
                  <a:lnTo>
                    <a:pt x="666" y="91"/>
                  </a:lnTo>
                  <a:lnTo>
                    <a:pt x="671" y="93"/>
                  </a:lnTo>
                  <a:lnTo>
                    <a:pt x="678" y="94"/>
                  </a:lnTo>
                  <a:lnTo>
                    <a:pt x="678" y="107"/>
                  </a:lnTo>
                  <a:lnTo>
                    <a:pt x="678" y="118"/>
                  </a:lnTo>
                  <a:lnTo>
                    <a:pt x="678" y="127"/>
                  </a:lnTo>
                  <a:lnTo>
                    <a:pt x="678" y="137"/>
                  </a:lnTo>
                  <a:lnTo>
                    <a:pt x="678" y="141"/>
                  </a:lnTo>
                  <a:lnTo>
                    <a:pt x="677" y="144"/>
                  </a:lnTo>
                  <a:lnTo>
                    <a:pt x="674" y="148"/>
                  </a:lnTo>
                  <a:lnTo>
                    <a:pt x="673" y="151"/>
                  </a:lnTo>
                  <a:lnTo>
                    <a:pt x="667" y="158"/>
                  </a:lnTo>
                  <a:lnTo>
                    <a:pt x="660" y="165"/>
                  </a:lnTo>
                  <a:lnTo>
                    <a:pt x="653" y="172"/>
                  </a:lnTo>
                  <a:lnTo>
                    <a:pt x="647" y="178"/>
                  </a:lnTo>
                  <a:lnTo>
                    <a:pt x="641" y="185"/>
                  </a:lnTo>
                  <a:lnTo>
                    <a:pt x="638" y="192"/>
                  </a:lnTo>
                  <a:lnTo>
                    <a:pt x="638" y="346"/>
                  </a:lnTo>
                  <a:lnTo>
                    <a:pt x="466" y="378"/>
                  </a:lnTo>
                  <a:lnTo>
                    <a:pt x="464" y="382"/>
                  </a:lnTo>
                  <a:lnTo>
                    <a:pt x="461" y="388"/>
                  </a:lnTo>
                  <a:lnTo>
                    <a:pt x="460" y="394"/>
                  </a:lnTo>
                  <a:lnTo>
                    <a:pt x="460" y="400"/>
                  </a:lnTo>
                  <a:lnTo>
                    <a:pt x="461" y="415"/>
                  </a:lnTo>
                  <a:lnTo>
                    <a:pt x="466" y="433"/>
                  </a:lnTo>
                  <a:lnTo>
                    <a:pt x="460" y="434"/>
                  </a:lnTo>
                  <a:lnTo>
                    <a:pt x="455" y="435"/>
                  </a:lnTo>
                  <a:lnTo>
                    <a:pt x="451" y="436"/>
                  </a:lnTo>
                  <a:lnTo>
                    <a:pt x="448" y="436"/>
                  </a:lnTo>
                  <a:lnTo>
                    <a:pt x="444" y="435"/>
                  </a:lnTo>
                  <a:lnTo>
                    <a:pt x="439" y="433"/>
                  </a:lnTo>
                  <a:lnTo>
                    <a:pt x="436" y="437"/>
                  </a:lnTo>
                  <a:lnTo>
                    <a:pt x="434" y="440"/>
                  </a:lnTo>
                  <a:lnTo>
                    <a:pt x="432" y="442"/>
                  </a:lnTo>
                  <a:lnTo>
                    <a:pt x="429" y="444"/>
                  </a:lnTo>
                  <a:lnTo>
                    <a:pt x="425" y="445"/>
                  </a:lnTo>
                  <a:lnTo>
                    <a:pt x="421" y="445"/>
                  </a:lnTo>
                  <a:lnTo>
                    <a:pt x="417" y="445"/>
                  </a:lnTo>
                  <a:lnTo>
                    <a:pt x="414" y="447"/>
                  </a:lnTo>
                  <a:lnTo>
                    <a:pt x="413" y="450"/>
                  </a:lnTo>
                  <a:lnTo>
                    <a:pt x="412" y="457"/>
                  </a:lnTo>
                  <a:lnTo>
                    <a:pt x="411" y="463"/>
                  </a:lnTo>
                  <a:lnTo>
                    <a:pt x="410" y="469"/>
                  </a:lnTo>
                  <a:lnTo>
                    <a:pt x="410" y="471"/>
                  </a:lnTo>
                  <a:lnTo>
                    <a:pt x="410" y="474"/>
                  </a:lnTo>
                  <a:lnTo>
                    <a:pt x="411" y="476"/>
                  </a:lnTo>
                  <a:lnTo>
                    <a:pt x="412" y="476"/>
                  </a:lnTo>
                  <a:lnTo>
                    <a:pt x="403" y="483"/>
                  </a:lnTo>
                  <a:lnTo>
                    <a:pt x="392" y="488"/>
                  </a:lnTo>
                  <a:lnTo>
                    <a:pt x="379" y="493"/>
                  </a:lnTo>
                  <a:lnTo>
                    <a:pt x="365" y="498"/>
                  </a:lnTo>
                  <a:lnTo>
                    <a:pt x="350" y="504"/>
                  </a:lnTo>
                  <a:lnTo>
                    <a:pt x="336" y="510"/>
                  </a:lnTo>
                  <a:lnTo>
                    <a:pt x="330" y="513"/>
                  </a:lnTo>
                  <a:lnTo>
                    <a:pt x="324" y="516"/>
                  </a:lnTo>
                  <a:lnTo>
                    <a:pt x="317" y="520"/>
                  </a:lnTo>
                  <a:lnTo>
                    <a:pt x="313" y="525"/>
                  </a:lnTo>
                  <a:lnTo>
                    <a:pt x="299" y="541"/>
                  </a:lnTo>
                  <a:lnTo>
                    <a:pt x="285" y="557"/>
                  </a:lnTo>
                  <a:lnTo>
                    <a:pt x="277" y="564"/>
                  </a:lnTo>
                  <a:lnTo>
                    <a:pt x="268" y="569"/>
                  </a:lnTo>
                  <a:lnTo>
                    <a:pt x="263" y="571"/>
                  </a:lnTo>
                  <a:lnTo>
                    <a:pt x="258" y="573"/>
                  </a:lnTo>
                  <a:lnTo>
                    <a:pt x="253" y="574"/>
                  </a:lnTo>
                  <a:lnTo>
                    <a:pt x="246" y="574"/>
                  </a:lnTo>
                  <a:lnTo>
                    <a:pt x="238" y="574"/>
                  </a:lnTo>
                  <a:lnTo>
                    <a:pt x="227" y="574"/>
                  </a:lnTo>
                  <a:lnTo>
                    <a:pt x="212" y="574"/>
                  </a:lnTo>
                  <a:lnTo>
                    <a:pt x="193" y="574"/>
                  </a:lnTo>
                  <a:lnTo>
                    <a:pt x="192" y="569"/>
                  </a:lnTo>
                  <a:lnTo>
                    <a:pt x="189" y="564"/>
                  </a:lnTo>
                  <a:lnTo>
                    <a:pt x="186" y="559"/>
                  </a:lnTo>
                  <a:lnTo>
                    <a:pt x="180" y="554"/>
                  </a:lnTo>
                  <a:lnTo>
                    <a:pt x="173" y="550"/>
                  </a:lnTo>
                  <a:lnTo>
                    <a:pt x="165" y="547"/>
                  </a:lnTo>
                  <a:lnTo>
                    <a:pt x="156" y="545"/>
                  </a:lnTo>
                  <a:lnTo>
                    <a:pt x="146" y="544"/>
                  </a:lnTo>
                  <a:lnTo>
                    <a:pt x="133" y="545"/>
                  </a:lnTo>
                  <a:lnTo>
                    <a:pt x="120" y="548"/>
                  </a:lnTo>
                  <a:lnTo>
                    <a:pt x="108" y="552"/>
                  </a:lnTo>
                  <a:lnTo>
                    <a:pt x="93" y="556"/>
                  </a:lnTo>
                  <a:lnTo>
                    <a:pt x="61" y="556"/>
                  </a:lnTo>
                  <a:lnTo>
                    <a:pt x="48" y="544"/>
                  </a:lnTo>
                  <a:lnTo>
                    <a:pt x="33" y="527"/>
                  </a:lnTo>
                  <a:lnTo>
                    <a:pt x="17" y="510"/>
                  </a:lnTo>
                  <a:lnTo>
                    <a:pt x="0" y="494"/>
                  </a:lnTo>
                  <a:lnTo>
                    <a:pt x="0" y="285"/>
                  </a:lnTo>
                  <a:lnTo>
                    <a:pt x="21" y="286"/>
                  </a:lnTo>
                  <a:lnTo>
                    <a:pt x="54" y="286"/>
                  </a:lnTo>
                  <a:lnTo>
                    <a:pt x="73" y="286"/>
                  </a:lnTo>
                  <a:lnTo>
                    <a:pt x="89" y="285"/>
                  </a:lnTo>
                  <a:lnTo>
                    <a:pt x="97" y="284"/>
                  </a:lnTo>
                  <a:lnTo>
                    <a:pt x="103" y="282"/>
                  </a:lnTo>
                  <a:lnTo>
                    <a:pt x="109" y="281"/>
                  </a:lnTo>
                  <a:lnTo>
                    <a:pt x="113" y="279"/>
                  </a:lnTo>
                  <a:lnTo>
                    <a:pt x="119" y="275"/>
                  </a:lnTo>
                  <a:lnTo>
                    <a:pt x="123" y="269"/>
                  </a:lnTo>
                  <a:lnTo>
                    <a:pt x="126" y="263"/>
                  </a:lnTo>
                  <a:lnTo>
                    <a:pt x="129" y="256"/>
                  </a:lnTo>
                  <a:lnTo>
                    <a:pt x="130" y="247"/>
                  </a:lnTo>
                  <a:lnTo>
                    <a:pt x="131" y="238"/>
                  </a:lnTo>
                  <a:lnTo>
                    <a:pt x="131" y="229"/>
                  </a:lnTo>
                  <a:lnTo>
                    <a:pt x="130" y="220"/>
                  </a:lnTo>
                  <a:lnTo>
                    <a:pt x="129" y="202"/>
                  </a:lnTo>
                  <a:lnTo>
                    <a:pt x="126" y="185"/>
                  </a:lnTo>
                  <a:lnTo>
                    <a:pt x="125" y="171"/>
                  </a:lnTo>
                  <a:lnTo>
                    <a:pt x="126" y="162"/>
                  </a:lnTo>
                  <a:lnTo>
                    <a:pt x="130" y="165"/>
                  </a:lnTo>
                  <a:lnTo>
                    <a:pt x="132" y="168"/>
                  </a:lnTo>
                  <a:lnTo>
                    <a:pt x="136" y="170"/>
                  </a:lnTo>
                  <a:lnTo>
                    <a:pt x="140" y="171"/>
                  </a:lnTo>
                  <a:lnTo>
                    <a:pt x="147" y="174"/>
                  </a:lnTo>
                  <a:lnTo>
                    <a:pt x="156" y="175"/>
                  </a:lnTo>
                  <a:lnTo>
                    <a:pt x="174" y="175"/>
                  </a:lnTo>
                  <a:lnTo>
                    <a:pt x="187" y="174"/>
                  </a:lnTo>
                  <a:lnTo>
                    <a:pt x="187" y="180"/>
                  </a:lnTo>
                  <a:lnTo>
                    <a:pt x="188" y="186"/>
                  </a:lnTo>
                  <a:lnTo>
                    <a:pt x="190" y="191"/>
                  </a:lnTo>
                  <a:lnTo>
                    <a:pt x="192" y="197"/>
                  </a:lnTo>
                  <a:lnTo>
                    <a:pt x="195" y="201"/>
                  </a:lnTo>
                  <a:lnTo>
                    <a:pt x="199" y="204"/>
                  </a:lnTo>
                  <a:lnTo>
                    <a:pt x="202" y="207"/>
                  </a:lnTo>
                  <a:lnTo>
                    <a:pt x="208" y="210"/>
                  </a:lnTo>
                  <a:lnTo>
                    <a:pt x="218" y="213"/>
                  </a:lnTo>
                  <a:lnTo>
                    <a:pt x="229" y="216"/>
                  </a:lnTo>
                  <a:lnTo>
                    <a:pt x="241" y="217"/>
                  </a:lnTo>
                  <a:lnTo>
                    <a:pt x="253" y="217"/>
                  </a:lnTo>
                  <a:lnTo>
                    <a:pt x="260" y="216"/>
                  </a:lnTo>
                  <a:lnTo>
                    <a:pt x="269" y="214"/>
                  </a:lnTo>
                  <a:lnTo>
                    <a:pt x="277" y="211"/>
                  </a:lnTo>
                  <a:lnTo>
                    <a:pt x="286" y="207"/>
                  </a:lnTo>
                  <a:lnTo>
                    <a:pt x="301" y="199"/>
                  </a:lnTo>
                  <a:lnTo>
                    <a:pt x="313" y="192"/>
                  </a:lnTo>
                  <a:lnTo>
                    <a:pt x="315" y="195"/>
                  </a:lnTo>
                  <a:lnTo>
                    <a:pt x="319" y="196"/>
                  </a:lnTo>
                  <a:lnTo>
                    <a:pt x="322" y="196"/>
                  </a:lnTo>
                  <a:lnTo>
                    <a:pt x="325" y="195"/>
                  </a:lnTo>
                  <a:lnTo>
                    <a:pt x="331" y="193"/>
                  </a:lnTo>
                  <a:lnTo>
                    <a:pt x="333" y="192"/>
                  </a:lnTo>
                  <a:lnTo>
                    <a:pt x="338" y="192"/>
                  </a:lnTo>
                  <a:lnTo>
                    <a:pt x="343" y="190"/>
                  </a:lnTo>
                  <a:lnTo>
                    <a:pt x="348" y="188"/>
                  </a:lnTo>
                  <a:lnTo>
                    <a:pt x="353" y="185"/>
                  </a:lnTo>
                  <a:lnTo>
                    <a:pt x="357" y="182"/>
                  </a:lnTo>
                  <a:lnTo>
                    <a:pt x="360" y="178"/>
                  </a:lnTo>
                  <a:lnTo>
                    <a:pt x="364" y="173"/>
                  </a:lnTo>
                  <a:lnTo>
                    <a:pt x="368" y="168"/>
                  </a:lnTo>
                  <a:lnTo>
                    <a:pt x="373" y="156"/>
                  </a:lnTo>
                  <a:lnTo>
                    <a:pt x="379" y="142"/>
                  </a:lnTo>
                  <a:lnTo>
                    <a:pt x="383" y="126"/>
                  </a:lnTo>
                  <a:lnTo>
                    <a:pt x="388" y="111"/>
                  </a:lnTo>
                  <a:lnTo>
                    <a:pt x="395" y="78"/>
                  </a:lnTo>
                  <a:lnTo>
                    <a:pt x="403" y="47"/>
                  </a:lnTo>
                  <a:lnTo>
                    <a:pt x="406" y="33"/>
                  </a:lnTo>
                  <a:lnTo>
                    <a:pt x="410" y="20"/>
                  </a:lnTo>
                  <a:lnTo>
                    <a:pt x="414" y="10"/>
                  </a:lnTo>
                  <a:lnTo>
                    <a:pt x="418" y="1"/>
                  </a:lnTo>
                  <a:lnTo>
                    <a:pt x="425" y="4"/>
                  </a:lnTo>
                  <a:lnTo>
                    <a:pt x="431" y="6"/>
                  </a:lnTo>
                  <a:lnTo>
                    <a:pt x="436" y="8"/>
                  </a:lnTo>
                  <a:lnTo>
                    <a:pt x="442" y="8"/>
                  </a:lnTo>
                  <a:lnTo>
                    <a:pt x="453" y="8"/>
                  </a:lnTo>
                  <a:lnTo>
                    <a:pt x="462" y="6"/>
                  </a:lnTo>
                  <a:lnTo>
                    <a:pt x="472" y="4"/>
                  </a:lnTo>
                  <a:lnTo>
                    <a:pt x="482" y="1"/>
                  </a:lnTo>
                  <a:lnTo>
                    <a:pt x="493" y="0"/>
                  </a:lnTo>
                  <a:lnTo>
                    <a:pt x="505" y="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0" name="Freeform 478">
              <a:extLst>
                <a:ext uri="{FF2B5EF4-FFF2-40B4-BE49-F238E27FC236}">
                  <a16:creationId xmlns:a16="http://schemas.microsoft.com/office/drawing/2014/main" id="{0CD3BAD9-D716-4D58-92F1-8AD8669ED2D6}"/>
                </a:ext>
              </a:extLst>
            </p:cNvPr>
            <p:cNvSpPr>
              <a:spLocks/>
            </p:cNvSpPr>
            <p:nvPr>
              <p:custDataLst>
                <p:tags r:id="rId316"/>
              </p:custDataLst>
            </p:nvPr>
          </p:nvSpPr>
          <p:spPr bwMode="auto">
            <a:xfrm>
              <a:off x="4297358" y="4203667"/>
              <a:ext cx="350837" cy="380997"/>
            </a:xfrm>
            <a:custGeom>
              <a:avLst/>
              <a:gdLst>
                <a:gd name="T0" fmla="*/ 345206 w 810"/>
                <a:gd name="T1" fmla="*/ 22011 h 727"/>
                <a:gd name="T2" fmla="*/ 331779 w 810"/>
                <a:gd name="T3" fmla="*/ 13626 h 727"/>
                <a:gd name="T4" fmla="*/ 310989 w 810"/>
                <a:gd name="T5" fmla="*/ 17294 h 727"/>
                <a:gd name="T6" fmla="*/ 274606 w 810"/>
                <a:gd name="T7" fmla="*/ 23059 h 727"/>
                <a:gd name="T8" fmla="*/ 261612 w 810"/>
                <a:gd name="T9" fmla="*/ 28824 h 727"/>
                <a:gd name="T10" fmla="*/ 121277 w 810"/>
                <a:gd name="T11" fmla="*/ 20963 h 727"/>
                <a:gd name="T12" fmla="*/ 100487 w 810"/>
                <a:gd name="T13" fmla="*/ 19391 h 727"/>
                <a:gd name="T14" fmla="*/ 74499 w 810"/>
                <a:gd name="T15" fmla="*/ 8909 h 727"/>
                <a:gd name="T16" fmla="*/ 50243 w 810"/>
                <a:gd name="T17" fmla="*/ 0 h 727"/>
                <a:gd name="T18" fmla="*/ 35950 w 810"/>
                <a:gd name="T19" fmla="*/ 2620 h 727"/>
                <a:gd name="T20" fmla="*/ 22956 w 810"/>
                <a:gd name="T21" fmla="*/ 12578 h 727"/>
                <a:gd name="T22" fmla="*/ 0 w 810"/>
                <a:gd name="T23" fmla="*/ 28824 h 727"/>
                <a:gd name="T24" fmla="*/ 3032 w 810"/>
                <a:gd name="T25" fmla="*/ 35637 h 727"/>
                <a:gd name="T26" fmla="*/ 11261 w 810"/>
                <a:gd name="T27" fmla="*/ 38781 h 727"/>
                <a:gd name="T28" fmla="*/ 15593 w 810"/>
                <a:gd name="T29" fmla="*/ 67605 h 727"/>
                <a:gd name="T30" fmla="*/ 25988 w 810"/>
                <a:gd name="T31" fmla="*/ 100622 h 727"/>
                <a:gd name="T32" fmla="*/ 47211 w 810"/>
                <a:gd name="T33" fmla="*/ 144644 h 727"/>
                <a:gd name="T34" fmla="*/ 57607 w 810"/>
                <a:gd name="T35" fmla="*/ 157221 h 727"/>
                <a:gd name="T36" fmla="*/ 68868 w 810"/>
                <a:gd name="T37" fmla="*/ 158270 h 727"/>
                <a:gd name="T38" fmla="*/ 68868 w 810"/>
                <a:gd name="T39" fmla="*/ 173992 h 727"/>
                <a:gd name="T40" fmla="*/ 65836 w 810"/>
                <a:gd name="T41" fmla="*/ 188142 h 727"/>
                <a:gd name="T42" fmla="*/ 63237 w 810"/>
                <a:gd name="T43" fmla="*/ 206484 h 727"/>
                <a:gd name="T44" fmla="*/ 64970 w 810"/>
                <a:gd name="T45" fmla="*/ 222730 h 727"/>
                <a:gd name="T46" fmla="*/ 74932 w 810"/>
                <a:gd name="T47" fmla="*/ 253651 h 727"/>
                <a:gd name="T48" fmla="*/ 77531 w 810"/>
                <a:gd name="T49" fmla="*/ 271469 h 727"/>
                <a:gd name="T50" fmla="*/ 80996 w 810"/>
                <a:gd name="T51" fmla="*/ 317587 h 727"/>
                <a:gd name="T52" fmla="*/ 88359 w 810"/>
                <a:gd name="T53" fmla="*/ 339074 h 727"/>
                <a:gd name="T54" fmla="*/ 100054 w 810"/>
                <a:gd name="T55" fmla="*/ 361609 h 727"/>
                <a:gd name="T56" fmla="*/ 106117 w 810"/>
                <a:gd name="T57" fmla="*/ 366850 h 727"/>
                <a:gd name="T58" fmla="*/ 112181 w 810"/>
                <a:gd name="T59" fmla="*/ 374711 h 727"/>
                <a:gd name="T60" fmla="*/ 114780 w 810"/>
                <a:gd name="T61" fmla="*/ 355320 h 727"/>
                <a:gd name="T62" fmla="*/ 133405 w 810"/>
                <a:gd name="T63" fmla="*/ 364754 h 727"/>
                <a:gd name="T64" fmla="*/ 142067 w 810"/>
                <a:gd name="T65" fmla="*/ 373663 h 727"/>
                <a:gd name="T66" fmla="*/ 161125 w 810"/>
                <a:gd name="T67" fmla="*/ 380476 h 727"/>
                <a:gd name="T68" fmla="*/ 176285 w 810"/>
                <a:gd name="T69" fmla="*/ 378904 h 727"/>
                <a:gd name="T70" fmla="*/ 185814 w 810"/>
                <a:gd name="T71" fmla="*/ 372091 h 727"/>
                <a:gd name="T72" fmla="*/ 195776 w 810"/>
                <a:gd name="T73" fmla="*/ 353748 h 727"/>
                <a:gd name="T74" fmla="*/ 200540 w 810"/>
                <a:gd name="T75" fmla="*/ 277234 h 727"/>
                <a:gd name="T76" fmla="*/ 201406 w 810"/>
                <a:gd name="T77" fmla="*/ 251554 h 727"/>
                <a:gd name="T78" fmla="*/ 204005 w 810"/>
                <a:gd name="T79" fmla="*/ 245790 h 727"/>
                <a:gd name="T80" fmla="*/ 200540 w 810"/>
                <a:gd name="T81" fmla="*/ 223254 h 727"/>
                <a:gd name="T82" fmla="*/ 203139 w 810"/>
                <a:gd name="T83" fmla="*/ 192858 h 727"/>
                <a:gd name="T84" fmla="*/ 216566 w 810"/>
                <a:gd name="T85" fmla="*/ 172944 h 727"/>
                <a:gd name="T86" fmla="*/ 227394 w 810"/>
                <a:gd name="T87" fmla="*/ 167703 h 727"/>
                <a:gd name="T88" fmla="*/ 233025 w 810"/>
                <a:gd name="T89" fmla="*/ 121585 h 727"/>
                <a:gd name="T90" fmla="*/ 238656 w 810"/>
                <a:gd name="T91" fmla="*/ 77563 h 727"/>
                <a:gd name="T92" fmla="*/ 234324 w 810"/>
                <a:gd name="T93" fmla="*/ 64985 h 727"/>
                <a:gd name="T94" fmla="*/ 229993 w 810"/>
                <a:gd name="T95" fmla="*/ 51883 h 727"/>
                <a:gd name="T96" fmla="*/ 233458 w 810"/>
                <a:gd name="T97" fmla="*/ 45070 h 727"/>
                <a:gd name="T98" fmla="*/ 267243 w 810"/>
                <a:gd name="T99" fmla="*/ 41926 h 727"/>
                <a:gd name="T100" fmla="*/ 306658 w 810"/>
                <a:gd name="T101" fmla="*/ 33017 h 727"/>
                <a:gd name="T102" fmla="*/ 347805 w 810"/>
                <a:gd name="T103" fmla="*/ 31968 h 727"/>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810" h="727">
                  <a:moveTo>
                    <a:pt x="810" y="61"/>
                  </a:moveTo>
                  <a:lnTo>
                    <a:pt x="807" y="54"/>
                  </a:lnTo>
                  <a:lnTo>
                    <a:pt x="802" y="48"/>
                  </a:lnTo>
                  <a:lnTo>
                    <a:pt x="797" y="42"/>
                  </a:lnTo>
                  <a:lnTo>
                    <a:pt x="790" y="36"/>
                  </a:lnTo>
                  <a:lnTo>
                    <a:pt x="784" y="32"/>
                  </a:lnTo>
                  <a:lnTo>
                    <a:pt x="775" y="28"/>
                  </a:lnTo>
                  <a:lnTo>
                    <a:pt x="766" y="26"/>
                  </a:lnTo>
                  <a:lnTo>
                    <a:pt x="756" y="25"/>
                  </a:lnTo>
                  <a:lnTo>
                    <a:pt x="743" y="26"/>
                  </a:lnTo>
                  <a:lnTo>
                    <a:pt x="730" y="29"/>
                  </a:lnTo>
                  <a:lnTo>
                    <a:pt x="718" y="33"/>
                  </a:lnTo>
                  <a:lnTo>
                    <a:pt x="703" y="37"/>
                  </a:lnTo>
                  <a:lnTo>
                    <a:pt x="671" y="37"/>
                  </a:lnTo>
                  <a:lnTo>
                    <a:pt x="651" y="41"/>
                  </a:lnTo>
                  <a:lnTo>
                    <a:pt x="634" y="44"/>
                  </a:lnTo>
                  <a:lnTo>
                    <a:pt x="627" y="46"/>
                  </a:lnTo>
                  <a:lnTo>
                    <a:pt x="619" y="48"/>
                  </a:lnTo>
                  <a:lnTo>
                    <a:pt x="611" y="51"/>
                  </a:lnTo>
                  <a:lnTo>
                    <a:pt x="604" y="55"/>
                  </a:lnTo>
                  <a:lnTo>
                    <a:pt x="411" y="55"/>
                  </a:lnTo>
                  <a:lnTo>
                    <a:pt x="411" y="37"/>
                  </a:lnTo>
                  <a:lnTo>
                    <a:pt x="292" y="37"/>
                  </a:lnTo>
                  <a:lnTo>
                    <a:pt x="280" y="40"/>
                  </a:lnTo>
                  <a:lnTo>
                    <a:pt x="269" y="41"/>
                  </a:lnTo>
                  <a:lnTo>
                    <a:pt x="257" y="40"/>
                  </a:lnTo>
                  <a:lnTo>
                    <a:pt x="245" y="39"/>
                  </a:lnTo>
                  <a:lnTo>
                    <a:pt x="232" y="37"/>
                  </a:lnTo>
                  <a:lnTo>
                    <a:pt x="220" y="34"/>
                  </a:lnTo>
                  <a:lnTo>
                    <a:pt x="208" y="30"/>
                  </a:lnTo>
                  <a:lnTo>
                    <a:pt x="196" y="26"/>
                  </a:lnTo>
                  <a:lnTo>
                    <a:pt x="172" y="17"/>
                  </a:lnTo>
                  <a:lnTo>
                    <a:pt x="149" y="8"/>
                  </a:lnTo>
                  <a:lnTo>
                    <a:pt x="137" y="5"/>
                  </a:lnTo>
                  <a:lnTo>
                    <a:pt x="126" y="2"/>
                  </a:lnTo>
                  <a:lnTo>
                    <a:pt x="116" y="0"/>
                  </a:lnTo>
                  <a:lnTo>
                    <a:pt x="105" y="0"/>
                  </a:lnTo>
                  <a:lnTo>
                    <a:pt x="97" y="0"/>
                  </a:lnTo>
                  <a:lnTo>
                    <a:pt x="91" y="2"/>
                  </a:lnTo>
                  <a:lnTo>
                    <a:pt x="83" y="5"/>
                  </a:lnTo>
                  <a:lnTo>
                    <a:pt x="75" y="8"/>
                  </a:lnTo>
                  <a:lnTo>
                    <a:pt x="68" y="13"/>
                  </a:lnTo>
                  <a:lnTo>
                    <a:pt x="60" y="19"/>
                  </a:lnTo>
                  <a:lnTo>
                    <a:pt x="53" y="24"/>
                  </a:lnTo>
                  <a:lnTo>
                    <a:pt x="46" y="31"/>
                  </a:lnTo>
                  <a:lnTo>
                    <a:pt x="6" y="31"/>
                  </a:lnTo>
                  <a:lnTo>
                    <a:pt x="3" y="45"/>
                  </a:lnTo>
                  <a:lnTo>
                    <a:pt x="0" y="55"/>
                  </a:lnTo>
                  <a:lnTo>
                    <a:pt x="0" y="58"/>
                  </a:lnTo>
                  <a:lnTo>
                    <a:pt x="2" y="61"/>
                  </a:lnTo>
                  <a:lnTo>
                    <a:pt x="4" y="64"/>
                  </a:lnTo>
                  <a:lnTo>
                    <a:pt x="7" y="68"/>
                  </a:lnTo>
                  <a:lnTo>
                    <a:pt x="12" y="70"/>
                  </a:lnTo>
                  <a:lnTo>
                    <a:pt x="16" y="72"/>
                  </a:lnTo>
                  <a:lnTo>
                    <a:pt x="21" y="74"/>
                  </a:lnTo>
                  <a:lnTo>
                    <a:pt x="26" y="74"/>
                  </a:lnTo>
                  <a:lnTo>
                    <a:pt x="26" y="86"/>
                  </a:lnTo>
                  <a:lnTo>
                    <a:pt x="28" y="99"/>
                  </a:lnTo>
                  <a:lnTo>
                    <a:pt x="32" y="113"/>
                  </a:lnTo>
                  <a:lnTo>
                    <a:pt x="36" y="129"/>
                  </a:lnTo>
                  <a:lnTo>
                    <a:pt x="40" y="144"/>
                  </a:lnTo>
                  <a:lnTo>
                    <a:pt x="47" y="160"/>
                  </a:lnTo>
                  <a:lnTo>
                    <a:pt x="53" y="175"/>
                  </a:lnTo>
                  <a:lnTo>
                    <a:pt x="60" y="192"/>
                  </a:lnTo>
                  <a:lnTo>
                    <a:pt x="77" y="223"/>
                  </a:lnTo>
                  <a:lnTo>
                    <a:pt x="93" y="252"/>
                  </a:lnTo>
                  <a:lnTo>
                    <a:pt x="102" y="265"/>
                  </a:lnTo>
                  <a:lnTo>
                    <a:pt x="109" y="276"/>
                  </a:lnTo>
                  <a:lnTo>
                    <a:pt x="117" y="286"/>
                  </a:lnTo>
                  <a:lnTo>
                    <a:pt x="125" y="296"/>
                  </a:lnTo>
                  <a:lnTo>
                    <a:pt x="128" y="298"/>
                  </a:lnTo>
                  <a:lnTo>
                    <a:pt x="133" y="300"/>
                  </a:lnTo>
                  <a:lnTo>
                    <a:pt x="137" y="301"/>
                  </a:lnTo>
                  <a:lnTo>
                    <a:pt x="142" y="301"/>
                  </a:lnTo>
                  <a:lnTo>
                    <a:pt x="151" y="302"/>
                  </a:lnTo>
                  <a:lnTo>
                    <a:pt x="159" y="302"/>
                  </a:lnTo>
                  <a:lnTo>
                    <a:pt x="159" y="309"/>
                  </a:lnTo>
                  <a:lnTo>
                    <a:pt x="159" y="317"/>
                  </a:lnTo>
                  <a:lnTo>
                    <a:pt x="159" y="326"/>
                  </a:lnTo>
                  <a:lnTo>
                    <a:pt x="159" y="332"/>
                  </a:lnTo>
                  <a:lnTo>
                    <a:pt x="158" y="339"/>
                  </a:lnTo>
                  <a:lnTo>
                    <a:pt x="157" y="346"/>
                  </a:lnTo>
                  <a:lnTo>
                    <a:pt x="154" y="353"/>
                  </a:lnTo>
                  <a:lnTo>
                    <a:pt x="152" y="359"/>
                  </a:lnTo>
                  <a:lnTo>
                    <a:pt x="149" y="366"/>
                  </a:lnTo>
                  <a:lnTo>
                    <a:pt x="147" y="374"/>
                  </a:lnTo>
                  <a:lnTo>
                    <a:pt x="146" y="383"/>
                  </a:lnTo>
                  <a:lnTo>
                    <a:pt x="146" y="394"/>
                  </a:lnTo>
                  <a:lnTo>
                    <a:pt x="146" y="403"/>
                  </a:lnTo>
                  <a:lnTo>
                    <a:pt x="147" y="410"/>
                  </a:lnTo>
                  <a:lnTo>
                    <a:pt x="148" y="418"/>
                  </a:lnTo>
                  <a:lnTo>
                    <a:pt x="150" y="425"/>
                  </a:lnTo>
                  <a:lnTo>
                    <a:pt x="156" y="439"/>
                  </a:lnTo>
                  <a:lnTo>
                    <a:pt x="162" y="453"/>
                  </a:lnTo>
                  <a:lnTo>
                    <a:pt x="168" y="469"/>
                  </a:lnTo>
                  <a:lnTo>
                    <a:pt x="173" y="484"/>
                  </a:lnTo>
                  <a:lnTo>
                    <a:pt x="175" y="491"/>
                  </a:lnTo>
                  <a:lnTo>
                    <a:pt x="178" y="500"/>
                  </a:lnTo>
                  <a:lnTo>
                    <a:pt x="179" y="508"/>
                  </a:lnTo>
                  <a:lnTo>
                    <a:pt x="179" y="518"/>
                  </a:lnTo>
                  <a:lnTo>
                    <a:pt x="179" y="542"/>
                  </a:lnTo>
                  <a:lnTo>
                    <a:pt x="180" y="564"/>
                  </a:lnTo>
                  <a:lnTo>
                    <a:pt x="183" y="586"/>
                  </a:lnTo>
                  <a:lnTo>
                    <a:pt x="187" y="606"/>
                  </a:lnTo>
                  <a:lnTo>
                    <a:pt x="191" y="616"/>
                  </a:lnTo>
                  <a:lnTo>
                    <a:pt x="194" y="627"/>
                  </a:lnTo>
                  <a:lnTo>
                    <a:pt x="198" y="637"/>
                  </a:lnTo>
                  <a:lnTo>
                    <a:pt x="204" y="647"/>
                  </a:lnTo>
                  <a:lnTo>
                    <a:pt x="209" y="657"/>
                  </a:lnTo>
                  <a:lnTo>
                    <a:pt x="216" y="667"/>
                  </a:lnTo>
                  <a:lnTo>
                    <a:pt x="224" y="679"/>
                  </a:lnTo>
                  <a:lnTo>
                    <a:pt x="231" y="690"/>
                  </a:lnTo>
                  <a:lnTo>
                    <a:pt x="235" y="696"/>
                  </a:lnTo>
                  <a:lnTo>
                    <a:pt x="238" y="698"/>
                  </a:lnTo>
                  <a:lnTo>
                    <a:pt x="241" y="700"/>
                  </a:lnTo>
                  <a:lnTo>
                    <a:pt x="245" y="700"/>
                  </a:lnTo>
                  <a:lnTo>
                    <a:pt x="249" y="701"/>
                  </a:lnTo>
                  <a:lnTo>
                    <a:pt x="252" y="703"/>
                  </a:lnTo>
                  <a:lnTo>
                    <a:pt x="256" y="707"/>
                  </a:lnTo>
                  <a:lnTo>
                    <a:pt x="259" y="715"/>
                  </a:lnTo>
                  <a:lnTo>
                    <a:pt x="259" y="708"/>
                  </a:lnTo>
                  <a:lnTo>
                    <a:pt x="262" y="699"/>
                  </a:lnTo>
                  <a:lnTo>
                    <a:pt x="264" y="688"/>
                  </a:lnTo>
                  <a:lnTo>
                    <a:pt x="265" y="678"/>
                  </a:lnTo>
                  <a:lnTo>
                    <a:pt x="298" y="678"/>
                  </a:lnTo>
                  <a:lnTo>
                    <a:pt x="301" y="685"/>
                  </a:lnTo>
                  <a:lnTo>
                    <a:pt x="304" y="691"/>
                  </a:lnTo>
                  <a:lnTo>
                    <a:pt x="308" y="696"/>
                  </a:lnTo>
                  <a:lnTo>
                    <a:pt x="313" y="701"/>
                  </a:lnTo>
                  <a:lnTo>
                    <a:pt x="317" y="706"/>
                  </a:lnTo>
                  <a:lnTo>
                    <a:pt x="322" y="710"/>
                  </a:lnTo>
                  <a:lnTo>
                    <a:pt x="328" y="713"/>
                  </a:lnTo>
                  <a:lnTo>
                    <a:pt x="333" y="716"/>
                  </a:lnTo>
                  <a:lnTo>
                    <a:pt x="346" y="721"/>
                  </a:lnTo>
                  <a:lnTo>
                    <a:pt x="359" y="724"/>
                  </a:lnTo>
                  <a:lnTo>
                    <a:pt x="372" y="726"/>
                  </a:lnTo>
                  <a:lnTo>
                    <a:pt x="384" y="727"/>
                  </a:lnTo>
                  <a:lnTo>
                    <a:pt x="393" y="726"/>
                  </a:lnTo>
                  <a:lnTo>
                    <a:pt x="400" y="725"/>
                  </a:lnTo>
                  <a:lnTo>
                    <a:pt x="407" y="723"/>
                  </a:lnTo>
                  <a:lnTo>
                    <a:pt x="414" y="721"/>
                  </a:lnTo>
                  <a:lnTo>
                    <a:pt x="419" y="718"/>
                  </a:lnTo>
                  <a:lnTo>
                    <a:pt x="425" y="714"/>
                  </a:lnTo>
                  <a:lnTo>
                    <a:pt x="429" y="710"/>
                  </a:lnTo>
                  <a:lnTo>
                    <a:pt x="433" y="706"/>
                  </a:lnTo>
                  <a:lnTo>
                    <a:pt x="441" y="696"/>
                  </a:lnTo>
                  <a:lnTo>
                    <a:pt x="447" y="686"/>
                  </a:lnTo>
                  <a:lnTo>
                    <a:pt x="452" y="675"/>
                  </a:lnTo>
                  <a:lnTo>
                    <a:pt x="458" y="665"/>
                  </a:lnTo>
                  <a:lnTo>
                    <a:pt x="458" y="554"/>
                  </a:lnTo>
                  <a:lnTo>
                    <a:pt x="462" y="542"/>
                  </a:lnTo>
                  <a:lnTo>
                    <a:pt x="463" y="529"/>
                  </a:lnTo>
                  <a:lnTo>
                    <a:pt x="464" y="516"/>
                  </a:lnTo>
                  <a:lnTo>
                    <a:pt x="464" y="502"/>
                  </a:lnTo>
                  <a:lnTo>
                    <a:pt x="464" y="490"/>
                  </a:lnTo>
                  <a:lnTo>
                    <a:pt x="465" y="480"/>
                  </a:lnTo>
                  <a:lnTo>
                    <a:pt x="466" y="476"/>
                  </a:lnTo>
                  <a:lnTo>
                    <a:pt x="467" y="473"/>
                  </a:lnTo>
                  <a:lnTo>
                    <a:pt x="469" y="470"/>
                  </a:lnTo>
                  <a:lnTo>
                    <a:pt x="471" y="469"/>
                  </a:lnTo>
                  <a:lnTo>
                    <a:pt x="466" y="456"/>
                  </a:lnTo>
                  <a:lnTo>
                    <a:pt x="464" y="444"/>
                  </a:lnTo>
                  <a:lnTo>
                    <a:pt x="463" y="435"/>
                  </a:lnTo>
                  <a:lnTo>
                    <a:pt x="463" y="426"/>
                  </a:lnTo>
                  <a:lnTo>
                    <a:pt x="463" y="409"/>
                  </a:lnTo>
                  <a:lnTo>
                    <a:pt x="464" y="388"/>
                  </a:lnTo>
                  <a:lnTo>
                    <a:pt x="465" y="378"/>
                  </a:lnTo>
                  <a:lnTo>
                    <a:pt x="469" y="368"/>
                  </a:lnTo>
                  <a:lnTo>
                    <a:pt x="474" y="358"/>
                  </a:lnTo>
                  <a:lnTo>
                    <a:pt x="482" y="348"/>
                  </a:lnTo>
                  <a:lnTo>
                    <a:pt x="490" y="338"/>
                  </a:lnTo>
                  <a:lnTo>
                    <a:pt x="500" y="330"/>
                  </a:lnTo>
                  <a:lnTo>
                    <a:pt x="506" y="327"/>
                  </a:lnTo>
                  <a:lnTo>
                    <a:pt x="511" y="324"/>
                  </a:lnTo>
                  <a:lnTo>
                    <a:pt x="518" y="322"/>
                  </a:lnTo>
                  <a:lnTo>
                    <a:pt x="525" y="320"/>
                  </a:lnTo>
                  <a:lnTo>
                    <a:pt x="526" y="298"/>
                  </a:lnTo>
                  <a:lnTo>
                    <a:pt x="528" y="275"/>
                  </a:lnTo>
                  <a:lnTo>
                    <a:pt x="532" y="254"/>
                  </a:lnTo>
                  <a:lnTo>
                    <a:pt x="538" y="232"/>
                  </a:lnTo>
                  <a:lnTo>
                    <a:pt x="542" y="211"/>
                  </a:lnTo>
                  <a:lnTo>
                    <a:pt x="546" y="190"/>
                  </a:lnTo>
                  <a:lnTo>
                    <a:pt x="550" y="168"/>
                  </a:lnTo>
                  <a:lnTo>
                    <a:pt x="551" y="148"/>
                  </a:lnTo>
                  <a:lnTo>
                    <a:pt x="550" y="141"/>
                  </a:lnTo>
                  <a:lnTo>
                    <a:pt x="548" y="135"/>
                  </a:lnTo>
                  <a:lnTo>
                    <a:pt x="544" y="129"/>
                  </a:lnTo>
                  <a:lnTo>
                    <a:pt x="541" y="124"/>
                  </a:lnTo>
                  <a:lnTo>
                    <a:pt x="537" y="117"/>
                  </a:lnTo>
                  <a:lnTo>
                    <a:pt x="533" y="111"/>
                  </a:lnTo>
                  <a:lnTo>
                    <a:pt x="531" y="105"/>
                  </a:lnTo>
                  <a:lnTo>
                    <a:pt x="531" y="99"/>
                  </a:lnTo>
                  <a:lnTo>
                    <a:pt x="531" y="94"/>
                  </a:lnTo>
                  <a:lnTo>
                    <a:pt x="532" y="91"/>
                  </a:lnTo>
                  <a:lnTo>
                    <a:pt x="535" y="88"/>
                  </a:lnTo>
                  <a:lnTo>
                    <a:pt x="539" y="86"/>
                  </a:lnTo>
                  <a:lnTo>
                    <a:pt x="548" y="84"/>
                  </a:lnTo>
                  <a:lnTo>
                    <a:pt x="559" y="83"/>
                  </a:lnTo>
                  <a:lnTo>
                    <a:pt x="587" y="82"/>
                  </a:lnTo>
                  <a:lnTo>
                    <a:pt x="617" y="80"/>
                  </a:lnTo>
                  <a:lnTo>
                    <a:pt x="640" y="74"/>
                  </a:lnTo>
                  <a:lnTo>
                    <a:pt x="662" y="70"/>
                  </a:lnTo>
                  <a:lnTo>
                    <a:pt x="685" y="67"/>
                  </a:lnTo>
                  <a:lnTo>
                    <a:pt x="708" y="63"/>
                  </a:lnTo>
                  <a:lnTo>
                    <a:pt x="731" y="62"/>
                  </a:lnTo>
                  <a:lnTo>
                    <a:pt x="754" y="61"/>
                  </a:lnTo>
                  <a:lnTo>
                    <a:pt x="778" y="61"/>
                  </a:lnTo>
                  <a:lnTo>
                    <a:pt x="803" y="61"/>
                  </a:lnTo>
                  <a:lnTo>
                    <a:pt x="810" y="6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1" name="Freeform 479">
              <a:extLst>
                <a:ext uri="{FF2B5EF4-FFF2-40B4-BE49-F238E27FC236}">
                  <a16:creationId xmlns:a16="http://schemas.microsoft.com/office/drawing/2014/main" id="{5ACF4152-3DF9-4A0E-AE54-74A51E16294A}"/>
                </a:ext>
              </a:extLst>
            </p:cNvPr>
            <p:cNvSpPr>
              <a:spLocks/>
            </p:cNvSpPr>
            <p:nvPr>
              <p:custDataLst>
                <p:tags r:id="rId317"/>
              </p:custDataLst>
            </p:nvPr>
          </p:nvSpPr>
          <p:spPr bwMode="auto">
            <a:xfrm>
              <a:off x="3576634" y="3133700"/>
              <a:ext cx="161924" cy="141287"/>
            </a:xfrm>
            <a:custGeom>
              <a:avLst/>
              <a:gdLst>
                <a:gd name="T0" fmla="*/ 90057 w 365"/>
                <a:gd name="T1" fmla="*/ 130339 h 271"/>
                <a:gd name="T2" fmla="*/ 72312 w 365"/>
                <a:gd name="T3" fmla="*/ 128254 h 271"/>
                <a:gd name="T4" fmla="*/ 53679 w 365"/>
                <a:gd name="T5" fmla="*/ 128775 h 271"/>
                <a:gd name="T6" fmla="*/ 40814 w 365"/>
                <a:gd name="T7" fmla="*/ 130339 h 271"/>
                <a:gd name="T8" fmla="*/ 32829 w 365"/>
                <a:gd name="T9" fmla="*/ 132946 h 271"/>
                <a:gd name="T10" fmla="*/ 11534 w 365"/>
                <a:gd name="T11" fmla="*/ 141288 h 271"/>
                <a:gd name="T12" fmla="*/ 8873 w 365"/>
                <a:gd name="T13" fmla="*/ 140767 h 271"/>
                <a:gd name="T14" fmla="*/ 7542 w 365"/>
                <a:gd name="T15" fmla="*/ 138681 h 271"/>
                <a:gd name="T16" fmla="*/ 7985 w 365"/>
                <a:gd name="T17" fmla="*/ 132425 h 271"/>
                <a:gd name="T18" fmla="*/ 11534 w 365"/>
                <a:gd name="T19" fmla="*/ 118870 h 271"/>
                <a:gd name="T20" fmla="*/ 27061 w 365"/>
                <a:gd name="T21" fmla="*/ 117827 h 271"/>
                <a:gd name="T22" fmla="*/ 39483 w 365"/>
                <a:gd name="T23" fmla="*/ 115741 h 271"/>
                <a:gd name="T24" fmla="*/ 51017 w 365"/>
                <a:gd name="T25" fmla="*/ 113656 h 271"/>
                <a:gd name="T26" fmla="*/ 64770 w 365"/>
                <a:gd name="T27" fmla="*/ 112613 h 271"/>
                <a:gd name="T28" fmla="*/ 80741 w 365"/>
                <a:gd name="T29" fmla="*/ 113656 h 271"/>
                <a:gd name="T30" fmla="*/ 88282 w 365"/>
                <a:gd name="T31" fmla="*/ 113656 h 271"/>
                <a:gd name="T32" fmla="*/ 97155 w 365"/>
                <a:gd name="T33" fmla="*/ 112613 h 271"/>
                <a:gd name="T34" fmla="*/ 95380 w 365"/>
                <a:gd name="T35" fmla="*/ 108442 h 271"/>
                <a:gd name="T36" fmla="*/ 93162 w 365"/>
                <a:gd name="T37" fmla="*/ 104793 h 271"/>
                <a:gd name="T38" fmla="*/ 86508 w 365"/>
                <a:gd name="T39" fmla="*/ 101143 h 271"/>
                <a:gd name="T40" fmla="*/ 77635 w 365"/>
                <a:gd name="T41" fmla="*/ 99579 h 271"/>
                <a:gd name="T42" fmla="*/ 67432 w 365"/>
                <a:gd name="T43" fmla="*/ 99058 h 271"/>
                <a:gd name="T44" fmla="*/ 41258 w 365"/>
                <a:gd name="T45" fmla="*/ 100101 h 271"/>
                <a:gd name="T46" fmla="*/ 28392 w 365"/>
                <a:gd name="T47" fmla="*/ 102186 h 271"/>
                <a:gd name="T48" fmla="*/ 14640 w 365"/>
                <a:gd name="T49" fmla="*/ 105836 h 271"/>
                <a:gd name="T50" fmla="*/ 16858 w 365"/>
                <a:gd name="T51" fmla="*/ 95409 h 271"/>
                <a:gd name="T52" fmla="*/ 17302 w 365"/>
                <a:gd name="T53" fmla="*/ 89674 h 271"/>
                <a:gd name="T54" fmla="*/ 11534 w 365"/>
                <a:gd name="T55" fmla="*/ 85503 h 271"/>
                <a:gd name="T56" fmla="*/ 5767 w 365"/>
                <a:gd name="T57" fmla="*/ 83417 h 271"/>
                <a:gd name="T58" fmla="*/ 4880 w 365"/>
                <a:gd name="T59" fmla="*/ 76640 h 271"/>
                <a:gd name="T60" fmla="*/ 2662 w 365"/>
                <a:gd name="T61" fmla="*/ 74554 h 271"/>
                <a:gd name="T62" fmla="*/ 887 w 365"/>
                <a:gd name="T63" fmla="*/ 73511 h 271"/>
                <a:gd name="T64" fmla="*/ 0 w 365"/>
                <a:gd name="T65" fmla="*/ 70383 h 271"/>
                <a:gd name="T66" fmla="*/ 2218 w 365"/>
                <a:gd name="T67" fmla="*/ 59956 h 271"/>
                <a:gd name="T68" fmla="*/ 7542 w 365"/>
                <a:gd name="T69" fmla="*/ 47965 h 271"/>
                <a:gd name="T70" fmla="*/ 13309 w 365"/>
                <a:gd name="T71" fmla="*/ 35974 h 271"/>
                <a:gd name="T72" fmla="*/ 17302 w 365"/>
                <a:gd name="T73" fmla="*/ 25547 h 271"/>
                <a:gd name="T74" fmla="*/ 21294 w 365"/>
                <a:gd name="T75" fmla="*/ 21897 h 271"/>
                <a:gd name="T76" fmla="*/ 21738 w 365"/>
                <a:gd name="T77" fmla="*/ 25025 h 271"/>
                <a:gd name="T78" fmla="*/ 23069 w 365"/>
                <a:gd name="T79" fmla="*/ 18769 h 271"/>
                <a:gd name="T80" fmla="*/ 33272 w 365"/>
                <a:gd name="T81" fmla="*/ 16162 h 271"/>
                <a:gd name="T82" fmla="*/ 50574 w 365"/>
                <a:gd name="T83" fmla="*/ 9384 h 271"/>
                <a:gd name="T84" fmla="*/ 73199 w 365"/>
                <a:gd name="T85" fmla="*/ 0 h 271"/>
                <a:gd name="T86" fmla="*/ 81628 w 365"/>
                <a:gd name="T87" fmla="*/ 7820 h 271"/>
                <a:gd name="T88" fmla="*/ 89613 w 365"/>
                <a:gd name="T89" fmla="*/ 12513 h 271"/>
                <a:gd name="T90" fmla="*/ 97599 w 365"/>
                <a:gd name="T91" fmla="*/ 15119 h 271"/>
                <a:gd name="T92" fmla="*/ 106028 w 365"/>
                <a:gd name="T93" fmla="*/ 15641 h 271"/>
                <a:gd name="T94" fmla="*/ 106915 w 365"/>
                <a:gd name="T95" fmla="*/ 27111 h 271"/>
                <a:gd name="T96" fmla="*/ 109577 w 365"/>
                <a:gd name="T97" fmla="*/ 35974 h 271"/>
                <a:gd name="T98" fmla="*/ 112682 w 365"/>
                <a:gd name="T99" fmla="*/ 43794 h 271"/>
                <a:gd name="T100" fmla="*/ 117118 w 365"/>
                <a:gd name="T101" fmla="*/ 49529 h 271"/>
                <a:gd name="T102" fmla="*/ 135307 w 365"/>
                <a:gd name="T103" fmla="*/ 67255 h 271"/>
                <a:gd name="T104" fmla="*/ 156158 w 365"/>
                <a:gd name="T105" fmla="*/ 121998 h 271"/>
                <a:gd name="T106" fmla="*/ 159263 w 365"/>
                <a:gd name="T107" fmla="*/ 133989 h 271"/>
                <a:gd name="T108" fmla="*/ 161925 w 365"/>
                <a:gd name="T109" fmla="*/ 141288 h 271"/>
                <a:gd name="T110" fmla="*/ 142405 w 365"/>
                <a:gd name="T111" fmla="*/ 135032 h 271"/>
                <a:gd name="T112" fmla="*/ 121998 w 365"/>
                <a:gd name="T113" fmla="*/ 131382 h 271"/>
                <a:gd name="T114" fmla="*/ 110020 w 365"/>
                <a:gd name="T115" fmla="*/ 130861 h 271"/>
                <a:gd name="T116" fmla="*/ 97155 w 365"/>
                <a:gd name="T117" fmla="*/ 131382 h 271"/>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65" h="271">
                  <a:moveTo>
                    <a:pt x="219" y="252"/>
                  </a:moveTo>
                  <a:lnTo>
                    <a:pt x="203" y="250"/>
                  </a:lnTo>
                  <a:lnTo>
                    <a:pt x="184" y="248"/>
                  </a:lnTo>
                  <a:lnTo>
                    <a:pt x="163" y="246"/>
                  </a:lnTo>
                  <a:lnTo>
                    <a:pt x="142" y="246"/>
                  </a:lnTo>
                  <a:lnTo>
                    <a:pt x="121" y="247"/>
                  </a:lnTo>
                  <a:lnTo>
                    <a:pt x="101" y="249"/>
                  </a:lnTo>
                  <a:lnTo>
                    <a:pt x="92" y="250"/>
                  </a:lnTo>
                  <a:lnTo>
                    <a:pt x="82" y="252"/>
                  </a:lnTo>
                  <a:lnTo>
                    <a:pt x="74" y="255"/>
                  </a:lnTo>
                  <a:lnTo>
                    <a:pt x="65" y="258"/>
                  </a:lnTo>
                  <a:lnTo>
                    <a:pt x="26" y="271"/>
                  </a:lnTo>
                  <a:lnTo>
                    <a:pt x="23" y="271"/>
                  </a:lnTo>
                  <a:lnTo>
                    <a:pt x="20" y="270"/>
                  </a:lnTo>
                  <a:lnTo>
                    <a:pt x="18" y="268"/>
                  </a:lnTo>
                  <a:lnTo>
                    <a:pt x="17" y="266"/>
                  </a:lnTo>
                  <a:lnTo>
                    <a:pt x="17" y="260"/>
                  </a:lnTo>
                  <a:lnTo>
                    <a:pt x="18" y="254"/>
                  </a:lnTo>
                  <a:lnTo>
                    <a:pt x="24" y="240"/>
                  </a:lnTo>
                  <a:lnTo>
                    <a:pt x="26" y="228"/>
                  </a:lnTo>
                  <a:lnTo>
                    <a:pt x="45" y="227"/>
                  </a:lnTo>
                  <a:lnTo>
                    <a:pt x="61" y="226"/>
                  </a:lnTo>
                  <a:lnTo>
                    <a:pt x="75" y="224"/>
                  </a:lnTo>
                  <a:lnTo>
                    <a:pt x="89" y="222"/>
                  </a:lnTo>
                  <a:lnTo>
                    <a:pt x="102" y="220"/>
                  </a:lnTo>
                  <a:lnTo>
                    <a:pt x="115" y="218"/>
                  </a:lnTo>
                  <a:lnTo>
                    <a:pt x="129" y="216"/>
                  </a:lnTo>
                  <a:lnTo>
                    <a:pt x="146" y="216"/>
                  </a:lnTo>
                  <a:lnTo>
                    <a:pt x="164" y="217"/>
                  </a:lnTo>
                  <a:lnTo>
                    <a:pt x="182" y="218"/>
                  </a:lnTo>
                  <a:lnTo>
                    <a:pt x="191" y="218"/>
                  </a:lnTo>
                  <a:lnTo>
                    <a:pt x="199" y="218"/>
                  </a:lnTo>
                  <a:lnTo>
                    <a:pt x="209" y="217"/>
                  </a:lnTo>
                  <a:lnTo>
                    <a:pt x="219" y="216"/>
                  </a:lnTo>
                  <a:lnTo>
                    <a:pt x="217" y="211"/>
                  </a:lnTo>
                  <a:lnTo>
                    <a:pt x="215" y="208"/>
                  </a:lnTo>
                  <a:lnTo>
                    <a:pt x="213" y="203"/>
                  </a:lnTo>
                  <a:lnTo>
                    <a:pt x="210" y="201"/>
                  </a:lnTo>
                  <a:lnTo>
                    <a:pt x="204" y="196"/>
                  </a:lnTo>
                  <a:lnTo>
                    <a:pt x="195" y="194"/>
                  </a:lnTo>
                  <a:lnTo>
                    <a:pt x="186" y="192"/>
                  </a:lnTo>
                  <a:lnTo>
                    <a:pt x="175" y="191"/>
                  </a:lnTo>
                  <a:lnTo>
                    <a:pt x="164" y="191"/>
                  </a:lnTo>
                  <a:lnTo>
                    <a:pt x="152" y="190"/>
                  </a:lnTo>
                  <a:lnTo>
                    <a:pt x="120" y="191"/>
                  </a:lnTo>
                  <a:lnTo>
                    <a:pt x="93" y="192"/>
                  </a:lnTo>
                  <a:lnTo>
                    <a:pt x="79" y="193"/>
                  </a:lnTo>
                  <a:lnTo>
                    <a:pt x="64" y="196"/>
                  </a:lnTo>
                  <a:lnTo>
                    <a:pt x="49" y="199"/>
                  </a:lnTo>
                  <a:lnTo>
                    <a:pt x="33" y="203"/>
                  </a:lnTo>
                  <a:lnTo>
                    <a:pt x="37" y="191"/>
                  </a:lnTo>
                  <a:lnTo>
                    <a:pt x="38" y="183"/>
                  </a:lnTo>
                  <a:lnTo>
                    <a:pt x="39" y="177"/>
                  </a:lnTo>
                  <a:lnTo>
                    <a:pt x="39" y="172"/>
                  </a:lnTo>
                  <a:lnTo>
                    <a:pt x="34" y="168"/>
                  </a:lnTo>
                  <a:lnTo>
                    <a:pt x="26" y="164"/>
                  </a:lnTo>
                  <a:lnTo>
                    <a:pt x="18" y="161"/>
                  </a:lnTo>
                  <a:lnTo>
                    <a:pt x="13" y="160"/>
                  </a:lnTo>
                  <a:lnTo>
                    <a:pt x="13" y="153"/>
                  </a:lnTo>
                  <a:lnTo>
                    <a:pt x="11" y="147"/>
                  </a:lnTo>
                  <a:lnTo>
                    <a:pt x="8" y="144"/>
                  </a:lnTo>
                  <a:lnTo>
                    <a:pt x="6" y="143"/>
                  </a:lnTo>
                  <a:lnTo>
                    <a:pt x="4" y="142"/>
                  </a:lnTo>
                  <a:lnTo>
                    <a:pt x="2" y="141"/>
                  </a:lnTo>
                  <a:lnTo>
                    <a:pt x="0" y="139"/>
                  </a:lnTo>
                  <a:lnTo>
                    <a:pt x="0" y="135"/>
                  </a:lnTo>
                  <a:lnTo>
                    <a:pt x="1" y="125"/>
                  </a:lnTo>
                  <a:lnTo>
                    <a:pt x="5" y="115"/>
                  </a:lnTo>
                  <a:lnTo>
                    <a:pt x="11" y="104"/>
                  </a:lnTo>
                  <a:lnTo>
                    <a:pt x="17" y="92"/>
                  </a:lnTo>
                  <a:lnTo>
                    <a:pt x="24" y="80"/>
                  </a:lnTo>
                  <a:lnTo>
                    <a:pt x="30" y="69"/>
                  </a:lnTo>
                  <a:lnTo>
                    <a:pt x="36" y="59"/>
                  </a:lnTo>
                  <a:lnTo>
                    <a:pt x="39" y="49"/>
                  </a:lnTo>
                  <a:lnTo>
                    <a:pt x="45" y="43"/>
                  </a:lnTo>
                  <a:lnTo>
                    <a:pt x="48" y="42"/>
                  </a:lnTo>
                  <a:lnTo>
                    <a:pt x="49" y="44"/>
                  </a:lnTo>
                  <a:lnTo>
                    <a:pt x="49" y="48"/>
                  </a:lnTo>
                  <a:lnTo>
                    <a:pt x="48" y="51"/>
                  </a:lnTo>
                  <a:lnTo>
                    <a:pt x="52" y="36"/>
                  </a:lnTo>
                  <a:lnTo>
                    <a:pt x="61" y="35"/>
                  </a:lnTo>
                  <a:lnTo>
                    <a:pt x="75" y="31"/>
                  </a:lnTo>
                  <a:lnTo>
                    <a:pt x="94" y="25"/>
                  </a:lnTo>
                  <a:lnTo>
                    <a:pt x="114" y="18"/>
                  </a:lnTo>
                  <a:lnTo>
                    <a:pt x="150" y="6"/>
                  </a:lnTo>
                  <a:lnTo>
                    <a:pt x="165" y="0"/>
                  </a:lnTo>
                  <a:lnTo>
                    <a:pt x="175" y="8"/>
                  </a:lnTo>
                  <a:lnTo>
                    <a:pt x="184" y="15"/>
                  </a:lnTo>
                  <a:lnTo>
                    <a:pt x="194" y="20"/>
                  </a:lnTo>
                  <a:lnTo>
                    <a:pt x="202" y="24"/>
                  </a:lnTo>
                  <a:lnTo>
                    <a:pt x="210" y="27"/>
                  </a:lnTo>
                  <a:lnTo>
                    <a:pt x="220" y="29"/>
                  </a:lnTo>
                  <a:lnTo>
                    <a:pt x="229" y="30"/>
                  </a:lnTo>
                  <a:lnTo>
                    <a:pt x="239" y="30"/>
                  </a:lnTo>
                  <a:lnTo>
                    <a:pt x="239" y="42"/>
                  </a:lnTo>
                  <a:lnTo>
                    <a:pt x="241" y="52"/>
                  </a:lnTo>
                  <a:lnTo>
                    <a:pt x="243" y="61"/>
                  </a:lnTo>
                  <a:lnTo>
                    <a:pt x="247" y="69"/>
                  </a:lnTo>
                  <a:lnTo>
                    <a:pt x="250" y="77"/>
                  </a:lnTo>
                  <a:lnTo>
                    <a:pt x="254" y="84"/>
                  </a:lnTo>
                  <a:lnTo>
                    <a:pt x="259" y="90"/>
                  </a:lnTo>
                  <a:lnTo>
                    <a:pt x="264" y="95"/>
                  </a:lnTo>
                  <a:lnTo>
                    <a:pt x="286" y="115"/>
                  </a:lnTo>
                  <a:lnTo>
                    <a:pt x="305" y="129"/>
                  </a:lnTo>
                  <a:lnTo>
                    <a:pt x="305" y="210"/>
                  </a:lnTo>
                  <a:lnTo>
                    <a:pt x="352" y="234"/>
                  </a:lnTo>
                  <a:lnTo>
                    <a:pt x="353" y="245"/>
                  </a:lnTo>
                  <a:lnTo>
                    <a:pt x="359" y="257"/>
                  </a:lnTo>
                  <a:lnTo>
                    <a:pt x="363" y="267"/>
                  </a:lnTo>
                  <a:lnTo>
                    <a:pt x="365" y="271"/>
                  </a:lnTo>
                  <a:lnTo>
                    <a:pt x="353" y="267"/>
                  </a:lnTo>
                  <a:lnTo>
                    <a:pt x="321" y="259"/>
                  </a:lnTo>
                  <a:lnTo>
                    <a:pt x="300" y="255"/>
                  </a:lnTo>
                  <a:lnTo>
                    <a:pt x="275" y="252"/>
                  </a:lnTo>
                  <a:lnTo>
                    <a:pt x="262" y="251"/>
                  </a:lnTo>
                  <a:lnTo>
                    <a:pt x="248" y="251"/>
                  </a:lnTo>
                  <a:lnTo>
                    <a:pt x="233" y="251"/>
                  </a:lnTo>
                  <a:lnTo>
                    <a:pt x="219" y="252"/>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2" name="Freeform 480">
              <a:extLst>
                <a:ext uri="{FF2B5EF4-FFF2-40B4-BE49-F238E27FC236}">
                  <a16:creationId xmlns:a16="http://schemas.microsoft.com/office/drawing/2014/main" id="{290580AE-D5EE-4708-A1E1-A590B54F8BA1}"/>
                </a:ext>
              </a:extLst>
            </p:cNvPr>
            <p:cNvSpPr>
              <a:spLocks/>
            </p:cNvSpPr>
            <p:nvPr>
              <p:custDataLst>
                <p:tags r:id="rId318"/>
              </p:custDataLst>
            </p:nvPr>
          </p:nvSpPr>
          <p:spPr bwMode="auto">
            <a:xfrm>
              <a:off x="4749794" y="3695671"/>
              <a:ext cx="269875" cy="334960"/>
            </a:xfrm>
            <a:custGeom>
              <a:avLst/>
              <a:gdLst>
                <a:gd name="T0" fmla="*/ 63144 w 624"/>
                <a:gd name="T1" fmla="*/ 6281 h 640"/>
                <a:gd name="T2" fmla="*/ 103366 w 624"/>
                <a:gd name="T3" fmla="*/ 6281 h 640"/>
                <a:gd name="T4" fmla="*/ 124125 w 624"/>
                <a:gd name="T5" fmla="*/ 2617 h 640"/>
                <a:gd name="T6" fmla="*/ 140992 w 624"/>
                <a:gd name="T7" fmla="*/ 11514 h 640"/>
                <a:gd name="T8" fmla="*/ 171267 w 624"/>
                <a:gd name="T9" fmla="*/ 34543 h 640"/>
                <a:gd name="T10" fmla="*/ 201109 w 624"/>
                <a:gd name="T11" fmla="*/ 58095 h 640"/>
                <a:gd name="T12" fmla="*/ 202839 w 624"/>
                <a:gd name="T13" fmla="*/ 68563 h 640"/>
                <a:gd name="T14" fmla="*/ 207596 w 624"/>
                <a:gd name="T15" fmla="*/ 80077 h 640"/>
                <a:gd name="T16" fmla="*/ 214949 w 624"/>
                <a:gd name="T17" fmla="*/ 88975 h 640"/>
                <a:gd name="T18" fmla="*/ 224463 w 624"/>
                <a:gd name="T19" fmla="*/ 95778 h 640"/>
                <a:gd name="T20" fmla="*/ 234843 w 624"/>
                <a:gd name="T21" fmla="*/ 99442 h 640"/>
                <a:gd name="T22" fmla="*/ 239601 w 624"/>
                <a:gd name="T23" fmla="*/ 102059 h 640"/>
                <a:gd name="T24" fmla="*/ 244358 w 624"/>
                <a:gd name="T25" fmla="*/ 107293 h 640"/>
                <a:gd name="T26" fmla="*/ 242628 w 624"/>
                <a:gd name="T27" fmla="*/ 118807 h 640"/>
                <a:gd name="T28" fmla="*/ 232248 w 624"/>
                <a:gd name="T29" fmla="*/ 131892 h 640"/>
                <a:gd name="T30" fmla="*/ 227058 w 624"/>
                <a:gd name="T31" fmla="*/ 141836 h 640"/>
                <a:gd name="T32" fmla="*/ 230518 w 624"/>
                <a:gd name="T33" fmla="*/ 150210 h 640"/>
                <a:gd name="T34" fmla="*/ 236573 w 624"/>
                <a:gd name="T35" fmla="*/ 156491 h 640"/>
                <a:gd name="T36" fmla="*/ 238736 w 624"/>
                <a:gd name="T37" fmla="*/ 222436 h 640"/>
                <a:gd name="T38" fmla="*/ 237871 w 624"/>
                <a:gd name="T39" fmla="*/ 229764 h 640"/>
                <a:gd name="T40" fmla="*/ 241331 w 624"/>
                <a:gd name="T41" fmla="*/ 241801 h 640"/>
                <a:gd name="T42" fmla="*/ 241331 w 624"/>
                <a:gd name="T43" fmla="*/ 255933 h 640"/>
                <a:gd name="T44" fmla="*/ 242628 w 624"/>
                <a:gd name="T45" fmla="*/ 269541 h 640"/>
                <a:gd name="T46" fmla="*/ 256900 w 624"/>
                <a:gd name="T47" fmla="*/ 287335 h 640"/>
                <a:gd name="T48" fmla="*/ 266415 w 624"/>
                <a:gd name="T49" fmla="*/ 303037 h 640"/>
                <a:gd name="T50" fmla="*/ 248683 w 624"/>
                <a:gd name="T51" fmla="*/ 314028 h 640"/>
                <a:gd name="T52" fmla="*/ 212354 w 624"/>
                <a:gd name="T53" fmla="*/ 330253 h 640"/>
                <a:gd name="T54" fmla="*/ 191594 w 624"/>
                <a:gd name="T55" fmla="*/ 333916 h 640"/>
                <a:gd name="T56" fmla="*/ 169537 w 624"/>
                <a:gd name="T57" fmla="*/ 328682 h 640"/>
                <a:gd name="T58" fmla="*/ 146615 w 624"/>
                <a:gd name="T59" fmla="*/ 331299 h 640"/>
                <a:gd name="T60" fmla="*/ 132343 w 624"/>
                <a:gd name="T61" fmla="*/ 328682 h 640"/>
                <a:gd name="T62" fmla="*/ 129315 w 624"/>
                <a:gd name="T63" fmla="*/ 321355 h 640"/>
                <a:gd name="T64" fmla="*/ 127153 w 624"/>
                <a:gd name="T65" fmla="*/ 299897 h 640"/>
                <a:gd name="T66" fmla="*/ 124558 w 624"/>
                <a:gd name="T67" fmla="*/ 276868 h 640"/>
                <a:gd name="T68" fmla="*/ 109420 w 624"/>
                <a:gd name="T69" fmla="*/ 270587 h 640"/>
                <a:gd name="T70" fmla="*/ 80011 w 624"/>
                <a:gd name="T71" fmla="*/ 262737 h 640"/>
                <a:gd name="T72" fmla="*/ 38924 w 624"/>
                <a:gd name="T73" fmla="*/ 240231 h 640"/>
                <a:gd name="T74" fmla="*/ 29409 w 624"/>
                <a:gd name="T75" fmla="*/ 233427 h 640"/>
                <a:gd name="T76" fmla="*/ 28544 w 624"/>
                <a:gd name="T77" fmla="*/ 224007 h 640"/>
                <a:gd name="T78" fmla="*/ 28112 w 624"/>
                <a:gd name="T79" fmla="*/ 210399 h 640"/>
                <a:gd name="T80" fmla="*/ 22922 w 624"/>
                <a:gd name="T81" fmla="*/ 197314 h 640"/>
                <a:gd name="T82" fmla="*/ 17732 w 624"/>
                <a:gd name="T83" fmla="*/ 186847 h 640"/>
                <a:gd name="T84" fmla="*/ 11677 w 624"/>
                <a:gd name="T85" fmla="*/ 181613 h 640"/>
                <a:gd name="T86" fmla="*/ 5190 w 624"/>
                <a:gd name="T87" fmla="*/ 173762 h 640"/>
                <a:gd name="T88" fmla="*/ 2162 w 624"/>
                <a:gd name="T89" fmla="*/ 161201 h 640"/>
                <a:gd name="T90" fmla="*/ 0 w 624"/>
                <a:gd name="T91" fmla="*/ 137125 h 640"/>
                <a:gd name="T92" fmla="*/ 0 w 624"/>
                <a:gd name="T93" fmla="*/ 122471 h 640"/>
                <a:gd name="T94" fmla="*/ 4325 w 624"/>
                <a:gd name="T95" fmla="*/ 110956 h 640"/>
                <a:gd name="T96" fmla="*/ 16435 w 624"/>
                <a:gd name="T97" fmla="*/ 102059 h 640"/>
                <a:gd name="T98" fmla="*/ 26382 w 624"/>
                <a:gd name="T99" fmla="*/ 90545 h 640"/>
                <a:gd name="T100" fmla="*/ 33302 w 624"/>
                <a:gd name="T101" fmla="*/ 40300 h 640"/>
                <a:gd name="T102" fmla="*/ 36329 w 624"/>
                <a:gd name="T103" fmla="*/ 22505 h 640"/>
                <a:gd name="T104" fmla="*/ 35464 w 624"/>
                <a:gd name="T105" fmla="*/ 4187 h 6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624" h="640">
                  <a:moveTo>
                    <a:pt x="79" y="0"/>
                  </a:moveTo>
                  <a:lnTo>
                    <a:pt x="146" y="0"/>
                  </a:lnTo>
                  <a:lnTo>
                    <a:pt x="146" y="12"/>
                  </a:lnTo>
                  <a:lnTo>
                    <a:pt x="173" y="43"/>
                  </a:lnTo>
                  <a:lnTo>
                    <a:pt x="232" y="43"/>
                  </a:lnTo>
                  <a:lnTo>
                    <a:pt x="239" y="12"/>
                  </a:lnTo>
                  <a:lnTo>
                    <a:pt x="259" y="0"/>
                  </a:lnTo>
                  <a:lnTo>
                    <a:pt x="273" y="0"/>
                  </a:lnTo>
                  <a:lnTo>
                    <a:pt x="287" y="5"/>
                  </a:lnTo>
                  <a:lnTo>
                    <a:pt x="301" y="10"/>
                  </a:lnTo>
                  <a:lnTo>
                    <a:pt x="314" y="16"/>
                  </a:lnTo>
                  <a:lnTo>
                    <a:pt x="326" y="22"/>
                  </a:lnTo>
                  <a:lnTo>
                    <a:pt x="351" y="36"/>
                  </a:lnTo>
                  <a:lnTo>
                    <a:pt x="374" y="51"/>
                  </a:lnTo>
                  <a:lnTo>
                    <a:pt x="396" y="66"/>
                  </a:lnTo>
                  <a:lnTo>
                    <a:pt x="418" y="81"/>
                  </a:lnTo>
                  <a:lnTo>
                    <a:pt x="441" y="97"/>
                  </a:lnTo>
                  <a:lnTo>
                    <a:pt x="465" y="111"/>
                  </a:lnTo>
                  <a:lnTo>
                    <a:pt x="465" y="118"/>
                  </a:lnTo>
                  <a:lnTo>
                    <a:pt x="467" y="124"/>
                  </a:lnTo>
                  <a:lnTo>
                    <a:pt x="469" y="131"/>
                  </a:lnTo>
                  <a:lnTo>
                    <a:pt x="471" y="138"/>
                  </a:lnTo>
                  <a:lnTo>
                    <a:pt x="476" y="146"/>
                  </a:lnTo>
                  <a:lnTo>
                    <a:pt x="480" y="153"/>
                  </a:lnTo>
                  <a:lnTo>
                    <a:pt x="485" y="159"/>
                  </a:lnTo>
                  <a:lnTo>
                    <a:pt x="491" y="165"/>
                  </a:lnTo>
                  <a:lnTo>
                    <a:pt x="497" y="170"/>
                  </a:lnTo>
                  <a:lnTo>
                    <a:pt x="503" y="175"/>
                  </a:lnTo>
                  <a:lnTo>
                    <a:pt x="511" y="179"/>
                  </a:lnTo>
                  <a:lnTo>
                    <a:pt x="519" y="183"/>
                  </a:lnTo>
                  <a:lnTo>
                    <a:pt x="526" y="186"/>
                  </a:lnTo>
                  <a:lnTo>
                    <a:pt x="534" y="188"/>
                  </a:lnTo>
                  <a:lnTo>
                    <a:pt x="543" y="190"/>
                  </a:lnTo>
                  <a:lnTo>
                    <a:pt x="552" y="190"/>
                  </a:lnTo>
                  <a:lnTo>
                    <a:pt x="552" y="193"/>
                  </a:lnTo>
                  <a:lnTo>
                    <a:pt x="554" y="195"/>
                  </a:lnTo>
                  <a:lnTo>
                    <a:pt x="556" y="198"/>
                  </a:lnTo>
                  <a:lnTo>
                    <a:pt x="559" y="200"/>
                  </a:lnTo>
                  <a:lnTo>
                    <a:pt x="565" y="205"/>
                  </a:lnTo>
                  <a:lnTo>
                    <a:pt x="571" y="209"/>
                  </a:lnTo>
                  <a:lnTo>
                    <a:pt x="567" y="219"/>
                  </a:lnTo>
                  <a:lnTo>
                    <a:pt x="561" y="227"/>
                  </a:lnTo>
                  <a:lnTo>
                    <a:pt x="554" y="236"/>
                  </a:lnTo>
                  <a:lnTo>
                    <a:pt x="545" y="244"/>
                  </a:lnTo>
                  <a:lnTo>
                    <a:pt x="537" y="252"/>
                  </a:lnTo>
                  <a:lnTo>
                    <a:pt x="531" y="260"/>
                  </a:lnTo>
                  <a:lnTo>
                    <a:pt x="526" y="266"/>
                  </a:lnTo>
                  <a:lnTo>
                    <a:pt x="525" y="271"/>
                  </a:lnTo>
                  <a:lnTo>
                    <a:pt x="526" y="277"/>
                  </a:lnTo>
                  <a:lnTo>
                    <a:pt x="528" y="283"/>
                  </a:lnTo>
                  <a:lnTo>
                    <a:pt x="533" y="287"/>
                  </a:lnTo>
                  <a:lnTo>
                    <a:pt x="538" y="291"/>
                  </a:lnTo>
                  <a:lnTo>
                    <a:pt x="543" y="295"/>
                  </a:lnTo>
                  <a:lnTo>
                    <a:pt x="547" y="299"/>
                  </a:lnTo>
                  <a:lnTo>
                    <a:pt x="550" y="303"/>
                  </a:lnTo>
                  <a:lnTo>
                    <a:pt x="552" y="307"/>
                  </a:lnTo>
                  <a:lnTo>
                    <a:pt x="552" y="425"/>
                  </a:lnTo>
                  <a:lnTo>
                    <a:pt x="549" y="430"/>
                  </a:lnTo>
                  <a:lnTo>
                    <a:pt x="549" y="434"/>
                  </a:lnTo>
                  <a:lnTo>
                    <a:pt x="550" y="439"/>
                  </a:lnTo>
                  <a:lnTo>
                    <a:pt x="552" y="443"/>
                  </a:lnTo>
                  <a:lnTo>
                    <a:pt x="556" y="452"/>
                  </a:lnTo>
                  <a:lnTo>
                    <a:pt x="558" y="462"/>
                  </a:lnTo>
                  <a:lnTo>
                    <a:pt x="558" y="475"/>
                  </a:lnTo>
                  <a:lnTo>
                    <a:pt x="558" y="483"/>
                  </a:lnTo>
                  <a:lnTo>
                    <a:pt x="558" y="489"/>
                  </a:lnTo>
                  <a:lnTo>
                    <a:pt x="558" y="499"/>
                  </a:lnTo>
                  <a:lnTo>
                    <a:pt x="559" y="507"/>
                  </a:lnTo>
                  <a:lnTo>
                    <a:pt x="561" y="515"/>
                  </a:lnTo>
                  <a:lnTo>
                    <a:pt x="567" y="523"/>
                  </a:lnTo>
                  <a:lnTo>
                    <a:pt x="574" y="532"/>
                  </a:lnTo>
                  <a:lnTo>
                    <a:pt x="594" y="549"/>
                  </a:lnTo>
                  <a:lnTo>
                    <a:pt x="624" y="572"/>
                  </a:lnTo>
                  <a:lnTo>
                    <a:pt x="622" y="575"/>
                  </a:lnTo>
                  <a:lnTo>
                    <a:pt x="616" y="579"/>
                  </a:lnTo>
                  <a:lnTo>
                    <a:pt x="609" y="583"/>
                  </a:lnTo>
                  <a:lnTo>
                    <a:pt x="599" y="589"/>
                  </a:lnTo>
                  <a:lnTo>
                    <a:pt x="575" y="600"/>
                  </a:lnTo>
                  <a:lnTo>
                    <a:pt x="546" y="611"/>
                  </a:lnTo>
                  <a:lnTo>
                    <a:pt x="518" y="622"/>
                  </a:lnTo>
                  <a:lnTo>
                    <a:pt x="491" y="631"/>
                  </a:lnTo>
                  <a:lnTo>
                    <a:pt x="470" y="638"/>
                  </a:lnTo>
                  <a:lnTo>
                    <a:pt x="458" y="640"/>
                  </a:lnTo>
                  <a:lnTo>
                    <a:pt x="443" y="638"/>
                  </a:lnTo>
                  <a:lnTo>
                    <a:pt x="423" y="634"/>
                  </a:lnTo>
                  <a:lnTo>
                    <a:pt x="403" y="630"/>
                  </a:lnTo>
                  <a:lnTo>
                    <a:pt x="392" y="628"/>
                  </a:lnTo>
                  <a:lnTo>
                    <a:pt x="369" y="630"/>
                  </a:lnTo>
                  <a:lnTo>
                    <a:pt x="348" y="632"/>
                  </a:lnTo>
                  <a:lnTo>
                    <a:pt x="339" y="633"/>
                  </a:lnTo>
                  <a:lnTo>
                    <a:pt x="329" y="633"/>
                  </a:lnTo>
                  <a:lnTo>
                    <a:pt x="318" y="631"/>
                  </a:lnTo>
                  <a:lnTo>
                    <a:pt x="306" y="628"/>
                  </a:lnTo>
                  <a:lnTo>
                    <a:pt x="303" y="625"/>
                  </a:lnTo>
                  <a:lnTo>
                    <a:pt x="301" y="620"/>
                  </a:lnTo>
                  <a:lnTo>
                    <a:pt x="299" y="614"/>
                  </a:lnTo>
                  <a:lnTo>
                    <a:pt x="298" y="608"/>
                  </a:lnTo>
                  <a:lnTo>
                    <a:pt x="295" y="592"/>
                  </a:lnTo>
                  <a:lnTo>
                    <a:pt x="294" y="573"/>
                  </a:lnTo>
                  <a:lnTo>
                    <a:pt x="291" y="556"/>
                  </a:lnTo>
                  <a:lnTo>
                    <a:pt x="289" y="541"/>
                  </a:lnTo>
                  <a:lnTo>
                    <a:pt x="288" y="529"/>
                  </a:lnTo>
                  <a:lnTo>
                    <a:pt x="286" y="523"/>
                  </a:lnTo>
                  <a:lnTo>
                    <a:pt x="270" y="519"/>
                  </a:lnTo>
                  <a:lnTo>
                    <a:pt x="253" y="517"/>
                  </a:lnTo>
                  <a:lnTo>
                    <a:pt x="232" y="515"/>
                  </a:lnTo>
                  <a:lnTo>
                    <a:pt x="206" y="511"/>
                  </a:lnTo>
                  <a:lnTo>
                    <a:pt x="185" y="502"/>
                  </a:lnTo>
                  <a:lnTo>
                    <a:pt x="139" y="482"/>
                  </a:lnTo>
                  <a:lnTo>
                    <a:pt x="113" y="470"/>
                  </a:lnTo>
                  <a:lnTo>
                    <a:pt x="90" y="459"/>
                  </a:lnTo>
                  <a:lnTo>
                    <a:pt x="82" y="454"/>
                  </a:lnTo>
                  <a:lnTo>
                    <a:pt x="74" y="450"/>
                  </a:lnTo>
                  <a:lnTo>
                    <a:pt x="68" y="446"/>
                  </a:lnTo>
                  <a:lnTo>
                    <a:pt x="66" y="443"/>
                  </a:lnTo>
                  <a:lnTo>
                    <a:pt x="66" y="437"/>
                  </a:lnTo>
                  <a:lnTo>
                    <a:pt x="66" y="428"/>
                  </a:lnTo>
                  <a:lnTo>
                    <a:pt x="66" y="419"/>
                  </a:lnTo>
                  <a:lnTo>
                    <a:pt x="66" y="412"/>
                  </a:lnTo>
                  <a:lnTo>
                    <a:pt x="65" y="402"/>
                  </a:lnTo>
                  <a:lnTo>
                    <a:pt x="62" y="392"/>
                  </a:lnTo>
                  <a:lnTo>
                    <a:pt x="57" y="384"/>
                  </a:lnTo>
                  <a:lnTo>
                    <a:pt x="53" y="377"/>
                  </a:lnTo>
                  <a:lnTo>
                    <a:pt x="48" y="371"/>
                  </a:lnTo>
                  <a:lnTo>
                    <a:pt x="44" y="363"/>
                  </a:lnTo>
                  <a:lnTo>
                    <a:pt x="41" y="357"/>
                  </a:lnTo>
                  <a:lnTo>
                    <a:pt x="40" y="351"/>
                  </a:lnTo>
                  <a:lnTo>
                    <a:pt x="32" y="350"/>
                  </a:lnTo>
                  <a:lnTo>
                    <a:pt x="27" y="347"/>
                  </a:lnTo>
                  <a:lnTo>
                    <a:pt x="21" y="343"/>
                  </a:lnTo>
                  <a:lnTo>
                    <a:pt x="17" y="338"/>
                  </a:lnTo>
                  <a:lnTo>
                    <a:pt x="12" y="332"/>
                  </a:lnTo>
                  <a:lnTo>
                    <a:pt x="9" y="325"/>
                  </a:lnTo>
                  <a:lnTo>
                    <a:pt x="7" y="317"/>
                  </a:lnTo>
                  <a:lnTo>
                    <a:pt x="5" y="308"/>
                  </a:lnTo>
                  <a:lnTo>
                    <a:pt x="1" y="291"/>
                  </a:lnTo>
                  <a:lnTo>
                    <a:pt x="0" y="276"/>
                  </a:lnTo>
                  <a:lnTo>
                    <a:pt x="0" y="262"/>
                  </a:lnTo>
                  <a:lnTo>
                    <a:pt x="0" y="252"/>
                  </a:lnTo>
                  <a:lnTo>
                    <a:pt x="0" y="243"/>
                  </a:lnTo>
                  <a:lnTo>
                    <a:pt x="0" y="234"/>
                  </a:lnTo>
                  <a:lnTo>
                    <a:pt x="0" y="225"/>
                  </a:lnTo>
                  <a:lnTo>
                    <a:pt x="0" y="215"/>
                  </a:lnTo>
                  <a:lnTo>
                    <a:pt x="10" y="212"/>
                  </a:lnTo>
                  <a:lnTo>
                    <a:pt x="20" y="208"/>
                  </a:lnTo>
                  <a:lnTo>
                    <a:pt x="29" y="202"/>
                  </a:lnTo>
                  <a:lnTo>
                    <a:pt x="38" y="195"/>
                  </a:lnTo>
                  <a:lnTo>
                    <a:pt x="46" y="188"/>
                  </a:lnTo>
                  <a:lnTo>
                    <a:pt x="54" y="180"/>
                  </a:lnTo>
                  <a:lnTo>
                    <a:pt x="61" y="173"/>
                  </a:lnTo>
                  <a:lnTo>
                    <a:pt x="66" y="166"/>
                  </a:lnTo>
                  <a:lnTo>
                    <a:pt x="73" y="85"/>
                  </a:lnTo>
                  <a:lnTo>
                    <a:pt x="77" y="77"/>
                  </a:lnTo>
                  <a:lnTo>
                    <a:pt x="81" y="67"/>
                  </a:lnTo>
                  <a:lnTo>
                    <a:pt x="83" y="55"/>
                  </a:lnTo>
                  <a:lnTo>
                    <a:pt x="84" y="43"/>
                  </a:lnTo>
                  <a:lnTo>
                    <a:pt x="84" y="30"/>
                  </a:lnTo>
                  <a:lnTo>
                    <a:pt x="83" y="18"/>
                  </a:lnTo>
                  <a:lnTo>
                    <a:pt x="82" y="8"/>
                  </a:lnTo>
                  <a:lnTo>
                    <a:pt x="79" y="0"/>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3" name="Freeform 481">
              <a:extLst>
                <a:ext uri="{FF2B5EF4-FFF2-40B4-BE49-F238E27FC236}">
                  <a16:creationId xmlns:a16="http://schemas.microsoft.com/office/drawing/2014/main" id="{8058463C-8368-4F98-8C12-487F7B685D48}"/>
                </a:ext>
              </a:extLst>
            </p:cNvPr>
            <p:cNvSpPr>
              <a:spLocks/>
            </p:cNvSpPr>
            <p:nvPr>
              <p:custDataLst>
                <p:tags r:id="rId319"/>
              </p:custDataLst>
            </p:nvPr>
          </p:nvSpPr>
          <p:spPr bwMode="auto">
            <a:xfrm>
              <a:off x="7313604" y="2209783"/>
              <a:ext cx="19050" cy="57150"/>
            </a:xfrm>
            <a:custGeom>
              <a:avLst/>
              <a:gdLst>
                <a:gd name="T0" fmla="*/ 4763 w 52"/>
                <a:gd name="T1" fmla="*/ 57150 h 50"/>
                <a:gd name="T2" fmla="*/ 0 w 52"/>
                <a:gd name="T3" fmla="*/ 36576 h 50"/>
                <a:gd name="T4" fmla="*/ 733 w 52"/>
                <a:gd name="T5" fmla="*/ 28575 h 50"/>
                <a:gd name="T6" fmla="*/ 2198 w 52"/>
                <a:gd name="T7" fmla="*/ 20574 h 50"/>
                <a:gd name="T8" fmla="*/ 4396 w 52"/>
                <a:gd name="T9" fmla="*/ 14859 h 50"/>
                <a:gd name="T10" fmla="*/ 6594 w 52"/>
                <a:gd name="T11" fmla="*/ 10287 h 50"/>
                <a:gd name="T12" fmla="*/ 9525 w 52"/>
                <a:gd name="T13" fmla="*/ 5715 h 50"/>
                <a:gd name="T14" fmla="*/ 12456 w 52"/>
                <a:gd name="T15" fmla="*/ 3429 h 50"/>
                <a:gd name="T16" fmla="*/ 15753 w 52"/>
                <a:gd name="T17" fmla="*/ 1143 h 50"/>
                <a:gd name="T18" fmla="*/ 19050 w 52"/>
                <a:gd name="T19" fmla="*/ 0 h 50"/>
                <a:gd name="T20" fmla="*/ 14654 w 52"/>
                <a:gd name="T21" fmla="*/ 12573 h 50"/>
                <a:gd name="T22" fmla="*/ 9891 w 52"/>
                <a:gd name="T23" fmla="*/ 25146 h 50"/>
                <a:gd name="T24" fmla="*/ 8060 w 52"/>
                <a:gd name="T25" fmla="*/ 34290 h 50"/>
                <a:gd name="T26" fmla="*/ 6228 w 52"/>
                <a:gd name="T27" fmla="*/ 41148 h 50"/>
                <a:gd name="T28" fmla="*/ 5129 w 52"/>
                <a:gd name="T29" fmla="*/ 49149 h 50"/>
                <a:gd name="T30" fmla="*/ 4763 w 52"/>
                <a:gd name="T31" fmla="*/ 57150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4" name="Freeform 482">
              <a:extLst>
                <a:ext uri="{FF2B5EF4-FFF2-40B4-BE49-F238E27FC236}">
                  <a16:creationId xmlns:a16="http://schemas.microsoft.com/office/drawing/2014/main" id="{1E8DC5C1-3BA5-4B00-8D41-3901B628353D}"/>
                </a:ext>
              </a:extLst>
            </p:cNvPr>
            <p:cNvSpPr>
              <a:spLocks/>
            </p:cNvSpPr>
            <p:nvPr>
              <p:custDataLst>
                <p:tags r:id="rId320"/>
              </p:custDataLst>
            </p:nvPr>
          </p:nvSpPr>
          <p:spPr bwMode="auto">
            <a:xfrm>
              <a:off x="7172316" y="2211371"/>
              <a:ext cx="141288" cy="125411"/>
            </a:xfrm>
            <a:custGeom>
              <a:avLst/>
              <a:gdLst>
                <a:gd name="T0" fmla="*/ 33556 w 320"/>
                <a:gd name="T1" fmla="*/ 123804 h 234"/>
                <a:gd name="T2" fmla="*/ 26933 w 320"/>
                <a:gd name="T3" fmla="*/ 121124 h 234"/>
                <a:gd name="T4" fmla="*/ 29141 w 320"/>
                <a:gd name="T5" fmla="*/ 118981 h 234"/>
                <a:gd name="T6" fmla="*/ 33997 w 320"/>
                <a:gd name="T7" fmla="*/ 116301 h 234"/>
                <a:gd name="T8" fmla="*/ 28258 w 320"/>
                <a:gd name="T9" fmla="*/ 109334 h 234"/>
                <a:gd name="T10" fmla="*/ 18986 w 320"/>
                <a:gd name="T11" fmla="*/ 101294 h 234"/>
                <a:gd name="T12" fmla="*/ 15895 w 320"/>
                <a:gd name="T13" fmla="*/ 95935 h 234"/>
                <a:gd name="T14" fmla="*/ 15012 w 320"/>
                <a:gd name="T15" fmla="*/ 91647 h 234"/>
                <a:gd name="T16" fmla="*/ 15012 w 320"/>
                <a:gd name="T17" fmla="*/ 87896 h 234"/>
                <a:gd name="T18" fmla="*/ 15895 w 320"/>
                <a:gd name="T19" fmla="*/ 84144 h 234"/>
                <a:gd name="T20" fmla="*/ 18986 w 320"/>
                <a:gd name="T21" fmla="*/ 79856 h 234"/>
                <a:gd name="T22" fmla="*/ 24725 w 320"/>
                <a:gd name="T23" fmla="*/ 75569 h 234"/>
                <a:gd name="T24" fmla="*/ 32231 w 320"/>
                <a:gd name="T25" fmla="*/ 73425 h 234"/>
                <a:gd name="T26" fmla="*/ 35322 w 320"/>
                <a:gd name="T27" fmla="*/ 67530 h 234"/>
                <a:gd name="T28" fmla="*/ 29582 w 320"/>
                <a:gd name="T29" fmla="*/ 59490 h 234"/>
                <a:gd name="T30" fmla="*/ 26933 w 320"/>
                <a:gd name="T31" fmla="*/ 54667 h 234"/>
                <a:gd name="T32" fmla="*/ 26492 w 320"/>
                <a:gd name="T33" fmla="*/ 46092 h 234"/>
                <a:gd name="T34" fmla="*/ 24284 w 320"/>
                <a:gd name="T35" fmla="*/ 37516 h 234"/>
                <a:gd name="T36" fmla="*/ 20310 w 320"/>
                <a:gd name="T37" fmla="*/ 24654 h 234"/>
                <a:gd name="T38" fmla="*/ 14570 w 320"/>
                <a:gd name="T39" fmla="*/ 16614 h 234"/>
                <a:gd name="T40" fmla="*/ 8831 w 320"/>
                <a:gd name="T41" fmla="*/ 13399 h 234"/>
                <a:gd name="T42" fmla="*/ 3091 w 320"/>
                <a:gd name="T43" fmla="*/ 5359 h 234"/>
                <a:gd name="T44" fmla="*/ 3974 w 320"/>
                <a:gd name="T45" fmla="*/ 0 h 234"/>
                <a:gd name="T46" fmla="*/ 10597 w 320"/>
                <a:gd name="T47" fmla="*/ 0 h 234"/>
                <a:gd name="T48" fmla="*/ 16778 w 320"/>
                <a:gd name="T49" fmla="*/ 1608 h 234"/>
                <a:gd name="T50" fmla="*/ 24725 w 320"/>
                <a:gd name="T51" fmla="*/ 8575 h 234"/>
                <a:gd name="T52" fmla="*/ 34439 w 320"/>
                <a:gd name="T53" fmla="*/ 18758 h 234"/>
                <a:gd name="T54" fmla="*/ 42386 w 320"/>
                <a:gd name="T55" fmla="*/ 25726 h 234"/>
                <a:gd name="T56" fmla="*/ 52541 w 320"/>
                <a:gd name="T57" fmla="*/ 31085 h 234"/>
                <a:gd name="T58" fmla="*/ 67112 w 320"/>
                <a:gd name="T59" fmla="*/ 37516 h 234"/>
                <a:gd name="T60" fmla="*/ 79916 w 320"/>
                <a:gd name="T61" fmla="*/ 42340 h 234"/>
                <a:gd name="T62" fmla="*/ 94486 w 320"/>
                <a:gd name="T63" fmla="*/ 45556 h 234"/>
                <a:gd name="T64" fmla="*/ 104200 w 320"/>
                <a:gd name="T65" fmla="*/ 41268 h 234"/>
                <a:gd name="T66" fmla="*/ 113472 w 320"/>
                <a:gd name="T67" fmla="*/ 44484 h 234"/>
                <a:gd name="T68" fmla="*/ 125393 w 320"/>
                <a:gd name="T69" fmla="*/ 57347 h 234"/>
                <a:gd name="T70" fmla="*/ 134665 w 320"/>
                <a:gd name="T71" fmla="*/ 63778 h 234"/>
                <a:gd name="T72" fmla="*/ 131133 w 320"/>
                <a:gd name="T73" fmla="*/ 71281 h 234"/>
                <a:gd name="T74" fmla="*/ 118329 w 320"/>
                <a:gd name="T75" fmla="*/ 77177 h 234"/>
                <a:gd name="T76" fmla="*/ 109940 w 320"/>
                <a:gd name="T77" fmla="*/ 79320 h 234"/>
                <a:gd name="T78" fmla="*/ 104641 w 320"/>
                <a:gd name="T79" fmla="*/ 85216 h 234"/>
                <a:gd name="T80" fmla="*/ 102434 w 320"/>
                <a:gd name="T81" fmla="*/ 94327 h 234"/>
                <a:gd name="T82" fmla="*/ 101992 w 320"/>
                <a:gd name="T83" fmla="*/ 100222 h 234"/>
                <a:gd name="T84" fmla="*/ 98019 w 320"/>
                <a:gd name="T85" fmla="*/ 102902 h 234"/>
                <a:gd name="T86" fmla="*/ 90071 w 320"/>
                <a:gd name="T87" fmla="*/ 101294 h 234"/>
                <a:gd name="T88" fmla="*/ 82124 w 320"/>
                <a:gd name="T89" fmla="*/ 97007 h 234"/>
                <a:gd name="T90" fmla="*/ 74176 w 320"/>
                <a:gd name="T91" fmla="*/ 91111 h 234"/>
                <a:gd name="T92" fmla="*/ 68436 w 320"/>
                <a:gd name="T93" fmla="*/ 87896 h 234"/>
                <a:gd name="T94" fmla="*/ 64021 w 320"/>
                <a:gd name="T95" fmla="*/ 86288 h 234"/>
                <a:gd name="T96" fmla="*/ 57840 w 320"/>
                <a:gd name="T97" fmla="*/ 86824 h 234"/>
                <a:gd name="T98" fmla="*/ 50334 w 320"/>
                <a:gd name="T99" fmla="*/ 89503 h 234"/>
                <a:gd name="T100" fmla="*/ 44153 w 320"/>
                <a:gd name="T101" fmla="*/ 92719 h 234"/>
                <a:gd name="T102" fmla="*/ 38413 w 320"/>
                <a:gd name="T103" fmla="*/ 95399 h 234"/>
                <a:gd name="T104" fmla="*/ 37530 w 320"/>
                <a:gd name="T105" fmla="*/ 98079 h 234"/>
                <a:gd name="T106" fmla="*/ 42386 w 320"/>
                <a:gd name="T107" fmla="*/ 102366 h 234"/>
                <a:gd name="T108" fmla="*/ 51217 w 320"/>
                <a:gd name="T109" fmla="*/ 107190 h 234"/>
                <a:gd name="T110" fmla="*/ 55632 w 320"/>
                <a:gd name="T111" fmla="*/ 113621 h 234"/>
                <a:gd name="T112" fmla="*/ 49892 w 320"/>
                <a:gd name="T113" fmla="*/ 120053 h 234"/>
                <a:gd name="T114" fmla="*/ 45036 w 320"/>
                <a:gd name="T115" fmla="*/ 123804 h 234"/>
                <a:gd name="T116" fmla="*/ 40179 w 320"/>
                <a:gd name="T117" fmla="*/ 125412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5" name="Freeform 483">
              <a:extLst>
                <a:ext uri="{FF2B5EF4-FFF2-40B4-BE49-F238E27FC236}">
                  <a16:creationId xmlns:a16="http://schemas.microsoft.com/office/drawing/2014/main" id="{DB7AC105-377D-4C25-B3F9-EB68D7034300}"/>
                </a:ext>
              </a:extLst>
            </p:cNvPr>
            <p:cNvSpPr>
              <a:spLocks/>
            </p:cNvSpPr>
            <p:nvPr>
              <p:custDataLst>
                <p:tags r:id="rId321"/>
              </p:custDataLst>
            </p:nvPr>
          </p:nvSpPr>
          <p:spPr bwMode="auto">
            <a:xfrm>
              <a:off x="7142154" y="2565380"/>
              <a:ext cx="52387" cy="57150"/>
            </a:xfrm>
            <a:custGeom>
              <a:avLst/>
              <a:gdLst>
                <a:gd name="T0" fmla="*/ 13830 w 125"/>
                <a:gd name="T1" fmla="*/ 11676 h 93"/>
                <a:gd name="T2" fmla="*/ 18021 w 125"/>
                <a:gd name="T3" fmla="*/ 11676 h 93"/>
                <a:gd name="T4" fmla="*/ 21793 w 125"/>
                <a:gd name="T5" fmla="*/ 11676 h 93"/>
                <a:gd name="T6" fmla="*/ 23050 w 125"/>
                <a:gd name="T7" fmla="*/ 11676 h 93"/>
                <a:gd name="T8" fmla="*/ 24308 w 125"/>
                <a:gd name="T9" fmla="*/ 10447 h 93"/>
                <a:gd name="T10" fmla="*/ 25565 w 125"/>
                <a:gd name="T11" fmla="*/ 9218 h 93"/>
                <a:gd name="T12" fmla="*/ 27241 w 125"/>
                <a:gd name="T13" fmla="*/ 6760 h 93"/>
                <a:gd name="T14" fmla="*/ 28499 w 125"/>
                <a:gd name="T15" fmla="*/ 4916 h 93"/>
                <a:gd name="T16" fmla="*/ 29337 w 125"/>
                <a:gd name="T17" fmla="*/ 3073 h 93"/>
                <a:gd name="T18" fmla="*/ 30175 w 125"/>
                <a:gd name="T19" fmla="*/ 1844 h 93"/>
                <a:gd name="T20" fmla="*/ 30175 w 125"/>
                <a:gd name="T21" fmla="*/ 0 h 93"/>
                <a:gd name="T22" fmla="*/ 49453 w 125"/>
                <a:gd name="T23" fmla="*/ 0 h 93"/>
                <a:gd name="T24" fmla="*/ 51130 w 125"/>
                <a:gd name="T25" fmla="*/ 9218 h 93"/>
                <a:gd name="T26" fmla="*/ 52387 w 125"/>
                <a:gd name="T27" fmla="*/ 15363 h 93"/>
                <a:gd name="T28" fmla="*/ 51968 w 125"/>
                <a:gd name="T29" fmla="*/ 17821 h 93"/>
                <a:gd name="T30" fmla="*/ 51130 w 125"/>
                <a:gd name="T31" fmla="*/ 20279 h 93"/>
                <a:gd name="T32" fmla="*/ 49872 w 125"/>
                <a:gd name="T33" fmla="*/ 21508 h 93"/>
                <a:gd name="T34" fmla="*/ 49034 w 125"/>
                <a:gd name="T35" fmla="*/ 22737 h 93"/>
                <a:gd name="T36" fmla="*/ 46520 w 125"/>
                <a:gd name="T37" fmla="*/ 24581 h 93"/>
                <a:gd name="T38" fmla="*/ 43586 w 125"/>
                <a:gd name="T39" fmla="*/ 25195 h 93"/>
                <a:gd name="T40" fmla="*/ 36880 w 125"/>
                <a:gd name="T41" fmla="*/ 25195 h 93"/>
                <a:gd name="T42" fmla="*/ 30175 w 125"/>
                <a:gd name="T43" fmla="*/ 26424 h 93"/>
                <a:gd name="T44" fmla="*/ 29337 w 125"/>
                <a:gd name="T45" fmla="*/ 28882 h 93"/>
                <a:gd name="T46" fmla="*/ 28918 w 125"/>
                <a:gd name="T47" fmla="*/ 32569 h 93"/>
                <a:gd name="T48" fmla="*/ 28079 w 125"/>
                <a:gd name="T49" fmla="*/ 37485 h 93"/>
                <a:gd name="T50" fmla="*/ 28079 w 125"/>
                <a:gd name="T51" fmla="*/ 43631 h 93"/>
                <a:gd name="T52" fmla="*/ 27660 w 125"/>
                <a:gd name="T53" fmla="*/ 52848 h 93"/>
                <a:gd name="T54" fmla="*/ 27660 w 125"/>
                <a:gd name="T55" fmla="*/ 57150 h 93"/>
                <a:gd name="T56" fmla="*/ 20536 w 125"/>
                <a:gd name="T57" fmla="*/ 52234 h 93"/>
                <a:gd name="T58" fmla="*/ 11316 w 125"/>
                <a:gd name="T59" fmla="*/ 44860 h 93"/>
                <a:gd name="T60" fmla="*/ 6706 w 125"/>
                <a:gd name="T61" fmla="*/ 39944 h 93"/>
                <a:gd name="T62" fmla="*/ 2934 w 125"/>
                <a:gd name="T63" fmla="*/ 35642 h 93"/>
                <a:gd name="T64" fmla="*/ 1676 w 125"/>
                <a:gd name="T65" fmla="*/ 33184 h 93"/>
                <a:gd name="T66" fmla="*/ 838 w 125"/>
                <a:gd name="T67" fmla="*/ 30726 h 93"/>
                <a:gd name="T68" fmla="*/ 0 w 125"/>
                <a:gd name="T69" fmla="*/ 28882 h 93"/>
                <a:gd name="T70" fmla="*/ 0 w 125"/>
                <a:gd name="T71" fmla="*/ 26424 h 93"/>
                <a:gd name="T72" fmla="*/ 2934 w 125"/>
                <a:gd name="T73" fmla="*/ 26424 h 93"/>
                <a:gd name="T74" fmla="*/ 6286 w 125"/>
                <a:gd name="T75" fmla="*/ 25195 h 93"/>
                <a:gd name="T76" fmla="*/ 8382 w 125"/>
                <a:gd name="T77" fmla="*/ 23966 h 93"/>
                <a:gd name="T78" fmla="*/ 9639 w 125"/>
                <a:gd name="T79" fmla="*/ 22123 h 93"/>
                <a:gd name="T80" fmla="*/ 11735 w 125"/>
                <a:gd name="T81" fmla="*/ 17206 h 93"/>
                <a:gd name="T82" fmla="*/ 13830 w 125"/>
                <a:gd name="T83" fmla="*/ 11676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6" name="Freeform 484">
              <a:extLst>
                <a:ext uri="{FF2B5EF4-FFF2-40B4-BE49-F238E27FC236}">
                  <a16:creationId xmlns:a16="http://schemas.microsoft.com/office/drawing/2014/main" id="{0920187F-E14B-48DF-9210-A889DAA11DD3}"/>
                </a:ext>
              </a:extLst>
            </p:cNvPr>
            <p:cNvSpPr>
              <a:spLocks/>
            </p:cNvSpPr>
            <p:nvPr>
              <p:custDataLst>
                <p:tags r:id="rId322"/>
              </p:custDataLst>
            </p:nvPr>
          </p:nvSpPr>
          <p:spPr bwMode="auto">
            <a:xfrm>
              <a:off x="7088179" y="2579668"/>
              <a:ext cx="60325" cy="84136"/>
            </a:xfrm>
            <a:custGeom>
              <a:avLst/>
              <a:gdLst>
                <a:gd name="T0" fmla="*/ 9071 w 133"/>
                <a:gd name="T1" fmla="*/ 6556 h 154"/>
                <a:gd name="T2" fmla="*/ 10886 w 133"/>
                <a:gd name="T3" fmla="*/ 5463 h 154"/>
                <a:gd name="T4" fmla="*/ 14061 w 133"/>
                <a:gd name="T5" fmla="*/ 3278 h 154"/>
                <a:gd name="T6" fmla="*/ 15421 w 133"/>
                <a:gd name="T7" fmla="*/ 2185 h 154"/>
                <a:gd name="T8" fmla="*/ 16782 w 133"/>
                <a:gd name="T9" fmla="*/ 1093 h 154"/>
                <a:gd name="T10" fmla="*/ 19050 w 133"/>
                <a:gd name="T11" fmla="*/ 546 h 154"/>
                <a:gd name="T12" fmla="*/ 20864 w 133"/>
                <a:gd name="T13" fmla="*/ 0 h 154"/>
                <a:gd name="T14" fmla="*/ 26761 w 133"/>
                <a:gd name="T15" fmla="*/ 546 h 154"/>
                <a:gd name="T16" fmla="*/ 31750 w 133"/>
                <a:gd name="T17" fmla="*/ 2185 h 154"/>
                <a:gd name="T18" fmla="*/ 36739 w 133"/>
                <a:gd name="T19" fmla="*/ 4371 h 154"/>
                <a:gd name="T20" fmla="*/ 40821 w 133"/>
                <a:gd name="T21" fmla="*/ 7649 h 154"/>
                <a:gd name="T22" fmla="*/ 44904 w 133"/>
                <a:gd name="T23" fmla="*/ 11473 h 154"/>
                <a:gd name="T24" fmla="*/ 47625 w 133"/>
                <a:gd name="T25" fmla="*/ 16390 h 154"/>
                <a:gd name="T26" fmla="*/ 50800 w 133"/>
                <a:gd name="T27" fmla="*/ 21854 h 154"/>
                <a:gd name="T28" fmla="*/ 52614 w 133"/>
                <a:gd name="T29" fmla="*/ 27317 h 154"/>
                <a:gd name="T30" fmla="*/ 54882 w 133"/>
                <a:gd name="T31" fmla="*/ 32781 h 154"/>
                <a:gd name="T32" fmla="*/ 56243 w 133"/>
                <a:gd name="T33" fmla="*/ 38790 h 154"/>
                <a:gd name="T34" fmla="*/ 57604 w 133"/>
                <a:gd name="T35" fmla="*/ 44800 h 154"/>
                <a:gd name="T36" fmla="*/ 58964 w 133"/>
                <a:gd name="T37" fmla="*/ 51356 h 154"/>
                <a:gd name="T38" fmla="*/ 59871 w 133"/>
                <a:gd name="T39" fmla="*/ 63376 h 154"/>
                <a:gd name="T40" fmla="*/ 60325 w 133"/>
                <a:gd name="T41" fmla="*/ 73756 h 154"/>
                <a:gd name="T42" fmla="*/ 59871 w 133"/>
                <a:gd name="T43" fmla="*/ 75395 h 154"/>
                <a:gd name="T44" fmla="*/ 58964 w 133"/>
                <a:gd name="T45" fmla="*/ 77035 h 154"/>
                <a:gd name="T46" fmla="*/ 56696 w 133"/>
                <a:gd name="T47" fmla="*/ 78674 h 154"/>
                <a:gd name="T48" fmla="*/ 54882 w 133"/>
                <a:gd name="T49" fmla="*/ 80313 h 154"/>
                <a:gd name="T50" fmla="*/ 52161 w 133"/>
                <a:gd name="T51" fmla="*/ 81952 h 154"/>
                <a:gd name="T52" fmla="*/ 49893 w 133"/>
                <a:gd name="T53" fmla="*/ 83591 h 154"/>
                <a:gd name="T54" fmla="*/ 47171 w 133"/>
                <a:gd name="T55" fmla="*/ 84137 h 154"/>
                <a:gd name="T56" fmla="*/ 44904 w 133"/>
                <a:gd name="T57" fmla="*/ 84137 h 154"/>
                <a:gd name="T58" fmla="*/ 42182 w 133"/>
                <a:gd name="T59" fmla="*/ 83591 h 154"/>
                <a:gd name="T60" fmla="*/ 39461 w 133"/>
                <a:gd name="T61" fmla="*/ 81405 h 154"/>
                <a:gd name="T62" fmla="*/ 35832 w 133"/>
                <a:gd name="T63" fmla="*/ 77035 h 154"/>
                <a:gd name="T64" fmla="*/ 32204 w 133"/>
                <a:gd name="T65" fmla="*/ 73210 h 154"/>
                <a:gd name="T66" fmla="*/ 29029 w 133"/>
                <a:gd name="T67" fmla="*/ 68839 h 154"/>
                <a:gd name="T68" fmla="*/ 26307 w 133"/>
                <a:gd name="T69" fmla="*/ 64469 h 154"/>
                <a:gd name="T70" fmla="*/ 24493 w 133"/>
                <a:gd name="T71" fmla="*/ 60644 h 154"/>
                <a:gd name="T72" fmla="*/ 24039 w 133"/>
                <a:gd name="T73" fmla="*/ 57366 h 154"/>
                <a:gd name="T74" fmla="*/ 24493 w 133"/>
                <a:gd name="T75" fmla="*/ 53542 h 154"/>
                <a:gd name="T76" fmla="*/ 25400 w 133"/>
                <a:gd name="T77" fmla="*/ 45347 h 154"/>
                <a:gd name="T78" fmla="*/ 26307 w 133"/>
                <a:gd name="T79" fmla="*/ 37151 h 154"/>
                <a:gd name="T80" fmla="*/ 26761 w 133"/>
                <a:gd name="T81" fmla="*/ 33873 h 154"/>
                <a:gd name="T82" fmla="*/ 21318 w 133"/>
                <a:gd name="T83" fmla="*/ 33327 h 154"/>
                <a:gd name="T84" fmla="*/ 16329 w 133"/>
                <a:gd name="T85" fmla="*/ 32234 h 154"/>
                <a:gd name="T86" fmla="*/ 11339 w 133"/>
                <a:gd name="T87" fmla="*/ 30595 h 154"/>
                <a:gd name="T88" fmla="*/ 7711 w 133"/>
                <a:gd name="T89" fmla="*/ 28410 h 154"/>
                <a:gd name="T90" fmla="*/ 5896 w 133"/>
                <a:gd name="T91" fmla="*/ 26771 h 154"/>
                <a:gd name="T92" fmla="*/ 4536 w 133"/>
                <a:gd name="T93" fmla="*/ 25132 h 154"/>
                <a:gd name="T94" fmla="*/ 3175 w 133"/>
                <a:gd name="T95" fmla="*/ 23493 h 154"/>
                <a:gd name="T96" fmla="*/ 1814 w 133"/>
                <a:gd name="T97" fmla="*/ 21307 h 154"/>
                <a:gd name="T98" fmla="*/ 907 w 133"/>
                <a:gd name="T99" fmla="*/ 18576 h 154"/>
                <a:gd name="T100" fmla="*/ 454 w 133"/>
                <a:gd name="T101" fmla="*/ 15844 h 154"/>
                <a:gd name="T102" fmla="*/ 0 w 133"/>
                <a:gd name="T103" fmla="*/ 13112 h 154"/>
                <a:gd name="T104" fmla="*/ 0 w 133"/>
                <a:gd name="T105" fmla="*/ 9834 h 154"/>
                <a:gd name="T106" fmla="*/ 3175 w 133"/>
                <a:gd name="T107" fmla="*/ 8195 h 154"/>
                <a:gd name="T108" fmla="*/ 9071 w 133"/>
                <a:gd name="T109" fmla="*/ 6556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7" name="Freeform 485">
              <a:extLst>
                <a:ext uri="{FF2B5EF4-FFF2-40B4-BE49-F238E27FC236}">
                  <a16:creationId xmlns:a16="http://schemas.microsoft.com/office/drawing/2014/main" id="{8A084D54-CBEA-4EEE-9822-A018EDFB52F7}"/>
                </a:ext>
              </a:extLst>
            </p:cNvPr>
            <p:cNvSpPr>
              <a:spLocks/>
            </p:cNvSpPr>
            <p:nvPr>
              <p:custDataLst>
                <p:tags r:id="rId323"/>
              </p:custDataLst>
            </p:nvPr>
          </p:nvSpPr>
          <p:spPr bwMode="auto">
            <a:xfrm>
              <a:off x="7104054" y="2341545"/>
              <a:ext cx="209550" cy="244473"/>
            </a:xfrm>
            <a:custGeom>
              <a:avLst/>
              <a:gdLst>
                <a:gd name="T0" fmla="*/ 57896 w 485"/>
                <a:gd name="T1" fmla="*/ 183356 h 468"/>
                <a:gd name="T2" fmla="*/ 72154 w 485"/>
                <a:gd name="T3" fmla="*/ 177088 h 468"/>
                <a:gd name="T4" fmla="*/ 86412 w 485"/>
                <a:gd name="T5" fmla="*/ 177088 h 468"/>
                <a:gd name="T6" fmla="*/ 97646 w 485"/>
                <a:gd name="T7" fmla="*/ 181789 h 468"/>
                <a:gd name="T8" fmla="*/ 96782 w 485"/>
                <a:gd name="T9" fmla="*/ 170819 h 468"/>
                <a:gd name="T10" fmla="*/ 95054 w 485"/>
                <a:gd name="T11" fmla="*/ 165073 h 468"/>
                <a:gd name="T12" fmla="*/ 100670 w 485"/>
                <a:gd name="T13" fmla="*/ 158282 h 468"/>
                <a:gd name="T14" fmla="*/ 103263 w 485"/>
                <a:gd name="T15" fmla="*/ 144178 h 468"/>
                <a:gd name="T16" fmla="*/ 104559 w 485"/>
                <a:gd name="T17" fmla="*/ 128506 h 468"/>
                <a:gd name="T18" fmla="*/ 115793 w 485"/>
                <a:gd name="T19" fmla="*/ 133208 h 468"/>
                <a:gd name="T20" fmla="*/ 129619 w 485"/>
                <a:gd name="T21" fmla="*/ 124327 h 468"/>
                <a:gd name="T22" fmla="*/ 136532 w 485"/>
                <a:gd name="T23" fmla="*/ 113357 h 468"/>
                <a:gd name="T24" fmla="*/ 126594 w 485"/>
                <a:gd name="T25" fmla="*/ 101342 h 468"/>
                <a:gd name="T26" fmla="*/ 137396 w 485"/>
                <a:gd name="T27" fmla="*/ 103954 h 468"/>
                <a:gd name="T28" fmla="*/ 148197 w 485"/>
                <a:gd name="T29" fmla="*/ 105521 h 468"/>
                <a:gd name="T30" fmla="*/ 149493 w 485"/>
                <a:gd name="T31" fmla="*/ 96641 h 468"/>
                <a:gd name="T32" fmla="*/ 127458 w 485"/>
                <a:gd name="T33" fmla="*/ 50149 h 468"/>
                <a:gd name="T34" fmla="*/ 123138 w 485"/>
                <a:gd name="T35" fmla="*/ 27686 h 468"/>
                <a:gd name="T36" fmla="*/ 125730 w 485"/>
                <a:gd name="T37" fmla="*/ 9925 h 468"/>
                <a:gd name="T38" fmla="*/ 136532 w 485"/>
                <a:gd name="T39" fmla="*/ 522 h 468"/>
                <a:gd name="T40" fmla="*/ 145173 w 485"/>
                <a:gd name="T41" fmla="*/ 9403 h 468"/>
                <a:gd name="T42" fmla="*/ 162887 w 485"/>
                <a:gd name="T43" fmla="*/ 23507 h 468"/>
                <a:gd name="T44" fmla="*/ 179306 w 485"/>
                <a:gd name="T45" fmla="*/ 37612 h 468"/>
                <a:gd name="T46" fmla="*/ 184058 w 485"/>
                <a:gd name="T47" fmla="*/ 51193 h 468"/>
                <a:gd name="T48" fmla="*/ 188379 w 485"/>
                <a:gd name="T49" fmla="*/ 71566 h 468"/>
                <a:gd name="T50" fmla="*/ 192268 w 485"/>
                <a:gd name="T51" fmla="*/ 90372 h 468"/>
                <a:gd name="T52" fmla="*/ 184922 w 485"/>
                <a:gd name="T53" fmla="*/ 93506 h 468"/>
                <a:gd name="T54" fmla="*/ 178009 w 485"/>
                <a:gd name="T55" fmla="*/ 96641 h 468"/>
                <a:gd name="T56" fmla="*/ 184058 w 485"/>
                <a:gd name="T57" fmla="*/ 103954 h 468"/>
                <a:gd name="T58" fmla="*/ 192268 w 485"/>
                <a:gd name="T59" fmla="*/ 106044 h 468"/>
                <a:gd name="T60" fmla="*/ 196588 w 485"/>
                <a:gd name="T61" fmla="*/ 136864 h 468"/>
                <a:gd name="T62" fmla="*/ 205229 w 485"/>
                <a:gd name="T63" fmla="*/ 162983 h 468"/>
                <a:gd name="T64" fmla="*/ 207390 w 485"/>
                <a:gd name="T65" fmla="*/ 199028 h 468"/>
                <a:gd name="T66" fmla="*/ 200045 w 485"/>
                <a:gd name="T67" fmla="*/ 190147 h 468"/>
                <a:gd name="T68" fmla="*/ 195724 w 485"/>
                <a:gd name="T69" fmla="*/ 185968 h 468"/>
                <a:gd name="T70" fmla="*/ 188379 w 485"/>
                <a:gd name="T71" fmla="*/ 189625 h 468"/>
                <a:gd name="T72" fmla="*/ 185355 w 485"/>
                <a:gd name="T73" fmla="*/ 208431 h 468"/>
                <a:gd name="T74" fmla="*/ 176281 w 485"/>
                <a:gd name="T75" fmla="*/ 203207 h 468"/>
                <a:gd name="T76" fmla="*/ 168072 w 485"/>
                <a:gd name="T77" fmla="*/ 199550 h 468"/>
                <a:gd name="T78" fmla="*/ 162455 w 485"/>
                <a:gd name="T79" fmla="*/ 209998 h 468"/>
                <a:gd name="T80" fmla="*/ 149061 w 485"/>
                <a:gd name="T81" fmla="*/ 215744 h 468"/>
                <a:gd name="T82" fmla="*/ 144309 w 485"/>
                <a:gd name="T83" fmla="*/ 208953 h 468"/>
                <a:gd name="T84" fmla="*/ 134803 w 485"/>
                <a:gd name="T85" fmla="*/ 206341 h 468"/>
                <a:gd name="T86" fmla="*/ 130915 w 485"/>
                <a:gd name="T87" fmla="*/ 222535 h 468"/>
                <a:gd name="T88" fmla="*/ 129186 w 485"/>
                <a:gd name="T89" fmla="*/ 235072 h 468"/>
                <a:gd name="T90" fmla="*/ 132643 w 485"/>
                <a:gd name="T91" fmla="*/ 243430 h 468"/>
                <a:gd name="T92" fmla="*/ 117521 w 485"/>
                <a:gd name="T93" fmla="*/ 244475 h 468"/>
                <a:gd name="T94" fmla="*/ 111472 w 485"/>
                <a:gd name="T95" fmla="*/ 242908 h 468"/>
                <a:gd name="T96" fmla="*/ 105423 w 485"/>
                <a:gd name="T97" fmla="*/ 229848 h 468"/>
                <a:gd name="T98" fmla="*/ 98942 w 485"/>
                <a:gd name="T99" fmla="*/ 218356 h 468"/>
                <a:gd name="T100" fmla="*/ 88141 w 485"/>
                <a:gd name="T101" fmla="*/ 212087 h 468"/>
                <a:gd name="T102" fmla="*/ 82092 w 485"/>
                <a:gd name="T103" fmla="*/ 205819 h 468"/>
                <a:gd name="T104" fmla="*/ 58760 w 485"/>
                <a:gd name="T105" fmla="*/ 217833 h 468"/>
                <a:gd name="T106" fmla="*/ 38886 w 485"/>
                <a:gd name="T107" fmla="*/ 227236 h 468"/>
                <a:gd name="T108" fmla="*/ 28084 w 485"/>
                <a:gd name="T109" fmla="*/ 239774 h 468"/>
                <a:gd name="T110" fmla="*/ 11666 w 485"/>
                <a:gd name="T111" fmla="*/ 240818 h 468"/>
                <a:gd name="T112" fmla="*/ 3024 w 485"/>
                <a:gd name="T113" fmla="*/ 228804 h 468"/>
                <a:gd name="T114" fmla="*/ 0 w 485"/>
                <a:gd name="T115" fmla="*/ 217833 h 468"/>
                <a:gd name="T116" fmla="*/ 3024 w 485"/>
                <a:gd name="T117" fmla="*/ 215744 h 468"/>
                <a:gd name="T118" fmla="*/ 11666 w 485"/>
                <a:gd name="T119" fmla="*/ 216266 h 468"/>
                <a:gd name="T120" fmla="*/ 20739 w 485"/>
                <a:gd name="T121" fmla="*/ 211565 h 468"/>
                <a:gd name="T122" fmla="*/ 31108 w 485"/>
                <a:gd name="T123" fmla="*/ 192759 h 468"/>
                <a:gd name="T124" fmla="*/ 40182 w 485"/>
                <a:gd name="T125" fmla="*/ 183879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8" name="Freeform 486">
              <a:extLst>
                <a:ext uri="{FF2B5EF4-FFF2-40B4-BE49-F238E27FC236}">
                  <a16:creationId xmlns:a16="http://schemas.microsoft.com/office/drawing/2014/main" id="{87E1E773-5726-40B1-BD3A-3785F97B1F4C}"/>
                </a:ext>
              </a:extLst>
            </p:cNvPr>
            <p:cNvSpPr>
              <a:spLocks/>
            </p:cNvSpPr>
            <p:nvPr>
              <p:custDataLst>
                <p:tags r:id="rId324"/>
              </p:custDataLst>
            </p:nvPr>
          </p:nvSpPr>
          <p:spPr bwMode="auto">
            <a:xfrm>
              <a:off x="4687882" y="1231891"/>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29" name="Freeform 487">
              <a:extLst>
                <a:ext uri="{FF2B5EF4-FFF2-40B4-BE49-F238E27FC236}">
                  <a16:creationId xmlns:a16="http://schemas.microsoft.com/office/drawing/2014/main" id="{9D22C764-5B25-438D-B0C9-47C56EC27105}"/>
                </a:ext>
              </a:extLst>
            </p:cNvPr>
            <p:cNvSpPr>
              <a:spLocks/>
            </p:cNvSpPr>
            <p:nvPr>
              <p:custDataLst>
                <p:tags r:id="rId325"/>
              </p:custDataLst>
            </p:nvPr>
          </p:nvSpPr>
          <p:spPr bwMode="auto">
            <a:xfrm>
              <a:off x="4830757" y="1214429"/>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0" name="Freeform 488">
              <a:extLst>
                <a:ext uri="{FF2B5EF4-FFF2-40B4-BE49-F238E27FC236}">
                  <a16:creationId xmlns:a16="http://schemas.microsoft.com/office/drawing/2014/main" id="{28358340-5DBD-497B-B7AA-E6205E969C18}"/>
                </a:ext>
              </a:extLst>
            </p:cNvPr>
            <p:cNvSpPr>
              <a:spLocks/>
            </p:cNvSpPr>
            <p:nvPr>
              <p:custDataLst>
                <p:tags r:id="rId326"/>
              </p:custDataLst>
            </p:nvPr>
          </p:nvSpPr>
          <p:spPr bwMode="auto">
            <a:xfrm>
              <a:off x="4867269" y="122236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1" name="Freeform 489">
              <a:extLst>
                <a:ext uri="{FF2B5EF4-FFF2-40B4-BE49-F238E27FC236}">
                  <a16:creationId xmlns:a16="http://schemas.microsoft.com/office/drawing/2014/main" id="{51E4C313-84D1-4DE0-93C3-C72A173A3239}"/>
                </a:ext>
              </a:extLst>
            </p:cNvPr>
            <p:cNvSpPr>
              <a:spLocks/>
            </p:cNvSpPr>
            <p:nvPr>
              <p:custDataLst>
                <p:tags r:id="rId327"/>
              </p:custDataLst>
            </p:nvPr>
          </p:nvSpPr>
          <p:spPr bwMode="auto">
            <a:xfrm>
              <a:off x="5400668" y="1408102"/>
              <a:ext cx="41275" cy="57150"/>
            </a:xfrm>
            <a:custGeom>
              <a:avLst/>
              <a:gdLst>
                <a:gd name="T0" fmla="*/ 38386 w 100"/>
                <a:gd name="T1" fmla="*/ 0 h 42"/>
                <a:gd name="T2" fmla="*/ 40037 w 100"/>
                <a:gd name="T3" fmla="*/ 9525 h 42"/>
                <a:gd name="T4" fmla="*/ 41275 w 100"/>
                <a:gd name="T5" fmla="*/ 24493 h 42"/>
                <a:gd name="T6" fmla="*/ 37973 w 100"/>
                <a:gd name="T7" fmla="*/ 32657 h 42"/>
                <a:gd name="T8" fmla="*/ 35497 w 100"/>
                <a:gd name="T9" fmla="*/ 39461 h 42"/>
                <a:gd name="T10" fmla="*/ 32607 w 100"/>
                <a:gd name="T11" fmla="*/ 46264 h 42"/>
                <a:gd name="T12" fmla="*/ 29718 w 100"/>
                <a:gd name="T13" fmla="*/ 50346 h 42"/>
                <a:gd name="T14" fmla="*/ 26829 w 100"/>
                <a:gd name="T15" fmla="*/ 53068 h 42"/>
                <a:gd name="T16" fmla="*/ 23527 w 100"/>
                <a:gd name="T17" fmla="*/ 55789 h 42"/>
                <a:gd name="T18" fmla="*/ 20225 w 100"/>
                <a:gd name="T19" fmla="*/ 57150 h 42"/>
                <a:gd name="T20" fmla="*/ 16510 w 100"/>
                <a:gd name="T21" fmla="*/ 57150 h 42"/>
                <a:gd name="T22" fmla="*/ 11144 w 100"/>
                <a:gd name="T23" fmla="*/ 55789 h 42"/>
                <a:gd name="T24" fmla="*/ 4953 w 100"/>
                <a:gd name="T25" fmla="*/ 53068 h 42"/>
                <a:gd name="T26" fmla="*/ 413 w 100"/>
                <a:gd name="T27" fmla="*/ 50346 h 42"/>
                <a:gd name="T28" fmla="*/ 0 w 100"/>
                <a:gd name="T29" fmla="*/ 48986 h 42"/>
                <a:gd name="T30" fmla="*/ 2477 w 100"/>
                <a:gd name="T31" fmla="*/ 48986 h 42"/>
                <a:gd name="T32" fmla="*/ 4953 w 100"/>
                <a:gd name="T33" fmla="*/ 47625 h 42"/>
                <a:gd name="T34" fmla="*/ 7430 w 100"/>
                <a:gd name="T35" fmla="*/ 44904 h 42"/>
                <a:gd name="T36" fmla="*/ 9493 w 100"/>
                <a:gd name="T37" fmla="*/ 40821 h 42"/>
                <a:gd name="T38" fmla="*/ 13621 w 100"/>
                <a:gd name="T39" fmla="*/ 34018 h 42"/>
                <a:gd name="T40" fmla="*/ 18161 w 100"/>
                <a:gd name="T41" fmla="*/ 24493 h 42"/>
                <a:gd name="T42" fmla="*/ 22701 w 100"/>
                <a:gd name="T43" fmla="*/ 14968 h 42"/>
                <a:gd name="T44" fmla="*/ 27242 w 100"/>
                <a:gd name="T45" fmla="*/ 6804 h 42"/>
                <a:gd name="T46" fmla="*/ 29718 w 100"/>
                <a:gd name="T47" fmla="*/ 4082 h 42"/>
                <a:gd name="T48" fmla="*/ 32607 w 100"/>
                <a:gd name="T49" fmla="*/ 1361 h 42"/>
                <a:gd name="T50" fmla="*/ 35497 w 100"/>
                <a:gd name="T51" fmla="*/ 0 h 42"/>
                <a:gd name="T52" fmla="*/ 38386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2" name="Freeform 490">
              <a:extLst>
                <a:ext uri="{FF2B5EF4-FFF2-40B4-BE49-F238E27FC236}">
                  <a16:creationId xmlns:a16="http://schemas.microsoft.com/office/drawing/2014/main" id="{F67EC26C-465B-49C1-8449-F6674B59BD17}"/>
                </a:ext>
              </a:extLst>
            </p:cNvPr>
            <p:cNvSpPr>
              <a:spLocks/>
            </p:cNvSpPr>
            <p:nvPr>
              <p:custDataLst>
                <p:tags r:id="rId328"/>
              </p:custDataLst>
            </p:nvPr>
          </p:nvSpPr>
          <p:spPr bwMode="auto">
            <a:xfrm>
              <a:off x="5310182" y="1266815"/>
              <a:ext cx="15875" cy="58738"/>
            </a:xfrm>
            <a:custGeom>
              <a:avLst/>
              <a:gdLst>
                <a:gd name="T0" fmla="*/ 15875 w 40"/>
                <a:gd name="T1" fmla="*/ 58738 h 5"/>
                <a:gd name="T2" fmla="*/ 0 w 40"/>
                <a:gd name="T3" fmla="*/ 58738 h 5"/>
                <a:gd name="T4" fmla="*/ 1984 w 40"/>
                <a:gd name="T5" fmla="*/ 35243 h 5"/>
                <a:gd name="T6" fmla="*/ 3572 w 40"/>
                <a:gd name="T7" fmla="*/ 11748 h 5"/>
                <a:gd name="T8" fmla="*/ 5953 w 40"/>
                <a:gd name="T9" fmla="*/ 0 h 5"/>
                <a:gd name="T10" fmla="*/ 7938 w 40"/>
                <a:gd name="T11" fmla="*/ 0 h 5"/>
                <a:gd name="T12" fmla="*/ 9922 w 40"/>
                <a:gd name="T13" fmla="*/ 0 h 5"/>
                <a:gd name="T14" fmla="*/ 11906 w 40"/>
                <a:gd name="T15" fmla="*/ 11748 h 5"/>
                <a:gd name="T16" fmla="*/ 13891 w 40"/>
                <a:gd name="T17" fmla="*/ 35243 h 5"/>
                <a:gd name="T18" fmla="*/ 15875 w 40"/>
                <a:gd name="T19" fmla="*/ 58738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3" name="Freeform 491">
              <a:extLst>
                <a:ext uri="{FF2B5EF4-FFF2-40B4-BE49-F238E27FC236}">
                  <a16:creationId xmlns:a16="http://schemas.microsoft.com/office/drawing/2014/main" id="{C2FC1CC0-CA61-4219-8DE1-5AADD4ACEF76}"/>
                </a:ext>
              </a:extLst>
            </p:cNvPr>
            <p:cNvSpPr>
              <a:spLocks/>
            </p:cNvSpPr>
            <p:nvPr>
              <p:custDataLst>
                <p:tags r:id="rId329"/>
              </p:custDataLst>
            </p:nvPr>
          </p:nvSpPr>
          <p:spPr bwMode="auto">
            <a:xfrm>
              <a:off x="5332407" y="1225541"/>
              <a:ext cx="14287" cy="60325"/>
            </a:xfrm>
            <a:custGeom>
              <a:avLst/>
              <a:gdLst>
                <a:gd name="T0" fmla="*/ 0 w 33"/>
                <a:gd name="T1" fmla="*/ 36973 h 31"/>
                <a:gd name="T2" fmla="*/ 8659 w 33"/>
                <a:gd name="T3" fmla="*/ 0 h 31"/>
                <a:gd name="T4" fmla="*/ 8659 w 33"/>
                <a:gd name="T5" fmla="*/ 7784 h 31"/>
                <a:gd name="T6" fmla="*/ 9525 w 33"/>
                <a:gd name="T7" fmla="*/ 19460 h 31"/>
                <a:gd name="T8" fmla="*/ 10823 w 33"/>
                <a:gd name="T9" fmla="*/ 27244 h 31"/>
                <a:gd name="T10" fmla="*/ 11689 w 33"/>
                <a:gd name="T11" fmla="*/ 35027 h 31"/>
                <a:gd name="T12" fmla="*/ 13421 w 33"/>
                <a:gd name="T13" fmla="*/ 50595 h 31"/>
                <a:gd name="T14" fmla="*/ 14287 w 33"/>
                <a:gd name="T15" fmla="*/ 60325 h 31"/>
                <a:gd name="T16" fmla="*/ 0 w 33"/>
                <a:gd name="T17" fmla="*/ 60325 h 31"/>
                <a:gd name="T18" fmla="*/ 0 w 33"/>
                <a:gd name="T19" fmla="*/ 48649 h 31"/>
                <a:gd name="T20" fmla="*/ 0 w 33"/>
                <a:gd name="T21" fmla="*/ 36973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4" name="Freeform 492">
              <a:extLst>
                <a:ext uri="{FF2B5EF4-FFF2-40B4-BE49-F238E27FC236}">
                  <a16:creationId xmlns:a16="http://schemas.microsoft.com/office/drawing/2014/main" id="{F91D0438-93ED-4B3F-B73B-23D6974111C9}"/>
                </a:ext>
              </a:extLst>
            </p:cNvPr>
            <p:cNvSpPr>
              <a:spLocks/>
            </p:cNvSpPr>
            <p:nvPr>
              <p:custDataLst>
                <p:tags r:id="rId330"/>
              </p:custDataLst>
            </p:nvPr>
          </p:nvSpPr>
          <p:spPr bwMode="auto">
            <a:xfrm>
              <a:off x="5476868" y="1341428"/>
              <a:ext cx="17463" cy="57150"/>
            </a:xfrm>
            <a:custGeom>
              <a:avLst/>
              <a:gdLst>
                <a:gd name="T0" fmla="*/ 17463 w 41"/>
                <a:gd name="T1" fmla="*/ 0 h 43"/>
                <a:gd name="T2" fmla="*/ 17463 w 41"/>
                <a:gd name="T3" fmla="*/ 57150 h 43"/>
                <a:gd name="T4" fmla="*/ 13204 w 41"/>
                <a:gd name="T5" fmla="*/ 55821 h 43"/>
                <a:gd name="T6" fmla="*/ 10222 w 41"/>
                <a:gd name="T7" fmla="*/ 53163 h 43"/>
                <a:gd name="T8" fmla="*/ 7667 w 41"/>
                <a:gd name="T9" fmla="*/ 49176 h 43"/>
                <a:gd name="T10" fmla="*/ 5537 w 41"/>
                <a:gd name="T11" fmla="*/ 43859 h 43"/>
                <a:gd name="T12" fmla="*/ 2130 w 41"/>
                <a:gd name="T13" fmla="*/ 33227 h 43"/>
                <a:gd name="T14" fmla="*/ 0 w 41"/>
                <a:gd name="T15" fmla="*/ 25252 h 43"/>
                <a:gd name="T16" fmla="*/ 5111 w 41"/>
                <a:gd name="T17" fmla="*/ 17278 h 43"/>
                <a:gd name="T18" fmla="*/ 10648 w 41"/>
                <a:gd name="T19" fmla="*/ 9303 h 43"/>
                <a:gd name="T20" fmla="*/ 15333 w 41"/>
                <a:gd name="T21" fmla="*/ 2658 h 43"/>
                <a:gd name="T22" fmla="*/ 17463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5" name="Freeform 493">
              <a:extLst>
                <a:ext uri="{FF2B5EF4-FFF2-40B4-BE49-F238E27FC236}">
                  <a16:creationId xmlns:a16="http://schemas.microsoft.com/office/drawing/2014/main" id="{E53498A0-BAD8-4986-82BC-4518A879FC3B}"/>
                </a:ext>
              </a:extLst>
            </p:cNvPr>
            <p:cNvSpPr>
              <a:spLocks/>
            </p:cNvSpPr>
            <p:nvPr>
              <p:custDataLst>
                <p:tags r:id="rId331"/>
              </p:custDataLst>
            </p:nvPr>
          </p:nvSpPr>
          <p:spPr bwMode="auto">
            <a:xfrm>
              <a:off x="5530843" y="1225540"/>
              <a:ext cx="93663" cy="60325"/>
            </a:xfrm>
            <a:custGeom>
              <a:avLst/>
              <a:gdLst>
                <a:gd name="T0" fmla="*/ 26824 w 213"/>
                <a:gd name="T1" fmla="*/ 0 h 62"/>
                <a:gd name="T2" fmla="*/ 36498 w 213"/>
                <a:gd name="T3" fmla="*/ 0 h 62"/>
                <a:gd name="T4" fmla="*/ 46172 w 213"/>
                <a:gd name="T5" fmla="*/ 973 h 62"/>
                <a:gd name="T6" fmla="*/ 55846 w 213"/>
                <a:gd name="T7" fmla="*/ 2919 h 62"/>
                <a:gd name="T8" fmla="*/ 64201 w 213"/>
                <a:gd name="T9" fmla="*/ 6811 h 62"/>
                <a:gd name="T10" fmla="*/ 72996 w 213"/>
                <a:gd name="T11" fmla="*/ 10703 h 62"/>
                <a:gd name="T12" fmla="*/ 80911 w 213"/>
                <a:gd name="T13" fmla="*/ 15568 h 62"/>
                <a:gd name="T14" fmla="*/ 83989 w 213"/>
                <a:gd name="T15" fmla="*/ 18487 h 62"/>
                <a:gd name="T16" fmla="*/ 87507 w 213"/>
                <a:gd name="T17" fmla="*/ 22379 h 62"/>
                <a:gd name="T18" fmla="*/ 91025 w 213"/>
                <a:gd name="T19" fmla="*/ 26271 h 62"/>
                <a:gd name="T20" fmla="*/ 93663 w 213"/>
                <a:gd name="T21" fmla="*/ 30163 h 62"/>
                <a:gd name="T22" fmla="*/ 92784 w 213"/>
                <a:gd name="T23" fmla="*/ 34054 h 62"/>
                <a:gd name="T24" fmla="*/ 91025 w 213"/>
                <a:gd name="T25" fmla="*/ 36973 h 62"/>
                <a:gd name="T26" fmla="*/ 88386 w 213"/>
                <a:gd name="T27" fmla="*/ 39892 h 62"/>
                <a:gd name="T28" fmla="*/ 85748 w 213"/>
                <a:gd name="T29" fmla="*/ 42811 h 62"/>
                <a:gd name="T30" fmla="*/ 77833 w 213"/>
                <a:gd name="T31" fmla="*/ 47676 h 62"/>
                <a:gd name="T32" fmla="*/ 68598 w 213"/>
                <a:gd name="T33" fmla="*/ 51568 h 62"/>
                <a:gd name="T34" fmla="*/ 59364 w 213"/>
                <a:gd name="T35" fmla="*/ 55460 h 62"/>
                <a:gd name="T36" fmla="*/ 50129 w 213"/>
                <a:gd name="T37" fmla="*/ 57406 h 62"/>
                <a:gd name="T38" fmla="*/ 41775 w 213"/>
                <a:gd name="T39" fmla="*/ 60325 h 62"/>
                <a:gd name="T40" fmla="*/ 35179 w 213"/>
                <a:gd name="T41" fmla="*/ 60325 h 62"/>
                <a:gd name="T42" fmla="*/ 27263 w 213"/>
                <a:gd name="T43" fmla="*/ 60325 h 62"/>
                <a:gd name="T44" fmla="*/ 18908 w 213"/>
                <a:gd name="T45" fmla="*/ 57406 h 62"/>
                <a:gd name="T46" fmla="*/ 14511 w 213"/>
                <a:gd name="T47" fmla="*/ 57406 h 62"/>
                <a:gd name="T48" fmla="*/ 10114 w 213"/>
                <a:gd name="T49" fmla="*/ 57406 h 62"/>
                <a:gd name="T50" fmla="*/ 5277 w 213"/>
                <a:gd name="T51" fmla="*/ 58379 h 62"/>
                <a:gd name="T52" fmla="*/ 0 w 213"/>
                <a:gd name="T53" fmla="*/ 60325 h 62"/>
                <a:gd name="T54" fmla="*/ 2638 w 213"/>
                <a:gd name="T55" fmla="*/ 48649 h 62"/>
                <a:gd name="T56" fmla="*/ 4837 w 213"/>
                <a:gd name="T57" fmla="*/ 37946 h 62"/>
                <a:gd name="T58" fmla="*/ 7475 w 213"/>
                <a:gd name="T59" fmla="*/ 28217 h 62"/>
                <a:gd name="T60" fmla="*/ 10114 w 213"/>
                <a:gd name="T61" fmla="*/ 19460 h 62"/>
                <a:gd name="T62" fmla="*/ 11873 w 213"/>
                <a:gd name="T63" fmla="*/ 15568 h 62"/>
                <a:gd name="T64" fmla="*/ 13192 w 213"/>
                <a:gd name="T65" fmla="*/ 11676 h 62"/>
                <a:gd name="T66" fmla="*/ 14951 w 213"/>
                <a:gd name="T67" fmla="*/ 8757 h 62"/>
                <a:gd name="T68" fmla="*/ 17150 w 213"/>
                <a:gd name="T69" fmla="*/ 5838 h 62"/>
                <a:gd name="T70" fmla="*/ 18908 w 213"/>
                <a:gd name="T71" fmla="*/ 2919 h 62"/>
                <a:gd name="T72" fmla="*/ 21547 w 213"/>
                <a:gd name="T73" fmla="*/ 973 h 62"/>
                <a:gd name="T74" fmla="*/ 23746 w 213"/>
                <a:gd name="T75" fmla="*/ 0 h 62"/>
                <a:gd name="T76" fmla="*/ 26824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6" name="Freeform 494">
              <a:extLst>
                <a:ext uri="{FF2B5EF4-FFF2-40B4-BE49-F238E27FC236}">
                  <a16:creationId xmlns:a16="http://schemas.microsoft.com/office/drawing/2014/main" id="{E9A08E02-3BAC-489E-8066-74CB12C8948C}"/>
                </a:ext>
              </a:extLst>
            </p:cNvPr>
            <p:cNvSpPr>
              <a:spLocks/>
            </p:cNvSpPr>
            <p:nvPr>
              <p:custDataLst>
                <p:tags r:id="rId332"/>
              </p:custDataLst>
            </p:nvPr>
          </p:nvSpPr>
          <p:spPr bwMode="auto">
            <a:xfrm>
              <a:off x="5591168" y="1250940"/>
              <a:ext cx="103188" cy="60325"/>
            </a:xfrm>
            <a:custGeom>
              <a:avLst/>
              <a:gdLst>
                <a:gd name="T0" fmla="*/ 17702 w 239"/>
                <a:gd name="T1" fmla="*/ 0 h 56"/>
                <a:gd name="T2" fmla="*/ 12952 w 239"/>
                <a:gd name="T3" fmla="*/ 3232 h 56"/>
                <a:gd name="T4" fmla="*/ 9930 w 239"/>
                <a:gd name="T5" fmla="*/ 5386 h 56"/>
                <a:gd name="T6" fmla="*/ 8203 w 239"/>
                <a:gd name="T7" fmla="*/ 7541 h 56"/>
                <a:gd name="T8" fmla="*/ 6476 w 239"/>
                <a:gd name="T9" fmla="*/ 9695 h 56"/>
                <a:gd name="T10" fmla="*/ 5613 w 239"/>
                <a:gd name="T11" fmla="*/ 14004 h 56"/>
                <a:gd name="T12" fmla="*/ 4317 w 239"/>
                <a:gd name="T13" fmla="*/ 16158 h 56"/>
                <a:gd name="T14" fmla="*/ 3022 w 239"/>
                <a:gd name="T15" fmla="*/ 18313 h 56"/>
                <a:gd name="T16" fmla="*/ 0 w 239"/>
                <a:gd name="T17" fmla="*/ 20467 h 56"/>
                <a:gd name="T18" fmla="*/ 863 w 239"/>
                <a:gd name="T19" fmla="*/ 25854 h 56"/>
                <a:gd name="T20" fmla="*/ 2159 w 239"/>
                <a:gd name="T21" fmla="*/ 29085 h 56"/>
                <a:gd name="T22" fmla="*/ 3022 w 239"/>
                <a:gd name="T23" fmla="*/ 32317 h 56"/>
                <a:gd name="T24" fmla="*/ 4317 w 239"/>
                <a:gd name="T25" fmla="*/ 35549 h 56"/>
                <a:gd name="T26" fmla="*/ 7340 w 239"/>
                <a:gd name="T27" fmla="*/ 38780 h 56"/>
                <a:gd name="T28" fmla="*/ 10362 w 239"/>
                <a:gd name="T29" fmla="*/ 40935 h 56"/>
                <a:gd name="T30" fmla="*/ 17702 w 239"/>
                <a:gd name="T31" fmla="*/ 40935 h 56"/>
                <a:gd name="T32" fmla="*/ 23314 w 239"/>
                <a:gd name="T33" fmla="*/ 40935 h 56"/>
                <a:gd name="T34" fmla="*/ 66058 w 239"/>
                <a:gd name="T35" fmla="*/ 40935 h 56"/>
                <a:gd name="T36" fmla="*/ 66921 w 239"/>
                <a:gd name="T37" fmla="*/ 44167 h 56"/>
                <a:gd name="T38" fmla="*/ 67353 w 239"/>
                <a:gd name="T39" fmla="*/ 47398 h 56"/>
                <a:gd name="T40" fmla="*/ 68648 w 239"/>
                <a:gd name="T41" fmla="*/ 49553 h 56"/>
                <a:gd name="T42" fmla="*/ 69943 w 239"/>
                <a:gd name="T43" fmla="*/ 51707 h 56"/>
                <a:gd name="T44" fmla="*/ 72102 w 239"/>
                <a:gd name="T45" fmla="*/ 54939 h 56"/>
                <a:gd name="T46" fmla="*/ 75124 w 239"/>
                <a:gd name="T47" fmla="*/ 58171 h 56"/>
                <a:gd name="T48" fmla="*/ 81169 w 239"/>
                <a:gd name="T49" fmla="*/ 60325 h 56"/>
                <a:gd name="T50" fmla="*/ 86350 w 239"/>
                <a:gd name="T51" fmla="*/ 60325 h 56"/>
                <a:gd name="T52" fmla="*/ 88077 w 239"/>
                <a:gd name="T53" fmla="*/ 59248 h 56"/>
                <a:gd name="T54" fmla="*/ 90667 w 239"/>
                <a:gd name="T55" fmla="*/ 58171 h 56"/>
                <a:gd name="T56" fmla="*/ 92394 w 239"/>
                <a:gd name="T57" fmla="*/ 56016 h 56"/>
                <a:gd name="T58" fmla="*/ 94985 w 239"/>
                <a:gd name="T59" fmla="*/ 52784 h 56"/>
                <a:gd name="T60" fmla="*/ 99302 w 239"/>
                <a:gd name="T61" fmla="*/ 46321 h 56"/>
                <a:gd name="T62" fmla="*/ 103188 w 239"/>
                <a:gd name="T63" fmla="*/ 40935 h 56"/>
                <a:gd name="T64" fmla="*/ 100166 w 239"/>
                <a:gd name="T65" fmla="*/ 39858 h 56"/>
                <a:gd name="T66" fmla="*/ 97144 w 239"/>
                <a:gd name="T67" fmla="*/ 38780 h 56"/>
                <a:gd name="T68" fmla="*/ 94553 w 239"/>
                <a:gd name="T69" fmla="*/ 36626 h 56"/>
                <a:gd name="T70" fmla="*/ 91963 w 239"/>
                <a:gd name="T71" fmla="*/ 34471 h 56"/>
                <a:gd name="T72" fmla="*/ 86782 w 239"/>
                <a:gd name="T73" fmla="*/ 28008 h 56"/>
                <a:gd name="T74" fmla="*/ 82032 w 239"/>
                <a:gd name="T75" fmla="*/ 20467 h 56"/>
                <a:gd name="T76" fmla="*/ 76851 w 239"/>
                <a:gd name="T77" fmla="*/ 14004 h 56"/>
                <a:gd name="T78" fmla="*/ 72102 w 239"/>
                <a:gd name="T79" fmla="*/ 6463 h 56"/>
                <a:gd name="T80" fmla="*/ 69080 w 239"/>
                <a:gd name="T81" fmla="*/ 4309 h 56"/>
                <a:gd name="T82" fmla="*/ 66489 w 239"/>
                <a:gd name="T83" fmla="*/ 2154 h 56"/>
                <a:gd name="T84" fmla="*/ 63467 w 239"/>
                <a:gd name="T85" fmla="*/ 1077 h 56"/>
                <a:gd name="T86" fmla="*/ 60445 w 239"/>
                <a:gd name="T87" fmla="*/ 0 h 56"/>
                <a:gd name="T88" fmla="*/ 57854 w 239"/>
                <a:gd name="T89" fmla="*/ 1077 h 56"/>
                <a:gd name="T90" fmla="*/ 54832 w 239"/>
                <a:gd name="T91" fmla="*/ 4309 h 56"/>
                <a:gd name="T92" fmla="*/ 53537 w 239"/>
                <a:gd name="T93" fmla="*/ 6463 h 56"/>
                <a:gd name="T94" fmla="*/ 52673 w 239"/>
                <a:gd name="T95" fmla="*/ 8618 h 56"/>
                <a:gd name="T96" fmla="*/ 52242 w 239"/>
                <a:gd name="T97" fmla="*/ 10772 h 56"/>
                <a:gd name="T98" fmla="*/ 51810 w 239"/>
                <a:gd name="T99" fmla="*/ 14004 h 56"/>
                <a:gd name="T100" fmla="*/ 43175 w 239"/>
                <a:gd name="T101" fmla="*/ 8618 h 56"/>
                <a:gd name="T102" fmla="*/ 34540 w 239"/>
                <a:gd name="T103" fmla="*/ 4309 h 56"/>
                <a:gd name="T104" fmla="*/ 26337 w 239"/>
                <a:gd name="T105" fmla="*/ 1077 h 56"/>
                <a:gd name="T106" fmla="*/ 17702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7" name="Freeform 495">
              <a:extLst>
                <a:ext uri="{FF2B5EF4-FFF2-40B4-BE49-F238E27FC236}">
                  <a16:creationId xmlns:a16="http://schemas.microsoft.com/office/drawing/2014/main" id="{782888FE-267B-4929-9E45-F190B100E0AA}"/>
                </a:ext>
              </a:extLst>
            </p:cNvPr>
            <p:cNvSpPr>
              <a:spLocks/>
            </p:cNvSpPr>
            <p:nvPr>
              <p:custDataLst>
                <p:tags r:id="rId333"/>
              </p:custDataLst>
            </p:nvPr>
          </p:nvSpPr>
          <p:spPr bwMode="auto">
            <a:xfrm>
              <a:off x="5708643" y="1265228"/>
              <a:ext cx="82550" cy="57150"/>
            </a:xfrm>
            <a:custGeom>
              <a:avLst/>
              <a:gdLst>
                <a:gd name="T0" fmla="*/ 6180 w 187"/>
                <a:gd name="T1" fmla="*/ 13573 h 80"/>
                <a:gd name="T2" fmla="*/ 18099 w 187"/>
                <a:gd name="T3" fmla="*/ 0 h 80"/>
                <a:gd name="T4" fmla="*/ 19424 w 187"/>
                <a:gd name="T5" fmla="*/ 2143 h 80"/>
                <a:gd name="T6" fmla="*/ 22072 w 187"/>
                <a:gd name="T7" fmla="*/ 4286 h 80"/>
                <a:gd name="T8" fmla="*/ 25604 w 187"/>
                <a:gd name="T9" fmla="*/ 6429 h 80"/>
                <a:gd name="T10" fmla="*/ 29577 w 187"/>
                <a:gd name="T11" fmla="*/ 8573 h 80"/>
                <a:gd name="T12" fmla="*/ 39289 w 187"/>
                <a:gd name="T13" fmla="*/ 13573 h 80"/>
                <a:gd name="T14" fmla="*/ 50325 w 187"/>
                <a:gd name="T15" fmla="*/ 18574 h 80"/>
                <a:gd name="T16" fmla="*/ 61361 w 187"/>
                <a:gd name="T17" fmla="*/ 23574 h 80"/>
                <a:gd name="T18" fmla="*/ 71072 w 187"/>
                <a:gd name="T19" fmla="*/ 27146 h 80"/>
                <a:gd name="T20" fmla="*/ 78136 w 187"/>
                <a:gd name="T21" fmla="*/ 30004 h 80"/>
                <a:gd name="T22" fmla="*/ 82550 w 187"/>
                <a:gd name="T23" fmla="*/ 30718 h 80"/>
                <a:gd name="T24" fmla="*/ 82550 w 187"/>
                <a:gd name="T25" fmla="*/ 40005 h 80"/>
                <a:gd name="T26" fmla="*/ 82550 w 187"/>
                <a:gd name="T27" fmla="*/ 48578 h 80"/>
                <a:gd name="T28" fmla="*/ 75045 w 187"/>
                <a:gd name="T29" fmla="*/ 50006 h 80"/>
                <a:gd name="T30" fmla="*/ 66658 w 187"/>
                <a:gd name="T31" fmla="*/ 50721 h 80"/>
                <a:gd name="T32" fmla="*/ 58712 w 187"/>
                <a:gd name="T33" fmla="*/ 50721 h 80"/>
                <a:gd name="T34" fmla="*/ 51207 w 187"/>
                <a:gd name="T35" fmla="*/ 50006 h 80"/>
                <a:gd name="T36" fmla="*/ 37523 w 187"/>
                <a:gd name="T37" fmla="*/ 49292 h 80"/>
                <a:gd name="T38" fmla="*/ 26928 w 187"/>
                <a:gd name="T39" fmla="*/ 48578 h 80"/>
                <a:gd name="T40" fmla="*/ 24279 w 187"/>
                <a:gd name="T41" fmla="*/ 49292 h 80"/>
                <a:gd name="T42" fmla="*/ 22514 w 187"/>
                <a:gd name="T43" fmla="*/ 50006 h 80"/>
                <a:gd name="T44" fmla="*/ 19865 w 187"/>
                <a:gd name="T45" fmla="*/ 51435 h 80"/>
                <a:gd name="T46" fmla="*/ 18099 w 187"/>
                <a:gd name="T47" fmla="*/ 52864 h 80"/>
                <a:gd name="T48" fmla="*/ 14568 w 187"/>
                <a:gd name="T49" fmla="*/ 55721 h 80"/>
                <a:gd name="T50" fmla="*/ 12360 w 187"/>
                <a:gd name="T51" fmla="*/ 57150 h 80"/>
                <a:gd name="T52" fmla="*/ 9712 w 187"/>
                <a:gd name="T53" fmla="*/ 56436 h 80"/>
                <a:gd name="T54" fmla="*/ 7946 w 187"/>
                <a:gd name="T55" fmla="*/ 54293 h 80"/>
                <a:gd name="T56" fmla="*/ 6180 w 187"/>
                <a:gd name="T57" fmla="*/ 51435 h 80"/>
                <a:gd name="T58" fmla="*/ 3973 w 187"/>
                <a:gd name="T59" fmla="*/ 47863 h 80"/>
                <a:gd name="T60" fmla="*/ 2649 w 187"/>
                <a:gd name="T61" fmla="*/ 44291 h 80"/>
                <a:gd name="T62" fmla="*/ 1324 w 187"/>
                <a:gd name="T63" fmla="*/ 40719 h 80"/>
                <a:gd name="T64" fmla="*/ 883 w 187"/>
                <a:gd name="T65" fmla="*/ 37862 h 80"/>
                <a:gd name="T66" fmla="*/ 0 w 187"/>
                <a:gd name="T67" fmla="*/ 35719 h 80"/>
                <a:gd name="T68" fmla="*/ 883 w 187"/>
                <a:gd name="T69" fmla="*/ 31433 h 80"/>
                <a:gd name="T70" fmla="*/ 1324 w 187"/>
                <a:gd name="T71" fmla="*/ 28575 h 80"/>
                <a:gd name="T72" fmla="*/ 2207 w 187"/>
                <a:gd name="T73" fmla="*/ 25718 h 80"/>
                <a:gd name="T74" fmla="*/ 3090 w 187"/>
                <a:gd name="T75" fmla="*/ 22146 h 80"/>
                <a:gd name="T76" fmla="*/ 5739 w 187"/>
                <a:gd name="T77" fmla="*/ 17145 h 80"/>
                <a:gd name="T78" fmla="*/ 6180 w 187"/>
                <a:gd name="T79" fmla="*/ 13573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8" name="Freeform 496">
              <a:extLst>
                <a:ext uri="{FF2B5EF4-FFF2-40B4-BE49-F238E27FC236}">
                  <a16:creationId xmlns:a16="http://schemas.microsoft.com/office/drawing/2014/main" id="{C6D535B6-48CF-406B-8544-289CECF1AF2A}"/>
                </a:ext>
              </a:extLst>
            </p:cNvPr>
            <p:cNvSpPr>
              <a:spLocks/>
            </p:cNvSpPr>
            <p:nvPr>
              <p:custDataLst>
                <p:tags r:id="rId334"/>
              </p:custDataLst>
            </p:nvPr>
          </p:nvSpPr>
          <p:spPr bwMode="auto">
            <a:xfrm>
              <a:off x="6235692" y="1390639"/>
              <a:ext cx="79375" cy="58738"/>
            </a:xfrm>
            <a:custGeom>
              <a:avLst/>
              <a:gdLst>
                <a:gd name="T0" fmla="*/ 21687 w 183"/>
                <a:gd name="T1" fmla="*/ 0 h 73"/>
                <a:gd name="T2" fmla="*/ 27326 w 183"/>
                <a:gd name="T3" fmla="*/ 0 h 73"/>
                <a:gd name="T4" fmla="*/ 32531 w 183"/>
                <a:gd name="T5" fmla="*/ 805 h 73"/>
                <a:gd name="T6" fmla="*/ 37302 w 183"/>
                <a:gd name="T7" fmla="*/ 3219 h 73"/>
                <a:gd name="T8" fmla="*/ 42073 w 183"/>
                <a:gd name="T9" fmla="*/ 5632 h 73"/>
                <a:gd name="T10" fmla="*/ 45977 w 183"/>
                <a:gd name="T11" fmla="*/ 8046 h 73"/>
                <a:gd name="T12" fmla="*/ 50314 w 183"/>
                <a:gd name="T13" fmla="*/ 12069 h 73"/>
                <a:gd name="T14" fmla="*/ 53784 w 183"/>
                <a:gd name="T15" fmla="*/ 15288 h 73"/>
                <a:gd name="T16" fmla="*/ 56820 w 183"/>
                <a:gd name="T17" fmla="*/ 20116 h 73"/>
                <a:gd name="T18" fmla="*/ 68965 w 183"/>
                <a:gd name="T19" fmla="*/ 39427 h 73"/>
                <a:gd name="T20" fmla="*/ 79375 w 183"/>
                <a:gd name="T21" fmla="*/ 58738 h 73"/>
                <a:gd name="T22" fmla="*/ 59423 w 183"/>
                <a:gd name="T23" fmla="*/ 58738 h 73"/>
                <a:gd name="T24" fmla="*/ 55519 w 183"/>
                <a:gd name="T25" fmla="*/ 57933 h 73"/>
                <a:gd name="T26" fmla="*/ 50748 w 183"/>
                <a:gd name="T27" fmla="*/ 56324 h 73"/>
                <a:gd name="T28" fmla="*/ 45109 w 183"/>
                <a:gd name="T29" fmla="*/ 53106 h 73"/>
                <a:gd name="T30" fmla="*/ 39037 w 183"/>
                <a:gd name="T31" fmla="*/ 49887 h 73"/>
                <a:gd name="T32" fmla="*/ 31663 w 183"/>
                <a:gd name="T33" fmla="*/ 45059 h 73"/>
                <a:gd name="T34" fmla="*/ 25157 w 183"/>
                <a:gd name="T35" fmla="*/ 40232 h 73"/>
                <a:gd name="T36" fmla="*/ 18217 w 183"/>
                <a:gd name="T37" fmla="*/ 35404 h 73"/>
                <a:gd name="T38" fmla="*/ 12145 w 183"/>
                <a:gd name="T39" fmla="*/ 29771 h 73"/>
                <a:gd name="T40" fmla="*/ 6940 w 183"/>
                <a:gd name="T41" fmla="*/ 24139 h 73"/>
                <a:gd name="T42" fmla="*/ 3036 w 183"/>
                <a:gd name="T43" fmla="*/ 18506 h 73"/>
                <a:gd name="T44" fmla="*/ 1735 w 183"/>
                <a:gd name="T45" fmla="*/ 15288 h 73"/>
                <a:gd name="T46" fmla="*/ 867 w 183"/>
                <a:gd name="T47" fmla="*/ 12874 h 73"/>
                <a:gd name="T48" fmla="*/ 434 w 183"/>
                <a:gd name="T49" fmla="*/ 11265 h 73"/>
                <a:gd name="T50" fmla="*/ 0 w 183"/>
                <a:gd name="T51" fmla="*/ 8851 h 73"/>
                <a:gd name="T52" fmla="*/ 434 w 183"/>
                <a:gd name="T53" fmla="*/ 6437 h 73"/>
                <a:gd name="T54" fmla="*/ 1301 w 183"/>
                <a:gd name="T55" fmla="*/ 4828 h 73"/>
                <a:gd name="T56" fmla="*/ 3036 w 183"/>
                <a:gd name="T57" fmla="*/ 3219 h 73"/>
                <a:gd name="T58" fmla="*/ 5639 w 183"/>
                <a:gd name="T59" fmla="*/ 2414 h 73"/>
                <a:gd name="T60" fmla="*/ 8241 w 183"/>
                <a:gd name="T61" fmla="*/ 805 h 73"/>
                <a:gd name="T62" fmla="*/ 12145 w 183"/>
                <a:gd name="T63" fmla="*/ 0 h 73"/>
                <a:gd name="T64" fmla="*/ 16482 w 183"/>
                <a:gd name="T65" fmla="*/ 0 h 73"/>
                <a:gd name="T66" fmla="*/ 2168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39" name="Freeform 497">
              <a:extLst>
                <a:ext uri="{FF2B5EF4-FFF2-40B4-BE49-F238E27FC236}">
                  <a16:creationId xmlns:a16="http://schemas.microsoft.com/office/drawing/2014/main" id="{996F6D36-3AA9-4848-A7D7-73F60828FB7E}"/>
                </a:ext>
              </a:extLst>
            </p:cNvPr>
            <p:cNvSpPr>
              <a:spLocks/>
            </p:cNvSpPr>
            <p:nvPr>
              <p:custDataLst>
                <p:tags r:id="rId335"/>
              </p:custDataLst>
            </p:nvPr>
          </p:nvSpPr>
          <p:spPr bwMode="auto">
            <a:xfrm>
              <a:off x="6302367" y="1408102"/>
              <a:ext cx="33338" cy="57150"/>
            </a:xfrm>
            <a:custGeom>
              <a:avLst/>
              <a:gdLst>
                <a:gd name="T0" fmla="*/ 0 w 79"/>
                <a:gd name="T1" fmla="*/ 8164 h 42"/>
                <a:gd name="T2" fmla="*/ 9706 w 79"/>
                <a:gd name="T3" fmla="*/ 2721 h 42"/>
                <a:gd name="T4" fmla="*/ 17302 w 79"/>
                <a:gd name="T5" fmla="*/ 1361 h 42"/>
                <a:gd name="T6" fmla="*/ 25320 w 79"/>
                <a:gd name="T7" fmla="*/ 0 h 42"/>
                <a:gd name="T8" fmla="*/ 33338 w 79"/>
                <a:gd name="T9" fmla="*/ 0 h 42"/>
                <a:gd name="T10" fmla="*/ 33338 w 79"/>
                <a:gd name="T11" fmla="*/ 12246 h 42"/>
                <a:gd name="T12" fmla="*/ 33338 w 79"/>
                <a:gd name="T13" fmla="*/ 24493 h 42"/>
                <a:gd name="T14" fmla="*/ 33338 w 79"/>
                <a:gd name="T15" fmla="*/ 29936 h 42"/>
                <a:gd name="T16" fmla="*/ 31650 w 79"/>
                <a:gd name="T17" fmla="*/ 36739 h 42"/>
                <a:gd name="T18" fmla="*/ 30384 w 79"/>
                <a:gd name="T19" fmla="*/ 42182 h 42"/>
                <a:gd name="T20" fmla="*/ 28696 w 79"/>
                <a:gd name="T21" fmla="*/ 47625 h 42"/>
                <a:gd name="T22" fmla="*/ 26164 w 79"/>
                <a:gd name="T23" fmla="*/ 51707 h 42"/>
                <a:gd name="T24" fmla="*/ 24054 w 79"/>
                <a:gd name="T25" fmla="*/ 54429 h 42"/>
                <a:gd name="T26" fmla="*/ 21522 w 79"/>
                <a:gd name="T27" fmla="*/ 57150 h 42"/>
                <a:gd name="T28" fmla="*/ 19412 w 79"/>
                <a:gd name="T29" fmla="*/ 57150 h 42"/>
                <a:gd name="T30" fmla="*/ 16880 w 79"/>
                <a:gd name="T31" fmla="*/ 57150 h 42"/>
                <a:gd name="T32" fmla="*/ 14770 w 79"/>
                <a:gd name="T33" fmla="*/ 55789 h 42"/>
                <a:gd name="T34" fmla="*/ 12238 w 79"/>
                <a:gd name="T35" fmla="*/ 53068 h 42"/>
                <a:gd name="T36" fmla="*/ 10550 w 79"/>
                <a:gd name="T37" fmla="*/ 50346 h 42"/>
                <a:gd name="T38" fmla="*/ 6752 w 79"/>
                <a:gd name="T39" fmla="*/ 43543 h 42"/>
                <a:gd name="T40" fmla="*/ 4642 w 79"/>
                <a:gd name="T41" fmla="*/ 35379 h 42"/>
                <a:gd name="T42" fmla="*/ 2110 w 79"/>
                <a:gd name="T43" fmla="*/ 27214 h 42"/>
                <a:gd name="T44" fmla="*/ 844 w 79"/>
                <a:gd name="T45" fmla="*/ 19050 h 42"/>
                <a:gd name="T46" fmla="*/ 0 w 79"/>
                <a:gd name="T47" fmla="*/ 12246 h 42"/>
                <a:gd name="T48" fmla="*/ 0 w 79"/>
                <a:gd name="T49" fmla="*/ 8164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0" name="Freeform 498">
              <a:extLst>
                <a:ext uri="{FF2B5EF4-FFF2-40B4-BE49-F238E27FC236}">
                  <a16:creationId xmlns:a16="http://schemas.microsoft.com/office/drawing/2014/main" id="{AC028BBD-BBB2-477C-9631-23EBF4E0B986}"/>
                </a:ext>
              </a:extLst>
            </p:cNvPr>
            <p:cNvSpPr>
              <a:spLocks/>
            </p:cNvSpPr>
            <p:nvPr>
              <p:custDataLst>
                <p:tags r:id="rId336"/>
              </p:custDataLst>
            </p:nvPr>
          </p:nvSpPr>
          <p:spPr bwMode="auto">
            <a:xfrm>
              <a:off x="6332530" y="1419213"/>
              <a:ext cx="52387" cy="58738"/>
            </a:xfrm>
            <a:custGeom>
              <a:avLst/>
              <a:gdLst>
                <a:gd name="T0" fmla="*/ 52387 w 113"/>
                <a:gd name="T1" fmla="*/ 44054 h 52"/>
                <a:gd name="T2" fmla="*/ 51923 w 113"/>
                <a:gd name="T3" fmla="*/ 47442 h 52"/>
                <a:gd name="T4" fmla="*/ 50533 w 113"/>
                <a:gd name="T5" fmla="*/ 50831 h 52"/>
                <a:gd name="T6" fmla="*/ 49142 w 113"/>
                <a:gd name="T7" fmla="*/ 53090 h 52"/>
                <a:gd name="T8" fmla="*/ 47751 w 113"/>
                <a:gd name="T9" fmla="*/ 55349 h 52"/>
                <a:gd name="T10" fmla="*/ 43579 w 113"/>
                <a:gd name="T11" fmla="*/ 57608 h 52"/>
                <a:gd name="T12" fmla="*/ 39406 w 113"/>
                <a:gd name="T13" fmla="*/ 58738 h 52"/>
                <a:gd name="T14" fmla="*/ 30598 w 113"/>
                <a:gd name="T15" fmla="*/ 58738 h 52"/>
                <a:gd name="T16" fmla="*/ 24571 w 113"/>
                <a:gd name="T17" fmla="*/ 57608 h 52"/>
                <a:gd name="T18" fmla="*/ 21789 w 113"/>
                <a:gd name="T19" fmla="*/ 57608 h 52"/>
                <a:gd name="T20" fmla="*/ 18080 w 113"/>
                <a:gd name="T21" fmla="*/ 54220 h 52"/>
                <a:gd name="T22" fmla="*/ 13908 w 113"/>
                <a:gd name="T23" fmla="*/ 50831 h 52"/>
                <a:gd name="T24" fmla="*/ 9736 w 113"/>
                <a:gd name="T25" fmla="*/ 46313 h 52"/>
                <a:gd name="T26" fmla="*/ 6027 w 113"/>
                <a:gd name="T27" fmla="*/ 40665 h 52"/>
                <a:gd name="T28" fmla="*/ 2782 w 113"/>
                <a:gd name="T29" fmla="*/ 35017 h 52"/>
                <a:gd name="T30" fmla="*/ 1854 w 113"/>
                <a:gd name="T31" fmla="*/ 31628 h 52"/>
                <a:gd name="T32" fmla="*/ 927 w 113"/>
                <a:gd name="T33" fmla="*/ 28239 h 52"/>
                <a:gd name="T34" fmla="*/ 464 w 113"/>
                <a:gd name="T35" fmla="*/ 24851 h 52"/>
                <a:gd name="T36" fmla="*/ 0 w 113"/>
                <a:gd name="T37" fmla="*/ 22592 h 52"/>
                <a:gd name="T38" fmla="*/ 464 w 113"/>
                <a:gd name="T39" fmla="*/ 16944 h 52"/>
                <a:gd name="T40" fmla="*/ 464 w 113"/>
                <a:gd name="T41" fmla="*/ 12425 h 52"/>
                <a:gd name="T42" fmla="*/ 1391 w 113"/>
                <a:gd name="T43" fmla="*/ 9037 h 52"/>
                <a:gd name="T44" fmla="*/ 2318 w 113"/>
                <a:gd name="T45" fmla="*/ 5648 h 52"/>
                <a:gd name="T46" fmla="*/ 3245 w 113"/>
                <a:gd name="T47" fmla="*/ 3389 h 52"/>
                <a:gd name="T48" fmla="*/ 4636 w 113"/>
                <a:gd name="T49" fmla="*/ 2259 h 52"/>
                <a:gd name="T50" fmla="*/ 6490 w 113"/>
                <a:gd name="T51" fmla="*/ 1130 h 52"/>
                <a:gd name="T52" fmla="*/ 7881 w 113"/>
                <a:gd name="T53" fmla="*/ 0 h 52"/>
                <a:gd name="T54" fmla="*/ 12054 w 113"/>
                <a:gd name="T55" fmla="*/ 0 h 52"/>
                <a:gd name="T56" fmla="*/ 16690 w 113"/>
                <a:gd name="T57" fmla="*/ 2259 h 52"/>
                <a:gd name="T58" fmla="*/ 21326 w 113"/>
                <a:gd name="T59" fmla="*/ 5648 h 52"/>
                <a:gd name="T60" fmla="*/ 26425 w 113"/>
                <a:gd name="T61" fmla="*/ 10166 h 52"/>
                <a:gd name="T62" fmla="*/ 35697 w 113"/>
                <a:gd name="T63" fmla="*/ 20332 h 52"/>
                <a:gd name="T64" fmla="*/ 44042 w 113"/>
                <a:gd name="T65" fmla="*/ 32758 h 52"/>
                <a:gd name="T66" fmla="*/ 50069 w 113"/>
                <a:gd name="T67" fmla="*/ 40665 h 52"/>
                <a:gd name="T68" fmla="*/ 52387 w 113"/>
                <a:gd name="T69" fmla="*/ 44054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1" name="Freeform 499">
              <a:extLst>
                <a:ext uri="{FF2B5EF4-FFF2-40B4-BE49-F238E27FC236}">
                  <a16:creationId xmlns:a16="http://schemas.microsoft.com/office/drawing/2014/main" id="{54237CC0-12CC-4A33-ADB7-645F23A9D832}"/>
                </a:ext>
              </a:extLst>
            </p:cNvPr>
            <p:cNvSpPr>
              <a:spLocks/>
            </p:cNvSpPr>
            <p:nvPr>
              <p:custDataLst>
                <p:tags r:id="rId337"/>
              </p:custDataLst>
            </p:nvPr>
          </p:nvSpPr>
          <p:spPr bwMode="auto">
            <a:xfrm>
              <a:off x="6103930" y="1392227"/>
              <a:ext cx="61912" cy="58737"/>
            </a:xfrm>
            <a:custGeom>
              <a:avLst/>
              <a:gdLst>
                <a:gd name="T0" fmla="*/ 0 w 139"/>
                <a:gd name="T1" fmla="*/ 11747 h 40"/>
                <a:gd name="T2" fmla="*/ 3563 w 139"/>
                <a:gd name="T3" fmla="*/ 13216 h 40"/>
                <a:gd name="T4" fmla="*/ 8463 w 139"/>
                <a:gd name="T5" fmla="*/ 11747 h 40"/>
                <a:gd name="T6" fmla="*/ 13362 w 139"/>
                <a:gd name="T7" fmla="*/ 10279 h 40"/>
                <a:gd name="T8" fmla="*/ 18707 w 139"/>
                <a:gd name="T9" fmla="*/ 7342 h 40"/>
                <a:gd name="T10" fmla="*/ 23607 w 139"/>
                <a:gd name="T11" fmla="*/ 2937 h 40"/>
                <a:gd name="T12" fmla="*/ 28506 w 139"/>
                <a:gd name="T13" fmla="*/ 1468 h 40"/>
                <a:gd name="T14" fmla="*/ 32515 w 139"/>
                <a:gd name="T15" fmla="*/ 0 h 40"/>
                <a:gd name="T16" fmla="*/ 35633 w 139"/>
                <a:gd name="T17" fmla="*/ 2937 h 40"/>
                <a:gd name="T18" fmla="*/ 61912 w 139"/>
                <a:gd name="T19" fmla="*/ 57269 h 40"/>
                <a:gd name="T20" fmla="*/ 59240 w 139"/>
                <a:gd name="T21" fmla="*/ 58737 h 40"/>
                <a:gd name="T22" fmla="*/ 55676 w 139"/>
                <a:gd name="T23" fmla="*/ 57269 h 40"/>
                <a:gd name="T24" fmla="*/ 51668 w 139"/>
                <a:gd name="T25" fmla="*/ 55800 h 40"/>
                <a:gd name="T26" fmla="*/ 47213 w 139"/>
                <a:gd name="T27" fmla="*/ 52863 h 40"/>
                <a:gd name="T28" fmla="*/ 38305 w 139"/>
                <a:gd name="T29" fmla="*/ 44053 h 40"/>
                <a:gd name="T30" fmla="*/ 28506 w 139"/>
                <a:gd name="T31" fmla="*/ 35242 h 40"/>
                <a:gd name="T32" fmla="*/ 19598 w 139"/>
                <a:gd name="T33" fmla="*/ 23495 h 40"/>
                <a:gd name="T34" fmla="*/ 11581 w 139"/>
                <a:gd name="T35" fmla="*/ 16153 h 40"/>
                <a:gd name="T36" fmla="*/ 7572 w 139"/>
                <a:gd name="T37" fmla="*/ 13216 h 40"/>
                <a:gd name="T38" fmla="*/ 4900 w 139"/>
                <a:gd name="T39" fmla="*/ 10279 h 40"/>
                <a:gd name="T40" fmla="*/ 1782 w 139"/>
                <a:gd name="T41" fmla="*/ 10279 h 40"/>
                <a:gd name="T42" fmla="*/ 0 w 139"/>
                <a:gd name="T43" fmla="*/ 117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2" name="Freeform 500">
              <a:extLst>
                <a:ext uri="{FF2B5EF4-FFF2-40B4-BE49-F238E27FC236}">
                  <a16:creationId xmlns:a16="http://schemas.microsoft.com/office/drawing/2014/main" id="{CC5E690B-2CE7-4FCA-A0AC-06CAACADFB60}"/>
                </a:ext>
              </a:extLst>
            </p:cNvPr>
            <p:cNvSpPr>
              <a:spLocks/>
            </p:cNvSpPr>
            <p:nvPr>
              <p:custDataLst>
                <p:tags r:id="rId338"/>
              </p:custDataLst>
            </p:nvPr>
          </p:nvSpPr>
          <p:spPr bwMode="auto">
            <a:xfrm>
              <a:off x="6403967" y="1333489"/>
              <a:ext cx="139700" cy="57150"/>
            </a:xfrm>
            <a:custGeom>
              <a:avLst/>
              <a:gdLst>
                <a:gd name="T0" fmla="*/ 4298 w 325"/>
                <a:gd name="T1" fmla="*/ 5635 h 71"/>
                <a:gd name="T2" fmla="*/ 13325 w 325"/>
                <a:gd name="T3" fmla="*/ 805 h 71"/>
                <a:gd name="T4" fmla="*/ 22782 w 325"/>
                <a:gd name="T5" fmla="*/ 0 h 71"/>
                <a:gd name="T6" fmla="*/ 31379 w 325"/>
                <a:gd name="T7" fmla="*/ 3220 h 71"/>
                <a:gd name="T8" fmla="*/ 39546 w 325"/>
                <a:gd name="T9" fmla="*/ 8049 h 71"/>
                <a:gd name="T10" fmla="*/ 47283 w 325"/>
                <a:gd name="T11" fmla="*/ 14489 h 71"/>
                <a:gd name="T12" fmla="*/ 52441 w 325"/>
                <a:gd name="T13" fmla="*/ 23343 h 71"/>
                <a:gd name="T14" fmla="*/ 55880 w 325"/>
                <a:gd name="T15" fmla="*/ 30587 h 71"/>
                <a:gd name="T16" fmla="*/ 58459 w 325"/>
                <a:gd name="T17" fmla="*/ 27368 h 71"/>
                <a:gd name="T18" fmla="*/ 59749 w 325"/>
                <a:gd name="T19" fmla="*/ 12074 h 71"/>
                <a:gd name="T20" fmla="*/ 69205 w 325"/>
                <a:gd name="T21" fmla="*/ 5635 h 71"/>
                <a:gd name="T22" fmla="*/ 92847 w 325"/>
                <a:gd name="T23" fmla="*/ 10464 h 71"/>
                <a:gd name="T24" fmla="*/ 110900 w 325"/>
                <a:gd name="T25" fmla="*/ 18513 h 71"/>
                <a:gd name="T26" fmla="*/ 121646 w 325"/>
                <a:gd name="T27" fmla="*/ 25758 h 71"/>
                <a:gd name="T28" fmla="*/ 131103 w 325"/>
                <a:gd name="T29" fmla="*/ 34612 h 71"/>
                <a:gd name="T30" fmla="*/ 137551 w 325"/>
                <a:gd name="T31" fmla="*/ 44271 h 71"/>
                <a:gd name="T32" fmla="*/ 135831 w 325"/>
                <a:gd name="T33" fmla="*/ 51515 h 71"/>
                <a:gd name="T34" fmla="*/ 126375 w 325"/>
                <a:gd name="T35" fmla="*/ 54735 h 71"/>
                <a:gd name="T36" fmla="*/ 111330 w 325"/>
                <a:gd name="T37" fmla="*/ 57150 h 71"/>
                <a:gd name="T38" fmla="*/ 90268 w 325"/>
                <a:gd name="T39" fmla="*/ 56345 h 71"/>
                <a:gd name="T40" fmla="*/ 71784 w 325"/>
                <a:gd name="T41" fmla="*/ 54735 h 71"/>
                <a:gd name="T42" fmla="*/ 57170 w 325"/>
                <a:gd name="T43" fmla="*/ 55540 h 71"/>
                <a:gd name="T44" fmla="*/ 38686 w 325"/>
                <a:gd name="T45" fmla="*/ 57150 h 71"/>
                <a:gd name="T46" fmla="*/ 30949 w 325"/>
                <a:gd name="T47" fmla="*/ 54735 h 71"/>
                <a:gd name="T48" fmla="*/ 28800 w 325"/>
                <a:gd name="T49" fmla="*/ 51515 h 71"/>
                <a:gd name="T50" fmla="*/ 24931 w 325"/>
                <a:gd name="T51" fmla="*/ 49101 h 71"/>
                <a:gd name="T52" fmla="*/ 19773 w 325"/>
                <a:gd name="T53" fmla="*/ 47491 h 71"/>
                <a:gd name="T54" fmla="*/ 15045 w 325"/>
                <a:gd name="T55" fmla="*/ 42661 h 71"/>
                <a:gd name="T56" fmla="*/ 10746 w 325"/>
                <a:gd name="T57" fmla="*/ 36222 h 71"/>
                <a:gd name="T58" fmla="*/ 6878 w 325"/>
                <a:gd name="T59" fmla="*/ 31392 h 71"/>
                <a:gd name="T60" fmla="*/ 2579 w 325"/>
                <a:gd name="T61" fmla="*/ 29782 h 71"/>
                <a:gd name="T62" fmla="*/ 0 w 325"/>
                <a:gd name="T63" fmla="*/ 17708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3" name="Freeform 501">
              <a:extLst>
                <a:ext uri="{FF2B5EF4-FFF2-40B4-BE49-F238E27FC236}">
                  <a16:creationId xmlns:a16="http://schemas.microsoft.com/office/drawing/2014/main" id="{FB26C00D-BF89-4948-9E90-8A3DA5567BFC}"/>
                </a:ext>
              </a:extLst>
            </p:cNvPr>
            <p:cNvSpPr>
              <a:spLocks/>
            </p:cNvSpPr>
            <p:nvPr>
              <p:custDataLst>
                <p:tags r:id="rId339"/>
              </p:custDataLst>
            </p:nvPr>
          </p:nvSpPr>
          <p:spPr bwMode="auto">
            <a:xfrm>
              <a:off x="6564305" y="1341427"/>
              <a:ext cx="95250" cy="57150"/>
            </a:xfrm>
            <a:custGeom>
              <a:avLst/>
              <a:gdLst>
                <a:gd name="T0" fmla="*/ 37667 w 220"/>
                <a:gd name="T1" fmla="*/ 19844 h 72"/>
                <a:gd name="T2" fmla="*/ 39832 w 220"/>
                <a:gd name="T3" fmla="*/ 20638 h 72"/>
                <a:gd name="T4" fmla="*/ 42430 w 220"/>
                <a:gd name="T5" fmla="*/ 21431 h 72"/>
                <a:gd name="T6" fmla="*/ 43728 w 220"/>
                <a:gd name="T7" fmla="*/ 22225 h 72"/>
                <a:gd name="T8" fmla="*/ 45027 w 220"/>
                <a:gd name="T9" fmla="*/ 21431 h 72"/>
                <a:gd name="T10" fmla="*/ 47192 w 220"/>
                <a:gd name="T11" fmla="*/ 21431 h 72"/>
                <a:gd name="T12" fmla="*/ 48924 w 220"/>
                <a:gd name="T13" fmla="*/ 19844 h 72"/>
                <a:gd name="T14" fmla="*/ 49357 w 220"/>
                <a:gd name="T15" fmla="*/ 20638 h 72"/>
                <a:gd name="T16" fmla="*/ 49790 w 220"/>
                <a:gd name="T17" fmla="*/ 20638 h 72"/>
                <a:gd name="T18" fmla="*/ 50223 w 220"/>
                <a:gd name="T19" fmla="*/ 19844 h 72"/>
                <a:gd name="T20" fmla="*/ 50656 w 220"/>
                <a:gd name="T21" fmla="*/ 19844 h 72"/>
                <a:gd name="T22" fmla="*/ 51522 w 220"/>
                <a:gd name="T23" fmla="*/ 17463 h 72"/>
                <a:gd name="T24" fmla="*/ 51955 w 220"/>
                <a:gd name="T25" fmla="*/ 13494 h 72"/>
                <a:gd name="T26" fmla="*/ 51955 w 220"/>
                <a:gd name="T27" fmla="*/ 5556 h 72"/>
                <a:gd name="T28" fmla="*/ 51955 w 220"/>
                <a:gd name="T29" fmla="*/ 0 h 72"/>
                <a:gd name="T30" fmla="*/ 54119 w 220"/>
                <a:gd name="T31" fmla="*/ 3969 h 72"/>
                <a:gd name="T32" fmla="*/ 56717 w 220"/>
                <a:gd name="T33" fmla="*/ 7938 h 72"/>
                <a:gd name="T34" fmla="*/ 59315 w 220"/>
                <a:gd name="T35" fmla="*/ 11906 h 72"/>
                <a:gd name="T36" fmla="*/ 61913 w 220"/>
                <a:gd name="T37" fmla="*/ 15081 h 72"/>
                <a:gd name="T38" fmla="*/ 67541 w 220"/>
                <a:gd name="T39" fmla="*/ 19844 h 72"/>
                <a:gd name="T40" fmla="*/ 73602 w 220"/>
                <a:gd name="T41" fmla="*/ 23813 h 72"/>
                <a:gd name="T42" fmla="*/ 79231 w 220"/>
                <a:gd name="T43" fmla="*/ 27781 h 72"/>
                <a:gd name="T44" fmla="*/ 84859 w 220"/>
                <a:gd name="T45" fmla="*/ 32544 h 72"/>
                <a:gd name="T46" fmla="*/ 87890 w 220"/>
                <a:gd name="T47" fmla="*/ 34925 h 72"/>
                <a:gd name="T48" fmla="*/ 90488 w 220"/>
                <a:gd name="T49" fmla="*/ 37306 h 72"/>
                <a:gd name="T50" fmla="*/ 92652 w 220"/>
                <a:gd name="T51" fmla="*/ 40481 h 72"/>
                <a:gd name="T52" fmla="*/ 95250 w 220"/>
                <a:gd name="T53" fmla="*/ 43656 h 72"/>
                <a:gd name="T54" fmla="*/ 89189 w 220"/>
                <a:gd name="T55" fmla="*/ 44450 h 72"/>
                <a:gd name="T56" fmla="*/ 83993 w 220"/>
                <a:gd name="T57" fmla="*/ 45244 h 72"/>
                <a:gd name="T58" fmla="*/ 78798 w 220"/>
                <a:gd name="T59" fmla="*/ 46038 h 72"/>
                <a:gd name="T60" fmla="*/ 74035 w 220"/>
                <a:gd name="T61" fmla="*/ 47625 h 72"/>
                <a:gd name="T62" fmla="*/ 65376 w 220"/>
                <a:gd name="T63" fmla="*/ 51594 h 72"/>
                <a:gd name="T64" fmla="*/ 58016 w 220"/>
                <a:gd name="T65" fmla="*/ 55563 h 72"/>
                <a:gd name="T66" fmla="*/ 54552 w 220"/>
                <a:gd name="T67" fmla="*/ 56356 h 72"/>
                <a:gd name="T68" fmla="*/ 50656 w 220"/>
                <a:gd name="T69" fmla="*/ 57150 h 72"/>
                <a:gd name="T70" fmla="*/ 47625 w 220"/>
                <a:gd name="T71" fmla="*/ 57150 h 72"/>
                <a:gd name="T72" fmla="*/ 44594 w 220"/>
                <a:gd name="T73" fmla="*/ 57150 h 72"/>
                <a:gd name="T74" fmla="*/ 41131 w 220"/>
                <a:gd name="T75" fmla="*/ 55563 h 72"/>
                <a:gd name="T76" fmla="*/ 38100 w 220"/>
                <a:gd name="T77" fmla="*/ 52388 h 72"/>
                <a:gd name="T78" fmla="*/ 35069 w 220"/>
                <a:gd name="T79" fmla="*/ 48419 h 72"/>
                <a:gd name="T80" fmla="*/ 32039 w 220"/>
                <a:gd name="T81" fmla="*/ 43656 h 72"/>
                <a:gd name="T82" fmla="*/ 25544 w 220"/>
                <a:gd name="T83" fmla="*/ 42069 h 72"/>
                <a:gd name="T84" fmla="*/ 19483 w 220"/>
                <a:gd name="T85" fmla="*/ 39688 h 72"/>
                <a:gd name="T86" fmla="*/ 14288 w 220"/>
                <a:gd name="T87" fmla="*/ 37306 h 72"/>
                <a:gd name="T88" fmla="*/ 9525 w 220"/>
                <a:gd name="T89" fmla="*/ 34131 h 72"/>
                <a:gd name="T90" fmla="*/ 7793 w 220"/>
                <a:gd name="T91" fmla="*/ 32544 h 72"/>
                <a:gd name="T92" fmla="*/ 5628 w 220"/>
                <a:gd name="T93" fmla="*/ 30163 h 72"/>
                <a:gd name="T94" fmla="*/ 3897 w 220"/>
                <a:gd name="T95" fmla="*/ 27781 h 72"/>
                <a:gd name="T96" fmla="*/ 3031 w 220"/>
                <a:gd name="T97" fmla="*/ 24606 h 72"/>
                <a:gd name="T98" fmla="*/ 1299 w 220"/>
                <a:gd name="T99" fmla="*/ 21431 h 72"/>
                <a:gd name="T100" fmla="*/ 866 w 220"/>
                <a:gd name="T101" fmla="*/ 18256 h 72"/>
                <a:gd name="T102" fmla="*/ 433 w 220"/>
                <a:gd name="T103" fmla="*/ 14288 h 72"/>
                <a:gd name="T104" fmla="*/ 0 w 220"/>
                <a:gd name="T105" fmla="*/ 10319 h 72"/>
                <a:gd name="T106" fmla="*/ 9958 w 220"/>
                <a:gd name="T107" fmla="*/ 13494 h 72"/>
                <a:gd name="T108" fmla="*/ 19050 w 220"/>
                <a:gd name="T109" fmla="*/ 16669 h 72"/>
                <a:gd name="T110" fmla="*/ 27709 w 220"/>
                <a:gd name="T111" fmla="*/ 19050 h 72"/>
                <a:gd name="T112" fmla="*/ 37667 w 220"/>
                <a:gd name="T113" fmla="*/ 19844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4" name="Freeform 502">
              <a:extLst>
                <a:ext uri="{FF2B5EF4-FFF2-40B4-BE49-F238E27FC236}">
                  <a16:creationId xmlns:a16="http://schemas.microsoft.com/office/drawing/2014/main" id="{437F8176-614E-46D9-9A44-E783FB4810FF}"/>
                </a:ext>
              </a:extLst>
            </p:cNvPr>
            <p:cNvSpPr>
              <a:spLocks/>
            </p:cNvSpPr>
            <p:nvPr>
              <p:custDataLst>
                <p:tags r:id="rId340"/>
              </p:custDataLst>
            </p:nvPr>
          </p:nvSpPr>
          <p:spPr bwMode="auto">
            <a:xfrm>
              <a:off x="6524617" y="1389052"/>
              <a:ext cx="63500" cy="58737"/>
            </a:xfrm>
            <a:custGeom>
              <a:avLst/>
              <a:gdLst>
                <a:gd name="T0" fmla="*/ 63500 w 146"/>
                <a:gd name="T1" fmla="*/ 48948 h 30"/>
                <a:gd name="T2" fmla="*/ 60890 w 146"/>
                <a:gd name="T3" fmla="*/ 31326 h 30"/>
                <a:gd name="T4" fmla="*/ 59586 w 146"/>
                <a:gd name="T5" fmla="*/ 17621 h 30"/>
                <a:gd name="T6" fmla="*/ 57846 w 146"/>
                <a:gd name="T7" fmla="*/ 7832 h 30"/>
                <a:gd name="T8" fmla="*/ 55671 w 146"/>
                <a:gd name="T9" fmla="*/ 1958 h 30"/>
                <a:gd name="T10" fmla="*/ 54801 w 146"/>
                <a:gd name="T11" fmla="*/ 1958 h 30"/>
                <a:gd name="T12" fmla="*/ 53932 w 146"/>
                <a:gd name="T13" fmla="*/ 1958 h 30"/>
                <a:gd name="T14" fmla="*/ 52192 w 146"/>
                <a:gd name="T15" fmla="*/ 3916 h 30"/>
                <a:gd name="T16" fmla="*/ 51322 w 146"/>
                <a:gd name="T17" fmla="*/ 5874 h 30"/>
                <a:gd name="T18" fmla="*/ 49147 w 146"/>
                <a:gd name="T19" fmla="*/ 17621 h 30"/>
                <a:gd name="T20" fmla="*/ 45668 w 146"/>
                <a:gd name="T21" fmla="*/ 37200 h 30"/>
                <a:gd name="T22" fmla="*/ 31315 w 146"/>
                <a:gd name="T23" fmla="*/ 37200 h 30"/>
                <a:gd name="T24" fmla="*/ 27401 w 146"/>
                <a:gd name="T25" fmla="*/ 35242 h 30"/>
                <a:gd name="T26" fmla="*/ 23921 w 146"/>
                <a:gd name="T27" fmla="*/ 33284 h 30"/>
                <a:gd name="T28" fmla="*/ 20442 w 146"/>
                <a:gd name="T29" fmla="*/ 27411 h 30"/>
                <a:gd name="T30" fmla="*/ 17397 w 146"/>
                <a:gd name="T31" fmla="*/ 23495 h 30"/>
                <a:gd name="T32" fmla="*/ 12613 w 146"/>
                <a:gd name="T33" fmla="*/ 11747 h 30"/>
                <a:gd name="T34" fmla="*/ 8264 w 146"/>
                <a:gd name="T35" fmla="*/ 0 h 30"/>
                <a:gd name="T36" fmla="*/ 6089 w 146"/>
                <a:gd name="T37" fmla="*/ 17621 h 30"/>
                <a:gd name="T38" fmla="*/ 4349 w 146"/>
                <a:gd name="T39" fmla="*/ 29369 h 30"/>
                <a:gd name="T40" fmla="*/ 1740 w 146"/>
                <a:gd name="T41" fmla="*/ 39158 h 30"/>
                <a:gd name="T42" fmla="*/ 0 w 146"/>
                <a:gd name="T43" fmla="*/ 48948 h 30"/>
                <a:gd name="T44" fmla="*/ 14353 w 146"/>
                <a:gd name="T45" fmla="*/ 48948 h 30"/>
                <a:gd name="T46" fmla="*/ 24791 w 146"/>
                <a:gd name="T47" fmla="*/ 48948 h 30"/>
                <a:gd name="T48" fmla="*/ 33490 w 146"/>
                <a:gd name="T49" fmla="*/ 48948 h 30"/>
                <a:gd name="T50" fmla="*/ 43058 w 146"/>
                <a:gd name="T51" fmla="*/ 48948 h 30"/>
                <a:gd name="T52" fmla="*/ 47842 w 146"/>
                <a:gd name="T53" fmla="*/ 50905 h 30"/>
                <a:gd name="T54" fmla="*/ 53497 w 146"/>
                <a:gd name="T55" fmla="*/ 56779 h 30"/>
                <a:gd name="T56" fmla="*/ 55671 w 146"/>
                <a:gd name="T57" fmla="*/ 58737 h 30"/>
                <a:gd name="T58" fmla="*/ 58716 w 146"/>
                <a:gd name="T59" fmla="*/ 58737 h 30"/>
                <a:gd name="T60" fmla="*/ 60890 w 146"/>
                <a:gd name="T61" fmla="*/ 54821 h 30"/>
                <a:gd name="T62" fmla="*/ 63500 w 146"/>
                <a:gd name="T63" fmla="*/ 48948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5" name="Freeform 503">
              <a:extLst>
                <a:ext uri="{FF2B5EF4-FFF2-40B4-BE49-F238E27FC236}">
                  <a16:creationId xmlns:a16="http://schemas.microsoft.com/office/drawing/2014/main" id="{476FB101-8185-4409-9438-697C5682B02E}"/>
                </a:ext>
              </a:extLst>
            </p:cNvPr>
            <p:cNvSpPr>
              <a:spLocks/>
            </p:cNvSpPr>
            <p:nvPr>
              <p:custDataLst>
                <p:tags r:id="rId341"/>
              </p:custDataLst>
            </p:nvPr>
          </p:nvSpPr>
          <p:spPr bwMode="auto">
            <a:xfrm>
              <a:off x="6503980" y="1385877"/>
              <a:ext cx="20637" cy="58737"/>
            </a:xfrm>
            <a:custGeom>
              <a:avLst/>
              <a:gdLst>
                <a:gd name="T0" fmla="*/ 0 w 53"/>
                <a:gd name="T1" fmla="*/ 58737 h 9"/>
                <a:gd name="T2" fmla="*/ 6619 w 53"/>
                <a:gd name="T3" fmla="*/ 58737 h 9"/>
                <a:gd name="T4" fmla="*/ 11292 w 53"/>
                <a:gd name="T5" fmla="*/ 58737 h 9"/>
                <a:gd name="T6" fmla="*/ 15575 w 53"/>
                <a:gd name="T7" fmla="*/ 58737 h 9"/>
                <a:gd name="T8" fmla="*/ 20637 w 53"/>
                <a:gd name="T9" fmla="*/ 58737 h 9"/>
                <a:gd name="T10" fmla="*/ 17911 w 53"/>
                <a:gd name="T11" fmla="*/ 39158 h 9"/>
                <a:gd name="T12" fmla="*/ 14796 w 53"/>
                <a:gd name="T13" fmla="*/ 19579 h 9"/>
                <a:gd name="T14" fmla="*/ 12071 w 53"/>
                <a:gd name="T15" fmla="*/ 6526 h 9"/>
                <a:gd name="T16" fmla="*/ 9734 w 53"/>
                <a:gd name="T17" fmla="*/ 0 h 9"/>
                <a:gd name="T18" fmla="*/ 7398 w 53"/>
                <a:gd name="T19" fmla="*/ 0 h 9"/>
                <a:gd name="T20" fmla="*/ 5451 w 53"/>
                <a:gd name="T21" fmla="*/ 0 h 9"/>
                <a:gd name="T22" fmla="*/ 3504 w 53"/>
                <a:gd name="T23" fmla="*/ 6526 h 9"/>
                <a:gd name="T24" fmla="*/ 2336 w 53"/>
                <a:gd name="T25" fmla="*/ 19579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6" name="Line 504">
              <a:extLst>
                <a:ext uri="{FF2B5EF4-FFF2-40B4-BE49-F238E27FC236}">
                  <a16:creationId xmlns:a16="http://schemas.microsoft.com/office/drawing/2014/main" id="{4763EEE5-3BFF-46A0-9FCF-3D5781C6FD46}"/>
                </a:ext>
              </a:extLst>
            </p:cNvPr>
            <p:cNvSpPr>
              <a:spLocks noChangeShapeType="1"/>
            </p:cNvSpPr>
            <p:nvPr>
              <p:custDataLst>
                <p:tags r:id="rId342"/>
              </p:custDataLst>
            </p:nvPr>
          </p:nvSpPr>
          <p:spPr bwMode="auto">
            <a:xfrm flipV="1">
              <a:off x="6505567" y="1384289"/>
              <a:ext cx="0" cy="1588"/>
            </a:xfrm>
            <a:prstGeom prst="line">
              <a:avLst/>
            </a:prstGeom>
            <a:noFill/>
            <a:ln w="9525">
              <a:solidFill>
                <a:srgbClr val="FFFF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7" name="Freeform 505">
              <a:extLst>
                <a:ext uri="{FF2B5EF4-FFF2-40B4-BE49-F238E27FC236}">
                  <a16:creationId xmlns:a16="http://schemas.microsoft.com/office/drawing/2014/main" id="{5DE4B10F-EBF9-4208-878E-7441C87114EE}"/>
                </a:ext>
              </a:extLst>
            </p:cNvPr>
            <p:cNvSpPr>
              <a:spLocks/>
            </p:cNvSpPr>
            <p:nvPr>
              <p:custDataLst>
                <p:tags r:id="rId343"/>
              </p:custDataLst>
            </p:nvPr>
          </p:nvSpPr>
          <p:spPr bwMode="auto">
            <a:xfrm>
              <a:off x="5675306" y="1312853"/>
              <a:ext cx="11112" cy="55562"/>
            </a:xfrm>
            <a:custGeom>
              <a:avLst/>
              <a:gdLst>
                <a:gd name="T0" fmla="*/ 0 w 26"/>
                <a:gd name="T1" fmla="*/ 55562 h 25"/>
                <a:gd name="T2" fmla="*/ 2137 w 26"/>
                <a:gd name="T3" fmla="*/ 37782 h 25"/>
                <a:gd name="T4" fmla="*/ 5556 w 26"/>
                <a:gd name="T5" fmla="*/ 17780 h 25"/>
                <a:gd name="T6" fmla="*/ 6838 w 26"/>
                <a:gd name="T7" fmla="*/ 11112 h 25"/>
                <a:gd name="T8" fmla="*/ 8548 w 26"/>
                <a:gd name="T9" fmla="*/ 4445 h 25"/>
                <a:gd name="T10" fmla="*/ 9830 w 26"/>
                <a:gd name="T11" fmla="*/ 2222 h 25"/>
                <a:gd name="T12" fmla="*/ 11112 w 26"/>
                <a:gd name="T13" fmla="*/ 0 h 25"/>
                <a:gd name="T14" fmla="*/ 11112 w 26"/>
                <a:gd name="T15" fmla="*/ 55562 h 25"/>
                <a:gd name="T16" fmla="*/ 8548 w 26"/>
                <a:gd name="T17" fmla="*/ 55562 h 25"/>
                <a:gd name="T18" fmla="*/ 5556 w 26"/>
                <a:gd name="T19" fmla="*/ 55562 h 25"/>
                <a:gd name="T20" fmla="*/ 0 w 26"/>
                <a:gd name="T21" fmla="*/ 55562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8" name="Freeform 506">
              <a:extLst>
                <a:ext uri="{FF2B5EF4-FFF2-40B4-BE49-F238E27FC236}">
                  <a16:creationId xmlns:a16="http://schemas.microsoft.com/office/drawing/2014/main" id="{AAD06257-D663-4ADE-9996-EC615422B27B}"/>
                </a:ext>
              </a:extLst>
            </p:cNvPr>
            <p:cNvSpPr>
              <a:spLocks/>
            </p:cNvSpPr>
            <p:nvPr>
              <p:custDataLst>
                <p:tags r:id="rId344"/>
              </p:custDataLst>
            </p:nvPr>
          </p:nvSpPr>
          <p:spPr bwMode="auto">
            <a:xfrm>
              <a:off x="6424605" y="1384289"/>
              <a:ext cx="9525" cy="57150"/>
            </a:xfrm>
            <a:custGeom>
              <a:avLst/>
              <a:gdLst>
                <a:gd name="T0" fmla="*/ 9525 w 33"/>
                <a:gd name="T1" fmla="*/ 57150 h 25"/>
                <a:gd name="T2" fmla="*/ 9525 w 33"/>
                <a:gd name="T3" fmla="*/ 27432 h 25"/>
                <a:gd name="T4" fmla="*/ 9525 w 33"/>
                <a:gd name="T5" fmla="*/ 0 h 25"/>
                <a:gd name="T6" fmla="*/ 0 w 33"/>
                <a:gd name="T7" fmla="*/ 0 h 25"/>
                <a:gd name="T8" fmla="*/ 2598 w 33"/>
                <a:gd name="T9" fmla="*/ 20574 h 25"/>
                <a:gd name="T10" fmla="*/ 4618 w 33"/>
                <a:gd name="T11" fmla="*/ 38862 h 25"/>
                <a:gd name="T12" fmla="*/ 5773 w 33"/>
                <a:gd name="T13" fmla="*/ 45720 h 25"/>
                <a:gd name="T14" fmla="*/ 6927 w 33"/>
                <a:gd name="T15" fmla="*/ 52578 h 25"/>
                <a:gd name="T16" fmla="*/ 8082 w 33"/>
                <a:gd name="T17" fmla="*/ 54864 h 25"/>
                <a:gd name="T18" fmla="*/ 9525 w 33"/>
                <a:gd name="T19" fmla="*/ 57150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49" name="Freeform 507">
              <a:extLst>
                <a:ext uri="{FF2B5EF4-FFF2-40B4-BE49-F238E27FC236}">
                  <a16:creationId xmlns:a16="http://schemas.microsoft.com/office/drawing/2014/main" id="{BE4EADC8-F9E7-408E-B1B3-33F71A4BE3DB}"/>
                </a:ext>
              </a:extLst>
            </p:cNvPr>
            <p:cNvSpPr>
              <a:spLocks/>
            </p:cNvSpPr>
            <p:nvPr>
              <p:custDataLst>
                <p:tags r:id="rId345"/>
              </p:custDataLst>
            </p:nvPr>
          </p:nvSpPr>
          <p:spPr bwMode="auto">
            <a:xfrm>
              <a:off x="6378567" y="1347777"/>
              <a:ext cx="9525" cy="57150"/>
            </a:xfrm>
            <a:custGeom>
              <a:avLst/>
              <a:gdLst>
                <a:gd name="T0" fmla="*/ 0 w 20"/>
                <a:gd name="T1" fmla="*/ 0 h 18"/>
                <a:gd name="T2" fmla="*/ 6191 w 20"/>
                <a:gd name="T3" fmla="*/ 57150 h 18"/>
                <a:gd name="T4" fmla="*/ 7620 w 20"/>
                <a:gd name="T5" fmla="*/ 34925 h 18"/>
                <a:gd name="T6" fmla="*/ 9525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0" name="Freeform 508">
              <a:extLst>
                <a:ext uri="{FF2B5EF4-FFF2-40B4-BE49-F238E27FC236}">
                  <a16:creationId xmlns:a16="http://schemas.microsoft.com/office/drawing/2014/main" id="{37ABEB4C-4F5E-4A33-9E0F-B5E54ED3CE3A}"/>
                </a:ext>
              </a:extLst>
            </p:cNvPr>
            <p:cNvSpPr>
              <a:spLocks/>
            </p:cNvSpPr>
            <p:nvPr>
              <p:custDataLst>
                <p:tags r:id="rId346"/>
              </p:custDataLst>
            </p:nvPr>
          </p:nvSpPr>
          <p:spPr bwMode="auto">
            <a:xfrm>
              <a:off x="6878629" y="1917684"/>
              <a:ext cx="12700" cy="58738"/>
            </a:xfrm>
            <a:custGeom>
              <a:avLst/>
              <a:gdLst>
                <a:gd name="T0" fmla="*/ 0 w 33"/>
                <a:gd name="T1" fmla="*/ 58738 h 31"/>
                <a:gd name="T2" fmla="*/ 0 w 33"/>
                <a:gd name="T3" fmla="*/ 0 h 31"/>
                <a:gd name="T4" fmla="*/ 3464 w 33"/>
                <a:gd name="T5" fmla="*/ 0 h 31"/>
                <a:gd name="T6" fmla="*/ 6158 w 33"/>
                <a:gd name="T7" fmla="*/ 0 h 31"/>
                <a:gd name="T8" fmla="*/ 9236 w 33"/>
                <a:gd name="T9" fmla="*/ 0 h 31"/>
                <a:gd name="T10" fmla="*/ 12700 w 33"/>
                <a:gd name="T11" fmla="*/ 0 h 31"/>
                <a:gd name="T12" fmla="*/ 11545 w 33"/>
                <a:gd name="T13" fmla="*/ 3790 h 31"/>
                <a:gd name="T14" fmla="*/ 11161 w 33"/>
                <a:gd name="T15" fmla="*/ 9474 h 31"/>
                <a:gd name="T16" fmla="*/ 10776 w 33"/>
                <a:gd name="T17" fmla="*/ 17053 h 31"/>
                <a:gd name="T18" fmla="*/ 10776 w 33"/>
                <a:gd name="T19" fmla="*/ 24632 h 31"/>
                <a:gd name="T20" fmla="*/ 10776 w 33"/>
                <a:gd name="T21" fmla="*/ 32211 h 31"/>
                <a:gd name="T22" fmla="*/ 11161 w 33"/>
                <a:gd name="T23" fmla="*/ 39790 h 31"/>
                <a:gd name="T24" fmla="*/ 11545 w 33"/>
                <a:gd name="T25" fmla="*/ 49264 h 31"/>
                <a:gd name="T26" fmla="*/ 12700 w 33"/>
                <a:gd name="T27" fmla="*/ 58738 h 31"/>
                <a:gd name="T28" fmla="*/ 0 w 33"/>
                <a:gd name="T29" fmla="*/ 58738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1" name="Freeform 509">
              <a:extLst>
                <a:ext uri="{FF2B5EF4-FFF2-40B4-BE49-F238E27FC236}">
                  <a16:creationId xmlns:a16="http://schemas.microsoft.com/office/drawing/2014/main" id="{68D1187E-C72C-4B6D-9B8C-DEE6CE5ED0D2}"/>
                </a:ext>
              </a:extLst>
            </p:cNvPr>
            <p:cNvSpPr>
              <a:spLocks/>
            </p:cNvSpPr>
            <p:nvPr>
              <p:custDataLst>
                <p:tags r:id="rId347"/>
              </p:custDataLst>
            </p:nvPr>
          </p:nvSpPr>
          <p:spPr bwMode="auto">
            <a:xfrm>
              <a:off x="7172316" y="1439852"/>
              <a:ext cx="55563" cy="58737"/>
            </a:xfrm>
            <a:custGeom>
              <a:avLst/>
              <a:gdLst>
                <a:gd name="T0" fmla="*/ 1292 w 129"/>
                <a:gd name="T1" fmla="*/ 46151 h 56"/>
                <a:gd name="T2" fmla="*/ 431 w 129"/>
                <a:gd name="T3" fmla="*/ 44053 h 56"/>
                <a:gd name="T4" fmla="*/ 431 w 129"/>
                <a:gd name="T5" fmla="*/ 41955 h 56"/>
                <a:gd name="T6" fmla="*/ 0 w 129"/>
                <a:gd name="T7" fmla="*/ 38808 h 56"/>
                <a:gd name="T8" fmla="*/ 431 w 129"/>
                <a:gd name="T9" fmla="*/ 34613 h 56"/>
                <a:gd name="T10" fmla="*/ 861 w 129"/>
                <a:gd name="T11" fmla="*/ 26222 h 56"/>
                <a:gd name="T12" fmla="*/ 1292 w 129"/>
                <a:gd name="T13" fmla="*/ 18880 h 56"/>
                <a:gd name="T14" fmla="*/ 3876 w 129"/>
                <a:gd name="T15" fmla="*/ 13635 h 56"/>
                <a:gd name="T16" fmla="*/ 6892 w 129"/>
                <a:gd name="T17" fmla="*/ 9440 h 56"/>
                <a:gd name="T18" fmla="*/ 9045 w 129"/>
                <a:gd name="T19" fmla="*/ 6293 h 56"/>
                <a:gd name="T20" fmla="*/ 11629 w 129"/>
                <a:gd name="T21" fmla="*/ 5244 h 56"/>
                <a:gd name="T22" fmla="*/ 16798 w 129"/>
                <a:gd name="T23" fmla="*/ 3147 h 56"/>
                <a:gd name="T24" fmla="*/ 24551 w 129"/>
                <a:gd name="T25" fmla="*/ 0 h 56"/>
                <a:gd name="T26" fmla="*/ 25843 w 129"/>
                <a:gd name="T27" fmla="*/ 5244 h 56"/>
                <a:gd name="T28" fmla="*/ 27566 w 129"/>
                <a:gd name="T29" fmla="*/ 8391 h 56"/>
                <a:gd name="T30" fmla="*/ 29720 w 129"/>
                <a:gd name="T31" fmla="*/ 11538 h 56"/>
                <a:gd name="T32" fmla="*/ 31443 w 129"/>
                <a:gd name="T33" fmla="*/ 14684 h 56"/>
                <a:gd name="T34" fmla="*/ 35750 w 129"/>
                <a:gd name="T35" fmla="*/ 18880 h 56"/>
                <a:gd name="T36" fmla="*/ 40057 w 129"/>
                <a:gd name="T37" fmla="*/ 22026 h 56"/>
                <a:gd name="T38" fmla="*/ 44364 w 129"/>
                <a:gd name="T39" fmla="*/ 26222 h 56"/>
                <a:gd name="T40" fmla="*/ 48671 w 129"/>
                <a:gd name="T41" fmla="*/ 30417 h 56"/>
                <a:gd name="T42" fmla="*/ 50394 w 129"/>
                <a:gd name="T43" fmla="*/ 33564 h 56"/>
                <a:gd name="T44" fmla="*/ 52117 w 129"/>
                <a:gd name="T45" fmla="*/ 36711 h 56"/>
                <a:gd name="T46" fmla="*/ 54271 w 129"/>
                <a:gd name="T47" fmla="*/ 39857 h 56"/>
                <a:gd name="T48" fmla="*/ 55563 w 129"/>
                <a:gd name="T49" fmla="*/ 46151 h 56"/>
                <a:gd name="T50" fmla="*/ 51256 w 129"/>
                <a:gd name="T51" fmla="*/ 50346 h 56"/>
                <a:gd name="T52" fmla="*/ 46949 w 129"/>
                <a:gd name="T53" fmla="*/ 53493 h 56"/>
                <a:gd name="T54" fmla="*/ 42641 w 129"/>
                <a:gd name="T55" fmla="*/ 55590 h 56"/>
                <a:gd name="T56" fmla="*/ 38765 w 129"/>
                <a:gd name="T57" fmla="*/ 56639 h 56"/>
                <a:gd name="T58" fmla="*/ 30150 w 129"/>
                <a:gd name="T59" fmla="*/ 58737 h 56"/>
                <a:gd name="T60" fmla="*/ 21105 w 129"/>
                <a:gd name="T61" fmla="*/ 58737 h 56"/>
                <a:gd name="T62" fmla="*/ 17229 w 129"/>
                <a:gd name="T63" fmla="*/ 57688 h 56"/>
                <a:gd name="T64" fmla="*/ 13352 w 129"/>
                <a:gd name="T65" fmla="*/ 56639 h 56"/>
                <a:gd name="T66" fmla="*/ 9907 w 129"/>
                <a:gd name="T67" fmla="*/ 54542 h 56"/>
                <a:gd name="T68" fmla="*/ 6892 w 129"/>
                <a:gd name="T69" fmla="*/ 52444 h 56"/>
                <a:gd name="T70" fmla="*/ 2584 w 129"/>
                <a:gd name="T71" fmla="*/ 48248 h 56"/>
                <a:gd name="T72" fmla="*/ 1292 w 129"/>
                <a:gd name="T73" fmla="*/ 46151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2" name="Freeform 510">
              <a:extLst>
                <a:ext uri="{FF2B5EF4-FFF2-40B4-BE49-F238E27FC236}">
                  <a16:creationId xmlns:a16="http://schemas.microsoft.com/office/drawing/2014/main" id="{C28511CF-A2F9-4DB6-9A10-0F5B9255CAAA}"/>
                </a:ext>
              </a:extLst>
            </p:cNvPr>
            <p:cNvSpPr>
              <a:spLocks/>
            </p:cNvSpPr>
            <p:nvPr>
              <p:custDataLst>
                <p:tags r:id="rId348"/>
              </p:custDataLst>
            </p:nvPr>
          </p:nvSpPr>
          <p:spPr bwMode="auto">
            <a:xfrm>
              <a:off x="7308841" y="1792274"/>
              <a:ext cx="14288" cy="57150"/>
            </a:xfrm>
            <a:custGeom>
              <a:avLst/>
              <a:gdLst>
                <a:gd name="T0" fmla="*/ 7318 w 41"/>
                <a:gd name="T1" fmla="*/ 57150 h 42"/>
                <a:gd name="T2" fmla="*/ 0 w 41"/>
                <a:gd name="T3" fmla="*/ 40821 h 42"/>
                <a:gd name="T4" fmla="*/ 0 w 41"/>
                <a:gd name="T5" fmla="*/ 8164 h 42"/>
                <a:gd name="T6" fmla="*/ 2439 w 41"/>
                <a:gd name="T7" fmla="*/ 6804 h 42"/>
                <a:gd name="T8" fmla="*/ 4879 w 41"/>
                <a:gd name="T9" fmla="*/ 4082 h 42"/>
                <a:gd name="T10" fmla="*/ 8364 w 41"/>
                <a:gd name="T11" fmla="*/ 1361 h 42"/>
                <a:gd name="T12" fmla="*/ 11849 w 41"/>
                <a:gd name="T13" fmla="*/ 0 h 42"/>
                <a:gd name="T14" fmla="*/ 11849 w 41"/>
                <a:gd name="T15" fmla="*/ 24493 h 42"/>
                <a:gd name="T16" fmla="*/ 14288 w 41"/>
                <a:gd name="T17" fmla="*/ 24493 h 42"/>
                <a:gd name="T18" fmla="*/ 7318 w 41"/>
                <a:gd name="T19" fmla="*/ 5715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3" name="Freeform 511">
              <a:extLst>
                <a:ext uri="{FF2B5EF4-FFF2-40B4-BE49-F238E27FC236}">
                  <a16:creationId xmlns:a16="http://schemas.microsoft.com/office/drawing/2014/main" id="{7FE48BBE-64D6-4EC7-94A7-D0D3D1D1A34D}"/>
                </a:ext>
              </a:extLst>
            </p:cNvPr>
            <p:cNvSpPr>
              <a:spLocks/>
            </p:cNvSpPr>
            <p:nvPr>
              <p:custDataLst>
                <p:tags r:id="rId349"/>
              </p:custDataLst>
            </p:nvPr>
          </p:nvSpPr>
          <p:spPr bwMode="auto">
            <a:xfrm>
              <a:off x="7458066" y="1904985"/>
              <a:ext cx="42863" cy="60325"/>
            </a:xfrm>
            <a:custGeom>
              <a:avLst/>
              <a:gdLst>
                <a:gd name="T0" fmla="*/ 27654 w 93"/>
                <a:gd name="T1" fmla="*/ 13921 h 39"/>
                <a:gd name="T2" fmla="*/ 30880 w 93"/>
                <a:gd name="T3" fmla="*/ 27842 h 39"/>
                <a:gd name="T4" fmla="*/ 35489 w 93"/>
                <a:gd name="T5" fmla="*/ 43310 h 39"/>
                <a:gd name="T6" fmla="*/ 37332 w 93"/>
                <a:gd name="T7" fmla="*/ 51044 h 39"/>
                <a:gd name="T8" fmla="*/ 39637 w 93"/>
                <a:gd name="T9" fmla="*/ 55685 h 39"/>
                <a:gd name="T10" fmla="*/ 41480 w 93"/>
                <a:gd name="T11" fmla="*/ 58778 h 39"/>
                <a:gd name="T12" fmla="*/ 42863 w 93"/>
                <a:gd name="T13" fmla="*/ 60325 h 39"/>
                <a:gd name="T14" fmla="*/ 27654 w 93"/>
                <a:gd name="T15" fmla="*/ 60325 h 39"/>
                <a:gd name="T16" fmla="*/ 23045 w 93"/>
                <a:gd name="T17" fmla="*/ 55685 h 39"/>
                <a:gd name="T18" fmla="*/ 19818 w 93"/>
                <a:gd name="T19" fmla="*/ 49497 h 39"/>
                <a:gd name="T20" fmla="*/ 16592 w 93"/>
                <a:gd name="T21" fmla="*/ 43310 h 39"/>
                <a:gd name="T22" fmla="*/ 13827 w 93"/>
                <a:gd name="T23" fmla="*/ 35576 h 39"/>
                <a:gd name="T24" fmla="*/ 11061 w 93"/>
                <a:gd name="T25" fmla="*/ 27842 h 39"/>
                <a:gd name="T26" fmla="*/ 7374 w 93"/>
                <a:gd name="T27" fmla="*/ 20108 h 39"/>
                <a:gd name="T28" fmla="*/ 4148 w 93"/>
                <a:gd name="T29" fmla="*/ 10828 h 39"/>
                <a:gd name="T30" fmla="*/ 0 w 93"/>
                <a:gd name="T31" fmla="*/ 4640 h 39"/>
                <a:gd name="T32" fmla="*/ 5070 w 93"/>
                <a:gd name="T33" fmla="*/ 1547 h 39"/>
                <a:gd name="T34" fmla="*/ 9218 w 93"/>
                <a:gd name="T35" fmla="*/ 0 h 39"/>
                <a:gd name="T36" fmla="*/ 11983 w 93"/>
                <a:gd name="T37" fmla="*/ 0 h 39"/>
                <a:gd name="T38" fmla="*/ 15209 w 93"/>
                <a:gd name="T39" fmla="*/ 1547 h 39"/>
                <a:gd name="T40" fmla="*/ 20279 w 93"/>
                <a:gd name="T41" fmla="*/ 6187 h 39"/>
                <a:gd name="T42" fmla="*/ 27654 w 93"/>
                <a:gd name="T43" fmla="*/ 13921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4" name="Freeform 512">
              <a:extLst>
                <a:ext uri="{FF2B5EF4-FFF2-40B4-BE49-F238E27FC236}">
                  <a16:creationId xmlns:a16="http://schemas.microsoft.com/office/drawing/2014/main" id="{37523EBF-76A1-4F6B-97CA-F70544FFED6C}"/>
                </a:ext>
              </a:extLst>
            </p:cNvPr>
            <p:cNvSpPr>
              <a:spLocks/>
            </p:cNvSpPr>
            <p:nvPr>
              <p:custDataLst>
                <p:tags r:id="rId350"/>
              </p:custDataLst>
            </p:nvPr>
          </p:nvSpPr>
          <p:spPr bwMode="auto">
            <a:xfrm>
              <a:off x="7508866" y="1920860"/>
              <a:ext cx="19050" cy="58738"/>
            </a:xfrm>
            <a:custGeom>
              <a:avLst/>
              <a:gdLst>
                <a:gd name="T0" fmla="*/ 19050 w 39"/>
                <a:gd name="T1" fmla="*/ 58738 h 19"/>
                <a:gd name="T2" fmla="*/ 6350 w 39"/>
                <a:gd name="T3" fmla="*/ 58738 h 19"/>
                <a:gd name="T4" fmla="*/ 3908 w 39"/>
                <a:gd name="T5" fmla="*/ 58738 h 19"/>
                <a:gd name="T6" fmla="*/ 2442 w 39"/>
                <a:gd name="T7" fmla="*/ 52555 h 19"/>
                <a:gd name="T8" fmla="*/ 1465 w 39"/>
                <a:gd name="T9" fmla="*/ 43281 h 19"/>
                <a:gd name="T10" fmla="*/ 977 w 39"/>
                <a:gd name="T11" fmla="*/ 34006 h 19"/>
                <a:gd name="T12" fmla="*/ 0 w 39"/>
                <a:gd name="T13" fmla="*/ 15457 h 19"/>
                <a:gd name="T14" fmla="*/ 0 w 39"/>
                <a:gd name="T15" fmla="*/ 0 h 19"/>
                <a:gd name="T16" fmla="*/ 6350 w 39"/>
                <a:gd name="T17" fmla="*/ 12366 h 19"/>
                <a:gd name="T18" fmla="*/ 10746 w 39"/>
                <a:gd name="T19" fmla="*/ 27823 h 19"/>
                <a:gd name="T20" fmla="*/ 14654 w 39"/>
                <a:gd name="T21" fmla="*/ 43281 h 19"/>
                <a:gd name="T22" fmla="*/ 19050 w 39"/>
                <a:gd name="T23" fmla="*/ 58738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5" name="Freeform 513">
              <a:extLst>
                <a:ext uri="{FF2B5EF4-FFF2-40B4-BE49-F238E27FC236}">
                  <a16:creationId xmlns:a16="http://schemas.microsoft.com/office/drawing/2014/main" id="{8E7A8520-8D5F-4861-8EC2-1E0C7B6885A6}"/>
                </a:ext>
              </a:extLst>
            </p:cNvPr>
            <p:cNvSpPr>
              <a:spLocks/>
            </p:cNvSpPr>
            <p:nvPr>
              <p:custDataLst>
                <p:tags r:id="rId351"/>
              </p:custDataLst>
            </p:nvPr>
          </p:nvSpPr>
          <p:spPr bwMode="auto">
            <a:xfrm>
              <a:off x="7373929" y="2047859"/>
              <a:ext cx="14287" cy="57150"/>
            </a:xfrm>
            <a:custGeom>
              <a:avLst/>
              <a:gdLst>
                <a:gd name="T0" fmla="*/ 0 w 26"/>
                <a:gd name="T1" fmla="*/ 57150 h 36"/>
                <a:gd name="T2" fmla="*/ 1649 w 26"/>
                <a:gd name="T3" fmla="*/ 49213 h 36"/>
                <a:gd name="T4" fmla="*/ 5495 w 26"/>
                <a:gd name="T5" fmla="*/ 31750 h 36"/>
                <a:gd name="T6" fmla="*/ 9891 w 26"/>
                <a:gd name="T7" fmla="*/ 12700 h 36"/>
                <a:gd name="T8" fmla="*/ 14287 w 26"/>
                <a:gd name="T9" fmla="*/ 0 h 36"/>
                <a:gd name="T10" fmla="*/ 14287 w 26"/>
                <a:gd name="T11" fmla="*/ 14288 h 36"/>
                <a:gd name="T12" fmla="*/ 14287 w 26"/>
                <a:gd name="T13" fmla="*/ 28575 h 36"/>
                <a:gd name="T14" fmla="*/ 13738 w 26"/>
                <a:gd name="T15" fmla="*/ 34925 h 36"/>
                <a:gd name="T16" fmla="*/ 13188 w 26"/>
                <a:gd name="T17" fmla="*/ 41275 h 36"/>
                <a:gd name="T18" fmla="*/ 11540 w 26"/>
                <a:gd name="T19" fmla="*/ 46038 h 36"/>
                <a:gd name="T20" fmla="*/ 9342 w 26"/>
                <a:gd name="T21" fmla="*/ 50800 h 36"/>
                <a:gd name="T22" fmla="*/ 7693 w 26"/>
                <a:gd name="T23" fmla="*/ 53975 h 36"/>
                <a:gd name="T24" fmla="*/ 5495 w 26"/>
                <a:gd name="T25" fmla="*/ 55563 h 36"/>
                <a:gd name="T26" fmla="*/ 2198 w 26"/>
                <a:gd name="T27" fmla="*/ 57150 h 36"/>
                <a:gd name="T28" fmla="*/ 0 w 26"/>
                <a:gd name="T29" fmla="*/ 57150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6" name="Freeform 514">
              <a:extLst>
                <a:ext uri="{FF2B5EF4-FFF2-40B4-BE49-F238E27FC236}">
                  <a16:creationId xmlns:a16="http://schemas.microsoft.com/office/drawing/2014/main" id="{A8A06468-A8D4-4F57-8B3E-5C26704D357B}"/>
                </a:ext>
              </a:extLst>
            </p:cNvPr>
            <p:cNvSpPr>
              <a:spLocks/>
            </p:cNvSpPr>
            <p:nvPr>
              <p:custDataLst>
                <p:tags r:id="rId352"/>
              </p:custDataLst>
            </p:nvPr>
          </p:nvSpPr>
          <p:spPr bwMode="auto">
            <a:xfrm>
              <a:off x="7385041" y="2076433"/>
              <a:ext cx="3175" cy="60325"/>
            </a:xfrm>
            <a:custGeom>
              <a:avLst/>
              <a:gdLst>
                <a:gd name="T0" fmla="*/ 0 w 6"/>
                <a:gd name="T1" fmla="*/ 60325 h 37"/>
                <a:gd name="T2" fmla="*/ 0 w 6"/>
                <a:gd name="T3" fmla="*/ 0 h 37"/>
                <a:gd name="T4" fmla="*/ 3175 w 6"/>
                <a:gd name="T5" fmla="*/ 0 h 37"/>
                <a:gd name="T6" fmla="*/ 3175 w 6"/>
                <a:gd name="T7" fmla="*/ 50543 h 37"/>
                <a:gd name="T8" fmla="*/ 0 w 6"/>
                <a:gd name="T9" fmla="*/ 60325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7" name="Freeform 515">
              <a:extLst>
                <a:ext uri="{FF2B5EF4-FFF2-40B4-BE49-F238E27FC236}">
                  <a16:creationId xmlns:a16="http://schemas.microsoft.com/office/drawing/2014/main" id="{DE1A2F28-DA4A-4FCA-874E-D81C1DC13B81}"/>
                </a:ext>
              </a:extLst>
            </p:cNvPr>
            <p:cNvSpPr>
              <a:spLocks/>
            </p:cNvSpPr>
            <p:nvPr>
              <p:custDataLst>
                <p:tags r:id="rId353"/>
              </p:custDataLst>
            </p:nvPr>
          </p:nvSpPr>
          <p:spPr bwMode="auto">
            <a:xfrm>
              <a:off x="7372341" y="2158983"/>
              <a:ext cx="9525" cy="55562"/>
            </a:xfrm>
            <a:custGeom>
              <a:avLst/>
              <a:gdLst>
                <a:gd name="T0" fmla="*/ 0 w 20"/>
                <a:gd name="T1" fmla="*/ 40057 h 43"/>
                <a:gd name="T2" fmla="*/ 0 w 20"/>
                <a:gd name="T3" fmla="*/ 32304 h 43"/>
                <a:gd name="T4" fmla="*/ 0 w 20"/>
                <a:gd name="T5" fmla="*/ 23259 h 43"/>
                <a:gd name="T6" fmla="*/ 953 w 20"/>
                <a:gd name="T7" fmla="*/ 11629 h 43"/>
                <a:gd name="T8" fmla="*/ 3334 w 20"/>
                <a:gd name="T9" fmla="*/ 0 h 43"/>
                <a:gd name="T10" fmla="*/ 5239 w 20"/>
                <a:gd name="T11" fmla="*/ 9045 h 43"/>
                <a:gd name="T12" fmla="*/ 7620 w 20"/>
                <a:gd name="T13" fmla="*/ 15506 h 43"/>
                <a:gd name="T14" fmla="*/ 8096 w 20"/>
                <a:gd name="T15" fmla="*/ 18090 h 43"/>
                <a:gd name="T16" fmla="*/ 9049 w 20"/>
                <a:gd name="T17" fmla="*/ 23259 h 43"/>
                <a:gd name="T18" fmla="*/ 9049 w 20"/>
                <a:gd name="T19" fmla="*/ 27135 h 43"/>
                <a:gd name="T20" fmla="*/ 9525 w 20"/>
                <a:gd name="T21" fmla="*/ 32304 h 43"/>
                <a:gd name="T22" fmla="*/ 9049 w 20"/>
                <a:gd name="T23" fmla="*/ 34888 h 43"/>
                <a:gd name="T24" fmla="*/ 8573 w 20"/>
                <a:gd name="T25" fmla="*/ 38765 h 43"/>
                <a:gd name="T26" fmla="*/ 7620 w 20"/>
                <a:gd name="T27" fmla="*/ 42641 h 43"/>
                <a:gd name="T28" fmla="*/ 5715 w 20"/>
                <a:gd name="T29" fmla="*/ 46518 h 43"/>
                <a:gd name="T30" fmla="*/ 4286 w 20"/>
                <a:gd name="T31" fmla="*/ 50394 h 43"/>
                <a:gd name="T32" fmla="*/ 2858 w 20"/>
                <a:gd name="T33" fmla="*/ 52979 h 43"/>
                <a:gd name="T34" fmla="*/ 953 w 20"/>
                <a:gd name="T35" fmla="*/ 54271 h 43"/>
                <a:gd name="T36" fmla="*/ 0 w 20"/>
                <a:gd name="T37" fmla="*/ 55563 h 43"/>
                <a:gd name="T38" fmla="*/ 0 w 20"/>
                <a:gd name="T39" fmla="*/ 4005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8" name="Freeform 516">
              <a:extLst>
                <a:ext uri="{FF2B5EF4-FFF2-40B4-BE49-F238E27FC236}">
                  <a16:creationId xmlns:a16="http://schemas.microsoft.com/office/drawing/2014/main" id="{332AA8DF-E50E-410E-B2B2-0D0EDBE56FF3}"/>
                </a:ext>
              </a:extLst>
            </p:cNvPr>
            <p:cNvSpPr>
              <a:spLocks/>
            </p:cNvSpPr>
            <p:nvPr>
              <p:custDataLst>
                <p:tags r:id="rId354"/>
              </p:custDataLst>
            </p:nvPr>
          </p:nvSpPr>
          <p:spPr bwMode="auto">
            <a:xfrm>
              <a:off x="7350116" y="2193907"/>
              <a:ext cx="0" cy="58738"/>
            </a:xfrm>
            <a:custGeom>
              <a:avLst/>
              <a:gdLst>
                <a:gd name="T0" fmla="*/ 58738 h 30"/>
                <a:gd name="T1" fmla="*/ 48948 h 30"/>
                <a:gd name="T2" fmla="*/ 35243 h 30"/>
                <a:gd name="T3" fmla="*/ 17621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59" name="Freeform 517">
              <a:extLst>
                <a:ext uri="{FF2B5EF4-FFF2-40B4-BE49-F238E27FC236}">
                  <a16:creationId xmlns:a16="http://schemas.microsoft.com/office/drawing/2014/main" id="{AF907A9D-5879-4641-9DA8-172D20A9048E}"/>
                </a:ext>
              </a:extLst>
            </p:cNvPr>
            <p:cNvSpPr>
              <a:spLocks/>
            </p:cNvSpPr>
            <p:nvPr>
              <p:custDataLst>
                <p:tags r:id="rId355"/>
              </p:custDataLst>
            </p:nvPr>
          </p:nvSpPr>
          <p:spPr bwMode="auto">
            <a:xfrm>
              <a:off x="7350116" y="2193907"/>
              <a:ext cx="7938" cy="58738"/>
            </a:xfrm>
            <a:custGeom>
              <a:avLst/>
              <a:gdLst>
                <a:gd name="T0" fmla="*/ 0 w 20"/>
                <a:gd name="T1" fmla="*/ 0 h 24"/>
                <a:gd name="T2" fmla="*/ 7938 w 20"/>
                <a:gd name="T3" fmla="*/ 0 h 24"/>
                <a:gd name="T4" fmla="*/ 0 w 20"/>
                <a:gd name="T5" fmla="*/ 58738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0" name="Freeform 518">
              <a:extLst>
                <a:ext uri="{FF2B5EF4-FFF2-40B4-BE49-F238E27FC236}">
                  <a16:creationId xmlns:a16="http://schemas.microsoft.com/office/drawing/2014/main" id="{90395D6A-48E6-4D17-B243-A2CA5B1BB907}"/>
                </a:ext>
              </a:extLst>
            </p:cNvPr>
            <p:cNvSpPr>
              <a:spLocks/>
            </p:cNvSpPr>
            <p:nvPr>
              <p:custDataLst>
                <p:tags r:id="rId356"/>
              </p:custDataLst>
            </p:nvPr>
          </p:nvSpPr>
          <p:spPr bwMode="auto">
            <a:xfrm>
              <a:off x="7104054" y="1781161"/>
              <a:ext cx="17462" cy="60325"/>
            </a:xfrm>
            <a:custGeom>
              <a:avLst/>
              <a:gdLst>
                <a:gd name="T0" fmla="*/ 0 w 46"/>
                <a:gd name="T1" fmla="*/ 0 h 19"/>
                <a:gd name="T2" fmla="*/ 3416 w 46"/>
                <a:gd name="T3" fmla="*/ 9525 h 19"/>
                <a:gd name="T4" fmla="*/ 5315 w 46"/>
                <a:gd name="T5" fmla="*/ 15875 h 19"/>
                <a:gd name="T6" fmla="*/ 7213 w 46"/>
                <a:gd name="T7" fmla="*/ 25400 h 19"/>
                <a:gd name="T8" fmla="*/ 8731 w 46"/>
                <a:gd name="T9" fmla="*/ 31750 h 19"/>
                <a:gd name="T10" fmla="*/ 9870 w 46"/>
                <a:gd name="T11" fmla="*/ 38100 h 19"/>
                <a:gd name="T12" fmla="*/ 12147 w 46"/>
                <a:gd name="T13" fmla="*/ 44450 h 19"/>
                <a:gd name="T14" fmla="*/ 14046 w 46"/>
                <a:gd name="T15" fmla="*/ 53975 h 19"/>
                <a:gd name="T16" fmla="*/ 17462 w 46"/>
                <a:gd name="T17" fmla="*/ 60325 h 19"/>
                <a:gd name="T18" fmla="*/ 12527 w 46"/>
                <a:gd name="T19" fmla="*/ 60325 h 19"/>
                <a:gd name="T20" fmla="*/ 9111 w 46"/>
                <a:gd name="T21" fmla="*/ 60325 h 19"/>
                <a:gd name="T22" fmla="*/ 6833 w 46"/>
                <a:gd name="T23" fmla="*/ 57150 h 19"/>
                <a:gd name="T24" fmla="*/ 4935 w 46"/>
                <a:gd name="T25" fmla="*/ 53975 h 19"/>
                <a:gd name="T26" fmla="*/ 3796 w 46"/>
                <a:gd name="T27" fmla="*/ 44450 h 19"/>
                <a:gd name="T28" fmla="*/ 2657 w 46"/>
                <a:gd name="T29" fmla="*/ 34925 h 19"/>
                <a:gd name="T30" fmla="*/ 1518 w 46"/>
                <a:gd name="T31" fmla="*/ 22225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1" name="Freeform 519">
              <a:extLst>
                <a:ext uri="{FF2B5EF4-FFF2-40B4-BE49-F238E27FC236}">
                  <a16:creationId xmlns:a16="http://schemas.microsoft.com/office/drawing/2014/main" id="{B403FDE9-86C4-4D44-9F26-0FF90010E801}"/>
                </a:ext>
              </a:extLst>
            </p:cNvPr>
            <p:cNvSpPr>
              <a:spLocks/>
            </p:cNvSpPr>
            <p:nvPr>
              <p:custDataLst>
                <p:tags r:id="rId357"/>
              </p:custDataLst>
            </p:nvPr>
          </p:nvSpPr>
          <p:spPr bwMode="auto">
            <a:xfrm>
              <a:off x="4419595" y="1920860"/>
              <a:ext cx="47625" cy="58738"/>
            </a:xfrm>
            <a:custGeom>
              <a:avLst/>
              <a:gdLst>
                <a:gd name="T0" fmla="*/ 15716 w 100"/>
                <a:gd name="T1" fmla="*/ 0 h 55"/>
                <a:gd name="T2" fmla="*/ 47625 w 100"/>
                <a:gd name="T3" fmla="*/ 12816 h 55"/>
                <a:gd name="T4" fmla="*/ 47625 w 100"/>
                <a:gd name="T5" fmla="*/ 58738 h 55"/>
                <a:gd name="T6" fmla="*/ 6191 w 100"/>
                <a:gd name="T7" fmla="*/ 58738 h 55"/>
                <a:gd name="T8" fmla="*/ 0 w 100"/>
                <a:gd name="T9" fmla="*/ 45922 h 55"/>
                <a:gd name="T10" fmla="*/ 476 w 100"/>
                <a:gd name="T11" fmla="*/ 40583 h 55"/>
                <a:gd name="T12" fmla="*/ 1905 w 100"/>
                <a:gd name="T13" fmla="*/ 34175 h 55"/>
                <a:gd name="T14" fmla="*/ 4763 w 100"/>
                <a:gd name="T15" fmla="*/ 26699 h 55"/>
                <a:gd name="T16" fmla="*/ 7620 w 100"/>
                <a:gd name="T17" fmla="*/ 19223 h 55"/>
                <a:gd name="T18" fmla="*/ 12859 w 100"/>
                <a:gd name="T19" fmla="*/ 5340 h 55"/>
                <a:gd name="T20" fmla="*/ 15716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2" name="Freeform 520">
              <a:extLst>
                <a:ext uri="{FF2B5EF4-FFF2-40B4-BE49-F238E27FC236}">
                  <a16:creationId xmlns:a16="http://schemas.microsoft.com/office/drawing/2014/main" id="{4081B20B-EEC2-421A-AD9A-A6A49C0041F5}"/>
                </a:ext>
              </a:extLst>
            </p:cNvPr>
            <p:cNvSpPr>
              <a:spLocks/>
            </p:cNvSpPr>
            <p:nvPr>
              <p:custDataLst>
                <p:tags r:id="rId358"/>
              </p:custDataLst>
            </p:nvPr>
          </p:nvSpPr>
          <p:spPr bwMode="auto">
            <a:xfrm>
              <a:off x="4868857" y="1512876"/>
              <a:ext cx="42862" cy="58737"/>
            </a:xfrm>
            <a:custGeom>
              <a:avLst/>
              <a:gdLst>
                <a:gd name="T0" fmla="*/ 22946 w 99"/>
                <a:gd name="T1" fmla="*/ 2303 h 51"/>
                <a:gd name="T2" fmla="*/ 25111 w 99"/>
                <a:gd name="T3" fmla="*/ 1152 h 51"/>
                <a:gd name="T4" fmla="*/ 26843 w 99"/>
                <a:gd name="T5" fmla="*/ 0 h 51"/>
                <a:gd name="T6" fmla="*/ 28142 w 99"/>
                <a:gd name="T7" fmla="*/ 0 h 51"/>
                <a:gd name="T8" fmla="*/ 29874 w 99"/>
                <a:gd name="T9" fmla="*/ 1152 h 51"/>
                <a:gd name="T10" fmla="*/ 32038 w 99"/>
                <a:gd name="T11" fmla="*/ 5759 h 51"/>
                <a:gd name="T12" fmla="*/ 34203 w 99"/>
                <a:gd name="T13" fmla="*/ 12669 h 51"/>
                <a:gd name="T14" fmla="*/ 35935 w 99"/>
                <a:gd name="T15" fmla="*/ 20731 h 51"/>
                <a:gd name="T16" fmla="*/ 37667 w 99"/>
                <a:gd name="T17" fmla="*/ 28793 h 51"/>
                <a:gd name="T18" fmla="*/ 39398 w 99"/>
                <a:gd name="T19" fmla="*/ 32248 h 51"/>
                <a:gd name="T20" fmla="*/ 40264 w 99"/>
                <a:gd name="T21" fmla="*/ 34551 h 51"/>
                <a:gd name="T22" fmla="*/ 41563 w 99"/>
                <a:gd name="T23" fmla="*/ 36855 h 51"/>
                <a:gd name="T24" fmla="*/ 42862 w 99"/>
                <a:gd name="T25" fmla="*/ 39158 h 51"/>
                <a:gd name="T26" fmla="*/ 42862 w 99"/>
                <a:gd name="T27" fmla="*/ 42613 h 51"/>
                <a:gd name="T28" fmla="*/ 41996 w 99"/>
                <a:gd name="T29" fmla="*/ 46068 h 51"/>
                <a:gd name="T30" fmla="*/ 41130 w 99"/>
                <a:gd name="T31" fmla="*/ 49523 h 51"/>
                <a:gd name="T32" fmla="*/ 39398 w 99"/>
                <a:gd name="T33" fmla="*/ 51827 h 51"/>
                <a:gd name="T34" fmla="*/ 37234 w 99"/>
                <a:gd name="T35" fmla="*/ 54130 h 51"/>
                <a:gd name="T36" fmla="*/ 35069 w 99"/>
                <a:gd name="T37" fmla="*/ 55282 h 51"/>
                <a:gd name="T38" fmla="*/ 32038 w 99"/>
                <a:gd name="T39" fmla="*/ 57585 h 51"/>
                <a:gd name="T40" fmla="*/ 29441 w 99"/>
                <a:gd name="T41" fmla="*/ 57585 h 51"/>
                <a:gd name="T42" fmla="*/ 22513 w 99"/>
                <a:gd name="T43" fmla="*/ 58737 h 51"/>
                <a:gd name="T44" fmla="*/ 15586 w 99"/>
                <a:gd name="T45" fmla="*/ 56434 h 51"/>
                <a:gd name="T46" fmla="*/ 11690 w 99"/>
                <a:gd name="T47" fmla="*/ 55282 h 51"/>
                <a:gd name="T48" fmla="*/ 7793 w 99"/>
                <a:gd name="T49" fmla="*/ 51827 h 51"/>
                <a:gd name="T50" fmla="*/ 3897 w 99"/>
                <a:gd name="T51" fmla="*/ 49523 h 51"/>
                <a:gd name="T52" fmla="*/ 433 w 99"/>
                <a:gd name="T53" fmla="*/ 46068 h 51"/>
                <a:gd name="T54" fmla="*/ 0 w 99"/>
                <a:gd name="T55" fmla="*/ 44917 h 51"/>
                <a:gd name="T56" fmla="*/ 433 w 99"/>
                <a:gd name="T57" fmla="*/ 42613 h 51"/>
                <a:gd name="T58" fmla="*/ 1299 w 99"/>
                <a:gd name="T59" fmla="*/ 40310 h 51"/>
                <a:gd name="T60" fmla="*/ 2598 w 99"/>
                <a:gd name="T61" fmla="*/ 38006 h 51"/>
                <a:gd name="T62" fmla="*/ 6061 w 99"/>
                <a:gd name="T63" fmla="*/ 33399 h 51"/>
                <a:gd name="T64" fmla="*/ 10824 w 99"/>
                <a:gd name="T65" fmla="*/ 27641 h 51"/>
                <a:gd name="T66" fmla="*/ 15153 w 99"/>
                <a:gd name="T67" fmla="*/ 21882 h 51"/>
                <a:gd name="T68" fmla="*/ 19483 w 99"/>
                <a:gd name="T69" fmla="*/ 13820 h 51"/>
                <a:gd name="T70" fmla="*/ 20782 w 99"/>
                <a:gd name="T71" fmla="*/ 11517 h 51"/>
                <a:gd name="T72" fmla="*/ 22080 w 99"/>
                <a:gd name="T73" fmla="*/ 8062 h 51"/>
                <a:gd name="T74" fmla="*/ 22513 w 99"/>
                <a:gd name="T75" fmla="*/ 5759 h 51"/>
                <a:gd name="T76" fmla="*/ 22946 w 99"/>
                <a:gd name="T77" fmla="*/ 2303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3" name="Freeform 521">
              <a:extLst>
                <a:ext uri="{FF2B5EF4-FFF2-40B4-BE49-F238E27FC236}">
                  <a16:creationId xmlns:a16="http://schemas.microsoft.com/office/drawing/2014/main" id="{1C28DE31-67B6-4F58-A7AD-759A5DF59F29}"/>
                </a:ext>
              </a:extLst>
            </p:cNvPr>
            <p:cNvSpPr>
              <a:spLocks/>
            </p:cNvSpPr>
            <p:nvPr>
              <p:custDataLst>
                <p:tags r:id="rId359"/>
              </p:custDataLst>
            </p:nvPr>
          </p:nvSpPr>
          <p:spPr bwMode="auto">
            <a:xfrm>
              <a:off x="4903782" y="1325552"/>
              <a:ext cx="228599" cy="163511"/>
            </a:xfrm>
            <a:custGeom>
              <a:avLst/>
              <a:gdLst>
                <a:gd name="T0" fmla="*/ 137160 w 525"/>
                <a:gd name="T1" fmla="*/ 14196 h 311"/>
                <a:gd name="T2" fmla="*/ 148917 w 525"/>
                <a:gd name="T3" fmla="*/ 11041 h 311"/>
                <a:gd name="T4" fmla="*/ 167640 w 525"/>
                <a:gd name="T5" fmla="*/ 10515 h 311"/>
                <a:gd name="T6" fmla="*/ 177655 w 525"/>
                <a:gd name="T7" fmla="*/ 8938 h 311"/>
                <a:gd name="T8" fmla="*/ 185928 w 525"/>
                <a:gd name="T9" fmla="*/ 3680 h 311"/>
                <a:gd name="T10" fmla="*/ 223810 w 525"/>
                <a:gd name="T11" fmla="*/ 3155 h 311"/>
                <a:gd name="T12" fmla="*/ 228600 w 525"/>
                <a:gd name="T13" fmla="*/ 9989 h 311"/>
                <a:gd name="T14" fmla="*/ 203781 w 525"/>
                <a:gd name="T15" fmla="*/ 24711 h 311"/>
                <a:gd name="T16" fmla="*/ 170688 w 525"/>
                <a:gd name="T17" fmla="*/ 38381 h 311"/>
                <a:gd name="T18" fmla="*/ 155013 w 525"/>
                <a:gd name="T19" fmla="*/ 42061 h 311"/>
                <a:gd name="T20" fmla="*/ 139773 w 525"/>
                <a:gd name="T21" fmla="*/ 43638 h 311"/>
                <a:gd name="T22" fmla="*/ 121485 w 525"/>
                <a:gd name="T23" fmla="*/ 53102 h 311"/>
                <a:gd name="T24" fmla="*/ 106245 w 525"/>
                <a:gd name="T25" fmla="*/ 63617 h 311"/>
                <a:gd name="T26" fmla="*/ 94923 w 525"/>
                <a:gd name="T27" fmla="*/ 67823 h 311"/>
                <a:gd name="T28" fmla="*/ 81425 w 525"/>
                <a:gd name="T29" fmla="*/ 64669 h 311"/>
                <a:gd name="T30" fmla="*/ 77506 w 525"/>
                <a:gd name="T31" fmla="*/ 72029 h 311"/>
                <a:gd name="T32" fmla="*/ 76200 w 525"/>
                <a:gd name="T33" fmla="*/ 76235 h 311"/>
                <a:gd name="T34" fmla="*/ 80554 w 525"/>
                <a:gd name="T35" fmla="*/ 77813 h 311"/>
                <a:gd name="T36" fmla="*/ 80119 w 525"/>
                <a:gd name="T37" fmla="*/ 82545 h 311"/>
                <a:gd name="T38" fmla="*/ 76635 w 525"/>
                <a:gd name="T39" fmla="*/ 87802 h 311"/>
                <a:gd name="T40" fmla="*/ 78377 w 525"/>
                <a:gd name="T41" fmla="*/ 94111 h 311"/>
                <a:gd name="T42" fmla="*/ 70539 w 525"/>
                <a:gd name="T43" fmla="*/ 101998 h 311"/>
                <a:gd name="T44" fmla="*/ 62702 w 525"/>
                <a:gd name="T45" fmla="*/ 107255 h 311"/>
                <a:gd name="T46" fmla="*/ 61395 w 525"/>
                <a:gd name="T47" fmla="*/ 111987 h 311"/>
                <a:gd name="T48" fmla="*/ 62702 w 525"/>
                <a:gd name="T49" fmla="*/ 119874 h 311"/>
                <a:gd name="T50" fmla="*/ 70975 w 525"/>
                <a:gd name="T51" fmla="*/ 129863 h 311"/>
                <a:gd name="T52" fmla="*/ 83167 w 525"/>
                <a:gd name="T53" fmla="*/ 140378 h 311"/>
                <a:gd name="T54" fmla="*/ 111470 w 525"/>
                <a:gd name="T55" fmla="*/ 157729 h 311"/>
                <a:gd name="T56" fmla="*/ 105809 w 525"/>
                <a:gd name="T57" fmla="*/ 163512 h 311"/>
                <a:gd name="T58" fmla="*/ 82296 w 525"/>
                <a:gd name="T59" fmla="*/ 162460 h 311"/>
                <a:gd name="T60" fmla="*/ 63137 w 525"/>
                <a:gd name="T61" fmla="*/ 161935 h 311"/>
                <a:gd name="T62" fmla="*/ 56170 w 525"/>
                <a:gd name="T63" fmla="*/ 159832 h 311"/>
                <a:gd name="T64" fmla="*/ 53558 w 525"/>
                <a:gd name="T65" fmla="*/ 156677 h 311"/>
                <a:gd name="T66" fmla="*/ 52251 w 525"/>
                <a:gd name="T67" fmla="*/ 148265 h 311"/>
                <a:gd name="T68" fmla="*/ 50510 w 525"/>
                <a:gd name="T69" fmla="*/ 146162 h 311"/>
                <a:gd name="T70" fmla="*/ 41366 w 525"/>
                <a:gd name="T71" fmla="*/ 145636 h 311"/>
                <a:gd name="T72" fmla="*/ 34834 w 525"/>
                <a:gd name="T73" fmla="*/ 155626 h 311"/>
                <a:gd name="T74" fmla="*/ 19159 w 525"/>
                <a:gd name="T75" fmla="*/ 148265 h 311"/>
                <a:gd name="T76" fmla="*/ 0 w 525"/>
                <a:gd name="T77" fmla="*/ 129337 h 311"/>
                <a:gd name="T78" fmla="*/ 7838 w 525"/>
                <a:gd name="T79" fmla="*/ 125657 h 311"/>
                <a:gd name="T80" fmla="*/ 14805 w 525"/>
                <a:gd name="T81" fmla="*/ 116719 h 311"/>
                <a:gd name="T82" fmla="*/ 12192 w 525"/>
                <a:gd name="T83" fmla="*/ 111987 h 311"/>
                <a:gd name="T84" fmla="*/ 14805 w 525"/>
                <a:gd name="T85" fmla="*/ 105152 h 311"/>
                <a:gd name="T86" fmla="*/ 17417 w 525"/>
                <a:gd name="T87" fmla="*/ 98843 h 311"/>
                <a:gd name="T88" fmla="*/ 14805 w 525"/>
                <a:gd name="T89" fmla="*/ 94111 h 311"/>
                <a:gd name="T90" fmla="*/ 58347 w 525"/>
                <a:gd name="T91" fmla="*/ 94111 h 311"/>
                <a:gd name="T92" fmla="*/ 57041 w 525"/>
                <a:gd name="T93" fmla="*/ 93060 h 311"/>
                <a:gd name="T94" fmla="*/ 39189 w 525"/>
                <a:gd name="T95" fmla="*/ 87277 h 311"/>
                <a:gd name="T96" fmla="*/ 23513 w 525"/>
                <a:gd name="T97" fmla="*/ 77813 h 311"/>
                <a:gd name="T98" fmla="*/ 36576 w 525"/>
                <a:gd name="T99" fmla="*/ 70452 h 311"/>
                <a:gd name="T100" fmla="*/ 52251 w 525"/>
                <a:gd name="T101" fmla="*/ 58360 h 311"/>
                <a:gd name="T102" fmla="*/ 48333 w 525"/>
                <a:gd name="T103" fmla="*/ 54153 h 311"/>
                <a:gd name="T104" fmla="*/ 43543 w 525"/>
                <a:gd name="T105" fmla="*/ 42061 h 311"/>
                <a:gd name="T106" fmla="*/ 55299 w 525"/>
                <a:gd name="T107" fmla="*/ 39958 h 311"/>
                <a:gd name="T108" fmla="*/ 80119 w 525"/>
                <a:gd name="T109" fmla="*/ 30494 h 311"/>
                <a:gd name="T110" fmla="*/ 110599 w 525"/>
                <a:gd name="T111" fmla="*/ 18402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4" name="Freeform 522">
              <a:extLst>
                <a:ext uri="{FF2B5EF4-FFF2-40B4-BE49-F238E27FC236}">
                  <a16:creationId xmlns:a16="http://schemas.microsoft.com/office/drawing/2014/main" id="{2217BA31-6131-4839-896C-AF26092B6EF8}"/>
                </a:ext>
              </a:extLst>
            </p:cNvPr>
            <p:cNvSpPr>
              <a:spLocks/>
            </p:cNvSpPr>
            <p:nvPr>
              <p:custDataLst>
                <p:tags r:id="rId360"/>
              </p:custDataLst>
            </p:nvPr>
          </p:nvSpPr>
          <p:spPr bwMode="auto">
            <a:xfrm>
              <a:off x="4695820" y="1636700"/>
              <a:ext cx="31750" cy="55562"/>
            </a:xfrm>
            <a:custGeom>
              <a:avLst/>
              <a:gdLst>
                <a:gd name="T0" fmla="*/ 18487 w 79"/>
                <a:gd name="T1" fmla="*/ 0 h 38"/>
                <a:gd name="T2" fmla="*/ 21703 w 79"/>
                <a:gd name="T3" fmla="*/ 1462 h 38"/>
                <a:gd name="T4" fmla="*/ 24918 w 79"/>
                <a:gd name="T5" fmla="*/ 4386 h 38"/>
                <a:gd name="T6" fmla="*/ 27329 w 79"/>
                <a:gd name="T7" fmla="*/ 10235 h 38"/>
                <a:gd name="T8" fmla="*/ 28937 w 79"/>
                <a:gd name="T9" fmla="*/ 17546 h 38"/>
                <a:gd name="T10" fmla="*/ 30142 w 79"/>
                <a:gd name="T11" fmla="*/ 24857 h 38"/>
                <a:gd name="T12" fmla="*/ 30946 w 79"/>
                <a:gd name="T13" fmla="*/ 32167 h 38"/>
                <a:gd name="T14" fmla="*/ 31750 w 79"/>
                <a:gd name="T15" fmla="*/ 39478 h 38"/>
                <a:gd name="T16" fmla="*/ 31750 w 79"/>
                <a:gd name="T17" fmla="*/ 46789 h 38"/>
                <a:gd name="T18" fmla="*/ 30946 w 79"/>
                <a:gd name="T19" fmla="*/ 49713 h 38"/>
                <a:gd name="T20" fmla="*/ 30142 w 79"/>
                <a:gd name="T21" fmla="*/ 51176 h 38"/>
                <a:gd name="T22" fmla="*/ 28937 w 79"/>
                <a:gd name="T23" fmla="*/ 52638 h 38"/>
                <a:gd name="T24" fmla="*/ 27329 w 79"/>
                <a:gd name="T25" fmla="*/ 54100 h 38"/>
                <a:gd name="T26" fmla="*/ 22908 w 79"/>
                <a:gd name="T27" fmla="*/ 55562 h 38"/>
                <a:gd name="T28" fmla="*/ 18487 w 79"/>
                <a:gd name="T29" fmla="*/ 55562 h 38"/>
                <a:gd name="T30" fmla="*/ 15272 w 79"/>
                <a:gd name="T31" fmla="*/ 54100 h 38"/>
                <a:gd name="T32" fmla="*/ 12057 w 79"/>
                <a:gd name="T33" fmla="*/ 52638 h 38"/>
                <a:gd name="T34" fmla="*/ 8440 w 79"/>
                <a:gd name="T35" fmla="*/ 51176 h 38"/>
                <a:gd name="T36" fmla="*/ 6028 w 79"/>
                <a:gd name="T37" fmla="*/ 46789 h 38"/>
                <a:gd name="T38" fmla="*/ 3215 w 79"/>
                <a:gd name="T39" fmla="*/ 42403 h 38"/>
                <a:gd name="T40" fmla="*/ 1608 w 79"/>
                <a:gd name="T41" fmla="*/ 36554 h 38"/>
                <a:gd name="T42" fmla="*/ 804 w 79"/>
                <a:gd name="T43" fmla="*/ 32167 h 38"/>
                <a:gd name="T44" fmla="*/ 402 w 79"/>
                <a:gd name="T45" fmla="*/ 29243 h 38"/>
                <a:gd name="T46" fmla="*/ 0 w 79"/>
                <a:gd name="T47" fmla="*/ 24857 h 38"/>
                <a:gd name="T48" fmla="*/ 0 w 79"/>
                <a:gd name="T49" fmla="*/ 19008 h 38"/>
                <a:gd name="T50" fmla="*/ 402 w 79"/>
                <a:gd name="T51" fmla="*/ 16084 h 38"/>
                <a:gd name="T52" fmla="*/ 1608 w 79"/>
                <a:gd name="T53" fmla="*/ 13159 h 38"/>
                <a:gd name="T54" fmla="*/ 4019 w 79"/>
                <a:gd name="T55" fmla="*/ 8773 h 38"/>
                <a:gd name="T56" fmla="*/ 6832 w 79"/>
                <a:gd name="T57" fmla="*/ 5849 h 38"/>
                <a:gd name="T58" fmla="*/ 12861 w 79"/>
                <a:gd name="T59" fmla="*/ 1462 h 38"/>
                <a:gd name="T60" fmla="*/ 1848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5" name="Freeform 523">
              <a:extLst>
                <a:ext uri="{FF2B5EF4-FFF2-40B4-BE49-F238E27FC236}">
                  <a16:creationId xmlns:a16="http://schemas.microsoft.com/office/drawing/2014/main" id="{C589B940-54B8-4C57-9C6B-2DE441C98B5A}"/>
                </a:ext>
              </a:extLst>
            </p:cNvPr>
            <p:cNvSpPr>
              <a:spLocks/>
            </p:cNvSpPr>
            <p:nvPr>
              <p:custDataLst>
                <p:tags r:id="rId361"/>
              </p:custDataLst>
            </p:nvPr>
          </p:nvSpPr>
          <p:spPr bwMode="auto">
            <a:xfrm>
              <a:off x="7000867" y="1933560"/>
              <a:ext cx="196850" cy="268286"/>
            </a:xfrm>
            <a:custGeom>
              <a:avLst/>
              <a:gdLst>
                <a:gd name="T0" fmla="*/ 11151 w 459"/>
                <a:gd name="T1" fmla="*/ 23626 h 511"/>
                <a:gd name="T2" fmla="*/ 5146 w 459"/>
                <a:gd name="T3" fmla="*/ 13126 h 511"/>
                <a:gd name="T4" fmla="*/ 0 w 459"/>
                <a:gd name="T5" fmla="*/ 0 h 511"/>
                <a:gd name="T6" fmla="*/ 9435 w 459"/>
                <a:gd name="T7" fmla="*/ 3675 h 511"/>
                <a:gd name="T8" fmla="*/ 14153 w 459"/>
                <a:gd name="T9" fmla="*/ 3150 h 511"/>
                <a:gd name="T10" fmla="*/ 40742 w 459"/>
                <a:gd name="T11" fmla="*/ 35177 h 511"/>
                <a:gd name="T12" fmla="*/ 62615 w 459"/>
                <a:gd name="T13" fmla="*/ 64578 h 511"/>
                <a:gd name="T14" fmla="*/ 92635 w 459"/>
                <a:gd name="T15" fmla="*/ 103955 h 511"/>
                <a:gd name="T16" fmla="*/ 110648 w 459"/>
                <a:gd name="T17" fmla="*/ 124431 h 511"/>
                <a:gd name="T18" fmla="*/ 129947 w 459"/>
                <a:gd name="T19" fmla="*/ 139657 h 511"/>
                <a:gd name="T20" fmla="*/ 159539 w 459"/>
                <a:gd name="T21" fmla="*/ 163283 h 511"/>
                <a:gd name="T22" fmla="*/ 170689 w 459"/>
                <a:gd name="T23" fmla="*/ 176409 h 511"/>
                <a:gd name="T24" fmla="*/ 156536 w 459"/>
                <a:gd name="T25" fmla="*/ 168008 h 511"/>
                <a:gd name="T26" fmla="*/ 138953 w 459"/>
                <a:gd name="T27" fmla="*/ 155408 h 511"/>
                <a:gd name="T28" fmla="*/ 134664 w 459"/>
                <a:gd name="T29" fmla="*/ 156458 h 511"/>
                <a:gd name="T30" fmla="*/ 134235 w 459"/>
                <a:gd name="T31" fmla="*/ 163283 h 511"/>
                <a:gd name="T32" fmla="*/ 135951 w 459"/>
                <a:gd name="T33" fmla="*/ 176934 h 511"/>
                <a:gd name="T34" fmla="*/ 139811 w 459"/>
                <a:gd name="T35" fmla="*/ 187959 h 511"/>
                <a:gd name="T36" fmla="*/ 149246 w 459"/>
                <a:gd name="T37" fmla="*/ 203185 h 511"/>
                <a:gd name="T38" fmla="*/ 168974 w 459"/>
                <a:gd name="T39" fmla="*/ 221036 h 511"/>
                <a:gd name="T40" fmla="*/ 188702 w 459"/>
                <a:gd name="T41" fmla="*/ 240462 h 511"/>
                <a:gd name="T42" fmla="*/ 192132 w 459"/>
                <a:gd name="T43" fmla="*/ 249912 h 511"/>
                <a:gd name="T44" fmla="*/ 183555 w 459"/>
                <a:gd name="T45" fmla="*/ 246237 h 511"/>
                <a:gd name="T46" fmla="*/ 168116 w 459"/>
                <a:gd name="T47" fmla="*/ 242562 h 511"/>
                <a:gd name="T48" fmla="*/ 168545 w 459"/>
                <a:gd name="T49" fmla="*/ 259363 h 511"/>
                <a:gd name="T50" fmla="*/ 170689 w 459"/>
                <a:gd name="T51" fmla="*/ 268288 h 511"/>
                <a:gd name="T52" fmla="*/ 166400 w 459"/>
                <a:gd name="T53" fmla="*/ 258313 h 511"/>
                <a:gd name="T54" fmla="*/ 155679 w 459"/>
                <a:gd name="T55" fmla="*/ 244662 h 511"/>
                <a:gd name="T56" fmla="*/ 147101 w 459"/>
                <a:gd name="T57" fmla="*/ 233636 h 511"/>
                <a:gd name="T58" fmla="*/ 145386 w 459"/>
                <a:gd name="T59" fmla="*/ 226286 h 511"/>
                <a:gd name="T60" fmla="*/ 140668 w 459"/>
                <a:gd name="T61" fmla="*/ 215785 h 511"/>
                <a:gd name="T62" fmla="*/ 132949 w 459"/>
                <a:gd name="T63" fmla="*/ 201610 h 511"/>
                <a:gd name="T64" fmla="*/ 127802 w 459"/>
                <a:gd name="T65" fmla="*/ 192684 h 511"/>
                <a:gd name="T66" fmla="*/ 120083 w 459"/>
                <a:gd name="T67" fmla="*/ 187959 h 511"/>
                <a:gd name="T68" fmla="*/ 113221 w 459"/>
                <a:gd name="T69" fmla="*/ 180084 h 511"/>
                <a:gd name="T70" fmla="*/ 106788 w 459"/>
                <a:gd name="T71" fmla="*/ 164858 h 511"/>
                <a:gd name="T72" fmla="*/ 105072 w 459"/>
                <a:gd name="T73" fmla="*/ 153832 h 511"/>
                <a:gd name="T74" fmla="*/ 100355 w 459"/>
                <a:gd name="T75" fmla="*/ 147532 h 511"/>
                <a:gd name="T76" fmla="*/ 83200 w 459"/>
                <a:gd name="T77" fmla="*/ 128106 h 511"/>
                <a:gd name="T78" fmla="*/ 73336 w 459"/>
                <a:gd name="T79" fmla="*/ 115506 h 511"/>
                <a:gd name="T80" fmla="*/ 69905 w 459"/>
                <a:gd name="T81" fmla="*/ 106580 h 511"/>
                <a:gd name="T82" fmla="*/ 66046 w 459"/>
                <a:gd name="T83" fmla="*/ 98180 h 511"/>
                <a:gd name="T84" fmla="*/ 49320 w 459"/>
                <a:gd name="T85" fmla="*/ 81379 h 511"/>
                <a:gd name="T86" fmla="*/ 30021 w 459"/>
                <a:gd name="T87" fmla="*/ 68253 h 511"/>
                <a:gd name="T88" fmla="*/ 20157 w 459"/>
                <a:gd name="T89" fmla="*/ 57753 h 511"/>
                <a:gd name="T90" fmla="*/ 16297 w 459"/>
                <a:gd name="T91" fmla="*/ 48827 h 511"/>
                <a:gd name="T92" fmla="*/ 14581 w 459"/>
                <a:gd name="T93" fmla="*/ 3937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366" name="Group 524">
              <a:extLst>
                <a:ext uri="{FF2B5EF4-FFF2-40B4-BE49-F238E27FC236}">
                  <a16:creationId xmlns:a16="http://schemas.microsoft.com/office/drawing/2014/main" id="{CA3F55C7-B8F5-4CB7-9390-8BE533F9F895}"/>
                </a:ext>
              </a:extLst>
            </p:cNvPr>
            <p:cNvGrpSpPr>
              <a:grpSpLocks/>
            </p:cNvGrpSpPr>
            <p:nvPr>
              <p:custDataLst>
                <p:tags r:id="rId362"/>
              </p:custDataLst>
            </p:nvPr>
          </p:nvGrpSpPr>
          <p:grpSpPr bwMode="auto">
            <a:xfrm>
              <a:off x="5791193" y="1889110"/>
              <a:ext cx="671512" cy="384172"/>
              <a:chOff x="4115" y="1551"/>
              <a:chExt cx="504" cy="244"/>
            </a:xfrm>
          </p:grpSpPr>
          <p:sp>
            <p:nvSpPr>
              <p:cNvPr id="391" name="Freeform 525">
                <a:extLst>
                  <a:ext uri="{FF2B5EF4-FFF2-40B4-BE49-F238E27FC236}">
                    <a16:creationId xmlns:a16="http://schemas.microsoft.com/office/drawing/2014/main" id="{3A4ED6CF-3DB2-4364-B8FA-5C0F700FC6B6}"/>
                  </a:ext>
                </a:extLst>
              </p:cNvPr>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2" name="Freeform 526">
                <a:extLst>
                  <a:ext uri="{FF2B5EF4-FFF2-40B4-BE49-F238E27FC236}">
                    <a16:creationId xmlns:a16="http://schemas.microsoft.com/office/drawing/2014/main" id="{3B0D63DD-6379-4542-8C78-7AD50426143E}"/>
                  </a:ext>
                </a:extLst>
              </p:cNvPr>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367" name="Freeform 527">
              <a:extLst>
                <a:ext uri="{FF2B5EF4-FFF2-40B4-BE49-F238E27FC236}">
                  <a16:creationId xmlns:a16="http://schemas.microsoft.com/office/drawing/2014/main" id="{81985038-01FE-42C2-A9A0-EF3498E6AE64}"/>
                </a:ext>
              </a:extLst>
            </p:cNvPr>
            <p:cNvSpPr>
              <a:spLocks/>
            </p:cNvSpPr>
            <p:nvPr>
              <p:custDataLst>
                <p:tags r:id="rId363"/>
              </p:custDataLst>
            </p:nvPr>
          </p:nvSpPr>
          <p:spPr bwMode="auto">
            <a:xfrm>
              <a:off x="4848219" y="2638404"/>
              <a:ext cx="530224" cy="511171"/>
            </a:xfrm>
            <a:custGeom>
              <a:avLst/>
              <a:gdLst>
                <a:gd name="T0" fmla="*/ 402746 w 1227"/>
                <a:gd name="T1" fmla="*/ 243317 h 979"/>
                <a:gd name="T2" fmla="*/ 402746 w 1227"/>
                <a:gd name="T3" fmla="*/ 230786 h 979"/>
                <a:gd name="T4" fmla="*/ 401882 w 1227"/>
                <a:gd name="T5" fmla="*/ 215122 h 979"/>
                <a:gd name="T6" fmla="*/ 392375 w 1227"/>
                <a:gd name="T7" fmla="*/ 201024 h 979"/>
                <a:gd name="T8" fmla="*/ 388486 w 1227"/>
                <a:gd name="T9" fmla="*/ 191625 h 979"/>
                <a:gd name="T10" fmla="*/ 353051 w 1227"/>
                <a:gd name="T11" fmla="*/ 162908 h 979"/>
                <a:gd name="T12" fmla="*/ 327988 w 1227"/>
                <a:gd name="T13" fmla="*/ 137323 h 979"/>
                <a:gd name="T14" fmla="*/ 324963 w 1227"/>
                <a:gd name="T15" fmla="*/ 119570 h 979"/>
                <a:gd name="T16" fmla="*/ 313727 w 1227"/>
                <a:gd name="T17" fmla="*/ 113827 h 979"/>
                <a:gd name="T18" fmla="*/ 300331 w 1227"/>
                <a:gd name="T19" fmla="*/ 108083 h 979"/>
                <a:gd name="T20" fmla="*/ 275700 w 1227"/>
                <a:gd name="T21" fmla="*/ 102339 h 979"/>
                <a:gd name="T22" fmla="*/ 257550 w 1227"/>
                <a:gd name="T23" fmla="*/ 104950 h 979"/>
                <a:gd name="T24" fmla="*/ 246315 w 1227"/>
                <a:gd name="T25" fmla="*/ 106517 h 979"/>
                <a:gd name="T26" fmla="*/ 229030 w 1227"/>
                <a:gd name="T27" fmla="*/ 101817 h 979"/>
                <a:gd name="T28" fmla="*/ 218226 w 1227"/>
                <a:gd name="T29" fmla="*/ 93463 h 979"/>
                <a:gd name="T30" fmla="*/ 208719 w 1227"/>
                <a:gd name="T31" fmla="*/ 66834 h 979"/>
                <a:gd name="T32" fmla="*/ 200941 w 1227"/>
                <a:gd name="T33" fmla="*/ 53780 h 979"/>
                <a:gd name="T34" fmla="*/ 186681 w 1227"/>
                <a:gd name="T35" fmla="*/ 42293 h 979"/>
                <a:gd name="T36" fmla="*/ 157728 w 1227"/>
                <a:gd name="T37" fmla="*/ 31851 h 979"/>
                <a:gd name="T38" fmla="*/ 130936 w 1227"/>
                <a:gd name="T39" fmla="*/ 16708 h 979"/>
                <a:gd name="T40" fmla="*/ 92476 w 1227"/>
                <a:gd name="T41" fmla="*/ 5221 h 979"/>
                <a:gd name="T42" fmla="*/ 71734 w 1227"/>
                <a:gd name="T43" fmla="*/ 19841 h 979"/>
                <a:gd name="T44" fmla="*/ 65252 w 1227"/>
                <a:gd name="T45" fmla="*/ 31851 h 979"/>
                <a:gd name="T46" fmla="*/ 66116 w 1227"/>
                <a:gd name="T47" fmla="*/ 46993 h 979"/>
                <a:gd name="T48" fmla="*/ 73030 w 1227"/>
                <a:gd name="T49" fmla="*/ 61613 h 979"/>
                <a:gd name="T50" fmla="*/ 65252 w 1227"/>
                <a:gd name="T51" fmla="*/ 78321 h 979"/>
                <a:gd name="T52" fmla="*/ 41052 w 1227"/>
                <a:gd name="T53" fmla="*/ 97118 h 979"/>
                <a:gd name="T54" fmla="*/ 23335 w 1227"/>
                <a:gd name="T55" fmla="*/ 99207 h 979"/>
                <a:gd name="T56" fmla="*/ 3889 w 1227"/>
                <a:gd name="T57" fmla="*/ 95552 h 979"/>
                <a:gd name="T58" fmla="*/ 0 w 1227"/>
                <a:gd name="T59" fmla="*/ 123225 h 979"/>
                <a:gd name="T60" fmla="*/ 3889 w 1227"/>
                <a:gd name="T61" fmla="*/ 140456 h 979"/>
                <a:gd name="T62" fmla="*/ 10803 w 1227"/>
                <a:gd name="T63" fmla="*/ 147243 h 979"/>
                <a:gd name="T64" fmla="*/ 17285 w 1227"/>
                <a:gd name="T65" fmla="*/ 160297 h 979"/>
                <a:gd name="T66" fmla="*/ 35867 w 1227"/>
                <a:gd name="T67" fmla="*/ 190059 h 979"/>
                <a:gd name="T68" fmla="*/ 44077 w 1227"/>
                <a:gd name="T69" fmla="*/ 216166 h 979"/>
                <a:gd name="T70" fmla="*/ 52288 w 1227"/>
                <a:gd name="T71" fmla="*/ 222954 h 979"/>
                <a:gd name="T72" fmla="*/ 57473 w 1227"/>
                <a:gd name="T73" fmla="*/ 228697 h 979"/>
                <a:gd name="T74" fmla="*/ 63955 w 1227"/>
                <a:gd name="T75" fmla="*/ 244884 h 979"/>
                <a:gd name="T76" fmla="*/ 96797 w 1227"/>
                <a:gd name="T77" fmla="*/ 285088 h 979"/>
                <a:gd name="T78" fmla="*/ 107601 w 1227"/>
                <a:gd name="T79" fmla="*/ 305452 h 979"/>
                <a:gd name="T80" fmla="*/ 110626 w 1227"/>
                <a:gd name="T81" fmla="*/ 325815 h 979"/>
                <a:gd name="T82" fmla="*/ 114947 w 1227"/>
                <a:gd name="T83" fmla="*/ 344090 h 979"/>
                <a:gd name="T84" fmla="*/ 129207 w 1227"/>
                <a:gd name="T85" fmla="*/ 366020 h 979"/>
                <a:gd name="T86" fmla="*/ 155999 w 1227"/>
                <a:gd name="T87" fmla="*/ 397348 h 979"/>
                <a:gd name="T88" fmla="*/ 167667 w 1227"/>
                <a:gd name="T89" fmla="*/ 425022 h 979"/>
                <a:gd name="T90" fmla="*/ 183656 w 1227"/>
                <a:gd name="T91" fmla="*/ 452695 h 979"/>
                <a:gd name="T92" fmla="*/ 208719 w 1227"/>
                <a:gd name="T93" fmla="*/ 489767 h 979"/>
                <a:gd name="T94" fmla="*/ 228165 w 1227"/>
                <a:gd name="T95" fmla="*/ 511175 h 979"/>
                <a:gd name="T96" fmla="*/ 234647 w 1227"/>
                <a:gd name="T97" fmla="*/ 497599 h 979"/>
                <a:gd name="T98" fmla="*/ 235944 w 1227"/>
                <a:gd name="T99" fmla="*/ 474625 h 979"/>
                <a:gd name="T100" fmla="*/ 246315 w 1227"/>
                <a:gd name="T101" fmla="*/ 467837 h 979"/>
                <a:gd name="T102" fmla="*/ 261439 w 1227"/>
                <a:gd name="T103" fmla="*/ 467315 h 979"/>
                <a:gd name="T104" fmla="*/ 285207 w 1227"/>
                <a:gd name="T105" fmla="*/ 474625 h 979"/>
                <a:gd name="T106" fmla="*/ 305949 w 1227"/>
                <a:gd name="T107" fmla="*/ 492378 h 979"/>
                <a:gd name="T108" fmla="*/ 340087 w 1227"/>
                <a:gd name="T109" fmla="*/ 437553 h 979"/>
                <a:gd name="T110" fmla="*/ 518125 w 1227"/>
                <a:gd name="T111" fmla="*/ 296053 h 979"/>
                <a:gd name="T112" fmla="*/ 406203 w 1227"/>
                <a:gd name="T113" fmla="*/ 244361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8" name="Freeform 528">
              <a:extLst>
                <a:ext uri="{FF2B5EF4-FFF2-40B4-BE49-F238E27FC236}">
                  <a16:creationId xmlns:a16="http://schemas.microsoft.com/office/drawing/2014/main" id="{C04BEA4C-A281-4732-893C-CF220C49F08E}"/>
                </a:ext>
              </a:extLst>
            </p:cNvPr>
            <p:cNvSpPr>
              <a:spLocks/>
            </p:cNvSpPr>
            <p:nvPr>
              <p:custDataLst>
                <p:tags r:id="rId364"/>
              </p:custDataLst>
            </p:nvPr>
          </p:nvSpPr>
          <p:spPr bwMode="auto">
            <a:xfrm>
              <a:off x="4322758" y="2182795"/>
              <a:ext cx="57150" cy="57150"/>
            </a:xfrm>
            <a:custGeom>
              <a:avLst/>
              <a:gdLst>
                <a:gd name="T0" fmla="*/ 57150 w 146"/>
                <a:gd name="T1" fmla="*/ 12700 h 81"/>
                <a:gd name="T2" fmla="*/ 54018 w 146"/>
                <a:gd name="T3" fmla="*/ 16933 h 81"/>
                <a:gd name="T4" fmla="*/ 50887 w 146"/>
                <a:gd name="T5" fmla="*/ 20461 h 81"/>
                <a:gd name="T6" fmla="*/ 48147 w 146"/>
                <a:gd name="T7" fmla="*/ 24694 h 81"/>
                <a:gd name="T8" fmla="*/ 46190 w 146"/>
                <a:gd name="T9" fmla="*/ 28928 h 81"/>
                <a:gd name="T10" fmla="*/ 42275 w 146"/>
                <a:gd name="T11" fmla="*/ 37394 h 81"/>
                <a:gd name="T12" fmla="*/ 38361 w 146"/>
                <a:gd name="T13" fmla="*/ 45156 h 81"/>
                <a:gd name="T14" fmla="*/ 36404 w 146"/>
                <a:gd name="T15" fmla="*/ 48683 h 81"/>
                <a:gd name="T16" fmla="*/ 33272 w 146"/>
                <a:gd name="T17" fmla="*/ 51506 h 81"/>
                <a:gd name="T18" fmla="*/ 29749 w 146"/>
                <a:gd name="T19" fmla="*/ 54328 h 81"/>
                <a:gd name="T20" fmla="*/ 25835 w 146"/>
                <a:gd name="T21" fmla="*/ 56444 h 81"/>
                <a:gd name="T22" fmla="*/ 20746 w 146"/>
                <a:gd name="T23" fmla="*/ 57150 h 81"/>
                <a:gd name="T24" fmla="*/ 15266 w 146"/>
                <a:gd name="T25" fmla="*/ 56444 h 81"/>
                <a:gd name="T26" fmla="*/ 8220 w 146"/>
                <a:gd name="T27" fmla="*/ 54328 h 81"/>
                <a:gd name="T28" fmla="*/ 0 w 146"/>
                <a:gd name="T29" fmla="*/ 52211 h 81"/>
                <a:gd name="T30" fmla="*/ 0 w 146"/>
                <a:gd name="T31" fmla="*/ 43744 h 81"/>
                <a:gd name="T32" fmla="*/ 0 w 146"/>
                <a:gd name="T33" fmla="*/ 34572 h 81"/>
                <a:gd name="T34" fmla="*/ 0 w 146"/>
                <a:gd name="T35" fmla="*/ 23989 h 81"/>
                <a:gd name="T36" fmla="*/ 0 w 146"/>
                <a:gd name="T37" fmla="*/ 12700 h 81"/>
                <a:gd name="T38" fmla="*/ 5480 w 146"/>
                <a:gd name="T39" fmla="*/ 12700 h 81"/>
                <a:gd name="T40" fmla="*/ 8612 w 146"/>
                <a:gd name="T41" fmla="*/ 12700 h 81"/>
                <a:gd name="T42" fmla="*/ 12135 w 146"/>
                <a:gd name="T43" fmla="*/ 12700 h 81"/>
                <a:gd name="T44" fmla="*/ 15658 w 146"/>
                <a:gd name="T45" fmla="*/ 12700 h 81"/>
                <a:gd name="T46" fmla="*/ 20355 w 146"/>
                <a:gd name="T47" fmla="*/ 12700 h 81"/>
                <a:gd name="T48" fmla="*/ 24661 w 146"/>
                <a:gd name="T49" fmla="*/ 11289 h 81"/>
                <a:gd name="T50" fmla="*/ 28575 w 146"/>
                <a:gd name="T51" fmla="*/ 9878 h 81"/>
                <a:gd name="T52" fmla="*/ 32489 w 146"/>
                <a:gd name="T53" fmla="*/ 7761 h 81"/>
                <a:gd name="T54" fmla="*/ 39535 w 146"/>
                <a:gd name="T55" fmla="*/ 3528 h 81"/>
                <a:gd name="T56" fmla="*/ 46973 w 146"/>
                <a:gd name="T57" fmla="*/ 0 h 81"/>
                <a:gd name="T58" fmla="*/ 50496 w 146"/>
                <a:gd name="T59" fmla="*/ 2822 h 81"/>
                <a:gd name="T60" fmla="*/ 52844 w 146"/>
                <a:gd name="T61" fmla="*/ 6350 h 81"/>
                <a:gd name="T62" fmla="*/ 55193 w 146"/>
                <a:gd name="T63" fmla="*/ 9878 h 81"/>
                <a:gd name="T64" fmla="*/ 57150 w 146"/>
                <a:gd name="T65" fmla="*/ 12700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69" name="Freeform 529">
              <a:extLst>
                <a:ext uri="{FF2B5EF4-FFF2-40B4-BE49-F238E27FC236}">
                  <a16:creationId xmlns:a16="http://schemas.microsoft.com/office/drawing/2014/main" id="{4977F83B-28F1-4D10-80DC-E08DC078685D}"/>
                </a:ext>
              </a:extLst>
            </p:cNvPr>
            <p:cNvSpPr>
              <a:spLocks/>
            </p:cNvSpPr>
            <p:nvPr>
              <p:custDataLst>
                <p:tags r:id="rId365"/>
              </p:custDataLst>
            </p:nvPr>
          </p:nvSpPr>
          <p:spPr bwMode="auto">
            <a:xfrm>
              <a:off x="4062408" y="2395518"/>
              <a:ext cx="15875" cy="57150"/>
            </a:xfrm>
            <a:custGeom>
              <a:avLst/>
              <a:gdLst>
                <a:gd name="T0" fmla="*/ 15875 w 34"/>
                <a:gd name="T1" fmla="*/ 57150 h 49"/>
                <a:gd name="T2" fmla="*/ 15875 w 34"/>
                <a:gd name="T3" fmla="*/ 39655 h 49"/>
                <a:gd name="T4" fmla="*/ 15875 w 34"/>
                <a:gd name="T5" fmla="*/ 29158 h 49"/>
                <a:gd name="T6" fmla="*/ 15408 w 34"/>
                <a:gd name="T7" fmla="*/ 24493 h 49"/>
                <a:gd name="T8" fmla="*/ 15408 w 34"/>
                <a:gd name="T9" fmla="*/ 19828 h 49"/>
                <a:gd name="T10" fmla="*/ 14474 w 34"/>
                <a:gd name="T11" fmla="*/ 17495 h 49"/>
                <a:gd name="T12" fmla="*/ 14007 w 34"/>
                <a:gd name="T13" fmla="*/ 13996 h 49"/>
                <a:gd name="T14" fmla="*/ 11673 w 34"/>
                <a:gd name="T15" fmla="*/ 9331 h 49"/>
                <a:gd name="T16" fmla="*/ 9805 w 34"/>
                <a:gd name="T17" fmla="*/ 0 h 49"/>
                <a:gd name="T18" fmla="*/ 3735 w 34"/>
                <a:gd name="T19" fmla="*/ 0 h 49"/>
                <a:gd name="T20" fmla="*/ 0 w 34"/>
                <a:gd name="T21" fmla="*/ 0 h 49"/>
                <a:gd name="T22" fmla="*/ 1401 w 34"/>
                <a:gd name="T23" fmla="*/ 12830 h 49"/>
                <a:gd name="T24" fmla="*/ 3268 w 34"/>
                <a:gd name="T25" fmla="*/ 23327 h 49"/>
                <a:gd name="T26" fmla="*/ 4669 w 34"/>
                <a:gd name="T27" fmla="*/ 31491 h 49"/>
                <a:gd name="T28" fmla="*/ 6537 w 34"/>
                <a:gd name="T29" fmla="*/ 39655 h 49"/>
                <a:gd name="T30" fmla="*/ 8871 w 34"/>
                <a:gd name="T31" fmla="*/ 45487 h 49"/>
                <a:gd name="T32" fmla="*/ 11206 w 34"/>
                <a:gd name="T33" fmla="*/ 50152 h 49"/>
                <a:gd name="T34" fmla="*/ 13540 w 34"/>
                <a:gd name="T35" fmla="*/ 53651 h 49"/>
                <a:gd name="T36" fmla="*/ 15875 w 34"/>
                <a:gd name="T37" fmla="*/ 57150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0" name="Freeform 530">
              <a:extLst>
                <a:ext uri="{FF2B5EF4-FFF2-40B4-BE49-F238E27FC236}">
                  <a16:creationId xmlns:a16="http://schemas.microsoft.com/office/drawing/2014/main" id="{8CC8D4BB-BCC6-4802-A6DD-B2C458D608B1}"/>
                </a:ext>
              </a:extLst>
            </p:cNvPr>
            <p:cNvSpPr>
              <a:spLocks/>
            </p:cNvSpPr>
            <p:nvPr>
              <p:custDataLst>
                <p:tags r:id="rId366"/>
              </p:custDataLst>
            </p:nvPr>
          </p:nvSpPr>
          <p:spPr bwMode="auto">
            <a:xfrm>
              <a:off x="3654421" y="2741591"/>
              <a:ext cx="28575" cy="57150"/>
            </a:xfrm>
            <a:custGeom>
              <a:avLst/>
              <a:gdLst>
                <a:gd name="T0" fmla="*/ 28575 w 60"/>
                <a:gd name="T1" fmla="*/ 0 h 74"/>
                <a:gd name="T2" fmla="*/ 26670 w 60"/>
                <a:gd name="T3" fmla="*/ 3089 h 74"/>
                <a:gd name="T4" fmla="*/ 24289 w 60"/>
                <a:gd name="T5" fmla="*/ 7723 h 74"/>
                <a:gd name="T6" fmla="*/ 22860 w 60"/>
                <a:gd name="T7" fmla="*/ 11584 h 74"/>
                <a:gd name="T8" fmla="*/ 21908 w 60"/>
                <a:gd name="T9" fmla="*/ 16218 h 74"/>
                <a:gd name="T10" fmla="*/ 19526 w 60"/>
                <a:gd name="T11" fmla="*/ 23941 h 74"/>
                <a:gd name="T12" fmla="*/ 17621 w 60"/>
                <a:gd name="T13" fmla="*/ 32436 h 74"/>
                <a:gd name="T14" fmla="*/ 16669 w 60"/>
                <a:gd name="T15" fmla="*/ 36298 h 74"/>
                <a:gd name="T16" fmla="*/ 15240 w 60"/>
                <a:gd name="T17" fmla="*/ 39387 h 74"/>
                <a:gd name="T18" fmla="*/ 13811 w 60"/>
                <a:gd name="T19" fmla="*/ 43249 h 74"/>
                <a:gd name="T20" fmla="*/ 11906 w 60"/>
                <a:gd name="T21" fmla="*/ 46338 h 74"/>
                <a:gd name="T22" fmla="*/ 9525 w 60"/>
                <a:gd name="T23" fmla="*/ 50199 h 74"/>
                <a:gd name="T24" fmla="*/ 7144 w 60"/>
                <a:gd name="T25" fmla="*/ 53289 h 74"/>
                <a:gd name="T26" fmla="*/ 3810 w 60"/>
                <a:gd name="T27" fmla="*/ 55605 h 74"/>
                <a:gd name="T28" fmla="*/ 0 w 60"/>
                <a:gd name="T29" fmla="*/ 57150 h 74"/>
                <a:gd name="T30" fmla="*/ 2381 w 60"/>
                <a:gd name="T31" fmla="*/ 46338 h 74"/>
                <a:gd name="T32" fmla="*/ 5715 w 60"/>
                <a:gd name="T33" fmla="*/ 36298 h 74"/>
                <a:gd name="T34" fmla="*/ 9049 w 60"/>
                <a:gd name="T35" fmla="*/ 26258 h 74"/>
                <a:gd name="T36" fmla="*/ 12859 w 60"/>
                <a:gd name="T37" fmla="*/ 17763 h 74"/>
                <a:gd name="T38" fmla="*/ 17145 w 60"/>
                <a:gd name="T39" fmla="*/ 10812 h 74"/>
                <a:gd name="T40" fmla="*/ 20479 w 60"/>
                <a:gd name="T41" fmla="*/ 4634 h 74"/>
                <a:gd name="T42" fmla="*/ 22860 w 60"/>
                <a:gd name="T43" fmla="*/ 2317 h 74"/>
                <a:gd name="T44" fmla="*/ 24765 w 60"/>
                <a:gd name="T45" fmla="*/ 772 h 74"/>
                <a:gd name="T46" fmla="*/ 26670 w 60"/>
                <a:gd name="T47" fmla="*/ 0 h 74"/>
                <a:gd name="T48" fmla="*/ 28575 w 60"/>
                <a:gd name="T49" fmla="*/ 0 h 7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0" h="74">
                  <a:moveTo>
                    <a:pt x="60" y="0"/>
                  </a:moveTo>
                  <a:lnTo>
                    <a:pt x="56" y="4"/>
                  </a:lnTo>
                  <a:lnTo>
                    <a:pt x="51" y="10"/>
                  </a:lnTo>
                  <a:lnTo>
                    <a:pt x="48" y="15"/>
                  </a:lnTo>
                  <a:lnTo>
                    <a:pt x="46" y="21"/>
                  </a:lnTo>
                  <a:lnTo>
                    <a:pt x="41" y="31"/>
                  </a:lnTo>
                  <a:lnTo>
                    <a:pt x="37" y="42"/>
                  </a:lnTo>
                  <a:lnTo>
                    <a:pt x="35" y="47"/>
                  </a:lnTo>
                  <a:lnTo>
                    <a:pt x="32" y="51"/>
                  </a:lnTo>
                  <a:lnTo>
                    <a:pt x="29" y="56"/>
                  </a:lnTo>
                  <a:lnTo>
                    <a:pt x="25" y="60"/>
                  </a:lnTo>
                  <a:lnTo>
                    <a:pt x="20" y="65"/>
                  </a:lnTo>
                  <a:lnTo>
                    <a:pt x="15" y="69"/>
                  </a:lnTo>
                  <a:lnTo>
                    <a:pt x="8" y="72"/>
                  </a:lnTo>
                  <a:lnTo>
                    <a:pt x="0" y="74"/>
                  </a:lnTo>
                  <a:lnTo>
                    <a:pt x="5" y="60"/>
                  </a:lnTo>
                  <a:lnTo>
                    <a:pt x="12" y="47"/>
                  </a:lnTo>
                  <a:lnTo>
                    <a:pt x="19" y="34"/>
                  </a:lnTo>
                  <a:lnTo>
                    <a:pt x="27" y="23"/>
                  </a:lnTo>
                  <a:lnTo>
                    <a:pt x="36" y="14"/>
                  </a:lnTo>
                  <a:lnTo>
                    <a:pt x="43" y="6"/>
                  </a:lnTo>
                  <a:lnTo>
                    <a:pt x="48" y="3"/>
                  </a:lnTo>
                  <a:lnTo>
                    <a:pt x="52" y="1"/>
                  </a:lnTo>
                  <a:lnTo>
                    <a:pt x="56" y="0"/>
                  </a:lnTo>
                  <a:lnTo>
                    <a:pt x="6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1" name="Freeform 531">
              <a:extLst>
                <a:ext uri="{FF2B5EF4-FFF2-40B4-BE49-F238E27FC236}">
                  <a16:creationId xmlns:a16="http://schemas.microsoft.com/office/drawing/2014/main" id="{6A67377B-17E9-4C60-A754-52EE4EED19AB}"/>
                </a:ext>
              </a:extLst>
            </p:cNvPr>
            <p:cNvSpPr>
              <a:spLocks/>
            </p:cNvSpPr>
            <p:nvPr>
              <p:custDataLst>
                <p:tags r:id="rId367"/>
              </p:custDataLst>
            </p:nvPr>
          </p:nvSpPr>
          <p:spPr bwMode="auto">
            <a:xfrm>
              <a:off x="3595684" y="2757466"/>
              <a:ext cx="23812" cy="60325"/>
            </a:xfrm>
            <a:custGeom>
              <a:avLst/>
              <a:gdLst>
                <a:gd name="T0" fmla="*/ 6586 w 47"/>
                <a:gd name="T1" fmla="*/ 10724 h 45"/>
                <a:gd name="T2" fmla="*/ 11146 w 47"/>
                <a:gd name="T3" fmla="*/ 10724 h 45"/>
                <a:gd name="T4" fmla="*/ 14186 w 47"/>
                <a:gd name="T5" fmla="*/ 8043 h 45"/>
                <a:gd name="T6" fmla="*/ 16212 w 47"/>
                <a:gd name="T7" fmla="*/ 6703 h 45"/>
                <a:gd name="T8" fmla="*/ 17732 w 47"/>
                <a:gd name="T9" fmla="*/ 4022 h 45"/>
                <a:gd name="T10" fmla="*/ 18746 w 47"/>
                <a:gd name="T11" fmla="*/ 1341 h 45"/>
                <a:gd name="T12" fmla="*/ 19759 w 47"/>
                <a:gd name="T13" fmla="*/ 0 h 45"/>
                <a:gd name="T14" fmla="*/ 21785 w 47"/>
                <a:gd name="T15" fmla="*/ 1341 h 45"/>
                <a:gd name="T16" fmla="*/ 23812 w 47"/>
                <a:gd name="T17" fmla="*/ 2681 h 45"/>
                <a:gd name="T18" fmla="*/ 23305 w 47"/>
                <a:gd name="T19" fmla="*/ 9384 h 45"/>
                <a:gd name="T20" fmla="*/ 23305 w 47"/>
                <a:gd name="T21" fmla="*/ 14746 h 45"/>
                <a:gd name="T22" fmla="*/ 22292 w 47"/>
                <a:gd name="T23" fmla="*/ 20108 h 45"/>
                <a:gd name="T24" fmla="*/ 21785 w 47"/>
                <a:gd name="T25" fmla="*/ 25471 h 45"/>
                <a:gd name="T26" fmla="*/ 18746 w 47"/>
                <a:gd name="T27" fmla="*/ 34854 h 45"/>
                <a:gd name="T28" fmla="*/ 15199 w 47"/>
                <a:gd name="T29" fmla="*/ 42898 h 45"/>
                <a:gd name="T30" fmla="*/ 12159 w 47"/>
                <a:gd name="T31" fmla="*/ 50941 h 45"/>
                <a:gd name="T32" fmla="*/ 8106 w 47"/>
                <a:gd name="T33" fmla="*/ 56303 h 45"/>
                <a:gd name="T34" fmla="*/ 3546 w 47"/>
                <a:gd name="T35" fmla="*/ 60325 h 45"/>
                <a:gd name="T36" fmla="*/ 0 w 47"/>
                <a:gd name="T37" fmla="*/ 60325 h 45"/>
                <a:gd name="T38" fmla="*/ 1013 w 47"/>
                <a:gd name="T39" fmla="*/ 50941 h 45"/>
                <a:gd name="T40" fmla="*/ 3040 w 47"/>
                <a:gd name="T41" fmla="*/ 34854 h 45"/>
                <a:gd name="T42" fmla="*/ 5573 w 47"/>
                <a:gd name="T43" fmla="*/ 20108 h 45"/>
                <a:gd name="T44" fmla="*/ 6586 w 47"/>
                <a:gd name="T45" fmla="*/ 10724 h 4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47" h="45">
                  <a:moveTo>
                    <a:pt x="13" y="8"/>
                  </a:moveTo>
                  <a:lnTo>
                    <a:pt x="22" y="8"/>
                  </a:lnTo>
                  <a:lnTo>
                    <a:pt x="28" y="6"/>
                  </a:lnTo>
                  <a:lnTo>
                    <a:pt x="32" y="5"/>
                  </a:lnTo>
                  <a:lnTo>
                    <a:pt x="35" y="3"/>
                  </a:lnTo>
                  <a:lnTo>
                    <a:pt x="37" y="1"/>
                  </a:lnTo>
                  <a:lnTo>
                    <a:pt x="39" y="0"/>
                  </a:lnTo>
                  <a:lnTo>
                    <a:pt x="43" y="1"/>
                  </a:lnTo>
                  <a:lnTo>
                    <a:pt x="47" y="2"/>
                  </a:lnTo>
                  <a:lnTo>
                    <a:pt x="46" y="7"/>
                  </a:lnTo>
                  <a:lnTo>
                    <a:pt x="46" y="11"/>
                  </a:lnTo>
                  <a:lnTo>
                    <a:pt x="44" y="15"/>
                  </a:lnTo>
                  <a:lnTo>
                    <a:pt x="43" y="19"/>
                  </a:lnTo>
                  <a:lnTo>
                    <a:pt x="37" y="26"/>
                  </a:lnTo>
                  <a:lnTo>
                    <a:pt x="30" y="32"/>
                  </a:lnTo>
                  <a:lnTo>
                    <a:pt x="24" y="38"/>
                  </a:lnTo>
                  <a:lnTo>
                    <a:pt x="16" y="42"/>
                  </a:lnTo>
                  <a:lnTo>
                    <a:pt x="7" y="45"/>
                  </a:lnTo>
                  <a:lnTo>
                    <a:pt x="0" y="45"/>
                  </a:lnTo>
                  <a:lnTo>
                    <a:pt x="2" y="38"/>
                  </a:lnTo>
                  <a:lnTo>
                    <a:pt x="6" y="26"/>
                  </a:lnTo>
                  <a:lnTo>
                    <a:pt x="11" y="15"/>
                  </a:lnTo>
                  <a:lnTo>
                    <a:pt x="13" y="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2" name="Freeform 532">
              <a:extLst>
                <a:ext uri="{FF2B5EF4-FFF2-40B4-BE49-F238E27FC236}">
                  <a16:creationId xmlns:a16="http://schemas.microsoft.com/office/drawing/2014/main" id="{1D08F35E-2E09-420B-ADF4-034BB6F56BBE}"/>
                </a:ext>
              </a:extLst>
            </p:cNvPr>
            <p:cNvSpPr>
              <a:spLocks/>
            </p:cNvSpPr>
            <p:nvPr>
              <p:custDataLst>
                <p:tags r:id="rId368"/>
              </p:custDataLst>
            </p:nvPr>
          </p:nvSpPr>
          <p:spPr bwMode="auto">
            <a:xfrm>
              <a:off x="3570284" y="2751116"/>
              <a:ext cx="6350" cy="57150"/>
            </a:xfrm>
            <a:custGeom>
              <a:avLst/>
              <a:gdLst>
                <a:gd name="T0" fmla="*/ 1465 w 26"/>
                <a:gd name="T1" fmla="*/ 57150 h 36"/>
                <a:gd name="T2" fmla="*/ 1221 w 26"/>
                <a:gd name="T3" fmla="*/ 47625 h 36"/>
                <a:gd name="T4" fmla="*/ 733 w 26"/>
                <a:gd name="T5" fmla="*/ 31750 h 36"/>
                <a:gd name="T6" fmla="*/ 244 w 26"/>
                <a:gd name="T7" fmla="*/ 15875 h 36"/>
                <a:gd name="T8" fmla="*/ 0 w 26"/>
                <a:gd name="T9" fmla="*/ 0 h 36"/>
                <a:gd name="T10" fmla="*/ 6350 w 26"/>
                <a:gd name="T11" fmla="*/ 0 h 36"/>
                <a:gd name="T12" fmla="*/ 6106 w 26"/>
                <a:gd name="T13" fmla="*/ 19050 h 36"/>
                <a:gd name="T14" fmla="*/ 5862 w 26"/>
                <a:gd name="T15" fmla="*/ 36513 h 36"/>
                <a:gd name="T16" fmla="*/ 5617 w 26"/>
                <a:gd name="T17" fmla="*/ 42863 h 36"/>
                <a:gd name="T18" fmla="*/ 5617 w 26"/>
                <a:gd name="T19" fmla="*/ 49213 h 36"/>
                <a:gd name="T20" fmla="*/ 5862 w 26"/>
                <a:gd name="T21" fmla="*/ 53975 h 36"/>
                <a:gd name="T22" fmla="*/ 6350 w 26"/>
                <a:gd name="T23" fmla="*/ 57150 h 36"/>
                <a:gd name="T24" fmla="*/ 1465 w 26"/>
                <a:gd name="T25" fmla="*/ 57150 h 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36">
                  <a:moveTo>
                    <a:pt x="6" y="36"/>
                  </a:moveTo>
                  <a:lnTo>
                    <a:pt x="5" y="30"/>
                  </a:lnTo>
                  <a:lnTo>
                    <a:pt x="3" y="20"/>
                  </a:lnTo>
                  <a:lnTo>
                    <a:pt x="1" y="10"/>
                  </a:lnTo>
                  <a:lnTo>
                    <a:pt x="0" y="0"/>
                  </a:lnTo>
                  <a:lnTo>
                    <a:pt x="26" y="0"/>
                  </a:lnTo>
                  <a:lnTo>
                    <a:pt x="25" y="12"/>
                  </a:lnTo>
                  <a:lnTo>
                    <a:pt x="24" y="23"/>
                  </a:lnTo>
                  <a:lnTo>
                    <a:pt x="23" y="27"/>
                  </a:lnTo>
                  <a:lnTo>
                    <a:pt x="23" y="31"/>
                  </a:lnTo>
                  <a:lnTo>
                    <a:pt x="24" y="34"/>
                  </a:lnTo>
                  <a:lnTo>
                    <a:pt x="26" y="36"/>
                  </a:lnTo>
                  <a:lnTo>
                    <a:pt x="6"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3" name="Freeform 533">
              <a:extLst>
                <a:ext uri="{FF2B5EF4-FFF2-40B4-BE49-F238E27FC236}">
                  <a16:creationId xmlns:a16="http://schemas.microsoft.com/office/drawing/2014/main" id="{1E634498-1413-413E-9B43-39A9690E6828}"/>
                </a:ext>
              </a:extLst>
            </p:cNvPr>
            <p:cNvSpPr>
              <a:spLocks/>
            </p:cNvSpPr>
            <p:nvPr>
              <p:custDataLst>
                <p:tags r:id="rId369"/>
              </p:custDataLst>
            </p:nvPr>
          </p:nvSpPr>
          <p:spPr bwMode="auto">
            <a:xfrm>
              <a:off x="4841869" y="2479655"/>
              <a:ext cx="174625" cy="158749"/>
            </a:xfrm>
            <a:custGeom>
              <a:avLst/>
              <a:gdLst>
                <a:gd name="T0" fmla="*/ 11210 w 405"/>
                <a:gd name="T1" fmla="*/ 85157 h 302"/>
                <a:gd name="T2" fmla="*/ 12073 w 405"/>
                <a:gd name="T3" fmla="*/ 82003 h 302"/>
                <a:gd name="T4" fmla="*/ 12935 w 405"/>
                <a:gd name="T5" fmla="*/ 80952 h 302"/>
                <a:gd name="T6" fmla="*/ 12073 w 405"/>
                <a:gd name="T7" fmla="*/ 79375 h 302"/>
                <a:gd name="T8" fmla="*/ 7761 w 405"/>
                <a:gd name="T9" fmla="*/ 75170 h 302"/>
                <a:gd name="T10" fmla="*/ 2587 w 405"/>
                <a:gd name="T11" fmla="*/ 66759 h 302"/>
                <a:gd name="T12" fmla="*/ 862 w 405"/>
                <a:gd name="T13" fmla="*/ 60977 h 302"/>
                <a:gd name="T14" fmla="*/ 2156 w 405"/>
                <a:gd name="T15" fmla="*/ 58874 h 302"/>
                <a:gd name="T16" fmla="*/ 2587 w 405"/>
                <a:gd name="T17" fmla="*/ 54669 h 302"/>
                <a:gd name="T18" fmla="*/ 7330 w 405"/>
                <a:gd name="T19" fmla="*/ 50989 h 302"/>
                <a:gd name="T20" fmla="*/ 14660 w 405"/>
                <a:gd name="T21" fmla="*/ 48887 h 302"/>
                <a:gd name="T22" fmla="*/ 20265 w 405"/>
                <a:gd name="T23" fmla="*/ 46258 h 302"/>
                <a:gd name="T24" fmla="*/ 24577 w 405"/>
                <a:gd name="T25" fmla="*/ 43104 h 302"/>
                <a:gd name="T26" fmla="*/ 28889 w 405"/>
                <a:gd name="T27" fmla="*/ 36796 h 302"/>
                <a:gd name="T28" fmla="*/ 32338 w 405"/>
                <a:gd name="T29" fmla="*/ 27334 h 302"/>
                <a:gd name="T30" fmla="*/ 36219 w 405"/>
                <a:gd name="T31" fmla="*/ 24706 h 302"/>
                <a:gd name="T32" fmla="*/ 40961 w 405"/>
                <a:gd name="T33" fmla="*/ 27334 h 302"/>
                <a:gd name="T34" fmla="*/ 50447 w 405"/>
                <a:gd name="T35" fmla="*/ 28386 h 302"/>
                <a:gd name="T36" fmla="*/ 72868 w 405"/>
                <a:gd name="T37" fmla="*/ 24180 h 302"/>
                <a:gd name="T38" fmla="*/ 91409 w 405"/>
                <a:gd name="T39" fmla="*/ 22603 h 302"/>
                <a:gd name="T40" fmla="*/ 100894 w 405"/>
                <a:gd name="T41" fmla="*/ 21552 h 302"/>
                <a:gd name="T42" fmla="*/ 113830 w 405"/>
                <a:gd name="T43" fmla="*/ 18398 h 302"/>
                <a:gd name="T44" fmla="*/ 137113 w 405"/>
                <a:gd name="T45" fmla="*/ 8936 h 302"/>
                <a:gd name="T46" fmla="*/ 154791 w 405"/>
                <a:gd name="T47" fmla="*/ 2103 h 302"/>
                <a:gd name="T48" fmla="*/ 160396 w 405"/>
                <a:gd name="T49" fmla="*/ 1577 h 302"/>
                <a:gd name="T50" fmla="*/ 166002 w 405"/>
                <a:gd name="T51" fmla="*/ 1577 h 302"/>
                <a:gd name="T52" fmla="*/ 171607 w 405"/>
                <a:gd name="T53" fmla="*/ 526 h 302"/>
                <a:gd name="T54" fmla="*/ 170313 w 405"/>
                <a:gd name="T55" fmla="*/ 4205 h 302"/>
                <a:gd name="T56" fmla="*/ 155222 w 405"/>
                <a:gd name="T57" fmla="*/ 21552 h 302"/>
                <a:gd name="T58" fmla="*/ 148323 w 405"/>
                <a:gd name="T59" fmla="*/ 29963 h 302"/>
                <a:gd name="T60" fmla="*/ 146168 w 405"/>
                <a:gd name="T61" fmla="*/ 33642 h 302"/>
                <a:gd name="T62" fmla="*/ 146168 w 405"/>
                <a:gd name="T63" fmla="*/ 50464 h 302"/>
                <a:gd name="T64" fmla="*/ 145305 w 405"/>
                <a:gd name="T65" fmla="*/ 78324 h 302"/>
                <a:gd name="T66" fmla="*/ 144443 w 405"/>
                <a:gd name="T67" fmla="*/ 94619 h 302"/>
                <a:gd name="T68" fmla="*/ 140562 w 405"/>
                <a:gd name="T69" fmla="*/ 104081 h 302"/>
                <a:gd name="T70" fmla="*/ 131508 w 405"/>
                <a:gd name="T71" fmla="*/ 110389 h 302"/>
                <a:gd name="T72" fmla="*/ 114261 w 405"/>
                <a:gd name="T73" fmla="*/ 119325 h 302"/>
                <a:gd name="T74" fmla="*/ 45704 w 405"/>
                <a:gd name="T75" fmla="*/ 158750 h 302"/>
                <a:gd name="T76" fmla="*/ 24577 w 405"/>
                <a:gd name="T77" fmla="*/ 136672 h 302"/>
                <a:gd name="T78" fmla="*/ 30182 w 405"/>
                <a:gd name="T79" fmla="*/ 119851 h 302"/>
                <a:gd name="T80" fmla="*/ 34925 w 405"/>
                <a:gd name="T81" fmla="*/ 109863 h 302"/>
                <a:gd name="T82" fmla="*/ 37081 w 405"/>
                <a:gd name="T83" fmla="*/ 90414 h 302"/>
                <a:gd name="T84" fmla="*/ 30613 w 405"/>
                <a:gd name="T85" fmla="*/ 90940 h 302"/>
                <a:gd name="T86" fmla="*/ 24577 w 405"/>
                <a:gd name="T87" fmla="*/ 88837 h 302"/>
                <a:gd name="T88" fmla="*/ 17678 w 405"/>
                <a:gd name="T89" fmla="*/ 86734 h 302"/>
                <a:gd name="T90" fmla="*/ 11210 w 405"/>
                <a:gd name="T91" fmla="*/ 87260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4" name="Freeform 534">
              <a:extLst>
                <a:ext uri="{FF2B5EF4-FFF2-40B4-BE49-F238E27FC236}">
                  <a16:creationId xmlns:a16="http://schemas.microsoft.com/office/drawing/2014/main" id="{E7D364AA-4786-4540-A5D9-5A976F736AF9}"/>
                </a:ext>
              </a:extLst>
            </p:cNvPr>
            <p:cNvSpPr>
              <a:spLocks/>
            </p:cNvSpPr>
            <p:nvPr>
              <p:custDataLst>
                <p:tags r:id="rId370"/>
              </p:custDataLst>
            </p:nvPr>
          </p:nvSpPr>
          <p:spPr bwMode="auto">
            <a:xfrm>
              <a:off x="6935780" y="2860652"/>
              <a:ext cx="42862" cy="79375"/>
            </a:xfrm>
            <a:custGeom>
              <a:avLst/>
              <a:gdLst>
                <a:gd name="T0" fmla="*/ 42862 w 100"/>
                <a:gd name="T1" fmla="*/ 512 h 155"/>
                <a:gd name="T2" fmla="*/ 42862 w 100"/>
                <a:gd name="T3" fmla="*/ 15363 h 155"/>
                <a:gd name="T4" fmla="*/ 42862 w 100"/>
                <a:gd name="T5" fmla="*/ 28165 h 155"/>
                <a:gd name="T6" fmla="*/ 42862 w 100"/>
                <a:gd name="T7" fmla="*/ 39944 h 155"/>
                <a:gd name="T8" fmla="*/ 42862 w 100"/>
                <a:gd name="T9" fmla="*/ 50698 h 155"/>
                <a:gd name="T10" fmla="*/ 42005 w 100"/>
                <a:gd name="T11" fmla="*/ 55819 h 155"/>
                <a:gd name="T12" fmla="*/ 40290 w 100"/>
                <a:gd name="T13" fmla="*/ 60427 h 155"/>
                <a:gd name="T14" fmla="*/ 38147 w 100"/>
                <a:gd name="T15" fmla="*/ 65548 h 155"/>
                <a:gd name="T16" fmla="*/ 35147 w 100"/>
                <a:gd name="T17" fmla="*/ 70157 h 155"/>
                <a:gd name="T18" fmla="*/ 31289 w 100"/>
                <a:gd name="T19" fmla="*/ 73742 h 155"/>
                <a:gd name="T20" fmla="*/ 26574 w 100"/>
                <a:gd name="T21" fmla="*/ 76815 h 155"/>
                <a:gd name="T22" fmla="*/ 24431 w 100"/>
                <a:gd name="T23" fmla="*/ 77839 h 155"/>
                <a:gd name="T24" fmla="*/ 21860 w 100"/>
                <a:gd name="T25" fmla="*/ 78863 h 155"/>
                <a:gd name="T26" fmla="*/ 19717 w 100"/>
                <a:gd name="T27" fmla="*/ 79375 h 155"/>
                <a:gd name="T28" fmla="*/ 16716 w 100"/>
                <a:gd name="T29" fmla="*/ 79375 h 155"/>
                <a:gd name="T30" fmla="*/ 15002 w 100"/>
                <a:gd name="T31" fmla="*/ 78863 h 155"/>
                <a:gd name="T32" fmla="*/ 12859 w 100"/>
                <a:gd name="T33" fmla="*/ 78351 h 155"/>
                <a:gd name="T34" fmla="*/ 11144 w 100"/>
                <a:gd name="T35" fmla="*/ 77327 h 155"/>
                <a:gd name="T36" fmla="*/ 9430 w 100"/>
                <a:gd name="T37" fmla="*/ 76302 h 155"/>
                <a:gd name="T38" fmla="*/ 6429 w 100"/>
                <a:gd name="T39" fmla="*/ 72718 h 155"/>
                <a:gd name="T40" fmla="*/ 3858 w 100"/>
                <a:gd name="T41" fmla="*/ 68621 h 155"/>
                <a:gd name="T42" fmla="*/ 2143 w 100"/>
                <a:gd name="T43" fmla="*/ 63500 h 155"/>
                <a:gd name="T44" fmla="*/ 857 w 100"/>
                <a:gd name="T45" fmla="*/ 57867 h 155"/>
                <a:gd name="T46" fmla="*/ 0 w 100"/>
                <a:gd name="T47" fmla="*/ 52746 h 155"/>
                <a:gd name="T48" fmla="*/ 0 w 100"/>
                <a:gd name="T49" fmla="*/ 47625 h 155"/>
                <a:gd name="T50" fmla="*/ 0 w 100"/>
                <a:gd name="T51" fmla="*/ 39431 h 155"/>
                <a:gd name="T52" fmla="*/ 0 w 100"/>
                <a:gd name="T53" fmla="*/ 33286 h 155"/>
                <a:gd name="T54" fmla="*/ 0 w 100"/>
                <a:gd name="T55" fmla="*/ 28677 h 155"/>
                <a:gd name="T56" fmla="*/ 0 w 100"/>
                <a:gd name="T57" fmla="*/ 25605 h 155"/>
                <a:gd name="T58" fmla="*/ 6429 w 100"/>
                <a:gd name="T59" fmla="*/ 25605 h 155"/>
                <a:gd name="T60" fmla="*/ 11144 w 100"/>
                <a:gd name="T61" fmla="*/ 25605 h 155"/>
                <a:gd name="T62" fmla="*/ 11144 w 100"/>
                <a:gd name="T63" fmla="*/ 20484 h 155"/>
                <a:gd name="T64" fmla="*/ 11573 w 100"/>
                <a:gd name="T65" fmla="*/ 15875 h 155"/>
                <a:gd name="T66" fmla="*/ 12430 w 100"/>
                <a:gd name="T67" fmla="*/ 11778 h 155"/>
                <a:gd name="T68" fmla="*/ 13287 w 100"/>
                <a:gd name="T69" fmla="*/ 8706 h 155"/>
                <a:gd name="T70" fmla="*/ 15002 w 100"/>
                <a:gd name="T71" fmla="*/ 6145 h 155"/>
                <a:gd name="T72" fmla="*/ 16716 w 100"/>
                <a:gd name="T73" fmla="*/ 3585 h 155"/>
                <a:gd name="T74" fmla="*/ 18002 w 100"/>
                <a:gd name="T75" fmla="*/ 2048 h 155"/>
                <a:gd name="T76" fmla="*/ 20574 w 100"/>
                <a:gd name="T77" fmla="*/ 1024 h 155"/>
                <a:gd name="T78" fmla="*/ 25289 w 100"/>
                <a:gd name="T79" fmla="*/ 0 h 155"/>
                <a:gd name="T80" fmla="*/ 30432 w 100"/>
                <a:gd name="T81" fmla="*/ 0 h 155"/>
                <a:gd name="T82" fmla="*/ 36004 w 100"/>
                <a:gd name="T83" fmla="*/ 0 h 155"/>
                <a:gd name="T84" fmla="*/ 42862 w 100"/>
                <a:gd name="T85" fmla="*/ 512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nvGrpSpPr>
            <p:cNvPr id="375" name="Group 535">
              <a:extLst>
                <a:ext uri="{FF2B5EF4-FFF2-40B4-BE49-F238E27FC236}">
                  <a16:creationId xmlns:a16="http://schemas.microsoft.com/office/drawing/2014/main" id="{8BB323AA-C666-4123-99C1-A005D0834669}"/>
                </a:ext>
              </a:extLst>
            </p:cNvPr>
            <p:cNvGrpSpPr>
              <a:grpSpLocks/>
            </p:cNvGrpSpPr>
            <p:nvPr>
              <p:custDataLst>
                <p:tags r:id="rId371"/>
              </p:custDataLst>
            </p:nvPr>
          </p:nvGrpSpPr>
          <p:grpSpPr bwMode="auto">
            <a:xfrm>
              <a:off x="4583108" y="2328844"/>
              <a:ext cx="482599" cy="201610"/>
              <a:chOff x="3289" y="1830"/>
              <a:chExt cx="363" cy="128"/>
            </a:xfrm>
          </p:grpSpPr>
          <p:sp>
            <p:nvSpPr>
              <p:cNvPr id="386" name="Freeform 536">
                <a:extLst>
                  <a:ext uri="{FF2B5EF4-FFF2-40B4-BE49-F238E27FC236}">
                    <a16:creationId xmlns:a16="http://schemas.microsoft.com/office/drawing/2014/main" id="{C1BC9ECE-E837-4C19-93E4-6235B895C9F1}"/>
                  </a:ext>
                </a:extLst>
              </p:cNvPr>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7" name="Freeform 537">
                <a:extLst>
                  <a:ext uri="{FF2B5EF4-FFF2-40B4-BE49-F238E27FC236}">
                    <a16:creationId xmlns:a16="http://schemas.microsoft.com/office/drawing/2014/main" id="{2BA0CEBA-628E-4EA1-AE24-E47B1E7B7322}"/>
                  </a:ext>
                </a:extLst>
              </p:cNvPr>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8" name="Freeform 538">
                <a:extLst>
                  <a:ext uri="{FF2B5EF4-FFF2-40B4-BE49-F238E27FC236}">
                    <a16:creationId xmlns:a16="http://schemas.microsoft.com/office/drawing/2014/main" id="{4F21E099-0CFD-4D15-A057-3AB62E93CFB8}"/>
                  </a:ext>
                </a:extLst>
              </p:cNvPr>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9" name="Freeform 539">
                <a:extLst>
                  <a:ext uri="{FF2B5EF4-FFF2-40B4-BE49-F238E27FC236}">
                    <a16:creationId xmlns:a16="http://schemas.microsoft.com/office/drawing/2014/main" id="{6CF16B03-0893-4222-A4A4-568C6573380A}"/>
                  </a:ext>
                </a:extLst>
              </p:cNvPr>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90" name="Freeform 540">
                <a:extLst>
                  <a:ext uri="{FF2B5EF4-FFF2-40B4-BE49-F238E27FC236}">
                    <a16:creationId xmlns:a16="http://schemas.microsoft.com/office/drawing/2014/main" id="{FA369DF3-F4E9-43F0-972F-F1FF2BFBB4C1}"/>
                  </a:ext>
                </a:extLst>
              </p:cNvPr>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solidFill>
                <a:srgbClr val="3282BE"/>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376" name="Freeform 541">
              <a:extLst>
                <a:ext uri="{FF2B5EF4-FFF2-40B4-BE49-F238E27FC236}">
                  <a16:creationId xmlns:a16="http://schemas.microsoft.com/office/drawing/2014/main" id="{6F97976B-0DA4-43FE-99ED-11F6BE876D51}"/>
                </a:ext>
              </a:extLst>
            </p:cNvPr>
            <p:cNvSpPr>
              <a:spLocks/>
            </p:cNvSpPr>
            <p:nvPr>
              <p:custDataLst>
                <p:tags r:id="rId372"/>
              </p:custDataLst>
            </p:nvPr>
          </p:nvSpPr>
          <p:spPr bwMode="auto">
            <a:xfrm>
              <a:off x="2571748" y="3481360"/>
              <a:ext cx="100013" cy="122236"/>
            </a:xfrm>
            <a:custGeom>
              <a:avLst/>
              <a:gdLst>
                <a:gd name="T0" fmla="*/ 27880 w 226"/>
                <a:gd name="T1" fmla="*/ 121721 h 237"/>
                <a:gd name="T2" fmla="*/ 30092 w 226"/>
                <a:gd name="T3" fmla="*/ 122237 h 237"/>
                <a:gd name="T4" fmla="*/ 33190 w 226"/>
                <a:gd name="T5" fmla="*/ 121205 h 237"/>
                <a:gd name="T6" fmla="*/ 36730 w 226"/>
                <a:gd name="T7" fmla="*/ 120690 h 237"/>
                <a:gd name="T8" fmla="*/ 39386 w 226"/>
                <a:gd name="T9" fmla="*/ 118627 h 237"/>
                <a:gd name="T10" fmla="*/ 42483 w 226"/>
                <a:gd name="T11" fmla="*/ 115016 h 237"/>
                <a:gd name="T12" fmla="*/ 43811 w 226"/>
                <a:gd name="T13" fmla="*/ 110374 h 237"/>
                <a:gd name="T14" fmla="*/ 54432 w 226"/>
                <a:gd name="T15" fmla="*/ 107795 h 237"/>
                <a:gd name="T16" fmla="*/ 73461 w 226"/>
                <a:gd name="T17" fmla="*/ 105732 h 237"/>
                <a:gd name="T18" fmla="*/ 86294 w 226"/>
                <a:gd name="T19" fmla="*/ 102122 h 237"/>
                <a:gd name="T20" fmla="*/ 92490 w 226"/>
                <a:gd name="T21" fmla="*/ 98512 h 237"/>
                <a:gd name="T22" fmla="*/ 97358 w 226"/>
                <a:gd name="T23" fmla="*/ 93354 h 237"/>
                <a:gd name="T24" fmla="*/ 99570 w 226"/>
                <a:gd name="T25" fmla="*/ 86649 h 237"/>
                <a:gd name="T26" fmla="*/ 100013 w 226"/>
                <a:gd name="T27" fmla="*/ 78912 h 237"/>
                <a:gd name="T28" fmla="*/ 98685 w 226"/>
                <a:gd name="T29" fmla="*/ 72208 h 237"/>
                <a:gd name="T30" fmla="*/ 95145 w 226"/>
                <a:gd name="T31" fmla="*/ 63439 h 237"/>
                <a:gd name="T32" fmla="*/ 89835 w 226"/>
                <a:gd name="T33" fmla="*/ 51577 h 237"/>
                <a:gd name="T34" fmla="*/ 86737 w 226"/>
                <a:gd name="T35" fmla="*/ 43325 h 237"/>
                <a:gd name="T36" fmla="*/ 85409 w 226"/>
                <a:gd name="T37" fmla="*/ 38167 h 237"/>
                <a:gd name="T38" fmla="*/ 86294 w 226"/>
                <a:gd name="T39" fmla="*/ 30430 h 237"/>
                <a:gd name="T40" fmla="*/ 88507 w 226"/>
                <a:gd name="T41" fmla="*/ 22178 h 237"/>
                <a:gd name="T42" fmla="*/ 94260 w 226"/>
                <a:gd name="T43" fmla="*/ 12894 h 237"/>
                <a:gd name="T44" fmla="*/ 94260 w 226"/>
                <a:gd name="T45" fmla="*/ 7221 h 237"/>
                <a:gd name="T46" fmla="*/ 84524 w 226"/>
                <a:gd name="T47" fmla="*/ 3610 h 237"/>
                <a:gd name="T48" fmla="*/ 68150 w 226"/>
                <a:gd name="T49" fmla="*/ 1032 h 237"/>
                <a:gd name="T50" fmla="*/ 8851 w 226"/>
                <a:gd name="T51" fmla="*/ 3095 h 237"/>
                <a:gd name="T52" fmla="*/ 7966 w 226"/>
                <a:gd name="T53" fmla="*/ 15989 h 237"/>
                <a:gd name="T54" fmla="*/ 4425 w 226"/>
                <a:gd name="T55" fmla="*/ 27851 h 237"/>
                <a:gd name="T56" fmla="*/ 1328 w 226"/>
                <a:gd name="T57" fmla="*/ 40746 h 237"/>
                <a:gd name="T58" fmla="*/ 0 w 226"/>
                <a:gd name="T59" fmla="*/ 57250 h 237"/>
                <a:gd name="T60" fmla="*/ 1328 w 226"/>
                <a:gd name="T61" fmla="*/ 67050 h 237"/>
                <a:gd name="T62" fmla="*/ 4425 w 226"/>
                <a:gd name="T63" fmla="*/ 75302 h 237"/>
                <a:gd name="T64" fmla="*/ 13276 w 226"/>
                <a:gd name="T65" fmla="*/ 89228 h 237"/>
                <a:gd name="T66" fmla="*/ 22569 w 226"/>
                <a:gd name="T67" fmla="*/ 102638 h 237"/>
                <a:gd name="T68" fmla="*/ 25225 w 226"/>
                <a:gd name="T69" fmla="*/ 111406 h 237"/>
                <a:gd name="T70" fmla="*/ 26995 w 226"/>
                <a:gd name="T71" fmla="*/ 120690 h 23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226" h="237">
                  <a:moveTo>
                    <a:pt x="61" y="234"/>
                  </a:moveTo>
                  <a:lnTo>
                    <a:pt x="63" y="236"/>
                  </a:lnTo>
                  <a:lnTo>
                    <a:pt x="65" y="237"/>
                  </a:lnTo>
                  <a:lnTo>
                    <a:pt x="68" y="237"/>
                  </a:lnTo>
                  <a:lnTo>
                    <a:pt x="70" y="237"/>
                  </a:lnTo>
                  <a:lnTo>
                    <a:pt x="75" y="235"/>
                  </a:lnTo>
                  <a:lnTo>
                    <a:pt x="80" y="234"/>
                  </a:lnTo>
                  <a:lnTo>
                    <a:pt x="83" y="234"/>
                  </a:lnTo>
                  <a:lnTo>
                    <a:pt x="86" y="232"/>
                  </a:lnTo>
                  <a:lnTo>
                    <a:pt x="89" y="230"/>
                  </a:lnTo>
                  <a:lnTo>
                    <a:pt x="92" y="227"/>
                  </a:lnTo>
                  <a:lnTo>
                    <a:pt x="96" y="223"/>
                  </a:lnTo>
                  <a:lnTo>
                    <a:pt x="98" y="219"/>
                  </a:lnTo>
                  <a:lnTo>
                    <a:pt x="99" y="214"/>
                  </a:lnTo>
                  <a:lnTo>
                    <a:pt x="100" y="209"/>
                  </a:lnTo>
                  <a:lnTo>
                    <a:pt x="123" y="209"/>
                  </a:lnTo>
                  <a:lnTo>
                    <a:pt x="145" y="208"/>
                  </a:lnTo>
                  <a:lnTo>
                    <a:pt x="166" y="205"/>
                  </a:lnTo>
                  <a:lnTo>
                    <a:pt x="186" y="201"/>
                  </a:lnTo>
                  <a:lnTo>
                    <a:pt x="195" y="198"/>
                  </a:lnTo>
                  <a:lnTo>
                    <a:pt x="202" y="195"/>
                  </a:lnTo>
                  <a:lnTo>
                    <a:pt x="209" y="191"/>
                  </a:lnTo>
                  <a:lnTo>
                    <a:pt x="215" y="186"/>
                  </a:lnTo>
                  <a:lnTo>
                    <a:pt x="220" y="181"/>
                  </a:lnTo>
                  <a:lnTo>
                    <a:pt x="223" y="175"/>
                  </a:lnTo>
                  <a:lnTo>
                    <a:pt x="225" y="168"/>
                  </a:lnTo>
                  <a:lnTo>
                    <a:pt x="226" y="161"/>
                  </a:lnTo>
                  <a:lnTo>
                    <a:pt x="226" y="153"/>
                  </a:lnTo>
                  <a:lnTo>
                    <a:pt x="225" y="147"/>
                  </a:lnTo>
                  <a:lnTo>
                    <a:pt x="223" y="140"/>
                  </a:lnTo>
                  <a:lnTo>
                    <a:pt x="221" y="134"/>
                  </a:lnTo>
                  <a:lnTo>
                    <a:pt x="215" y="123"/>
                  </a:lnTo>
                  <a:lnTo>
                    <a:pt x="210" y="112"/>
                  </a:lnTo>
                  <a:lnTo>
                    <a:pt x="203" y="100"/>
                  </a:lnTo>
                  <a:lnTo>
                    <a:pt x="198" y="90"/>
                  </a:lnTo>
                  <a:lnTo>
                    <a:pt x="196" y="84"/>
                  </a:lnTo>
                  <a:lnTo>
                    <a:pt x="195" y="79"/>
                  </a:lnTo>
                  <a:lnTo>
                    <a:pt x="193" y="74"/>
                  </a:lnTo>
                  <a:lnTo>
                    <a:pt x="193" y="68"/>
                  </a:lnTo>
                  <a:lnTo>
                    <a:pt x="195" y="59"/>
                  </a:lnTo>
                  <a:lnTo>
                    <a:pt x="197" y="51"/>
                  </a:lnTo>
                  <a:lnTo>
                    <a:pt x="200" y="43"/>
                  </a:lnTo>
                  <a:lnTo>
                    <a:pt x="204" y="36"/>
                  </a:lnTo>
                  <a:lnTo>
                    <a:pt x="213" y="25"/>
                  </a:lnTo>
                  <a:lnTo>
                    <a:pt x="220" y="19"/>
                  </a:lnTo>
                  <a:lnTo>
                    <a:pt x="213" y="14"/>
                  </a:lnTo>
                  <a:lnTo>
                    <a:pt x="203" y="11"/>
                  </a:lnTo>
                  <a:lnTo>
                    <a:pt x="191" y="7"/>
                  </a:lnTo>
                  <a:lnTo>
                    <a:pt x="179" y="5"/>
                  </a:lnTo>
                  <a:lnTo>
                    <a:pt x="154" y="2"/>
                  </a:lnTo>
                  <a:lnTo>
                    <a:pt x="133" y="0"/>
                  </a:lnTo>
                  <a:lnTo>
                    <a:pt x="20" y="6"/>
                  </a:lnTo>
                  <a:lnTo>
                    <a:pt x="20" y="19"/>
                  </a:lnTo>
                  <a:lnTo>
                    <a:pt x="18" y="31"/>
                  </a:lnTo>
                  <a:lnTo>
                    <a:pt x="14" y="42"/>
                  </a:lnTo>
                  <a:lnTo>
                    <a:pt x="10" y="54"/>
                  </a:lnTo>
                  <a:lnTo>
                    <a:pt x="7" y="66"/>
                  </a:lnTo>
                  <a:lnTo>
                    <a:pt x="3" y="79"/>
                  </a:lnTo>
                  <a:lnTo>
                    <a:pt x="1" y="93"/>
                  </a:lnTo>
                  <a:lnTo>
                    <a:pt x="0" y="111"/>
                  </a:lnTo>
                  <a:lnTo>
                    <a:pt x="1" y="121"/>
                  </a:lnTo>
                  <a:lnTo>
                    <a:pt x="3" y="130"/>
                  </a:lnTo>
                  <a:lnTo>
                    <a:pt x="6" y="138"/>
                  </a:lnTo>
                  <a:lnTo>
                    <a:pt x="10" y="146"/>
                  </a:lnTo>
                  <a:lnTo>
                    <a:pt x="19" y="159"/>
                  </a:lnTo>
                  <a:lnTo>
                    <a:pt x="30" y="173"/>
                  </a:lnTo>
                  <a:lnTo>
                    <a:pt x="41" y="185"/>
                  </a:lnTo>
                  <a:lnTo>
                    <a:pt x="51" y="199"/>
                  </a:lnTo>
                  <a:lnTo>
                    <a:pt x="55" y="207"/>
                  </a:lnTo>
                  <a:lnTo>
                    <a:pt x="57" y="216"/>
                  </a:lnTo>
                  <a:lnTo>
                    <a:pt x="59" y="225"/>
                  </a:lnTo>
                  <a:lnTo>
                    <a:pt x="61" y="23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7" name="Freeform 542">
              <a:extLst>
                <a:ext uri="{FF2B5EF4-FFF2-40B4-BE49-F238E27FC236}">
                  <a16:creationId xmlns:a16="http://schemas.microsoft.com/office/drawing/2014/main" id="{D0B848BF-5134-4F43-A2B4-570180A12D80}"/>
                </a:ext>
              </a:extLst>
            </p:cNvPr>
            <p:cNvSpPr>
              <a:spLocks/>
            </p:cNvSpPr>
            <p:nvPr>
              <p:custDataLst>
                <p:tags r:id="rId373"/>
              </p:custDataLst>
            </p:nvPr>
          </p:nvSpPr>
          <p:spPr bwMode="auto">
            <a:xfrm>
              <a:off x="6516681" y="2917802"/>
              <a:ext cx="207962" cy="458785"/>
            </a:xfrm>
            <a:custGeom>
              <a:avLst/>
              <a:gdLst>
                <a:gd name="T0" fmla="*/ 124864 w 478"/>
                <a:gd name="T1" fmla="*/ 57152 h 875"/>
                <a:gd name="T2" fmla="*/ 108767 w 478"/>
                <a:gd name="T3" fmla="*/ 72357 h 875"/>
                <a:gd name="T4" fmla="*/ 86578 w 478"/>
                <a:gd name="T5" fmla="*/ 103293 h 875"/>
                <a:gd name="T6" fmla="*/ 86143 w 478"/>
                <a:gd name="T7" fmla="*/ 111682 h 875"/>
                <a:gd name="T8" fmla="*/ 89624 w 478"/>
                <a:gd name="T9" fmla="*/ 125315 h 875"/>
                <a:gd name="T10" fmla="*/ 96150 w 478"/>
                <a:gd name="T11" fmla="*/ 138947 h 875"/>
                <a:gd name="T12" fmla="*/ 104416 w 478"/>
                <a:gd name="T13" fmla="*/ 151007 h 875"/>
                <a:gd name="T14" fmla="*/ 112682 w 478"/>
                <a:gd name="T15" fmla="*/ 157823 h 875"/>
                <a:gd name="T16" fmla="*/ 121384 w 478"/>
                <a:gd name="T17" fmla="*/ 172504 h 875"/>
                <a:gd name="T18" fmla="*/ 128345 w 478"/>
                <a:gd name="T19" fmla="*/ 189283 h 875"/>
                <a:gd name="T20" fmla="*/ 132695 w 478"/>
                <a:gd name="T21" fmla="*/ 193477 h 875"/>
                <a:gd name="T22" fmla="*/ 190559 w 478"/>
                <a:gd name="T23" fmla="*/ 261640 h 875"/>
                <a:gd name="T24" fmla="*/ 204917 w 478"/>
                <a:gd name="T25" fmla="*/ 308830 h 875"/>
                <a:gd name="T26" fmla="*/ 207962 w 478"/>
                <a:gd name="T27" fmla="*/ 339241 h 875"/>
                <a:gd name="T28" fmla="*/ 207092 w 478"/>
                <a:gd name="T29" fmla="*/ 360214 h 875"/>
                <a:gd name="T30" fmla="*/ 207962 w 478"/>
                <a:gd name="T31" fmla="*/ 371225 h 875"/>
                <a:gd name="T32" fmla="*/ 194475 w 478"/>
                <a:gd name="T33" fmla="*/ 376468 h 875"/>
                <a:gd name="T34" fmla="*/ 182728 w 478"/>
                <a:gd name="T35" fmla="*/ 384333 h 875"/>
                <a:gd name="T36" fmla="*/ 170111 w 478"/>
                <a:gd name="T37" fmla="*/ 396393 h 875"/>
                <a:gd name="T38" fmla="*/ 158799 w 478"/>
                <a:gd name="T39" fmla="*/ 413696 h 875"/>
                <a:gd name="T40" fmla="*/ 151403 w 478"/>
                <a:gd name="T41" fmla="*/ 411598 h 875"/>
                <a:gd name="T42" fmla="*/ 138786 w 478"/>
                <a:gd name="T43" fmla="*/ 413696 h 875"/>
                <a:gd name="T44" fmla="*/ 136176 w 478"/>
                <a:gd name="T45" fmla="*/ 421561 h 875"/>
                <a:gd name="T46" fmla="*/ 125734 w 478"/>
                <a:gd name="T47" fmla="*/ 439388 h 875"/>
                <a:gd name="T48" fmla="*/ 111377 w 478"/>
                <a:gd name="T49" fmla="*/ 455118 h 875"/>
                <a:gd name="T50" fmla="*/ 103981 w 478"/>
                <a:gd name="T51" fmla="*/ 458788 h 875"/>
                <a:gd name="T52" fmla="*/ 100936 w 478"/>
                <a:gd name="T53" fmla="*/ 455118 h 875"/>
                <a:gd name="T54" fmla="*/ 97890 w 478"/>
                <a:gd name="T55" fmla="*/ 442534 h 875"/>
                <a:gd name="T56" fmla="*/ 100500 w 478"/>
                <a:gd name="T57" fmla="*/ 419463 h 875"/>
                <a:gd name="T58" fmla="*/ 110072 w 478"/>
                <a:gd name="T59" fmla="*/ 406355 h 875"/>
                <a:gd name="T60" fmla="*/ 120514 w 478"/>
                <a:gd name="T61" fmla="*/ 398490 h 875"/>
                <a:gd name="T62" fmla="*/ 128345 w 478"/>
                <a:gd name="T63" fmla="*/ 394820 h 875"/>
                <a:gd name="T64" fmla="*/ 132695 w 478"/>
                <a:gd name="T65" fmla="*/ 389577 h 875"/>
                <a:gd name="T66" fmla="*/ 136611 w 478"/>
                <a:gd name="T67" fmla="*/ 374371 h 875"/>
                <a:gd name="T68" fmla="*/ 143572 w 478"/>
                <a:gd name="T69" fmla="*/ 359690 h 875"/>
                <a:gd name="T70" fmla="*/ 158799 w 478"/>
                <a:gd name="T71" fmla="*/ 337144 h 875"/>
                <a:gd name="T72" fmla="*/ 161410 w 478"/>
                <a:gd name="T73" fmla="*/ 281040 h 875"/>
                <a:gd name="T74" fmla="*/ 158364 w 478"/>
                <a:gd name="T75" fmla="*/ 249056 h 875"/>
                <a:gd name="T76" fmla="*/ 148358 w 478"/>
                <a:gd name="T77" fmla="*/ 223889 h 875"/>
                <a:gd name="T78" fmla="*/ 129215 w 478"/>
                <a:gd name="T79" fmla="*/ 197672 h 875"/>
                <a:gd name="T80" fmla="*/ 95280 w 478"/>
                <a:gd name="T81" fmla="*/ 161493 h 875"/>
                <a:gd name="T82" fmla="*/ 70046 w 478"/>
                <a:gd name="T83" fmla="*/ 133704 h 875"/>
                <a:gd name="T84" fmla="*/ 46987 w 478"/>
                <a:gd name="T85" fmla="*/ 103817 h 875"/>
                <a:gd name="T86" fmla="*/ 31325 w 478"/>
                <a:gd name="T87" fmla="*/ 76552 h 875"/>
                <a:gd name="T88" fmla="*/ 18273 w 478"/>
                <a:gd name="T89" fmla="*/ 54530 h 875"/>
                <a:gd name="T90" fmla="*/ 20013 w 478"/>
                <a:gd name="T91" fmla="*/ 21497 h 875"/>
                <a:gd name="T92" fmla="*/ 56124 w 478"/>
                <a:gd name="T93" fmla="*/ 9962 h 875"/>
                <a:gd name="T94" fmla="*/ 64390 w 478"/>
                <a:gd name="T95" fmla="*/ 2622 h 875"/>
                <a:gd name="T96" fmla="*/ 76137 w 478"/>
                <a:gd name="T97" fmla="*/ 8389 h 875"/>
                <a:gd name="T98" fmla="*/ 96150 w 478"/>
                <a:gd name="T99" fmla="*/ 18352 h 875"/>
                <a:gd name="T100" fmla="*/ 117033 w 478"/>
                <a:gd name="T101" fmla="*/ 35130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rgbClr val="28608C"/>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8" name="Freeform 543">
              <a:extLst>
                <a:ext uri="{FF2B5EF4-FFF2-40B4-BE49-F238E27FC236}">
                  <a16:creationId xmlns:a16="http://schemas.microsoft.com/office/drawing/2014/main" id="{4D596BA4-7849-436D-9510-1D714E08E7A6}"/>
                </a:ext>
              </a:extLst>
            </p:cNvPr>
            <p:cNvSpPr>
              <a:spLocks/>
            </p:cNvSpPr>
            <p:nvPr>
              <p:custDataLst>
                <p:tags r:id="rId374"/>
              </p:custDataLst>
            </p:nvPr>
          </p:nvSpPr>
          <p:spPr bwMode="auto">
            <a:xfrm>
              <a:off x="6603993" y="3603596"/>
              <a:ext cx="25400" cy="57150"/>
            </a:xfrm>
            <a:custGeom>
              <a:avLst/>
              <a:gdLst>
                <a:gd name="T0" fmla="*/ 25400 w 59"/>
                <a:gd name="T1" fmla="*/ 11061 h 31"/>
                <a:gd name="T2" fmla="*/ 24539 w 59"/>
                <a:gd name="T3" fmla="*/ 20279 h 31"/>
                <a:gd name="T4" fmla="*/ 22817 w 59"/>
                <a:gd name="T5" fmla="*/ 27653 h 31"/>
                <a:gd name="T6" fmla="*/ 21095 w 59"/>
                <a:gd name="T7" fmla="*/ 35027 h 31"/>
                <a:gd name="T8" fmla="*/ 19373 w 59"/>
                <a:gd name="T9" fmla="*/ 44245 h 31"/>
                <a:gd name="T10" fmla="*/ 17220 w 59"/>
                <a:gd name="T11" fmla="*/ 49776 h 31"/>
                <a:gd name="T12" fmla="*/ 15498 w 59"/>
                <a:gd name="T13" fmla="*/ 53463 h 31"/>
                <a:gd name="T14" fmla="*/ 12915 w 59"/>
                <a:gd name="T15" fmla="*/ 57150 h 31"/>
                <a:gd name="T16" fmla="*/ 11193 w 59"/>
                <a:gd name="T17" fmla="*/ 57150 h 31"/>
                <a:gd name="T18" fmla="*/ 9041 w 59"/>
                <a:gd name="T19" fmla="*/ 57150 h 31"/>
                <a:gd name="T20" fmla="*/ 7319 w 59"/>
                <a:gd name="T21" fmla="*/ 55306 h 31"/>
                <a:gd name="T22" fmla="*/ 6027 w 59"/>
                <a:gd name="T23" fmla="*/ 53463 h 31"/>
                <a:gd name="T24" fmla="*/ 4736 w 59"/>
                <a:gd name="T25" fmla="*/ 49776 h 31"/>
                <a:gd name="T26" fmla="*/ 1722 w 59"/>
                <a:gd name="T27" fmla="*/ 36871 h 31"/>
                <a:gd name="T28" fmla="*/ 0 w 59"/>
                <a:gd name="T29" fmla="*/ 22123 h 31"/>
                <a:gd name="T30" fmla="*/ 431 w 59"/>
                <a:gd name="T31" fmla="*/ 16592 h 31"/>
                <a:gd name="T32" fmla="*/ 1292 w 59"/>
                <a:gd name="T33" fmla="*/ 11061 h 31"/>
                <a:gd name="T34" fmla="*/ 2153 w 59"/>
                <a:gd name="T35" fmla="*/ 7374 h 31"/>
                <a:gd name="T36" fmla="*/ 3444 w 59"/>
                <a:gd name="T37" fmla="*/ 5531 h 31"/>
                <a:gd name="T38" fmla="*/ 6888 w 59"/>
                <a:gd name="T39" fmla="*/ 1844 h 31"/>
                <a:gd name="T40" fmla="*/ 10332 w 59"/>
                <a:gd name="T41" fmla="*/ 0 h 31"/>
                <a:gd name="T42" fmla="*/ 14637 w 59"/>
                <a:gd name="T43" fmla="*/ 0 h 31"/>
                <a:gd name="T44" fmla="*/ 18081 w 59"/>
                <a:gd name="T45" fmla="*/ 3687 h 31"/>
                <a:gd name="T46" fmla="*/ 21956 w 59"/>
                <a:gd name="T47" fmla="*/ 7374 h 31"/>
                <a:gd name="T48" fmla="*/ 25400 w 59"/>
                <a:gd name="T49" fmla="*/ 11061 h 3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59" h="31">
                  <a:moveTo>
                    <a:pt x="59" y="6"/>
                  </a:moveTo>
                  <a:lnTo>
                    <a:pt x="57" y="11"/>
                  </a:lnTo>
                  <a:lnTo>
                    <a:pt x="53" y="15"/>
                  </a:lnTo>
                  <a:lnTo>
                    <a:pt x="49" y="19"/>
                  </a:lnTo>
                  <a:lnTo>
                    <a:pt x="45" y="24"/>
                  </a:lnTo>
                  <a:lnTo>
                    <a:pt x="40" y="27"/>
                  </a:lnTo>
                  <a:lnTo>
                    <a:pt x="36" y="29"/>
                  </a:lnTo>
                  <a:lnTo>
                    <a:pt x="30" y="31"/>
                  </a:lnTo>
                  <a:lnTo>
                    <a:pt x="26" y="31"/>
                  </a:lnTo>
                  <a:lnTo>
                    <a:pt x="21" y="31"/>
                  </a:lnTo>
                  <a:lnTo>
                    <a:pt x="17" y="30"/>
                  </a:lnTo>
                  <a:lnTo>
                    <a:pt x="14" y="29"/>
                  </a:lnTo>
                  <a:lnTo>
                    <a:pt x="11" y="27"/>
                  </a:lnTo>
                  <a:lnTo>
                    <a:pt x="4" y="20"/>
                  </a:lnTo>
                  <a:lnTo>
                    <a:pt x="0" y="12"/>
                  </a:lnTo>
                  <a:lnTo>
                    <a:pt x="1" y="9"/>
                  </a:lnTo>
                  <a:lnTo>
                    <a:pt x="3" y="6"/>
                  </a:lnTo>
                  <a:lnTo>
                    <a:pt x="5" y="4"/>
                  </a:lnTo>
                  <a:lnTo>
                    <a:pt x="8" y="3"/>
                  </a:lnTo>
                  <a:lnTo>
                    <a:pt x="16" y="1"/>
                  </a:lnTo>
                  <a:lnTo>
                    <a:pt x="24" y="0"/>
                  </a:lnTo>
                  <a:lnTo>
                    <a:pt x="34" y="0"/>
                  </a:lnTo>
                  <a:lnTo>
                    <a:pt x="42" y="2"/>
                  </a:lnTo>
                  <a:lnTo>
                    <a:pt x="51" y="4"/>
                  </a:lnTo>
                  <a:lnTo>
                    <a:pt x="59" y="6"/>
                  </a:lnTo>
                </a:path>
              </a:pathLst>
            </a:custGeom>
            <a:solidFill>
              <a:srgbClr val="3282BE"/>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79" name="Freeform 544">
              <a:extLst>
                <a:ext uri="{FF2B5EF4-FFF2-40B4-BE49-F238E27FC236}">
                  <a16:creationId xmlns:a16="http://schemas.microsoft.com/office/drawing/2014/main" id="{4A0E53BD-4544-4E43-AF45-651A1C84CE7F}"/>
                </a:ext>
              </a:extLst>
            </p:cNvPr>
            <p:cNvSpPr>
              <a:spLocks/>
            </p:cNvSpPr>
            <p:nvPr>
              <p:custDataLst>
                <p:tags r:id="rId375"/>
              </p:custDataLst>
            </p:nvPr>
          </p:nvSpPr>
          <p:spPr bwMode="auto">
            <a:xfrm>
              <a:off x="5295894" y="2862240"/>
              <a:ext cx="174625" cy="271460"/>
            </a:xfrm>
            <a:custGeom>
              <a:avLst/>
              <a:gdLst>
                <a:gd name="T0" fmla="*/ 87531 w 399"/>
                <a:gd name="T1" fmla="*/ 4192 h 518"/>
                <a:gd name="T2" fmla="*/ 88407 w 399"/>
                <a:gd name="T3" fmla="*/ 11529 h 518"/>
                <a:gd name="T4" fmla="*/ 91033 w 399"/>
                <a:gd name="T5" fmla="*/ 18866 h 518"/>
                <a:gd name="T6" fmla="*/ 93659 w 399"/>
                <a:gd name="T7" fmla="*/ 25679 h 518"/>
                <a:gd name="T8" fmla="*/ 98035 w 399"/>
                <a:gd name="T9" fmla="*/ 33016 h 518"/>
                <a:gd name="T10" fmla="*/ 102849 w 399"/>
                <a:gd name="T11" fmla="*/ 39304 h 518"/>
                <a:gd name="T12" fmla="*/ 108977 w 399"/>
                <a:gd name="T13" fmla="*/ 45069 h 518"/>
                <a:gd name="T14" fmla="*/ 115541 w 399"/>
                <a:gd name="T15" fmla="*/ 49786 h 518"/>
                <a:gd name="T16" fmla="*/ 138299 w 399"/>
                <a:gd name="T17" fmla="*/ 55550 h 518"/>
                <a:gd name="T18" fmla="*/ 159745 w 399"/>
                <a:gd name="T19" fmla="*/ 62363 h 518"/>
                <a:gd name="T20" fmla="*/ 166310 w 399"/>
                <a:gd name="T21" fmla="*/ 66555 h 518"/>
                <a:gd name="T22" fmla="*/ 171561 w 399"/>
                <a:gd name="T23" fmla="*/ 71796 h 518"/>
                <a:gd name="T24" fmla="*/ 174187 w 399"/>
                <a:gd name="T25" fmla="*/ 79133 h 518"/>
                <a:gd name="T26" fmla="*/ 174187 w 399"/>
                <a:gd name="T27" fmla="*/ 91186 h 518"/>
                <a:gd name="T28" fmla="*/ 170686 w 399"/>
                <a:gd name="T29" fmla="*/ 104812 h 518"/>
                <a:gd name="T30" fmla="*/ 161495 w 399"/>
                <a:gd name="T31" fmla="*/ 125250 h 518"/>
                <a:gd name="T32" fmla="*/ 150554 w 399"/>
                <a:gd name="T33" fmla="*/ 144640 h 518"/>
                <a:gd name="T34" fmla="*/ 143551 w 399"/>
                <a:gd name="T35" fmla="*/ 158790 h 518"/>
                <a:gd name="T36" fmla="*/ 137424 w 399"/>
                <a:gd name="T37" fmla="*/ 172939 h 518"/>
                <a:gd name="T38" fmla="*/ 134361 w 399"/>
                <a:gd name="T39" fmla="*/ 188661 h 518"/>
                <a:gd name="T40" fmla="*/ 129984 w 399"/>
                <a:gd name="T41" fmla="*/ 197570 h 518"/>
                <a:gd name="T42" fmla="*/ 117292 w 399"/>
                <a:gd name="T43" fmla="*/ 202810 h 518"/>
                <a:gd name="T44" fmla="*/ 107664 w 399"/>
                <a:gd name="T45" fmla="*/ 209099 h 518"/>
                <a:gd name="T46" fmla="*/ 102849 w 399"/>
                <a:gd name="T47" fmla="*/ 213816 h 518"/>
                <a:gd name="T48" fmla="*/ 99348 w 399"/>
                <a:gd name="T49" fmla="*/ 218532 h 518"/>
                <a:gd name="T50" fmla="*/ 98035 w 399"/>
                <a:gd name="T51" fmla="*/ 223773 h 518"/>
                <a:gd name="T52" fmla="*/ 93221 w 399"/>
                <a:gd name="T53" fmla="*/ 229537 h 518"/>
                <a:gd name="T54" fmla="*/ 82279 w 399"/>
                <a:gd name="T55" fmla="*/ 235826 h 518"/>
                <a:gd name="T56" fmla="*/ 75715 w 399"/>
                <a:gd name="T57" fmla="*/ 238970 h 518"/>
                <a:gd name="T58" fmla="*/ 72651 w 399"/>
                <a:gd name="T59" fmla="*/ 244735 h 518"/>
                <a:gd name="T60" fmla="*/ 69150 w 399"/>
                <a:gd name="T61" fmla="*/ 252072 h 518"/>
                <a:gd name="T62" fmla="*/ 63898 w 399"/>
                <a:gd name="T63" fmla="*/ 256788 h 518"/>
                <a:gd name="T64" fmla="*/ 57333 w 399"/>
                <a:gd name="T65" fmla="*/ 258885 h 518"/>
                <a:gd name="T66" fmla="*/ 44641 w 399"/>
                <a:gd name="T67" fmla="*/ 260981 h 518"/>
                <a:gd name="T68" fmla="*/ 31949 w 399"/>
                <a:gd name="T69" fmla="*/ 264125 h 518"/>
                <a:gd name="T70" fmla="*/ 24071 w 399"/>
                <a:gd name="T71" fmla="*/ 268318 h 518"/>
                <a:gd name="T72" fmla="*/ 20132 w 399"/>
                <a:gd name="T73" fmla="*/ 269366 h 518"/>
                <a:gd name="T74" fmla="*/ 18819 w 399"/>
                <a:gd name="T75" fmla="*/ 265173 h 518"/>
                <a:gd name="T76" fmla="*/ 16631 w 399"/>
                <a:gd name="T77" fmla="*/ 260457 h 518"/>
                <a:gd name="T78" fmla="*/ 14880 w 399"/>
                <a:gd name="T79" fmla="*/ 255216 h 518"/>
                <a:gd name="T80" fmla="*/ 14443 w 399"/>
                <a:gd name="T81" fmla="*/ 245259 h 518"/>
                <a:gd name="T82" fmla="*/ 12692 w 399"/>
                <a:gd name="T83" fmla="*/ 233206 h 518"/>
                <a:gd name="T84" fmla="*/ 7440 w 399"/>
                <a:gd name="T85" fmla="*/ 219056 h 518"/>
                <a:gd name="T86" fmla="*/ 0 w 399"/>
                <a:gd name="T87" fmla="*/ 187613 h 518"/>
                <a:gd name="T88" fmla="*/ 84905 w 399"/>
                <a:gd name="T89" fmla="*/ 96951 h 518"/>
                <a:gd name="T90" fmla="*/ 87531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0" name="Freeform 545">
              <a:extLst>
                <a:ext uri="{FF2B5EF4-FFF2-40B4-BE49-F238E27FC236}">
                  <a16:creationId xmlns:a16="http://schemas.microsoft.com/office/drawing/2014/main" id="{4657444D-D890-4278-B4B7-115B4B7DC7FD}"/>
                </a:ext>
              </a:extLst>
            </p:cNvPr>
            <p:cNvSpPr>
              <a:spLocks/>
            </p:cNvSpPr>
            <p:nvPr>
              <p:custDataLst>
                <p:tags r:id="rId376"/>
              </p:custDataLst>
            </p:nvPr>
          </p:nvSpPr>
          <p:spPr bwMode="auto">
            <a:xfrm>
              <a:off x="4022721" y="2916214"/>
              <a:ext cx="376238" cy="385759"/>
            </a:xfrm>
            <a:custGeom>
              <a:avLst/>
              <a:gdLst>
                <a:gd name="T0" fmla="*/ 100359 w 866"/>
                <a:gd name="T1" fmla="*/ 140751 h 740"/>
                <a:gd name="T2" fmla="*/ 106441 w 866"/>
                <a:gd name="T3" fmla="*/ 137623 h 740"/>
                <a:gd name="T4" fmla="*/ 118172 w 866"/>
                <a:gd name="T5" fmla="*/ 141794 h 740"/>
                <a:gd name="T6" fmla="*/ 284134 w 866"/>
                <a:gd name="T7" fmla="*/ 521 h 740"/>
                <a:gd name="T8" fmla="*/ 294995 w 866"/>
                <a:gd name="T9" fmla="*/ 3128 h 740"/>
                <a:gd name="T10" fmla="*/ 308897 w 866"/>
                <a:gd name="T11" fmla="*/ 10947 h 740"/>
                <a:gd name="T12" fmla="*/ 317152 w 866"/>
                <a:gd name="T13" fmla="*/ 18246 h 740"/>
                <a:gd name="T14" fmla="*/ 330186 w 866"/>
                <a:gd name="T15" fmla="*/ 29714 h 740"/>
                <a:gd name="T16" fmla="*/ 343654 w 866"/>
                <a:gd name="T17" fmla="*/ 30757 h 740"/>
                <a:gd name="T18" fmla="*/ 361032 w 866"/>
                <a:gd name="T19" fmla="*/ 22416 h 740"/>
                <a:gd name="T20" fmla="*/ 371025 w 866"/>
                <a:gd name="T21" fmla="*/ 86536 h 740"/>
                <a:gd name="T22" fmla="*/ 376238 w 866"/>
                <a:gd name="T23" fmla="*/ 106866 h 740"/>
                <a:gd name="T24" fmla="*/ 369287 w 866"/>
                <a:gd name="T25" fmla="*/ 156911 h 740"/>
                <a:gd name="T26" fmla="*/ 368418 w 866"/>
                <a:gd name="T27" fmla="*/ 196009 h 740"/>
                <a:gd name="T28" fmla="*/ 362335 w 866"/>
                <a:gd name="T29" fmla="*/ 219467 h 740"/>
                <a:gd name="T30" fmla="*/ 348433 w 866"/>
                <a:gd name="T31" fmla="*/ 243447 h 740"/>
                <a:gd name="T32" fmla="*/ 337572 w 866"/>
                <a:gd name="T33" fmla="*/ 260129 h 740"/>
                <a:gd name="T34" fmla="*/ 329317 w 866"/>
                <a:gd name="T35" fmla="*/ 295577 h 740"/>
                <a:gd name="T36" fmla="*/ 308897 w 866"/>
                <a:gd name="T37" fmla="*/ 327898 h 740"/>
                <a:gd name="T38" fmla="*/ 295429 w 866"/>
                <a:gd name="T39" fmla="*/ 336760 h 740"/>
                <a:gd name="T40" fmla="*/ 279789 w 866"/>
                <a:gd name="T41" fmla="*/ 332589 h 740"/>
                <a:gd name="T42" fmla="*/ 265452 w 866"/>
                <a:gd name="T43" fmla="*/ 325813 h 740"/>
                <a:gd name="T44" fmla="*/ 245902 w 866"/>
                <a:gd name="T45" fmla="*/ 329983 h 740"/>
                <a:gd name="T46" fmla="*/ 230261 w 866"/>
                <a:gd name="T47" fmla="*/ 343537 h 740"/>
                <a:gd name="T48" fmla="*/ 222006 w 866"/>
                <a:gd name="T49" fmla="*/ 354484 h 740"/>
                <a:gd name="T50" fmla="*/ 213317 w 866"/>
                <a:gd name="T51" fmla="*/ 356569 h 740"/>
                <a:gd name="T52" fmla="*/ 204194 w 866"/>
                <a:gd name="T53" fmla="*/ 348228 h 740"/>
                <a:gd name="T54" fmla="*/ 193767 w 866"/>
                <a:gd name="T55" fmla="*/ 333111 h 740"/>
                <a:gd name="T56" fmla="*/ 182906 w 866"/>
                <a:gd name="T57" fmla="*/ 331026 h 740"/>
                <a:gd name="T58" fmla="*/ 175954 w 866"/>
                <a:gd name="T59" fmla="*/ 337281 h 740"/>
                <a:gd name="T60" fmla="*/ 166831 w 866"/>
                <a:gd name="T61" fmla="*/ 339888 h 740"/>
                <a:gd name="T62" fmla="*/ 152059 w 866"/>
                <a:gd name="T63" fmla="*/ 332589 h 740"/>
                <a:gd name="T64" fmla="*/ 132943 w 866"/>
                <a:gd name="T65" fmla="*/ 316950 h 740"/>
                <a:gd name="T66" fmla="*/ 117737 w 866"/>
                <a:gd name="T67" fmla="*/ 314865 h 740"/>
                <a:gd name="T68" fmla="*/ 102966 w 866"/>
                <a:gd name="T69" fmla="*/ 323206 h 740"/>
                <a:gd name="T70" fmla="*/ 90801 w 866"/>
                <a:gd name="T71" fmla="*/ 340409 h 740"/>
                <a:gd name="T72" fmla="*/ 82546 w 866"/>
                <a:gd name="T73" fmla="*/ 360740 h 740"/>
                <a:gd name="T74" fmla="*/ 77333 w 866"/>
                <a:gd name="T75" fmla="*/ 374815 h 740"/>
                <a:gd name="T76" fmla="*/ 64734 w 866"/>
                <a:gd name="T77" fmla="*/ 365953 h 740"/>
                <a:gd name="T78" fmla="*/ 43445 w 866"/>
                <a:gd name="T79" fmla="*/ 385762 h 740"/>
                <a:gd name="T80" fmla="*/ 28674 w 866"/>
                <a:gd name="T81" fmla="*/ 364389 h 740"/>
                <a:gd name="T82" fmla="*/ 27805 w 866"/>
                <a:gd name="T83" fmla="*/ 335717 h 740"/>
                <a:gd name="T84" fmla="*/ 21723 w 866"/>
                <a:gd name="T85" fmla="*/ 319557 h 740"/>
                <a:gd name="T86" fmla="*/ 8689 w 866"/>
                <a:gd name="T87" fmla="*/ 306003 h 740"/>
                <a:gd name="T88" fmla="*/ 2172 w 866"/>
                <a:gd name="T89" fmla="*/ 290885 h 740"/>
                <a:gd name="T90" fmla="*/ 23026 w 866"/>
                <a:gd name="T91" fmla="*/ 276289 h 740"/>
                <a:gd name="T92" fmla="*/ 33019 w 866"/>
                <a:gd name="T93" fmla="*/ 270033 h 740"/>
                <a:gd name="T94" fmla="*/ 60389 w 866"/>
                <a:gd name="T95" fmla="*/ 265863 h 740"/>
                <a:gd name="T96" fmla="*/ 79071 w 866"/>
                <a:gd name="T97" fmla="*/ 260650 h 740"/>
                <a:gd name="T98" fmla="*/ 87325 w 866"/>
                <a:gd name="T99" fmla="*/ 247617 h 740"/>
                <a:gd name="T100" fmla="*/ 95146 w 866"/>
                <a:gd name="T101" fmla="*/ 221031 h 740"/>
                <a:gd name="T102" fmla="*/ 97318 w 866"/>
                <a:gd name="T103" fmla="*/ 191317 h 740"/>
                <a:gd name="T104" fmla="*/ 95146 w 866"/>
                <a:gd name="T105" fmla="*/ 166816 h 74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866" h="740">
                  <a:moveTo>
                    <a:pt x="219" y="283"/>
                  </a:moveTo>
                  <a:lnTo>
                    <a:pt x="223" y="278"/>
                  </a:lnTo>
                  <a:lnTo>
                    <a:pt x="227" y="273"/>
                  </a:lnTo>
                  <a:lnTo>
                    <a:pt x="231" y="270"/>
                  </a:lnTo>
                  <a:lnTo>
                    <a:pt x="234" y="267"/>
                  </a:lnTo>
                  <a:lnTo>
                    <a:pt x="238" y="266"/>
                  </a:lnTo>
                  <a:lnTo>
                    <a:pt x="242" y="264"/>
                  </a:lnTo>
                  <a:lnTo>
                    <a:pt x="245" y="264"/>
                  </a:lnTo>
                  <a:lnTo>
                    <a:pt x="250" y="264"/>
                  </a:lnTo>
                  <a:lnTo>
                    <a:pt x="256" y="265"/>
                  </a:lnTo>
                  <a:lnTo>
                    <a:pt x="264" y="268"/>
                  </a:lnTo>
                  <a:lnTo>
                    <a:pt x="272" y="272"/>
                  </a:lnTo>
                  <a:lnTo>
                    <a:pt x="279" y="277"/>
                  </a:lnTo>
                  <a:lnTo>
                    <a:pt x="645" y="6"/>
                  </a:lnTo>
                  <a:lnTo>
                    <a:pt x="649" y="3"/>
                  </a:lnTo>
                  <a:lnTo>
                    <a:pt x="654" y="1"/>
                  </a:lnTo>
                  <a:lnTo>
                    <a:pt x="658" y="0"/>
                  </a:lnTo>
                  <a:lnTo>
                    <a:pt x="663" y="0"/>
                  </a:lnTo>
                  <a:lnTo>
                    <a:pt x="671" y="2"/>
                  </a:lnTo>
                  <a:lnTo>
                    <a:pt x="679" y="6"/>
                  </a:lnTo>
                  <a:lnTo>
                    <a:pt x="689" y="11"/>
                  </a:lnTo>
                  <a:lnTo>
                    <a:pt x="699" y="17"/>
                  </a:lnTo>
                  <a:lnTo>
                    <a:pt x="704" y="19"/>
                  </a:lnTo>
                  <a:lnTo>
                    <a:pt x="711" y="21"/>
                  </a:lnTo>
                  <a:lnTo>
                    <a:pt x="717" y="23"/>
                  </a:lnTo>
                  <a:lnTo>
                    <a:pt x="724" y="25"/>
                  </a:lnTo>
                  <a:lnTo>
                    <a:pt x="726" y="30"/>
                  </a:lnTo>
                  <a:lnTo>
                    <a:pt x="730" y="35"/>
                  </a:lnTo>
                  <a:lnTo>
                    <a:pt x="736" y="42"/>
                  </a:lnTo>
                  <a:lnTo>
                    <a:pt x="744" y="47"/>
                  </a:lnTo>
                  <a:lnTo>
                    <a:pt x="752" y="53"/>
                  </a:lnTo>
                  <a:lnTo>
                    <a:pt x="760" y="57"/>
                  </a:lnTo>
                  <a:lnTo>
                    <a:pt x="769" y="60"/>
                  </a:lnTo>
                  <a:lnTo>
                    <a:pt x="778" y="61"/>
                  </a:lnTo>
                  <a:lnTo>
                    <a:pt x="784" y="60"/>
                  </a:lnTo>
                  <a:lnTo>
                    <a:pt x="791" y="59"/>
                  </a:lnTo>
                  <a:lnTo>
                    <a:pt x="798" y="57"/>
                  </a:lnTo>
                  <a:lnTo>
                    <a:pt x="804" y="54"/>
                  </a:lnTo>
                  <a:lnTo>
                    <a:pt x="816" y="48"/>
                  </a:lnTo>
                  <a:lnTo>
                    <a:pt x="831" y="43"/>
                  </a:lnTo>
                  <a:lnTo>
                    <a:pt x="824" y="122"/>
                  </a:lnTo>
                  <a:lnTo>
                    <a:pt x="836" y="140"/>
                  </a:lnTo>
                  <a:lnTo>
                    <a:pt x="846" y="154"/>
                  </a:lnTo>
                  <a:lnTo>
                    <a:pt x="854" y="166"/>
                  </a:lnTo>
                  <a:lnTo>
                    <a:pt x="859" y="177"/>
                  </a:lnTo>
                  <a:lnTo>
                    <a:pt x="862" y="188"/>
                  </a:lnTo>
                  <a:lnTo>
                    <a:pt x="865" y="197"/>
                  </a:lnTo>
                  <a:lnTo>
                    <a:pt x="866" y="205"/>
                  </a:lnTo>
                  <a:lnTo>
                    <a:pt x="865" y="211"/>
                  </a:lnTo>
                  <a:lnTo>
                    <a:pt x="857" y="234"/>
                  </a:lnTo>
                  <a:lnTo>
                    <a:pt x="850" y="259"/>
                  </a:lnTo>
                  <a:lnTo>
                    <a:pt x="850" y="301"/>
                  </a:lnTo>
                  <a:lnTo>
                    <a:pt x="850" y="334"/>
                  </a:lnTo>
                  <a:lnTo>
                    <a:pt x="850" y="350"/>
                  </a:lnTo>
                  <a:lnTo>
                    <a:pt x="849" y="364"/>
                  </a:lnTo>
                  <a:lnTo>
                    <a:pt x="848" y="376"/>
                  </a:lnTo>
                  <a:lnTo>
                    <a:pt x="846" y="388"/>
                  </a:lnTo>
                  <a:lnTo>
                    <a:pt x="843" y="399"/>
                  </a:lnTo>
                  <a:lnTo>
                    <a:pt x="839" y="411"/>
                  </a:lnTo>
                  <a:lnTo>
                    <a:pt x="834" y="421"/>
                  </a:lnTo>
                  <a:lnTo>
                    <a:pt x="828" y="432"/>
                  </a:lnTo>
                  <a:lnTo>
                    <a:pt x="821" y="443"/>
                  </a:lnTo>
                  <a:lnTo>
                    <a:pt x="813" y="454"/>
                  </a:lnTo>
                  <a:lnTo>
                    <a:pt x="802" y="467"/>
                  </a:lnTo>
                  <a:lnTo>
                    <a:pt x="791" y="480"/>
                  </a:lnTo>
                  <a:lnTo>
                    <a:pt x="786" y="486"/>
                  </a:lnTo>
                  <a:lnTo>
                    <a:pt x="781" y="493"/>
                  </a:lnTo>
                  <a:lnTo>
                    <a:pt x="777" y="499"/>
                  </a:lnTo>
                  <a:lnTo>
                    <a:pt x="773" y="506"/>
                  </a:lnTo>
                  <a:lnTo>
                    <a:pt x="768" y="522"/>
                  </a:lnTo>
                  <a:lnTo>
                    <a:pt x="764" y="537"/>
                  </a:lnTo>
                  <a:lnTo>
                    <a:pt x="758" y="567"/>
                  </a:lnTo>
                  <a:lnTo>
                    <a:pt x="755" y="593"/>
                  </a:lnTo>
                  <a:lnTo>
                    <a:pt x="731" y="585"/>
                  </a:lnTo>
                  <a:lnTo>
                    <a:pt x="698" y="591"/>
                  </a:lnTo>
                  <a:lnTo>
                    <a:pt x="711" y="629"/>
                  </a:lnTo>
                  <a:lnTo>
                    <a:pt x="719" y="636"/>
                  </a:lnTo>
                  <a:lnTo>
                    <a:pt x="704" y="641"/>
                  </a:lnTo>
                  <a:lnTo>
                    <a:pt x="692" y="645"/>
                  </a:lnTo>
                  <a:lnTo>
                    <a:pt x="680" y="646"/>
                  </a:lnTo>
                  <a:lnTo>
                    <a:pt x="670" y="646"/>
                  </a:lnTo>
                  <a:lnTo>
                    <a:pt x="661" y="644"/>
                  </a:lnTo>
                  <a:lnTo>
                    <a:pt x="653" y="641"/>
                  </a:lnTo>
                  <a:lnTo>
                    <a:pt x="644" y="638"/>
                  </a:lnTo>
                  <a:lnTo>
                    <a:pt x="636" y="634"/>
                  </a:lnTo>
                  <a:lnTo>
                    <a:pt x="629" y="631"/>
                  </a:lnTo>
                  <a:lnTo>
                    <a:pt x="620" y="628"/>
                  </a:lnTo>
                  <a:lnTo>
                    <a:pt x="611" y="625"/>
                  </a:lnTo>
                  <a:lnTo>
                    <a:pt x="601" y="624"/>
                  </a:lnTo>
                  <a:lnTo>
                    <a:pt x="591" y="625"/>
                  </a:lnTo>
                  <a:lnTo>
                    <a:pt x="579" y="628"/>
                  </a:lnTo>
                  <a:lnTo>
                    <a:pt x="566" y="633"/>
                  </a:lnTo>
                  <a:lnTo>
                    <a:pt x="552" y="641"/>
                  </a:lnTo>
                  <a:lnTo>
                    <a:pt x="543" y="646"/>
                  </a:lnTo>
                  <a:lnTo>
                    <a:pt x="536" y="652"/>
                  </a:lnTo>
                  <a:lnTo>
                    <a:pt x="530" y="659"/>
                  </a:lnTo>
                  <a:lnTo>
                    <a:pt x="525" y="666"/>
                  </a:lnTo>
                  <a:lnTo>
                    <a:pt x="520" y="673"/>
                  </a:lnTo>
                  <a:lnTo>
                    <a:pt x="514" y="678"/>
                  </a:lnTo>
                  <a:lnTo>
                    <a:pt x="511" y="680"/>
                  </a:lnTo>
                  <a:lnTo>
                    <a:pt x="508" y="683"/>
                  </a:lnTo>
                  <a:lnTo>
                    <a:pt x="503" y="684"/>
                  </a:lnTo>
                  <a:lnTo>
                    <a:pt x="499" y="684"/>
                  </a:lnTo>
                  <a:lnTo>
                    <a:pt x="491" y="684"/>
                  </a:lnTo>
                  <a:lnTo>
                    <a:pt x="486" y="682"/>
                  </a:lnTo>
                  <a:lnTo>
                    <a:pt x="481" y="679"/>
                  </a:lnTo>
                  <a:lnTo>
                    <a:pt x="477" y="676"/>
                  </a:lnTo>
                  <a:lnTo>
                    <a:pt x="470" y="668"/>
                  </a:lnTo>
                  <a:lnTo>
                    <a:pt x="465" y="659"/>
                  </a:lnTo>
                  <a:lnTo>
                    <a:pt x="458" y="650"/>
                  </a:lnTo>
                  <a:lnTo>
                    <a:pt x="451" y="642"/>
                  </a:lnTo>
                  <a:lnTo>
                    <a:pt x="446" y="639"/>
                  </a:lnTo>
                  <a:lnTo>
                    <a:pt x="441" y="637"/>
                  </a:lnTo>
                  <a:lnTo>
                    <a:pt x="433" y="635"/>
                  </a:lnTo>
                  <a:lnTo>
                    <a:pt x="425" y="635"/>
                  </a:lnTo>
                  <a:lnTo>
                    <a:pt x="421" y="635"/>
                  </a:lnTo>
                  <a:lnTo>
                    <a:pt x="417" y="638"/>
                  </a:lnTo>
                  <a:lnTo>
                    <a:pt x="412" y="640"/>
                  </a:lnTo>
                  <a:lnTo>
                    <a:pt x="409" y="644"/>
                  </a:lnTo>
                  <a:lnTo>
                    <a:pt x="405" y="647"/>
                  </a:lnTo>
                  <a:lnTo>
                    <a:pt x="401" y="650"/>
                  </a:lnTo>
                  <a:lnTo>
                    <a:pt x="397" y="652"/>
                  </a:lnTo>
                  <a:lnTo>
                    <a:pt x="392" y="653"/>
                  </a:lnTo>
                  <a:lnTo>
                    <a:pt x="384" y="652"/>
                  </a:lnTo>
                  <a:lnTo>
                    <a:pt x="376" y="651"/>
                  </a:lnTo>
                  <a:lnTo>
                    <a:pt x="369" y="648"/>
                  </a:lnTo>
                  <a:lnTo>
                    <a:pt x="363" y="645"/>
                  </a:lnTo>
                  <a:lnTo>
                    <a:pt x="350" y="638"/>
                  </a:lnTo>
                  <a:lnTo>
                    <a:pt x="339" y="629"/>
                  </a:lnTo>
                  <a:lnTo>
                    <a:pt x="327" y="619"/>
                  </a:lnTo>
                  <a:lnTo>
                    <a:pt x="312" y="611"/>
                  </a:lnTo>
                  <a:lnTo>
                    <a:pt x="306" y="608"/>
                  </a:lnTo>
                  <a:lnTo>
                    <a:pt x="297" y="606"/>
                  </a:lnTo>
                  <a:lnTo>
                    <a:pt x="289" y="604"/>
                  </a:lnTo>
                  <a:lnTo>
                    <a:pt x="279" y="603"/>
                  </a:lnTo>
                  <a:lnTo>
                    <a:pt x="271" y="604"/>
                  </a:lnTo>
                  <a:lnTo>
                    <a:pt x="262" y="606"/>
                  </a:lnTo>
                  <a:lnTo>
                    <a:pt x="253" y="610"/>
                  </a:lnTo>
                  <a:lnTo>
                    <a:pt x="245" y="615"/>
                  </a:lnTo>
                  <a:lnTo>
                    <a:pt x="237" y="620"/>
                  </a:lnTo>
                  <a:lnTo>
                    <a:pt x="229" y="628"/>
                  </a:lnTo>
                  <a:lnTo>
                    <a:pt x="222" y="636"/>
                  </a:lnTo>
                  <a:lnTo>
                    <a:pt x="216" y="644"/>
                  </a:lnTo>
                  <a:lnTo>
                    <a:pt x="209" y="653"/>
                  </a:lnTo>
                  <a:lnTo>
                    <a:pt x="204" y="662"/>
                  </a:lnTo>
                  <a:lnTo>
                    <a:pt x="198" y="671"/>
                  </a:lnTo>
                  <a:lnTo>
                    <a:pt x="194" y="682"/>
                  </a:lnTo>
                  <a:lnTo>
                    <a:pt x="190" y="692"/>
                  </a:lnTo>
                  <a:lnTo>
                    <a:pt x="188" y="702"/>
                  </a:lnTo>
                  <a:lnTo>
                    <a:pt x="187" y="711"/>
                  </a:lnTo>
                  <a:lnTo>
                    <a:pt x="186" y="720"/>
                  </a:lnTo>
                  <a:lnTo>
                    <a:pt x="178" y="719"/>
                  </a:lnTo>
                  <a:lnTo>
                    <a:pt x="172" y="717"/>
                  </a:lnTo>
                  <a:lnTo>
                    <a:pt x="164" y="712"/>
                  </a:lnTo>
                  <a:lnTo>
                    <a:pt x="156" y="708"/>
                  </a:lnTo>
                  <a:lnTo>
                    <a:pt x="149" y="702"/>
                  </a:lnTo>
                  <a:lnTo>
                    <a:pt x="141" y="697"/>
                  </a:lnTo>
                  <a:lnTo>
                    <a:pt x="134" y="693"/>
                  </a:lnTo>
                  <a:lnTo>
                    <a:pt x="127" y="690"/>
                  </a:lnTo>
                  <a:lnTo>
                    <a:pt x="100" y="740"/>
                  </a:lnTo>
                  <a:lnTo>
                    <a:pt x="73" y="740"/>
                  </a:lnTo>
                  <a:lnTo>
                    <a:pt x="70" y="725"/>
                  </a:lnTo>
                  <a:lnTo>
                    <a:pt x="67" y="712"/>
                  </a:lnTo>
                  <a:lnTo>
                    <a:pt x="66" y="699"/>
                  </a:lnTo>
                  <a:lnTo>
                    <a:pt x="66" y="686"/>
                  </a:lnTo>
                  <a:lnTo>
                    <a:pt x="66" y="672"/>
                  </a:lnTo>
                  <a:lnTo>
                    <a:pt x="66" y="658"/>
                  </a:lnTo>
                  <a:lnTo>
                    <a:pt x="64" y="644"/>
                  </a:lnTo>
                  <a:lnTo>
                    <a:pt x="60" y="629"/>
                  </a:lnTo>
                  <a:lnTo>
                    <a:pt x="58" y="622"/>
                  </a:lnTo>
                  <a:lnTo>
                    <a:pt x="53" y="618"/>
                  </a:lnTo>
                  <a:lnTo>
                    <a:pt x="50" y="613"/>
                  </a:lnTo>
                  <a:lnTo>
                    <a:pt x="46" y="609"/>
                  </a:lnTo>
                  <a:lnTo>
                    <a:pt x="36" y="601"/>
                  </a:lnTo>
                  <a:lnTo>
                    <a:pt x="25" y="592"/>
                  </a:lnTo>
                  <a:lnTo>
                    <a:pt x="20" y="587"/>
                  </a:lnTo>
                  <a:lnTo>
                    <a:pt x="16" y="581"/>
                  </a:lnTo>
                  <a:lnTo>
                    <a:pt x="11" y="575"/>
                  </a:lnTo>
                  <a:lnTo>
                    <a:pt x="8" y="566"/>
                  </a:lnTo>
                  <a:lnTo>
                    <a:pt x="5" y="558"/>
                  </a:lnTo>
                  <a:lnTo>
                    <a:pt x="3" y="548"/>
                  </a:lnTo>
                  <a:lnTo>
                    <a:pt x="0" y="537"/>
                  </a:lnTo>
                  <a:lnTo>
                    <a:pt x="0" y="524"/>
                  </a:lnTo>
                  <a:lnTo>
                    <a:pt x="53" y="530"/>
                  </a:lnTo>
                  <a:lnTo>
                    <a:pt x="59" y="526"/>
                  </a:lnTo>
                  <a:lnTo>
                    <a:pt x="64" y="522"/>
                  </a:lnTo>
                  <a:lnTo>
                    <a:pt x="71" y="520"/>
                  </a:lnTo>
                  <a:lnTo>
                    <a:pt x="76" y="518"/>
                  </a:lnTo>
                  <a:lnTo>
                    <a:pt x="91" y="514"/>
                  </a:lnTo>
                  <a:lnTo>
                    <a:pt x="106" y="512"/>
                  </a:lnTo>
                  <a:lnTo>
                    <a:pt x="121" y="511"/>
                  </a:lnTo>
                  <a:lnTo>
                    <a:pt x="139" y="510"/>
                  </a:lnTo>
                  <a:lnTo>
                    <a:pt x="155" y="508"/>
                  </a:lnTo>
                  <a:lnTo>
                    <a:pt x="173" y="505"/>
                  </a:lnTo>
                  <a:lnTo>
                    <a:pt x="177" y="503"/>
                  </a:lnTo>
                  <a:lnTo>
                    <a:pt x="182" y="500"/>
                  </a:lnTo>
                  <a:lnTo>
                    <a:pt x="185" y="497"/>
                  </a:lnTo>
                  <a:lnTo>
                    <a:pt x="189" y="494"/>
                  </a:lnTo>
                  <a:lnTo>
                    <a:pt x="196" y="485"/>
                  </a:lnTo>
                  <a:lnTo>
                    <a:pt x="201" y="475"/>
                  </a:lnTo>
                  <a:lnTo>
                    <a:pt x="207" y="464"/>
                  </a:lnTo>
                  <a:lnTo>
                    <a:pt x="211" y="451"/>
                  </a:lnTo>
                  <a:lnTo>
                    <a:pt x="216" y="438"/>
                  </a:lnTo>
                  <a:lnTo>
                    <a:pt x="219" y="424"/>
                  </a:lnTo>
                  <a:lnTo>
                    <a:pt x="221" y="410"/>
                  </a:lnTo>
                  <a:lnTo>
                    <a:pt x="223" y="395"/>
                  </a:lnTo>
                  <a:lnTo>
                    <a:pt x="224" y="381"/>
                  </a:lnTo>
                  <a:lnTo>
                    <a:pt x="224" y="367"/>
                  </a:lnTo>
                  <a:lnTo>
                    <a:pt x="224" y="354"/>
                  </a:lnTo>
                  <a:lnTo>
                    <a:pt x="223" y="341"/>
                  </a:lnTo>
                  <a:lnTo>
                    <a:pt x="221" y="330"/>
                  </a:lnTo>
                  <a:lnTo>
                    <a:pt x="219" y="320"/>
                  </a:lnTo>
                  <a:lnTo>
                    <a:pt x="219" y="283"/>
                  </a:lnTo>
                </a:path>
              </a:pathLst>
            </a:custGeom>
            <a:solidFill>
              <a:srgbClr val="C0C0C0"/>
            </a:solidFill>
            <a:ln w="9525" cmpd="sng">
              <a:solidFill>
                <a:srgbClr val="FFFFFF"/>
              </a:solidFill>
              <a:prstDash val="solid"/>
              <a:round/>
              <a:headEnd/>
              <a:tailEnd/>
            </a:ln>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1" name="Freeform 546">
              <a:extLst>
                <a:ext uri="{FF2B5EF4-FFF2-40B4-BE49-F238E27FC236}">
                  <a16:creationId xmlns:a16="http://schemas.microsoft.com/office/drawing/2014/main" id="{A79C63EE-7CA6-4EDD-8B37-A0B7621182D6}"/>
                </a:ext>
              </a:extLst>
            </p:cNvPr>
            <p:cNvSpPr>
              <a:spLocks/>
            </p:cNvSpPr>
            <p:nvPr>
              <p:custDataLst>
                <p:tags r:id="rId377"/>
              </p:custDataLst>
            </p:nvPr>
          </p:nvSpPr>
          <p:spPr bwMode="auto">
            <a:xfrm>
              <a:off x="3692521" y="2533630"/>
              <a:ext cx="300038" cy="260348"/>
            </a:xfrm>
            <a:custGeom>
              <a:avLst/>
              <a:gdLst>
                <a:gd name="T0" fmla="*/ 278945 w 697"/>
                <a:gd name="T1" fmla="*/ 27597 h 500"/>
                <a:gd name="T2" fmla="*/ 282819 w 697"/>
                <a:gd name="T3" fmla="*/ 83833 h 500"/>
                <a:gd name="T4" fmla="*/ 284541 w 697"/>
                <a:gd name="T5" fmla="*/ 86957 h 500"/>
                <a:gd name="T6" fmla="*/ 291429 w 697"/>
                <a:gd name="T7" fmla="*/ 92164 h 500"/>
                <a:gd name="T8" fmla="*/ 298747 w 697"/>
                <a:gd name="T9" fmla="*/ 98412 h 500"/>
                <a:gd name="T10" fmla="*/ 300038 w 697"/>
                <a:gd name="T11" fmla="*/ 103099 h 500"/>
                <a:gd name="T12" fmla="*/ 298747 w 697"/>
                <a:gd name="T13" fmla="*/ 109868 h 500"/>
                <a:gd name="T14" fmla="*/ 294872 w 697"/>
                <a:gd name="T15" fmla="*/ 112992 h 500"/>
                <a:gd name="T16" fmla="*/ 281958 w 697"/>
                <a:gd name="T17" fmla="*/ 113513 h 500"/>
                <a:gd name="T18" fmla="*/ 260435 w 697"/>
                <a:gd name="T19" fmla="*/ 118720 h 500"/>
                <a:gd name="T20" fmla="*/ 244077 w 697"/>
                <a:gd name="T21" fmla="*/ 130175 h 500"/>
                <a:gd name="T22" fmla="*/ 236328 w 697"/>
                <a:gd name="T23" fmla="*/ 139027 h 500"/>
                <a:gd name="T24" fmla="*/ 232024 w 697"/>
                <a:gd name="T25" fmla="*/ 149962 h 500"/>
                <a:gd name="T26" fmla="*/ 224275 w 697"/>
                <a:gd name="T27" fmla="*/ 157251 h 500"/>
                <a:gd name="T28" fmla="*/ 211361 w 697"/>
                <a:gd name="T29" fmla="*/ 168707 h 500"/>
                <a:gd name="T30" fmla="*/ 195864 w 697"/>
                <a:gd name="T31" fmla="*/ 183286 h 500"/>
                <a:gd name="T32" fmla="*/ 180798 w 697"/>
                <a:gd name="T33" fmla="*/ 192659 h 500"/>
                <a:gd name="T34" fmla="*/ 160135 w 697"/>
                <a:gd name="T35" fmla="*/ 196304 h 500"/>
                <a:gd name="T36" fmla="*/ 148082 w 697"/>
                <a:gd name="T37" fmla="*/ 197866 h 500"/>
                <a:gd name="T38" fmla="*/ 136029 w 697"/>
                <a:gd name="T39" fmla="*/ 206197 h 500"/>
                <a:gd name="T40" fmla="*/ 124836 w 697"/>
                <a:gd name="T41" fmla="*/ 217132 h 500"/>
                <a:gd name="T42" fmla="*/ 114075 w 697"/>
                <a:gd name="T43" fmla="*/ 221818 h 500"/>
                <a:gd name="T44" fmla="*/ 2152 w 697"/>
                <a:gd name="T45" fmla="*/ 258267 h 500"/>
                <a:gd name="T46" fmla="*/ 13775 w 697"/>
                <a:gd name="T47" fmla="*/ 253581 h 500"/>
                <a:gd name="T48" fmla="*/ 36590 w 697"/>
                <a:gd name="T49" fmla="*/ 246291 h 500"/>
                <a:gd name="T50" fmla="*/ 40034 w 697"/>
                <a:gd name="T51" fmla="*/ 239001 h 500"/>
                <a:gd name="T52" fmla="*/ 42617 w 697"/>
                <a:gd name="T53" fmla="*/ 228067 h 500"/>
                <a:gd name="T54" fmla="*/ 51226 w 697"/>
                <a:gd name="T55" fmla="*/ 219735 h 500"/>
                <a:gd name="T56" fmla="*/ 68875 w 697"/>
                <a:gd name="T57" fmla="*/ 207759 h 500"/>
                <a:gd name="T58" fmla="*/ 77915 w 697"/>
                <a:gd name="T59" fmla="*/ 198907 h 500"/>
                <a:gd name="T60" fmla="*/ 82650 w 697"/>
                <a:gd name="T61" fmla="*/ 185890 h 500"/>
                <a:gd name="T62" fmla="*/ 83081 w 697"/>
                <a:gd name="T63" fmla="*/ 164541 h 500"/>
                <a:gd name="T64" fmla="*/ 83942 w 697"/>
                <a:gd name="T65" fmla="*/ 132258 h 500"/>
                <a:gd name="T66" fmla="*/ 82650 w 697"/>
                <a:gd name="T67" fmla="*/ 99974 h 500"/>
                <a:gd name="T68" fmla="*/ 92121 w 697"/>
                <a:gd name="T69" fmla="*/ 98412 h 500"/>
                <a:gd name="T70" fmla="*/ 98147 w 697"/>
                <a:gd name="T71" fmla="*/ 93205 h 500"/>
                <a:gd name="T72" fmla="*/ 103743 w 697"/>
                <a:gd name="T73" fmla="*/ 85916 h 500"/>
                <a:gd name="T74" fmla="*/ 108479 w 697"/>
                <a:gd name="T75" fmla="*/ 79146 h 500"/>
                <a:gd name="T76" fmla="*/ 120962 w 697"/>
                <a:gd name="T77" fmla="*/ 76022 h 500"/>
                <a:gd name="T78" fmla="*/ 135168 w 697"/>
                <a:gd name="T79" fmla="*/ 74460 h 500"/>
                <a:gd name="T80" fmla="*/ 146360 w 697"/>
                <a:gd name="T81" fmla="*/ 68212 h 500"/>
                <a:gd name="T82" fmla="*/ 154969 w 697"/>
                <a:gd name="T83" fmla="*/ 56236 h 500"/>
                <a:gd name="T84" fmla="*/ 167023 w 697"/>
                <a:gd name="T85" fmla="*/ 24994 h 500"/>
                <a:gd name="T86" fmla="*/ 175202 w 697"/>
                <a:gd name="T87" fmla="*/ 6248 h 500"/>
                <a:gd name="T88" fmla="*/ 183380 w 697"/>
                <a:gd name="T89" fmla="*/ 4166 h 500"/>
                <a:gd name="T90" fmla="*/ 193281 w 697"/>
                <a:gd name="T91" fmla="*/ 10414 h 500"/>
                <a:gd name="T92" fmla="*/ 220401 w 697"/>
                <a:gd name="T93" fmla="*/ 9373 h 500"/>
                <a:gd name="T94" fmla="*/ 253978 w 697"/>
                <a:gd name="T95" fmla="*/ 6769 h 500"/>
                <a:gd name="T96" fmla="*/ 256991 w 697"/>
                <a:gd name="T97" fmla="*/ 8852 h 500"/>
                <a:gd name="T98" fmla="*/ 260435 w 697"/>
                <a:gd name="T99" fmla="*/ 18745 h 500"/>
                <a:gd name="T100" fmla="*/ 263018 w 697"/>
                <a:gd name="T101" fmla="*/ 26556 h 500"/>
                <a:gd name="T102" fmla="*/ 266031 w 697"/>
                <a:gd name="T103" fmla="*/ 26035 h 50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697" h="500">
                  <a:moveTo>
                    <a:pt x="631" y="50"/>
                  </a:moveTo>
                  <a:lnTo>
                    <a:pt x="635" y="51"/>
                  </a:lnTo>
                  <a:lnTo>
                    <a:pt x="648" y="53"/>
                  </a:lnTo>
                  <a:lnTo>
                    <a:pt x="659" y="55"/>
                  </a:lnTo>
                  <a:lnTo>
                    <a:pt x="664" y="56"/>
                  </a:lnTo>
                  <a:lnTo>
                    <a:pt x="657" y="161"/>
                  </a:lnTo>
                  <a:lnTo>
                    <a:pt x="657" y="163"/>
                  </a:lnTo>
                  <a:lnTo>
                    <a:pt x="659" y="165"/>
                  </a:lnTo>
                  <a:lnTo>
                    <a:pt x="661" y="167"/>
                  </a:lnTo>
                  <a:lnTo>
                    <a:pt x="664" y="169"/>
                  </a:lnTo>
                  <a:lnTo>
                    <a:pt x="669" y="173"/>
                  </a:lnTo>
                  <a:lnTo>
                    <a:pt x="677" y="177"/>
                  </a:lnTo>
                  <a:lnTo>
                    <a:pt x="685" y="181"/>
                  </a:lnTo>
                  <a:lnTo>
                    <a:pt x="691" y="185"/>
                  </a:lnTo>
                  <a:lnTo>
                    <a:pt x="694" y="189"/>
                  </a:lnTo>
                  <a:lnTo>
                    <a:pt x="696" y="192"/>
                  </a:lnTo>
                  <a:lnTo>
                    <a:pt x="697" y="195"/>
                  </a:lnTo>
                  <a:lnTo>
                    <a:pt x="697" y="198"/>
                  </a:lnTo>
                  <a:lnTo>
                    <a:pt x="697" y="203"/>
                  </a:lnTo>
                  <a:lnTo>
                    <a:pt x="696" y="208"/>
                  </a:lnTo>
                  <a:lnTo>
                    <a:pt x="694" y="211"/>
                  </a:lnTo>
                  <a:lnTo>
                    <a:pt x="691" y="214"/>
                  </a:lnTo>
                  <a:lnTo>
                    <a:pt x="688" y="216"/>
                  </a:lnTo>
                  <a:lnTo>
                    <a:pt x="685" y="217"/>
                  </a:lnTo>
                  <a:lnTo>
                    <a:pt x="680" y="218"/>
                  </a:lnTo>
                  <a:lnTo>
                    <a:pt x="676" y="219"/>
                  </a:lnTo>
                  <a:lnTo>
                    <a:pt x="655" y="218"/>
                  </a:lnTo>
                  <a:lnTo>
                    <a:pt x="631" y="216"/>
                  </a:lnTo>
                  <a:lnTo>
                    <a:pt x="619" y="221"/>
                  </a:lnTo>
                  <a:lnTo>
                    <a:pt x="605" y="228"/>
                  </a:lnTo>
                  <a:lnTo>
                    <a:pt x="589" y="235"/>
                  </a:lnTo>
                  <a:lnTo>
                    <a:pt x="574" y="245"/>
                  </a:lnTo>
                  <a:lnTo>
                    <a:pt x="567" y="250"/>
                  </a:lnTo>
                  <a:lnTo>
                    <a:pt x="560" y="256"/>
                  </a:lnTo>
                  <a:lnTo>
                    <a:pt x="554" y="261"/>
                  </a:lnTo>
                  <a:lnTo>
                    <a:pt x="549" y="267"/>
                  </a:lnTo>
                  <a:lnTo>
                    <a:pt x="544" y="274"/>
                  </a:lnTo>
                  <a:lnTo>
                    <a:pt x="541" y="281"/>
                  </a:lnTo>
                  <a:lnTo>
                    <a:pt x="539" y="288"/>
                  </a:lnTo>
                  <a:lnTo>
                    <a:pt x="538" y="296"/>
                  </a:lnTo>
                  <a:lnTo>
                    <a:pt x="529" y="299"/>
                  </a:lnTo>
                  <a:lnTo>
                    <a:pt x="521" y="302"/>
                  </a:lnTo>
                  <a:lnTo>
                    <a:pt x="514" y="306"/>
                  </a:lnTo>
                  <a:lnTo>
                    <a:pt x="506" y="312"/>
                  </a:lnTo>
                  <a:lnTo>
                    <a:pt x="491" y="324"/>
                  </a:lnTo>
                  <a:lnTo>
                    <a:pt x="475" y="339"/>
                  </a:lnTo>
                  <a:lnTo>
                    <a:pt x="465" y="346"/>
                  </a:lnTo>
                  <a:lnTo>
                    <a:pt x="455" y="352"/>
                  </a:lnTo>
                  <a:lnTo>
                    <a:pt x="445" y="360"/>
                  </a:lnTo>
                  <a:lnTo>
                    <a:pt x="433" y="365"/>
                  </a:lnTo>
                  <a:lnTo>
                    <a:pt x="420" y="370"/>
                  </a:lnTo>
                  <a:lnTo>
                    <a:pt x="406" y="373"/>
                  </a:lnTo>
                  <a:lnTo>
                    <a:pt x="389" y="376"/>
                  </a:lnTo>
                  <a:lnTo>
                    <a:pt x="372" y="377"/>
                  </a:lnTo>
                  <a:lnTo>
                    <a:pt x="361" y="377"/>
                  </a:lnTo>
                  <a:lnTo>
                    <a:pt x="352" y="378"/>
                  </a:lnTo>
                  <a:lnTo>
                    <a:pt x="344" y="380"/>
                  </a:lnTo>
                  <a:lnTo>
                    <a:pt x="337" y="382"/>
                  </a:lnTo>
                  <a:lnTo>
                    <a:pt x="326" y="389"/>
                  </a:lnTo>
                  <a:lnTo>
                    <a:pt x="316" y="396"/>
                  </a:lnTo>
                  <a:lnTo>
                    <a:pt x="306" y="404"/>
                  </a:lnTo>
                  <a:lnTo>
                    <a:pt x="296" y="413"/>
                  </a:lnTo>
                  <a:lnTo>
                    <a:pt x="290" y="417"/>
                  </a:lnTo>
                  <a:lnTo>
                    <a:pt x="283" y="420"/>
                  </a:lnTo>
                  <a:lnTo>
                    <a:pt x="274" y="423"/>
                  </a:lnTo>
                  <a:lnTo>
                    <a:pt x="265" y="426"/>
                  </a:lnTo>
                  <a:lnTo>
                    <a:pt x="272" y="494"/>
                  </a:lnTo>
                  <a:lnTo>
                    <a:pt x="0" y="500"/>
                  </a:lnTo>
                  <a:lnTo>
                    <a:pt x="5" y="496"/>
                  </a:lnTo>
                  <a:lnTo>
                    <a:pt x="13" y="492"/>
                  </a:lnTo>
                  <a:lnTo>
                    <a:pt x="22" y="490"/>
                  </a:lnTo>
                  <a:lnTo>
                    <a:pt x="32" y="487"/>
                  </a:lnTo>
                  <a:lnTo>
                    <a:pt x="55" y="483"/>
                  </a:lnTo>
                  <a:lnTo>
                    <a:pt x="80" y="475"/>
                  </a:lnTo>
                  <a:lnTo>
                    <a:pt x="85" y="473"/>
                  </a:lnTo>
                  <a:lnTo>
                    <a:pt x="90" y="469"/>
                  </a:lnTo>
                  <a:lnTo>
                    <a:pt x="92" y="465"/>
                  </a:lnTo>
                  <a:lnTo>
                    <a:pt x="93" y="459"/>
                  </a:lnTo>
                  <a:lnTo>
                    <a:pt x="93" y="451"/>
                  </a:lnTo>
                  <a:lnTo>
                    <a:pt x="93" y="444"/>
                  </a:lnTo>
                  <a:lnTo>
                    <a:pt x="99" y="438"/>
                  </a:lnTo>
                  <a:lnTo>
                    <a:pt x="104" y="432"/>
                  </a:lnTo>
                  <a:lnTo>
                    <a:pt x="112" y="427"/>
                  </a:lnTo>
                  <a:lnTo>
                    <a:pt x="119" y="422"/>
                  </a:lnTo>
                  <a:lnTo>
                    <a:pt x="136" y="414"/>
                  </a:lnTo>
                  <a:lnTo>
                    <a:pt x="152" y="404"/>
                  </a:lnTo>
                  <a:lnTo>
                    <a:pt x="160" y="399"/>
                  </a:lnTo>
                  <a:lnTo>
                    <a:pt x="168" y="394"/>
                  </a:lnTo>
                  <a:lnTo>
                    <a:pt x="174" y="388"/>
                  </a:lnTo>
                  <a:lnTo>
                    <a:pt x="181" y="382"/>
                  </a:lnTo>
                  <a:lnTo>
                    <a:pt x="185" y="375"/>
                  </a:lnTo>
                  <a:lnTo>
                    <a:pt x="189" y="366"/>
                  </a:lnTo>
                  <a:lnTo>
                    <a:pt x="192" y="357"/>
                  </a:lnTo>
                  <a:lnTo>
                    <a:pt x="192" y="345"/>
                  </a:lnTo>
                  <a:lnTo>
                    <a:pt x="193" y="332"/>
                  </a:lnTo>
                  <a:lnTo>
                    <a:pt x="193" y="316"/>
                  </a:lnTo>
                  <a:lnTo>
                    <a:pt x="194" y="296"/>
                  </a:lnTo>
                  <a:lnTo>
                    <a:pt x="195" y="275"/>
                  </a:lnTo>
                  <a:lnTo>
                    <a:pt x="195" y="254"/>
                  </a:lnTo>
                  <a:lnTo>
                    <a:pt x="195" y="232"/>
                  </a:lnTo>
                  <a:lnTo>
                    <a:pt x="194" y="211"/>
                  </a:lnTo>
                  <a:lnTo>
                    <a:pt x="192" y="192"/>
                  </a:lnTo>
                  <a:lnTo>
                    <a:pt x="201" y="192"/>
                  </a:lnTo>
                  <a:lnTo>
                    <a:pt x="207" y="190"/>
                  </a:lnTo>
                  <a:lnTo>
                    <a:pt x="214" y="189"/>
                  </a:lnTo>
                  <a:lnTo>
                    <a:pt x="219" y="185"/>
                  </a:lnTo>
                  <a:lnTo>
                    <a:pt x="224" y="182"/>
                  </a:lnTo>
                  <a:lnTo>
                    <a:pt x="228" y="179"/>
                  </a:lnTo>
                  <a:lnTo>
                    <a:pt x="232" y="176"/>
                  </a:lnTo>
                  <a:lnTo>
                    <a:pt x="236" y="172"/>
                  </a:lnTo>
                  <a:lnTo>
                    <a:pt x="241" y="165"/>
                  </a:lnTo>
                  <a:lnTo>
                    <a:pt x="247" y="158"/>
                  </a:lnTo>
                  <a:lnTo>
                    <a:pt x="249" y="155"/>
                  </a:lnTo>
                  <a:lnTo>
                    <a:pt x="252" y="152"/>
                  </a:lnTo>
                  <a:lnTo>
                    <a:pt x="256" y="150"/>
                  </a:lnTo>
                  <a:lnTo>
                    <a:pt x="259" y="149"/>
                  </a:lnTo>
                  <a:lnTo>
                    <a:pt x="281" y="146"/>
                  </a:lnTo>
                  <a:lnTo>
                    <a:pt x="297" y="145"/>
                  </a:lnTo>
                  <a:lnTo>
                    <a:pt x="306" y="144"/>
                  </a:lnTo>
                  <a:lnTo>
                    <a:pt x="314" y="143"/>
                  </a:lnTo>
                  <a:lnTo>
                    <a:pt x="323" y="140"/>
                  </a:lnTo>
                  <a:lnTo>
                    <a:pt x="331" y="137"/>
                  </a:lnTo>
                  <a:lnTo>
                    <a:pt x="340" y="131"/>
                  </a:lnTo>
                  <a:lnTo>
                    <a:pt x="348" y="124"/>
                  </a:lnTo>
                  <a:lnTo>
                    <a:pt x="354" y="116"/>
                  </a:lnTo>
                  <a:lnTo>
                    <a:pt x="360" y="108"/>
                  </a:lnTo>
                  <a:lnTo>
                    <a:pt x="371" y="89"/>
                  </a:lnTo>
                  <a:lnTo>
                    <a:pt x="380" y="68"/>
                  </a:lnTo>
                  <a:lnTo>
                    <a:pt x="388" y="48"/>
                  </a:lnTo>
                  <a:lnTo>
                    <a:pt x="397" y="29"/>
                  </a:lnTo>
                  <a:lnTo>
                    <a:pt x="402" y="21"/>
                  </a:lnTo>
                  <a:lnTo>
                    <a:pt x="407" y="12"/>
                  </a:lnTo>
                  <a:lnTo>
                    <a:pt x="413" y="6"/>
                  </a:lnTo>
                  <a:lnTo>
                    <a:pt x="418" y="0"/>
                  </a:lnTo>
                  <a:lnTo>
                    <a:pt x="426" y="8"/>
                  </a:lnTo>
                  <a:lnTo>
                    <a:pt x="433" y="14"/>
                  </a:lnTo>
                  <a:lnTo>
                    <a:pt x="441" y="17"/>
                  </a:lnTo>
                  <a:lnTo>
                    <a:pt x="449" y="20"/>
                  </a:lnTo>
                  <a:lnTo>
                    <a:pt x="465" y="20"/>
                  </a:lnTo>
                  <a:lnTo>
                    <a:pt x="485" y="20"/>
                  </a:lnTo>
                  <a:lnTo>
                    <a:pt x="512" y="18"/>
                  </a:lnTo>
                  <a:lnTo>
                    <a:pt x="543" y="16"/>
                  </a:lnTo>
                  <a:lnTo>
                    <a:pt x="571" y="14"/>
                  </a:lnTo>
                  <a:lnTo>
                    <a:pt x="590" y="13"/>
                  </a:lnTo>
                  <a:lnTo>
                    <a:pt x="594" y="13"/>
                  </a:lnTo>
                  <a:lnTo>
                    <a:pt x="595" y="15"/>
                  </a:lnTo>
                  <a:lnTo>
                    <a:pt x="597" y="17"/>
                  </a:lnTo>
                  <a:lnTo>
                    <a:pt x="599" y="21"/>
                  </a:lnTo>
                  <a:lnTo>
                    <a:pt x="601" y="28"/>
                  </a:lnTo>
                  <a:lnTo>
                    <a:pt x="605" y="36"/>
                  </a:lnTo>
                  <a:lnTo>
                    <a:pt x="607" y="44"/>
                  </a:lnTo>
                  <a:lnTo>
                    <a:pt x="609" y="49"/>
                  </a:lnTo>
                  <a:lnTo>
                    <a:pt x="611" y="51"/>
                  </a:lnTo>
                  <a:lnTo>
                    <a:pt x="613" y="52"/>
                  </a:lnTo>
                  <a:lnTo>
                    <a:pt x="615" y="51"/>
                  </a:lnTo>
                  <a:lnTo>
                    <a:pt x="618" y="50"/>
                  </a:lnTo>
                  <a:lnTo>
                    <a:pt x="631" y="5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2" name="Freeform 547">
              <a:extLst>
                <a:ext uri="{FF2B5EF4-FFF2-40B4-BE49-F238E27FC236}">
                  <a16:creationId xmlns:a16="http://schemas.microsoft.com/office/drawing/2014/main" id="{4C3980FB-C3B5-419F-8F76-C0AB935579C3}"/>
                </a:ext>
              </a:extLst>
            </p:cNvPr>
            <p:cNvSpPr>
              <a:spLocks/>
            </p:cNvSpPr>
            <p:nvPr>
              <p:custDataLst>
                <p:tags r:id="rId378"/>
              </p:custDataLst>
            </p:nvPr>
          </p:nvSpPr>
          <p:spPr bwMode="auto">
            <a:xfrm>
              <a:off x="4392609" y="1463662"/>
              <a:ext cx="236537" cy="92074"/>
            </a:xfrm>
            <a:custGeom>
              <a:avLst/>
              <a:gdLst>
                <a:gd name="T0" fmla="*/ 32058 w 546"/>
                <a:gd name="T1" fmla="*/ 10112 h 173"/>
                <a:gd name="T2" fmla="*/ 40722 w 546"/>
                <a:gd name="T3" fmla="*/ 18096 h 173"/>
                <a:gd name="T4" fmla="*/ 47654 w 546"/>
                <a:gd name="T5" fmla="*/ 14370 h 173"/>
                <a:gd name="T6" fmla="*/ 57185 w 546"/>
                <a:gd name="T7" fmla="*/ 14370 h 173"/>
                <a:gd name="T8" fmla="*/ 69748 w 546"/>
                <a:gd name="T9" fmla="*/ 23418 h 173"/>
                <a:gd name="T10" fmla="*/ 90543 w 546"/>
                <a:gd name="T11" fmla="*/ 10112 h 173"/>
                <a:gd name="T12" fmla="*/ 105272 w 546"/>
                <a:gd name="T13" fmla="*/ 10112 h 173"/>
                <a:gd name="T14" fmla="*/ 112637 w 546"/>
                <a:gd name="T15" fmla="*/ 8516 h 173"/>
                <a:gd name="T16" fmla="*/ 116536 w 546"/>
                <a:gd name="T17" fmla="*/ 7451 h 173"/>
                <a:gd name="T18" fmla="*/ 120868 w 546"/>
                <a:gd name="T19" fmla="*/ 5854 h 173"/>
                <a:gd name="T20" fmla="*/ 123900 w 546"/>
                <a:gd name="T21" fmla="*/ 1597 h 173"/>
                <a:gd name="T22" fmla="*/ 139063 w 546"/>
                <a:gd name="T23" fmla="*/ 2661 h 173"/>
                <a:gd name="T24" fmla="*/ 144262 w 546"/>
                <a:gd name="T25" fmla="*/ 6387 h 173"/>
                <a:gd name="T26" fmla="*/ 150760 w 546"/>
                <a:gd name="T27" fmla="*/ 3726 h 173"/>
                <a:gd name="T28" fmla="*/ 152926 w 546"/>
                <a:gd name="T29" fmla="*/ 0 h 173"/>
                <a:gd name="T30" fmla="*/ 158991 w 546"/>
                <a:gd name="T31" fmla="*/ 3726 h 173"/>
                <a:gd name="T32" fmla="*/ 168522 w 546"/>
                <a:gd name="T33" fmla="*/ 3726 h 173"/>
                <a:gd name="T34" fmla="*/ 188883 w 546"/>
                <a:gd name="T35" fmla="*/ 532 h 173"/>
                <a:gd name="T36" fmla="*/ 208811 w 546"/>
                <a:gd name="T37" fmla="*/ 3193 h 173"/>
                <a:gd name="T38" fmla="*/ 228739 w 546"/>
                <a:gd name="T39" fmla="*/ 6387 h 173"/>
                <a:gd name="T40" fmla="*/ 236104 w 546"/>
                <a:gd name="T41" fmla="*/ 26079 h 173"/>
                <a:gd name="T42" fmla="*/ 232638 w 546"/>
                <a:gd name="T43" fmla="*/ 31934 h 173"/>
                <a:gd name="T44" fmla="*/ 222241 w 546"/>
                <a:gd name="T45" fmla="*/ 32998 h 173"/>
                <a:gd name="T46" fmla="*/ 209244 w 546"/>
                <a:gd name="T47" fmla="*/ 28740 h 173"/>
                <a:gd name="T48" fmla="*/ 178919 w 546"/>
                <a:gd name="T49" fmla="*/ 23418 h 173"/>
                <a:gd name="T50" fmla="*/ 189749 w 546"/>
                <a:gd name="T51" fmla="*/ 43110 h 173"/>
                <a:gd name="T52" fmla="*/ 204046 w 546"/>
                <a:gd name="T53" fmla="*/ 54287 h 173"/>
                <a:gd name="T54" fmla="*/ 213576 w 546"/>
                <a:gd name="T55" fmla="*/ 63335 h 173"/>
                <a:gd name="T56" fmla="*/ 205779 w 546"/>
                <a:gd name="T57" fmla="*/ 72383 h 173"/>
                <a:gd name="T58" fmla="*/ 194515 w 546"/>
                <a:gd name="T59" fmla="*/ 75576 h 173"/>
                <a:gd name="T60" fmla="*/ 184551 w 546"/>
                <a:gd name="T61" fmla="*/ 75044 h 173"/>
                <a:gd name="T62" fmla="*/ 178486 w 546"/>
                <a:gd name="T63" fmla="*/ 71318 h 173"/>
                <a:gd name="T64" fmla="*/ 172854 w 546"/>
                <a:gd name="T65" fmla="*/ 69189 h 173"/>
                <a:gd name="T66" fmla="*/ 166789 w 546"/>
                <a:gd name="T67" fmla="*/ 64399 h 173"/>
                <a:gd name="T68" fmla="*/ 162457 w 546"/>
                <a:gd name="T69" fmla="*/ 55351 h 173"/>
                <a:gd name="T70" fmla="*/ 158125 w 546"/>
                <a:gd name="T71" fmla="*/ 48965 h 173"/>
                <a:gd name="T72" fmla="*/ 149027 w 546"/>
                <a:gd name="T73" fmla="*/ 44707 h 173"/>
                <a:gd name="T74" fmla="*/ 140796 w 546"/>
                <a:gd name="T75" fmla="*/ 40449 h 173"/>
                <a:gd name="T76" fmla="*/ 131265 w 546"/>
                <a:gd name="T77" fmla="*/ 46304 h 173"/>
                <a:gd name="T78" fmla="*/ 111770 w 546"/>
                <a:gd name="T79" fmla="*/ 71318 h 173"/>
                <a:gd name="T80" fmla="*/ 102239 w 546"/>
                <a:gd name="T81" fmla="*/ 86753 h 173"/>
                <a:gd name="T82" fmla="*/ 95308 w 546"/>
                <a:gd name="T83" fmla="*/ 91543 h 173"/>
                <a:gd name="T84" fmla="*/ 81445 w 546"/>
                <a:gd name="T85" fmla="*/ 88882 h 173"/>
                <a:gd name="T86" fmla="*/ 71481 w 546"/>
                <a:gd name="T87" fmla="*/ 82495 h 173"/>
                <a:gd name="T88" fmla="*/ 48954 w 546"/>
                <a:gd name="T89" fmla="*/ 55884 h 173"/>
                <a:gd name="T90" fmla="*/ 41156 w 546"/>
                <a:gd name="T91" fmla="*/ 48433 h 173"/>
                <a:gd name="T92" fmla="*/ 25993 w 546"/>
                <a:gd name="T93" fmla="*/ 40449 h 173"/>
                <a:gd name="T94" fmla="*/ 6931 w 546"/>
                <a:gd name="T95" fmla="*/ 30869 h 173"/>
                <a:gd name="T96" fmla="*/ 4765 w 546"/>
                <a:gd name="T97" fmla="*/ 18096 h 173"/>
                <a:gd name="T98" fmla="*/ 12130 w 546"/>
                <a:gd name="T99" fmla="*/ 10112 h 173"/>
                <a:gd name="T100" fmla="*/ 20361 w 546"/>
                <a:gd name="T101" fmla="*/ 638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3" name="Freeform 548">
              <a:extLst>
                <a:ext uri="{FF2B5EF4-FFF2-40B4-BE49-F238E27FC236}">
                  <a16:creationId xmlns:a16="http://schemas.microsoft.com/office/drawing/2014/main" id="{FB868C7F-7FCC-4EC5-9AF1-AB4CF7BD3E35}"/>
                </a:ext>
              </a:extLst>
            </p:cNvPr>
            <p:cNvSpPr>
              <a:spLocks/>
            </p:cNvSpPr>
            <p:nvPr>
              <p:custDataLst>
                <p:tags r:id="rId379"/>
              </p:custDataLst>
            </p:nvPr>
          </p:nvSpPr>
          <p:spPr bwMode="auto">
            <a:xfrm>
              <a:off x="4903786" y="1447789"/>
              <a:ext cx="107950" cy="60325"/>
            </a:xfrm>
            <a:custGeom>
              <a:avLst/>
              <a:gdLst>
                <a:gd name="T0" fmla="*/ 11848 w 246"/>
                <a:gd name="T1" fmla="*/ 51707 h 42"/>
                <a:gd name="T2" fmla="*/ 15798 w 246"/>
                <a:gd name="T3" fmla="*/ 51707 h 42"/>
                <a:gd name="T4" fmla="*/ 19747 w 246"/>
                <a:gd name="T5" fmla="*/ 50271 h 42"/>
                <a:gd name="T6" fmla="*/ 23258 w 246"/>
                <a:gd name="T7" fmla="*/ 47398 h 42"/>
                <a:gd name="T8" fmla="*/ 25890 w 246"/>
                <a:gd name="T9" fmla="*/ 44526 h 42"/>
                <a:gd name="T10" fmla="*/ 28962 w 246"/>
                <a:gd name="T11" fmla="*/ 43089 h 42"/>
                <a:gd name="T12" fmla="*/ 31595 w 246"/>
                <a:gd name="T13" fmla="*/ 41653 h 42"/>
                <a:gd name="T14" fmla="*/ 35106 w 246"/>
                <a:gd name="T15" fmla="*/ 41653 h 42"/>
                <a:gd name="T16" fmla="*/ 38177 w 246"/>
                <a:gd name="T17" fmla="*/ 43089 h 42"/>
                <a:gd name="T18" fmla="*/ 38177 w 246"/>
                <a:gd name="T19" fmla="*/ 60325 h 42"/>
                <a:gd name="T20" fmla="*/ 67578 w 246"/>
                <a:gd name="T21" fmla="*/ 60325 h 42"/>
                <a:gd name="T22" fmla="*/ 67578 w 246"/>
                <a:gd name="T23" fmla="*/ 56016 h 42"/>
                <a:gd name="T24" fmla="*/ 68456 w 246"/>
                <a:gd name="T25" fmla="*/ 51707 h 42"/>
                <a:gd name="T26" fmla="*/ 69773 w 246"/>
                <a:gd name="T27" fmla="*/ 47398 h 42"/>
                <a:gd name="T28" fmla="*/ 71528 w 246"/>
                <a:gd name="T29" fmla="*/ 44526 h 42"/>
                <a:gd name="T30" fmla="*/ 76794 w 246"/>
                <a:gd name="T31" fmla="*/ 37344 h 42"/>
                <a:gd name="T32" fmla="*/ 83376 w 246"/>
                <a:gd name="T33" fmla="*/ 33035 h 42"/>
                <a:gd name="T34" fmla="*/ 96979 w 246"/>
                <a:gd name="T35" fmla="*/ 24417 h 42"/>
                <a:gd name="T36" fmla="*/ 107950 w 246"/>
                <a:gd name="T37" fmla="*/ 17236 h 42"/>
                <a:gd name="T38" fmla="*/ 93030 w 246"/>
                <a:gd name="T39" fmla="*/ 18672 h 42"/>
                <a:gd name="T40" fmla="*/ 81621 w 246"/>
                <a:gd name="T41" fmla="*/ 20108 h 42"/>
                <a:gd name="T42" fmla="*/ 78110 w 246"/>
                <a:gd name="T43" fmla="*/ 21545 h 42"/>
                <a:gd name="T44" fmla="*/ 75038 w 246"/>
                <a:gd name="T45" fmla="*/ 21545 h 42"/>
                <a:gd name="T46" fmla="*/ 73722 w 246"/>
                <a:gd name="T47" fmla="*/ 20108 h 42"/>
                <a:gd name="T48" fmla="*/ 73283 w 246"/>
                <a:gd name="T49" fmla="*/ 17236 h 42"/>
                <a:gd name="T50" fmla="*/ 69773 w 246"/>
                <a:gd name="T51" fmla="*/ 22981 h 42"/>
                <a:gd name="T52" fmla="*/ 66701 w 246"/>
                <a:gd name="T53" fmla="*/ 24417 h 42"/>
                <a:gd name="T54" fmla="*/ 64507 w 246"/>
                <a:gd name="T55" fmla="*/ 24417 h 42"/>
                <a:gd name="T56" fmla="*/ 61874 w 246"/>
                <a:gd name="T57" fmla="*/ 21545 h 42"/>
                <a:gd name="T58" fmla="*/ 60118 w 246"/>
                <a:gd name="T59" fmla="*/ 17236 h 42"/>
                <a:gd name="T60" fmla="*/ 58363 w 246"/>
                <a:gd name="T61" fmla="*/ 12927 h 42"/>
                <a:gd name="T62" fmla="*/ 56608 w 246"/>
                <a:gd name="T63" fmla="*/ 7182 h 42"/>
                <a:gd name="T64" fmla="*/ 55291 w 246"/>
                <a:gd name="T65" fmla="*/ 0 h 42"/>
                <a:gd name="T66" fmla="*/ 53097 w 246"/>
                <a:gd name="T67" fmla="*/ 2873 h 42"/>
                <a:gd name="T68" fmla="*/ 49587 w 246"/>
                <a:gd name="T69" fmla="*/ 5745 h 42"/>
                <a:gd name="T70" fmla="*/ 45199 w 246"/>
                <a:gd name="T71" fmla="*/ 7182 h 42"/>
                <a:gd name="T72" fmla="*/ 40810 w 246"/>
                <a:gd name="T73" fmla="*/ 7182 h 42"/>
                <a:gd name="T74" fmla="*/ 32473 w 246"/>
                <a:gd name="T75" fmla="*/ 8618 h 42"/>
                <a:gd name="T76" fmla="*/ 26329 w 246"/>
                <a:gd name="T77" fmla="*/ 8618 h 42"/>
                <a:gd name="T78" fmla="*/ 25452 w 246"/>
                <a:gd name="T79" fmla="*/ 12927 h 42"/>
                <a:gd name="T80" fmla="*/ 24574 w 246"/>
                <a:gd name="T81" fmla="*/ 17236 h 42"/>
                <a:gd name="T82" fmla="*/ 23696 w 246"/>
                <a:gd name="T83" fmla="*/ 21545 h 42"/>
                <a:gd name="T84" fmla="*/ 21941 w 246"/>
                <a:gd name="T85" fmla="*/ 24417 h 42"/>
                <a:gd name="T86" fmla="*/ 18430 w 246"/>
                <a:gd name="T87" fmla="*/ 28726 h 42"/>
                <a:gd name="T88" fmla="*/ 14481 w 246"/>
                <a:gd name="T89" fmla="*/ 31599 h 42"/>
                <a:gd name="T90" fmla="*/ 6143 w 246"/>
                <a:gd name="T91" fmla="*/ 34471 h 42"/>
                <a:gd name="T92" fmla="*/ 0 w 246"/>
                <a:gd name="T93" fmla="*/ 34471 h 42"/>
                <a:gd name="T94" fmla="*/ 439 w 246"/>
                <a:gd name="T95" fmla="*/ 38780 h 42"/>
                <a:gd name="T96" fmla="*/ 1316 w 246"/>
                <a:gd name="T97" fmla="*/ 41653 h 42"/>
                <a:gd name="T98" fmla="*/ 2194 w 246"/>
                <a:gd name="T99" fmla="*/ 44526 h 42"/>
                <a:gd name="T100" fmla="*/ 3949 w 246"/>
                <a:gd name="T101" fmla="*/ 47398 h 42"/>
                <a:gd name="T102" fmla="*/ 7460 w 246"/>
                <a:gd name="T103" fmla="*/ 50271 h 42"/>
                <a:gd name="T104" fmla="*/ 11848 w 246"/>
                <a:gd name="T105" fmla="*/ 5170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4" name="Freeform 549">
              <a:extLst>
                <a:ext uri="{FF2B5EF4-FFF2-40B4-BE49-F238E27FC236}">
                  <a16:creationId xmlns:a16="http://schemas.microsoft.com/office/drawing/2014/main" id="{FA3D0698-12D7-475C-B730-0E56C35EF866}"/>
                </a:ext>
              </a:extLst>
            </p:cNvPr>
            <p:cNvSpPr>
              <a:spLocks/>
            </p:cNvSpPr>
            <p:nvPr>
              <p:custDataLst>
                <p:tags r:id="rId380"/>
              </p:custDataLst>
            </p:nvPr>
          </p:nvSpPr>
          <p:spPr bwMode="auto">
            <a:xfrm>
              <a:off x="5046670" y="1430331"/>
              <a:ext cx="63500" cy="57150"/>
            </a:xfrm>
            <a:custGeom>
              <a:avLst/>
              <a:gdLst>
                <a:gd name="T0" fmla="*/ 43896 w 149"/>
                <a:gd name="T1" fmla="*/ 0 h 61"/>
                <a:gd name="T2" fmla="*/ 50289 w 149"/>
                <a:gd name="T3" fmla="*/ 937 h 61"/>
                <a:gd name="T4" fmla="*/ 57107 w 149"/>
                <a:gd name="T5" fmla="*/ 2811 h 61"/>
                <a:gd name="T6" fmla="*/ 61795 w 149"/>
                <a:gd name="T7" fmla="*/ 4684 h 61"/>
                <a:gd name="T8" fmla="*/ 63500 w 149"/>
                <a:gd name="T9" fmla="*/ 5621 h 61"/>
                <a:gd name="T10" fmla="*/ 63500 w 149"/>
                <a:gd name="T11" fmla="*/ 7495 h 61"/>
                <a:gd name="T12" fmla="*/ 62648 w 149"/>
                <a:gd name="T13" fmla="*/ 9369 h 61"/>
                <a:gd name="T14" fmla="*/ 61795 w 149"/>
                <a:gd name="T15" fmla="*/ 11243 h 61"/>
                <a:gd name="T16" fmla="*/ 60091 w 149"/>
                <a:gd name="T17" fmla="*/ 12180 h 61"/>
                <a:gd name="T18" fmla="*/ 58386 w 149"/>
                <a:gd name="T19" fmla="*/ 13116 h 61"/>
                <a:gd name="T20" fmla="*/ 56255 w 149"/>
                <a:gd name="T21" fmla="*/ 13116 h 61"/>
                <a:gd name="T22" fmla="*/ 54124 w 149"/>
                <a:gd name="T23" fmla="*/ 13116 h 61"/>
                <a:gd name="T24" fmla="*/ 52419 w 149"/>
                <a:gd name="T25" fmla="*/ 11243 h 61"/>
                <a:gd name="T26" fmla="*/ 52419 w 149"/>
                <a:gd name="T27" fmla="*/ 21548 h 61"/>
                <a:gd name="T28" fmla="*/ 52419 w 149"/>
                <a:gd name="T29" fmla="*/ 30917 h 61"/>
                <a:gd name="T30" fmla="*/ 52419 w 149"/>
                <a:gd name="T31" fmla="*/ 38412 h 61"/>
                <a:gd name="T32" fmla="*/ 52419 w 149"/>
                <a:gd name="T33" fmla="*/ 45907 h 61"/>
                <a:gd name="T34" fmla="*/ 49436 w 149"/>
                <a:gd name="T35" fmla="*/ 46844 h 61"/>
                <a:gd name="T36" fmla="*/ 46453 w 149"/>
                <a:gd name="T37" fmla="*/ 47781 h 61"/>
                <a:gd name="T38" fmla="*/ 44322 w 149"/>
                <a:gd name="T39" fmla="*/ 49655 h 61"/>
                <a:gd name="T40" fmla="*/ 42617 w 149"/>
                <a:gd name="T41" fmla="*/ 51529 h 61"/>
                <a:gd name="T42" fmla="*/ 40060 w 149"/>
                <a:gd name="T43" fmla="*/ 53402 h 61"/>
                <a:gd name="T44" fmla="*/ 37930 w 149"/>
                <a:gd name="T45" fmla="*/ 55276 h 61"/>
                <a:gd name="T46" fmla="*/ 35372 w 149"/>
                <a:gd name="T47" fmla="*/ 57150 h 61"/>
                <a:gd name="T48" fmla="*/ 32389 w 149"/>
                <a:gd name="T49" fmla="*/ 57150 h 61"/>
                <a:gd name="T50" fmla="*/ 28554 w 149"/>
                <a:gd name="T51" fmla="*/ 56213 h 61"/>
                <a:gd name="T52" fmla="*/ 22587 w 149"/>
                <a:gd name="T53" fmla="*/ 53402 h 61"/>
                <a:gd name="T54" fmla="*/ 16621 w 149"/>
                <a:gd name="T55" fmla="*/ 50592 h 61"/>
                <a:gd name="T56" fmla="*/ 10654 w 149"/>
                <a:gd name="T57" fmla="*/ 45907 h 61"/>
                <a:gd name="T58" fmla="*/ 5114 w 149"/>
                <a:gd name="T59" fmla="*/ 42160 h 61"/>
                <a:gd name="T60" fmla="*/ 1279 w 149"/>
                <a:gd name="T61" fmla="*/ 38412 h 61"/>
                <a:gd name="T62" fmla="*/ 426 w 149"/>
                <a:gd name="T63" fmla="*/ 36539 h 61"/>
                <a:gd name="T64" fmla="*/ 0 w 149"/>
                <a:gd name="T65" fmla="*/ 35602 h 61"/>
                <a:gd name="T66" fmla="*/ 0 w 149"/>
                <a:gd name="T67" fmla="*/ 34665 h 61"/>
                <a:gd name="T68" fmla="*/ 1279 w 149"/>
                <a:gd name="T69" fmla="*/ 34665 h 61"/>
                <a:gd name="T70" fmla="*/ 8097 w 149"/>
                <a:gd name="T71" fmla="*/ 33728 h 61"/>
                <a:gd name="T72" fmla="*/ 14916 w 149"/>
                <a:gd name="T73" fmla="*/ 32791 h 61"/>
                <a:gd name="T74" fmla="*/ 20456 w 149"/>
                <a:gd name="T75" fmla="*/ 29980 h 61"/>
                <a:gd name="T76" fmla="*/ 25570 w 149"/>
                <a:gd name="T77" fmla="*/ 25296 h 61"/>
                <a:gd name="T78" fmla="*/ 30685 w 149"/>
                <a:gd name="T79" fmla="*/ 20611 h 61"/>
                <a:gd name="T80" fmla="*/ 34946 w 149"/>
                <a:gd name="T81" fmla="*/ 14990 h 61"/>
                <a:gd name="T82" fmla="*/ 39634 w 149"/>
                <a:gd name="T83" fmla="*/ 7495 h 61"/>
                <a:gd name="T84" fmla="*/ 43896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sp>
          <p:nvSpPr>
            <p:cNvPr id="385" name="Freeform 550">
              <a:extLst>
                <a:ext uri="{FF2B5EF4-FFF2-40B4-BE49-F238E27FC236}">
                  <a16:creationId xmlns:a16="http://schemas.microsoft.com/office/drawing/2014/main" id="{11056093-2B63-4018-9E92-3B91315492EC}"/>
                </a:ext>
              </a:extLst>
            </p:cNvPr>
            <p:cNvSpPr>
              <a:spLocks/>
            </p:cNvSpPr>
            <p:nvPr>
              <p:custDataLst>
                <p:tags r:id="rId381"/>
              </p:custDataLst>
            </p:nvPr>
          </p:nvSpPr>
          <p:spPr bwMode="auto">
            <a:xfrm>
              <a:off x="5083175" y="1438275"/>
              <a:ext cx="130175" cy="57150"/>
            </a:xfrm>
            <a:custGeom>
              <a:avLst/>
              <a:gdLst>
                <a:gd name="T0" fmla="*/ 57904 w 299"/>
                <a:gd name="T1" fmla="*/ 55605 h 74"/>
                <a:gd name="T2" fmla="*/ 67047 w 299"/>
                <a:gd name="T3" fmla="*/ 50199 h 74"/>
                <a:gd name="T4" fmla="*/ 77495 w 299"/>
                <a:gd name="T5" fmla="*/ 41704 h 74"/>
                <a:gd name="T6" fmla="*/ 86638 w 299"/>
                <a:gd name="T7" fmla="*/ 32436 h 74"/>
                <a:gd name="T8" fmla="*/ 90121 w 299"/>
                <a:gd name="T9" fmla="*/ 30892 h 74"/>
                <a:gd name="T10" fmla="*/ 91863 w 299"/>
                <a:gd name="T11" fmla="*/ 35526 h 74"/>
                <a:gd name="T12" fmla="*/ 95781 w 299"/>
                <a:gd name="T13" fmla="*/ 39387 h 74"/>
                <a:gd name="T14" fmla="*/ 105794 w 299"/>
                <a:gd name="T15" fmla="*/ 42476 h 74"/>
                <a:gd name="T16" fmla="*/ 117114 w 299"/>
                <a:gd name="T17" fmla="*/ 42476 h 74"/>
                <a:gd name="T18" fmla="*/ 124515 w 299"/>
                <a:gd name="T19" fmla="*/ 42476 h 74"/>
                <a:gd name="T20" fmla="*/ 127563 w 299"/>
                <a:gd name="T21" fmla="*/ 35526 h 74"/>
                <a:gd name="T22" fmla="*/ 129740 w 299"/>
                <a:gd name="T23" fmla="*/ 23941 h 74"/>
                <a:gd name="T24" fmla="*/ 121468 w 299"/>
                <a:gd name="T25" fmla="*/ 19307 h 74"/>
                <a:gd name="T26" fmla="*/ 106230 w 299"/>
                <a:gd name="T27" fmla="*/ 19307 h 74"/>
                <a:gd name="T28" fmla="*/ 97958 w 299"/>
                <a:gd name="T29" fmla="*/ 19307 h 74"/>
                <a:gd name="T30" fmla="*/ 93169 w 299"/>
                <a:gd name="T31" fmla="*/ 20852 h 74"/>
                <a:gd name="T32" fmla="*/ 88815 w 299"/>
                <a:gd name="T33" fmla="*/ 25486 h 74"/>
                <a:gd name="T34" fmla="*/ 74883 w 299"/>
                <a:gd name="T35" fmla="*/ 28575 h 74"/>
                <a:gd name="T36" fmla="*/ 76625 w 299"/>
                <a:gd name="T37" fmla="*/ 21624 h 74"/>
                <a:gd name="T38" fmla="*/ 78366 w 299"/>
                <a:gd name="T39" fmla="*/ 16218 h 74"/>
                <a:gd name="T40" fmla="*/ 84461 w 299"/>
                <a:gd name="T41" fmla="*/ 10040 h 74"/>
                <a:gd name="T42" fmla="*/ 91427 w 299"/>
                <a:gd name="T43" fmla="*/ 6951 h 74"/>
                <a:gd name="T44" fmla="*/ 97958 w 299"/>
                <a:gd name="T45" fmla="*/ 0 h 74"/>
                <a:gd name="T46" fmla="*/ 80543 w 299"/>
                <a:gd name="T47" fmla="*/ 2317 h 74"/>
                <a:gd name="T48" fmla="*/ 68353 w 299"/>
                <a:gd name="T49" fmla="*/ 8495 h 74"/>
                <a:gd name="T50" fmla="*/ 58339 w 299"/>
                <a:gd name="T51" fmla="*/ 19307 h 74"/>
                <a:gd name="T52" fmla="*/ 49632 w 299"/>
                <a:gd name="T53" fmla="*/ 30892 h 74"/>
                <a:gd name="T54" fmla="*/ 43537 w 299"/>
                <a:gd name="T55" fmla="*/ 40932 h 74"/>
                <a:gd name="T56" fmla="*/ 37877 w 299"/>
                <a:gd name="T57" fmla="*/ 45566 h 74"/>
                <a:gd name="T58" fmla="*/ 27864 w 299"/>
                <a:gd name="T59" fmla="*/ 48655 h 74"/>
                <a:gd name="T60" fmla="*/ 13932 w 299"/>
                <a:gd name="T61" fmla="*/ 49427 h 74"/>
                <a:gd name="T62" fmla="*/ 5224 w 299"/>
                <a:gd name="T63" fmla="*/ 51744 h 74"/>
                <a:gd name="T64" fmla="*/ 871 w 299"/>
                <a:gd name="T65" fmla="*/ 54061 h 74"/>
                <a:gd name="T66" fmla="*/ 16979 w 299"/>
                <a:gd name="T67" fmla="*/ 57150 h 74"/>
                <a:gd name="T68" fmla="*/ 44408 w 299"/>
                <a:gd name="T69" fmla="*/ 57150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pPr marL="0" marR="0" lvl="0" indent="0" algn="l"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cs typeface="+mn-cs"/>
              </a:endParaRPr>
            </a:p>
          </p:txBody>
        </p:sp>
      </p:grpSp>
      <p:sp>
        <p:nvSpPr>
          <p:cNvPr id="563" name="TextBox 562">
            <a:extLst>
              <a:ext uri="{FF2B5EF4-FFF2-40B4-BE49-F238E27FC236}">
                <a16:creationId xmlns:a16="http://schemas.microsoft.com/office/drawing/2014/main" id="{CC74836D-FFA2-4FFF-8FCD-9C5DCEF1FF3C}"/>
              </a:ext>
            </a:extLst>
          </p:cNvPr>
          <p:cNvSpPr txBox="1"/>
          <p:nvPr/>
        </p:nvSpPr>
        <p:spPr>
          <a:xfrm>
            <a:off x="7831220" y="915002"/>
            <a:ext cx="3967753" cy="1015663"/>
          </a:xfrm>
          <a:prstGeom prst="rect">
            <a:avLst/>
          </a:prstGeom>
          <a:noFill/>
        </p:spPr>
        <p:txBody>
          <a:bodyPr wrap="none" rtlCol="0">
            <a:spAutoFit/>
          </a:bodyPr>
          <a:lstStyle/>
          <a:p>
            <a:pPr marL="285750" marR="0" lvl="0" indent="-285750" algn="l" defTabSz="914286" rtl="0" eaLnBrk="1" fontAlgn="auto" latinLnBrk="0" hangingPunct="1">
              <a:lnSpc>
                <a:spcPct val="100000"/>
              </a:lnSpc>
              <a:spcBef>
                <a:spcPts val="0"/>
              </a:spcBef>
              <a:spcAft>
                <a:spcPts val="0"/>
              </a:spcAft>
              <a:buClrTx/>
              <a:buSzPct val="125000"/>
              <a:buFontTx/>
              <a:buBlip>
                <a:blip r:embed="rId383"/>
              </a:buBlip>
              <a:tabLst/>
              <a:defRPr/>
            </a:pPr>
            <a:r>
              <a:rPr kumimoji="0" lang="en-US" sz="2000" b="0" i="0" u="none" strike="noStrike" kern="1200" cap="none" spc="0" normalizeH="0" baseline="0" noProof="0" dirty="0">
                <a:ln>
                  <a:noFill/>
                </a:ln>
                <a:solidFill>
                  <a:prstClr val="black"/>
                </a:solidFill>
                <a:effectLst/>
                <a:uLnTx/>
                <a:uFillTx/>
                <a:latin typeface="Arial Narrow" panose="020B0606020202030204" pitchFamily="34" charset="0"/>
                <a:cs typeface="+mn-cs"/>
              </a:rPr>
              <a:t>Adults 18-74, Teens 13-17</a:t>
            </a:r>
          </a:p>
          <a:p>
            <a:pPr marL="285750" marR="0" lvl="0" indent="-285750" algn="l" defTabSz="914286" rtl="0" eaLnBrk="1" fontAlgn="auto" latinLnBrk="0" hangingPunct="1">
              <a:lnSpc>
                <a:spcPct val="100000"/>
              </a:lnSpc>
              <a:spcBef>
                <a:spcPts val="0"/>
              </a:spcBef>
              <a:spcAft>
                <a:spcPts val="0"/>
              </a:spcAft>
              <a:buClrTx/>
              <a:buSzPct val="125000"/>
              <a:buFontTx/>
              <a:buBlip>
                <a:blip r:embed="rId383"/>
              </a:buBlip>
              <a:tabLst/>
              <a:defRPr/>
            </a:pPr>
            <a:r>
              <a:rPr kumimoji="0" lang="en-US" sz="2000" b="0" i="0" u="none" strike="noStrike" kern="1200" cap="none" spc="0" normalizeH="0" baseline="0" noProof="0" dirty="0">
                <a:ln>
                  <a:noFill/>
                </a:ln>
                <a:solidFill>
                  <a:prstClr val="black"/>
                </a:solidFill>
                <a:effectLst/>
                <a:uLnTx/>
                <a:uFillTx/>
                <a:latin typeface="Arial Narrow" panose="020B0606020202030204" pitchFamily="34" charset="0"/>
                <a:cs typeface="+mn-cs"/>
              </a:rPr>
              <a:t>14-minute Web survey</a:t>
            </a:r>
          </a:p>
          <a:p>
            <a:pPr marL="285750" marR="0" lvl="0" indent="-285750" algn="l" defTabSz="914286" rtl="0" eaLnBrk="1" fontAlgn="auto" latinLnBrk="0" hangingPunct="1">
              <a:lnSpc>
                <a:spcPct val="100000"/>
              </a:lnSpc>
              <a:spcBef>
                <a:spcPts val="0"/>
              </a:spcBef>
              <a:spcAft>
                <a:spcPts val="0"/>
              </a:spcAft>
              <a:buClrTx/>
              <a:buSzPct val="125000"/>
              <a:buFontTx/>
              <a:buBlip>
                <a:blip r:embed="rId383"/>
              </a:buBlip>
              <a:tabLst/>
              <a:defRPr/>
            </a:pPr>
            <a:r>
              <a:rPr kumimoji="0" lang="en-US" sz="2000" b="0" i="0" u="none" strike="noStrike" kern="1200" cap="none" spc="0" normalizeH="0" baseline="0" noProof="0" dirty="0">
                <a:ln>
                  <a:noFill/>
                </a:ln>
                <a:solidFill>
                  <a:prstClr val="black"/>
                </a:solidFill>
                <a:effectLst/>
                <a:uLnTx/>
                <a:uFillTx/>
                <a:latin typeface="Arial Narrow" panose="020B0606020202030204" pitchFamily="34" charset="0"/>
                <a:cs typeface="+mn-cs"/>
              </a:rPr>
              <a:t>Interviews conducted May 1-31, 2019</a:t>
            </a:r>
          </a:p>
        </p:txBody>
      </p:sp>
      <p:graphicFrame>
        <p:nvGraphicFramePr>
          <p:cNvPr id="564" name="Table 563">
            <a:extLst>
              <a:ext uri="{FF2B5EF4-FFF2-40B4-BE49-F238E27FC236}">
                <a16:creationId xmlns:a16="http://schemas.microsoft.com/office/drawing/2014/main" id="{571D13FF-DF4F-425D-A65C-ED38CD2D9D1B}"/>
              </a:ext>
            </a:extLst>
          </p:cNvPr>
          <p:cNvGraphicFramePr>
            <a:graphicFrameLocks noGrp="1"/>
          </p:cNvGraphicFramePr>
          <p:nvPr>
            <p:extLst>
              <p:ext uri="{D42A27DB-BD31-4B8C-83A1-F6EECF244321}">
                <p14:modId xmlns:p14="http://schemas.microsoft.com/office/powerpoint/2010/main" val="4016745510"/>
              </p:ext>
            </p:extLst>
          </p:nvPr>
        </p:nvGraphicFramePr>
        <p:xfrm>
          <a:off x="7975783" y="1982294"/>
          <a:ext cx="2396744" cy="4572000"/>
        </p:xfrm>
        <a:graphic>
          <a:graphicData uri="http://schemas.openxmlformats.org/drawingml/2006/table">
            <a:tbl>
              <a:tblPr/>
              <a:tblGrid>
                <a:gridCol w="1717453">
                  <a:extLst>
                    <a:ext uri="{9D8B030D-6E8A-4147-A177-3AD203B41FA5}">
                      <a16:colId xmlns:a16="http://schemas.microsoft.com/office/drawing/2014/main" val="2928661257"/>
                    </a:ext>
                  </a:extLst>
                </a:gridCol>
                <a:gridCol w="679291">
                  <a:extLst>
                    <a:ext uri="{9D8B030D-6E8A-4147-A177-3AD203B41FA5}">
                      <a16:colId xmlns:a16="http://schemas.microsoft.com/office/drawing/2014/main" val="3644135453"/>
                    </a:ext>
                  </a:extLst>
                </a:gridCol>
              </a:tblGrid>
              <a:tr h="156696">
                <a:tc>
                  <a:txBody>
                    <a:bodyPr/>
                    <a:lstStyle/>
                    <a:p>
                      <a:pPr algn="l" fontAlgn="ctr"/>
                      <a:r>
                        <a:rPr lang="en-US" sz="1200" b="0" i="0" u="none" strike="noStrike" dirty="0">
                          <a:solidFill>
                            <a:srgbClr val="28608C"/>
                          </a:solidFill>
                          <a:effectLst/>
                          <a:latin typeface="Arial" panose="020B0604020202020204" pitchFamily="34" charset="0"/>
                        </a:rPr>
                        <a:t>Argentina</a:t>
                      </a:r>
                    </a:p>
                  </a:txBody>
                  <a:tcPr marL="104599" marR="0" marT="0" marB="0" anchor="ctr">
                    <a:lnL>
                      <a:noFill/>
                    </a:lnL>
                    <a:lnR w="19050" cap="flat" cmpd="sng" algn="ctr">
                      <a:solidFill>
                        <a:srgbClr val="A6A6A6"/>
                      </a:solidFill>
                      <a:prstDash val="solid"/>
                      <a:round/>
                      <a:headEnd type="none" w="med" len="med"/>
                      <a:tailEnd type="none" w="med" len="med"/>
                    </a:lnR>
                    <a:lnT>
                      <a:noFill/>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2</a:t>
                      </a:r>
                    </a:p>
                  </a:txBody>
                  <a:tcPr marL="104599" marR="0" marT="0" marB="0" anchor="ctr">
                    <a:lnL w="19050" cap="flat" cmpd="sng" algn="ctr">
                      <a:solidFill>
                        <a:srgbClr val="A6A6A6"/>
                      </a:solidFill>
                      <a:prstDash val="solid"/>
                      <a:round/>
                      <a:headEnd type="none" w="med" len="med"/>
                      <a:tailEnd type="none" w="med" len="med"/>
                    </a:lnL>
                    <a:lnR>
                      <a:noFill/>
                    </a:lnR>
                    <a:lnT>
                      <a:noFill/>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820639070"/>
                  </a:ext>
                </a:extLst>
              </a:tr>
              <a:tr h="156696">
                <a:tc>
                  <a:txBody>
                    <a:bodyPr/>
                    <a:lstStyle/>
                    <a:p>
                      <a:pPr algn="l" fontAlgn="ctr"/>
                      <a:r>
                        <a:rPr lang="en-US" sz="1200" b="0" i="0" u="none" strike="noStrike" dirty="0">
                          <a:solidFill>
                            <a:srgbClr val="28608C"/>
                          </a:solidFill>
                          <a:effectLst/>
                          <a:latin typeface="Arial" panose="020B0604020202020204" pitchFamily="34" charset="0"/>
                        </a:rPr>
                        <a:t>Belgium</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1</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041671663"/>
                  </a:ext>
                </a:extLst>
              </a:tr>
              <a:tr h="156696">
                <a:tc>
                  <a:txBody>
                    <a:bodyPr/>
                    <a:lstStyle/>
                    <a:p>
                      <a:pPr algn="l" fontAlgn="ctr"/>
                      <a:r>
                        <a:rPr lang="en-US" sz="1200" b="0" i="0" u="none" strike="noStrike" dirty="0">
                          <a:solidFill>
                            <a:srgbClr val="28608C"/>
                          </a:solidFill>
                          <a:effectLst/>
                          <a:latin typeface="Arial" panose="020B0604020202020204" pitchFamily="34" charset="0"/>
                        </a:rPr>
                        <a:t>Brazil</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2</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427542921"/>
                  </a:ext>
                </a:extLst>
              </a:tr>
              <a:tr h="156696">
                <a:tc>
                  <a:txBody>
                    <a:bodyPr/>
                    <a:lstStyle/>
                    <a:p>
                      <a:pPr algn="l" fontAlgn="ctr"/>
                      <a:r>
                        <a:rPr lang="en-US" sz="1200" b="0" i="0" u="none" strike="noStrike" dirty="0">
                          <a:solidFill>
                            <a:srgbClr val="28608C"/>
                          </a:solidFill>
                          <a:effectLst/>
                          <a:latin typeface="Arial" panose="020B0604020202020204" pitchFamily="34" charset="0"/>
                        </a:rPr>
                        <a:t>Canad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687558676"/>
                  </a:ext>
                </a:extLst>
              </a:tr>
              <a:tr h="156696">
                <a:tc>
                  <a:txBody>
                    <a:bodyPr/>
                    <a:lstStyle/>
                    <a:p>
                      <a:pPr algn="l" fontAlgn="ctr"/>
                      <a:r>
                        <a:rPr lang="en-US" sz="1200" b="0" i="0" u="none" strike="noStrike" dirty="0">
                          <a:solidFill>
                            <a:srgbClr val="28608C"/>
                          </a:solidFill>
                          <a:effectLst/>
                          <a:latin typeface="Arial" panose="020B0604020202020204" pitchFamily="34" charset="0"/>
                        </a:rPr>
                        <a:t>Chile</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3</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749306453"/>
                  </a:ext>
                </a:extLst>
              </a:tr>
              <a:tr h="156696">
                <a:tc>
                  <a:txBody>
                    <a:bodyPr/>
                    <a:lstStyle/>
                    <a:p>
                      <a:pPr algn="l" fontAlgn="ctr"/>
                      <a:r>
                        <a:rPr lang="en-US" sz="1200" b="0" i="0" u="none" strike="noStrike" dirty="0">
                          <a:solidFill>
                            <a:srgbClr val="28608C"/>
                          </a:solidFill>
                          <a:effectLst/>
                          <a:latin typeface="Arial" panose="020B0604020202020204" pitchFamily="34" charset="0"/>
                        </a:rPr>
                        <a:t>Colombi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2</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192799631"/>
                  </a:ext>
                </a:extLst>
              </a:tr>
              <a:tr h="156696">
                <a:tc>
                  <a:txBody>
                    <a:bodyPr/>
                    <a:lstStyle/>
                    <a:p>
                      <a:pPr algn="l" fontAlgn="ctr"/>
                      <a:r>
                        <a:rPr lang="en-US" sz="1200" b="0" i="0" u="none" strike="noStrike" dirty="0">
                          <a:solidFill>
                            <a:srgbClr val="28608C"/>
                          </a:solidFill>
                          <a:effectLst/>
                          <a:latin typeface="Arial" panose="020B0604020202020204" pitchFamily="34" charset="0"/>
                        </a:rPr>
                        <a:t>France</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2</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88418165"/>
                  </a:ext>
                </a:extLst>
              </a:tr>
              <a:tr h="156696">
                <a:tc>
                  <a:txBody>
                    <a:bodyPr/>
                    <a:lstStyle/>
                    <a:p>
                      <a:pPr algn="l" fontAlgn="ctr"/>
                      <a:r>
                        <a:rPr lang="en-US" sz="1200" b="0" i="0" u="none" strike="noStrike" dirty="0">
                          <a:solidFill>
                            <a:srgbClr val="28608C"/>
                          </a:solidFill>
                          <a:effectLst/>
                          <a:latin typeface="Arial" panose="020B0604020202020204" pitchFamily="34" charset="0"/>
                        </a:rPr>
                        <a:t>Germany</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1</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024336330"/>
                  </a:ext>
                </a:extLst>
              </a:tr>
              <a:tr h="156696">
                <a:tc>
                  <a:txBody>
                    <a:bodyPr/>
                    <a:lstStyle/>
                    <a:p>
                      <a:pPr algn="l" fontAlgn="ctr"/>
                      <a:r>
                        <a:rPr lang="en-US" sz="1200" b="0" i="0" u="none" strike="noStrike" dirty="0">
                          <a:solidFill>
                            <a:srgbClr val="28608C"/>
                          </a:solidFill>
                          <a:effectLst/>
                          <a:latin typeface="Arial" panose="020B0604020202020204" pitchFamily="34" charset="0"/>
                        </a:rPr>
                        <a:t>Hungary</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4905657"/>
                  </a:ext>
                </a:extLst>
              </a:tr>
              <a:tr h="156696">
                <a:tc>
                  <a:txBody>
                    <a:bodyPr/>
                    <a:lstStyle/>
                    <a:p>
                      <a:pPr algn="l" fontAlgn="ctr"/>
                      <a:r>
                        <a:rPr lang="en-US" sz="1200" b="0" i="0" u="none" strike="noStrike" dirty="0">
                          <a:solidFill>
                            <a:srgbClr val="28608C"/>
                          </a:solidFill>
                          <a:effectLst/>
                          <a:latin typeface="Arial" panose="020B0604020202020204" pitchFamily="34" charset="0"/>
                        </a:rPr>
                        <a:t>Indi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2</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106599761"/>
                  </a:ext>
                </a:extLst>
              </a:tr>
              <a:tr h="156696">
                <a:tc>
                  <a:txBody>
                    <a:bodyPr/>
                    <a:lstStyle/>
                    <a:p>
                      <a:pPr algn="l" fontAlgn="ctr"/>
                      <a:r>
                        <a:rPr lang="en-US" sz="1200" b="1" i="0" u="none" strike="noStrike" dirty="0">
                          <a:solidFill>
                            <a:srgbClr val="28608C"/>
                          </a:solidFill>
                          <a:effectLst/>
                          <a:latin typeface="Arial" panose="020B0604020202020204" pitchFamily="34" charset="0"/>
                        </a:rPr>
                        <a:t>Indonesi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1</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990488820"/>
                  </a:ext>
                </a:extLst>
              </a:tr>
              <a:tr h="156696">
                <a:tc>
                  <a:txBody>
                    <a:bodyPr/>
                    <a:lstStyle/>
                    <a:p>
                      <a:pPr algn="l" fontAlgn="ctr"/>
                      <a:r>
                        <a:rPr lang="en-US" sz="1200" b="0" i="0" u="none" strike="noStrike" dirty="0">
                          <a:solidFill>
                            <a:srgbClr val="28608C"/>
                          </a:solidFill>
                          <a:effectLst/>
                          <a:latin typeface="Arial" panose="020B0604020202020204" pitchFamily="34" charset="0"/>
                        </a:rPr>
                        <a:t>Ireland</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49307627"/>
                  </a:ext>
                </a:extLst>
              </a:tr>
              <a:tr h="156696">
                <a:tc>
                  <a:txBody>
                    <a:bodyPr/>
                    <a:lstStyle/>
                    <a:p>
                      <a:pPr algn="l" fontAlgn="ctr"/>
                      <a:r>
                        <a:rPr lang="en-US" sz="1200" b="0" i="0" u="none" strike="noStrike" dirty="0">
                          <a:solidFill>
                            <a:srgbClr val="28608C"/>
                          </a:solidFill>
                          <a:effectLst/>
                          <a:latin typeface="Arial" panose="020B0604020202020204" pitchFamily="34" charset="0"/>
                        </a:rPr>
                        <a:t>Italy</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994206300"/>
                  </a:ext>
                </a:extLst>
              </a:tr>
              <a:tr h="156696">
                <a:tc>
                  <a:txBody>
                    <a:bodyPr/>
                    <a:lstStyle/>
                    <a:p>
                      <a:pPr algn="l" fontAlgn="ctr"/>
                      <a:r>
                        <a:rPr lang="en-US" sz="1200" b="0" i="0" u="none" strike="noStrike" dirty="0">
                          <a:solidFill>
                            <a:srgbClr val="28608C"/>
                          </a:solidFill>
                          <a:effectLst/>
                          <a:latin typeface="Arial" panose="020B0604020202020204" pitchFamily="34" charset="0"/>
                        </a:rPr>
                        <a:t>Malaysi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490627401"/>
                  </a:ext>
                </a:extLst>
              </a:tr>
              <a:tr h="156696">
                <a:tc>
                  <a:txBody>
                    <a:bodyPr/>
                    <a:lstStyle/>
                    <a:p>
                      <a:pPr algn="l" fontAlgn="ctr"/>
                      <a:r>
                        <a:rPr lang="en-US" sz="1200" b="0" i="0" u="none" strike="noStrike" dirty="0">
                          <a:solidFill>
                            <a:srgbClr val="28608C"/>
                          </a:solidFill>
                          <a:effectLst/>
                          <a:latin typeface="Arial" panose="020B0604020202020204" pitchFamily="34" charset="0"/>
                        </a:rPr>
                        <a:t>Mexico</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632457876"/>
                  </a:ext>
                </a:extLst>
              </a:tr>
              <a:tr h="156696">
                <a:tc>
                  <a:txBody>
                    <a:bodyPr/>
                    <a:lstStyle/>
                    <a:p>
                      <a:pPr algn="l" fontAlgn="ctr"/>
                      <a:r>
                        <a:rPr lang="en-US" sz="1200" b="1" i="0" u="none" strike="noStrike" dirty="0">
                          <a:solidFill>
                            <a:srgbClr val="28608C"/>
                          </a:solidFill>
                          <a:effectLst/>
                          <a:latin typeface="Arial" panose="020B0604020202020204" pitchFamily="34" charset="0"/>
                        </a:rPr>
                        <a:t>Netherlands</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4</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739014979"/>
                  </a:ext>
                </a:extLst>
              </a:tr>
              <a:tr h="156696">
                <a:tc>
                  <a:txBody>
                    <a:bodyPr/>
                    <a:lstStyle/>
                    <a:p>
                      <a:pPr algn="l" fontAlgn="ctr"/>
                      <a:r>
                        <a:rPr lang="en-US" sz="1200" b="0" i="0" u="none" strike="noStrike" dirty="0">
                          <a:solidFill>
                            <a:srgbClr val="28608C"/>
                          </a:solidFill>
                          <a:effectLst/>
                          <a:latin typeface="Arial" panose="020B0604020202020204" pitchFamily="34" charset="0"/>
                        </a:rPr>
                        <a:t>Peru</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87422799"/>
                  </a:ext>
                </a:extLst>
              </a:tr>
              <a:tr h="156696">
                <a:tc>
                  <a:txBody>
                    <a:bodyPr/>
                    <a:lstStyle/>
                    <a:p>
                      <a:pPr algn="l" fontAlgn="ctr"/>
                      <a:r>
                        <a:rPr lang="en-US" sz="1200" b="1" i="0" u="none" strike="noStrike" dirty="0">
                          <a:solidFill>
                            <a:srgbClr val="28608C"/>
                          </a:solidFill>
                          <a:effectLst/>
                          <a:latin typeface="Arial" panose="020B0604020202020204" pitchFamily="34" charset="0"/>
                        </a:rPr>
                        <a:t>Poland</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3238140575"/>
                  </a:ext>
                </a:extLst>
              </a:tr>
              <a:tr h="156696">
                <a:tc>
                  <a:txBody>
                    <a:bodyPr/>
                    <a:lstStyle/>
                    <a:p>
                      <a:pPr algn="l" fontAlgn="ctr"/>
                      <a:r>
                        <a:rPr lang="en-US" sz="1200" b="0" i="0" u="none" strike="noStrike" dirty="0">
                          <a:solidFill>
                            <a:srgbClr val="28608C"/>
                          </a:solidFill>
                          <a:effectLst/>
                          <a:latin typeface="Arial" panose="020B0604020202020204" pitchFamily="34" charset="0"/>
                        </a:rPr>
                        <a:t>Russi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357013080"/>
                  </a:ext>
                </a:extLst>
              </a:tr>
              <a:tr h="156696">
                <a:tc>
                  <a:txBody>
                    <a:bodyPr/>
                    <a:lstStyle/>
                    <a:p>
                      <a:pPr algn="l" fontAlgn="ctr"/>
                      <a:r>
                        <a:rPr lang="en-US" sz="1200" b="0" i="0" u="none" strike="noStrike" dirty="0">
                          <a:solidFill>
                            <a:srgbClr val="28608C"/>
                          </a:solidFill>
                          <a:effectLst/>
                          <a:latin typeface="Arial" panose="020B0604020202020204" pitchFamily="34" charset="0"/>
                        </a:rPr>
                        <a:t>Singapore</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181826390"/>
                  </a:ext>
                </a:extLst>
              </a:tr>
              <a:tr h="156696">
                <a:tc>
                  <a:txBody>
                    <a:bodyPr/>
                    <a:lstStyle/>
                    <a:p>
                      <a:pPr algn="l" fontAlgn="ctr"/>
                      <a:r>
                        <a:rPr lang="en-US" sz="1200" b="0" i="0" u="none" strike="noStrike" dirty="0">
                          <a:solidFill>
                            <a:srgbClr val="28608C"/>
                          </a:solidFill>
                          <a:effectLst/>
                          <a:latin typeface="Arial" panose="020B0604020202020204" pitchFamily="34" charset="0"/>
                        </a:rPr>
                        <a:t>South Africa</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223973139"/>
                  </a:ext>
                </a:extLst>
              </a:tr>
              <a:tr h="156696">
                <a:tc>
                  <a:txBody>
                    <a:bodyPr/>
                    <a:lstStyle/>
                    <a:p>
                      <a:pPr algn="l" fontAlgn="ctr"/>
                      <a:r>
                        <a:rPr lang="en-US" sz="1200" b="0" i="0" u="none" strike="noStrike" dirty="0">
                          <a:solidFill>
                            <a:srgbClr val="28608C"/>
                          </a:solidFill>
                          <a:effectLst/>
                          <a:latin typeface="Arial" panose="020B0604020202020204" pitchFamily="34" charset="0"/>
                        </a:rPr>
                        <a:t>Turkey</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289180016"/>
                  </a:ext>
                </a:extLst>
              </a:tr>
              <a:tr h="156696">
                <a:tc>
                  <a:txBody>
                    <a:bodyPr/>
                    <a:lstStyle/>
                    <a:p>
                      <a:pPr algn="l" fontAlgn="ctr"/>
                      <a:r>
                        <a:rPr lang="en-US" sz="1200" b="0" i="0" u="none" strike="noStrike" dirty="0">
                          <a:solidFill>
                            <a:srgbClr val="28608C"/>
                          </a:solidFill>
                          <a:effectLst/>
                          <a:latin typeface="Arial" panose="020B0604020202020204" pitchFamily="34" charset="0"/>
                        </a:rPr>
                        <a:t>United Kingdom</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4224767392"/>
                  </a:ext>
                </a:extLst>
              </a:tr>
              <a:tr h="156696">
                <a:tc>
                  <a:txBody>
                    <a:bodyPr/>
                    <a:lstStyle/>
                    <a:p>
                      <a:pPr algn="l" fontAlgn="ctr"/>
                      <a:r>
                        <a:rPr lang="en-US" sz="1200" b="0" i="0" u="none" strike="noStrike" dirty="0">
                          <a:solidFill>
                            <a:srgbClr val="28608C"/>
                          </a:solidFill>
                          <a:effectLst/>
                          <a:latin typeface="Arial" panose="020B0604020202020204" pitchFamily="34" charset="0"/>
                        </a:rPr>
                        <a:t>United States</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tcPr>
                </a:tc>
                <a:extLst>
                  <a:ext uri="{0D108BD9-81ED-4DB2-BD59-A6C34878D82A}">
                    <a16:rowId xmlns:a16="http://schemas.microsoft.com/office/drawing/2014/main" val="1715719762"/>
                  </a:ext>
                </a:extLst>
              </a:tr>
              <a:tr h="150428">
                <a:tc>
                  <a:txBody>
                    <a:bodyPr/>
                    <a:lstStyle/>
                    <a:p>
                      <a:pPr algn="l" fontAlgn="ctr"/>
                      <a:r>
                        <a:rPr lang="en-US" sz="1200" b="0" i="0" u="none" strike="noStrike" dirty="0">
                          <a:solidFill>
                            <a:srgbClr val="28608C"/>
                          </a:solidFill>
                          <a:effectLst/>
                          <a:latin typeface="Arial" panose="020B0604020202020204" pitchFamily="34" charset="0"/>
                        </a:rPr>
                        <a:t>Vietnam</a:t>
                      </a:r>
                    </a:p>
                  </a:txBody>
                  <a:tcPr marL="104599" marR="0" marT="0" marB="0" anchor="ctr">
                    <a:lnL>
                      <a:noFill/>
                    </a:lnL>
                    <a:lnR w="19050" cap="flat" cmpd="sng" algn="ctr">
                      <a:solidFill>
                        <a:srgbClr val="A6A6A6"/>
                      </a:solidFill>
                      <a:prstDash val="solid"/>
                      <a:round/>
                      <a:headEnd type="none" w="med" len="med"/>
                      <a:tailEnd type="none" w="med" len="med"/>
                    </a:lnR>
                    <a:lnT w="12700" cap="flat" cmpd="sng" algn="ctr">
                      <a:solidFill>
                        <a:srgbClr val="BFBFBF"/>
                      </a:solidFill>
                      <a:prstDash val="solid"/>
                      <a:round/>
                      <a:headEnd type="none" w="med" len="med"/>
                      <a:tailEnd type="none" w="med" len="med"/>
                    </a:lnT>
                    <a:lnB>
                      <a:noFill/>
                    </a:lnB>
                  </a:tcPr>
                </a:tc>
                <a:tc>
                  <a:txBody>
                    <a:bodyPr/>
                    <a:lstStyle/>
                    <a:p>
                      <a:pPr algn="l" fontAlgn="ctr"/>
                      <a:r>
                        <a:rPr lang="en-US" sz="1200" b="1" i="0" u="none" strike="noStrike" dirty="0">
                          <a:solidFill>
                            <a:srgbClr val="28608C"/>
                          </a:solidFill>
                          <a:effectLst/>
                          <a:latin typeface="Arial" panose="020B0604020202020204" pitchFamily="34" charset="0"/>
                        </a:rPr>
                        <a:t>500</a:t>
                      </a:r>
                    </a:p>
                  </a:txBody>
                  <a:tcPr marL="104599" marR="0" marT="0" marB="0" anchor="ctr">
                    <a:lnL w="19050" cap="flat" cmpd="sng" algn="ctr">
                      <a:solidFill>
                        <a:srgbClr val="A6A6A6"/>
                      </a:solidFill>
                      <a:prstDash val="solid"/>
                      <a:round/>
                      <a:headEnd type="none" w="med" len="med"/>
                      <a:tailEnd type="none" w="med" len="med"/>
                    </a:lnL>
                    <a:lnR>
                      <a:noFill/>
                    </a:lnR>
                    <a:lnT w="12700" cap="flat" cmpd="sng" algn="ctr">
                      <a:solidFill>
                        <a:srgbClr val="BFBFBF"/>
                      </a:solidFill>
                      <a:prstDash val="solid"/>
                      <a:round/>
                      <a:headEnd type="none" w="med" len="med"/>
                      <a:tailEnd type="none" w="med" len="med"/>
                    </a:lnT>
                    <a:lnB>
                      <a:noFill/>
                    </a:lnB>
                  </a:tcPr>
                </a:tc>
                <a:extLst>
                  <a:ext uri="{0D108BD9-81ED-4DB2-BD59-A6C34878D82A}">
                    <a16:rowId xmlns:a16="http://schemas.microsoft.com/office/drawing/2014/main" val="2671621237"/>
                  </a:ext>
                </a:extLst>
              </a:tr>
            </a:tbl>
          </a:graphicData>
        </a:graphic>
      </p:graphicFrame>
      <p:sp>
        <p:nvSpPr>
          <p:cNvPr id="552" name="TextBox 551">
            <a:extLst>
              <a:ext uri="{FF2B5EF4-FFF2-40B4-BE49-F238E27FC236}">
                <a16:creationId xmlns:a16="http://schemas.microsoft.com/office/drawing/2014/main" id="{935E2809-A58D-43C5-A5DE-4496AAF6A34F}"/>
              </a:ext>
            </a:extLst>
          </p:cNvPr>
          <p:cNvSpPr txBox="1"/>
          <p:nvPr/>
        </p:nvSpPr>
        <p:spPr>
          <a:xfrm>
            <a:off x="10360044" y="6010489"/>
            <a:ext cx="1470384" cy="461665"/>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8608C"/>
                </a:solidFill>
                <a:effectLst/>
                <a:uLnTx/>
                <a:uFillTx/>
                <a:latin typeface="Arial"/>
                <a:cs typeface="+mn-cs"/>
              </a:rPr>
              <a:t>Countries in</a:t>
            </a:r>
            <a:r>
              <a:rPr kumimoji="0" lang="en-US" sz="1200" b="1" i="0" u="none" strike="noStrike" kern="1200" cap="none" spc="0" normalizeH="0" baseline="0" noProof="0" dirty="0">
                <a:ln>
                  <a:noFill/>
                </a:ln>
                <a:solidFill>
                  <a:srgbClr val="28608C"/>
                </a:solidFill>
                <a:effectLst/>
                <a:uLnTx/>
                <a:uFillTx/>
                <a:latin typeface="Arial"/>
                <a:cs typeface="+mn-cs"/>
              </a:rPr>
              <a:t> Bold</a:t>
            </a:r>
            <a:r>
              <a:rPr kumimoji="0" lang="en-US" sz="1200" b="0" i="0" u="none" strike="noStrike" kern="1200" cap="none" spc="0" normalizeH="0" baseline="0" noProof="0" dirty="0">
                <a:ln>
                  <a:noFill/>
                </a:ln>
                <a:solidFill>
                  <a:srgbClr val="28608C"/>
                </a:solidFill>
                <a:effectLst/>
                <a:uLnTx/>
                <a:uFillTx/>
                <a:latin typeface="Arial"/>
                <a:cs typeface="+mn-cs"/>
              </a:rPr>
              <a:t> new in 2019</a:t>
            </a:r>
          </a:p>
        </p:txBody>
      </p:sp>
    </p:spTree>
    <p:extLst>
      <p:ext uri="{BB962C8B-B14F-4D97-AF65-F5344CB8AC3E}">
        <p14:creationId xmlns:p14="http://schemas.microsoft.com/office/powerpoint/2010/main" val="39086871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1" y="0"/>
            <a:ext cx="5107900"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sp>
        <p:nvSpPr>
          <p:cNvPr id="6" name="Title 5"/>
          <p:cNvSpPr>
            <a:spLocks noGrp="1"/>
          </p:cNvSpPr>
          <p:nvPr>
            <p:ph type="title"/>
          </p:nvPr>
        </p:nvSpPr>
        <p:spPr>
          <a:xfrm>
            <a:off x="3695733" y="110752"/>
            <a:ext cx="8496267" cy="1179288"/>
          </a:xfrm>
        </p:spPr>
        <p:txBody>
          <a:bodyPr/>
          <a:lstStyle/>
          <a:p>
            <a:r>
              <a:rPr lang="en-US" altLang="ko-KR" sz="4400" b="0" dirty="0"/>
              <a:t>Three in four experienced a consequence</a:t>
            </a:r>
            <a:endParaRPr lang="ko-KR" altLang="en-US" b="0" dirty="0"/>
          </a:p>
        </p:txBody>
      </p:sp>
      <p:grpSp>
        <p:nvGrpSpPr>
          <p:cNvPr id="17" name="Group 16">
            <a:extLst>
              <a:ext uri="{FF2B5EF4-FFF2-40B4-BE49-F238E27FC236}">
                <a16:creationId xmlns:a16="http://schemas.microsoft.com/office/drawing/2014/main" id="{D0D06D6A-1876-4DAB-8E2E-48B997D9C837}"/>
              </a:ext>
            </a:extLst>
          </p:cNvPr>
          <p:cNvGrpSpPr/>
          <p:nvPr/>
        </p:nvGrpSpPr>
        <p:grpSpPr>
          <a:xfrm>
            <a:off x="338272" y="1734845"/>
            <a:ext cx="3201687" cy="3200400"/>
            <a:chOff x="664345" y="2188450"/>
            <a:chExt cx="3201687" cy="3200400"/>
          </a:xfrm>
        </p:grpSpPr>
        <p:graphicFrame>
          <p:nvGraphicFramePr>
            <p:cNvPr id="42" name="Chart 41">
              <a:extLst>
                <a:ext uri="{FF2B5EF4-FFF2-40B4-BE49-F238E27FC236}">
                  <a16:creationId xmlns:a16="http://schemas.microsoft.com/office/drawing/2014/main" id="{2E9E445C-F41E-4E82-A0A2-DA0C47903816}"/>
                </a:ext>
              </a:extLst>
            </p:cNvPr>
            <p:cNvGraphicFramePr>
              <a:graphicFrameLocks noChangeAspect="1"/>
            </p:cNvGraphicFramePr>
            <p:nvPr/>
          </p:nvGraphicFramePr>
          <p:xfrm>
            <a:off x="664345" y="2188450"/>
            <a:ext cx="3201687"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EF655F99-9091-47B9-8C96-9C48C2003DBB}"/>
                </a:ext>
              </a:extLst>
            </p:cNvPr>
            <p:cNvSpPr/>
            <p:nvPr/>
          </p:nvSpPr>
          <p:spPr>
            <a:xfrm>
              <a:off x="1729627" y="3326985"/>
              <a:ext cx="1071126" cy="923330"/>
            </a:xfrm>
            <a:prstGeom prst="rect">
              <a:avLst/>
            </a:prstGeom>
          </p:spPr>
          <p:txBody>
            <a:bodyPr wrap="none">
              <a:spAutoFit/>
            </a:bodyPr>
            <a:lstStyle/>
            <a:p>
              <a:pPr algn="ctr"/>
              <a:r>
                <a:rPr lang="en-US" altLang="ko-KR" sz="5400" dirty="0">
                  <a:solidFill>
                    <a:schemeClr val="bg1"/>
                  </a:solidFill>
                  <a:latin typeface="Impact" panose="020B0806030902050204" pitchFamily="34" charset="0"/>
                </a:rPr>
                <a:t>76</a:t>
              </a:r>
              <a:r>
                <a:rPr lang="en-US" altLang="ko-KR" sz="2700" dirty="0">
                  <a:solidFill>
                    <a:schemeClr val="bg1"/>
                  </a:solidFill>
                  <a:latin typeface="Impact" panose="020B0806030902050204" pitchFamily="34" charset="0"/>
                </a:rPr>
                <a:t>%</a:t>
              </a:r>
              <a:endParaRPr lang="ko-KR" altLang="en-US" sz="2700" dirty="0">
                <a:solidFill>
                  <a:schemeClr val="bg1"/>
                </a:solidFill>
                <a:latin typeface="Impact" panose="020B0806030902050204" pitchFamily="34" charset="0"/>
              </a:endParaRPr>
            </a:p>
          </p:txBody>
        </p:sp>
      </p:grpSp>
      <p:sp>
        <p:nvSpPr>
          <p:cNvPr id="45" name="TextBox 44">
            <a:extLst>
              <a:ext uri="{FF2B5EF4-FFF2-40B4-BE49-F238E27FC236}">
                <a16:creationId xmlns:a16="http://schemas.microsoft.com/office/drawing/2014/main" id="{C862E79D-463E-4C6F-B0ED-587186E137E3}"/>
              </a:ext>
            </a:extLst>
          </p:cNvPr>
          <p:cNvSpPr txBox="1">
            <a:spLocks/>
          </p:cNvSpPr>
          <p:nvPr/>
        </p:nvSpPr>
        <p:spPr>
          <a:xfrm>
            <a:off x="306086" y="4998543"/>
            <a:ext cx="3812785" cy="1446550"/>
          </a:xfrm>
          <a:prstGeom prst="rect">
            <a:avLst/>
          </a:prstGeom>
          <a:solidFill>
            <a:srgbClr val="28608C">
              <a:alpha val="85000"/>
            </a:srgbClr>
          </a:solidFill>
        </p:spPr>
        <p:txBody>
          <a:bodyPr wrap="square" rtlCol="0" anchor="t">
            <a:spAutoFit/>
          </a:bodyPr>
          <a:lstStyle/>
          <a:p>
            <a:pPr algn="ctr"/>
            <a:r>
              <a:rPr lang="en-US" altLang="ko-KR" sz="2800" dirty="0">
                <a:solidFill>
                  <a:schemeClr val="bg1"/>
                </a:solidFill>
                <a:latin typeface="Arial" panose="020B0604020202020204" pitchFamily="34" charset="0"/>
                <a:cs typeface="Arial" panose="020B0604020202020204" pitchFamily="34" charset="0"/>
              </a:rPr>
              <a:t>Experienced a consequence </a:t>
            </a:r>
          </a:p>
          <a:p>
            <a:pPr algn="ctr"/>
            <a:r>
              <a:rPr lang="en-US" altLang="ko-KR" dirty="0">
                <a:solidFill>
                  <a:schemeClr val="bg1"/>
                </a:solidFill>
                <a:latin typeface="Arial" panose="020B0604020202020204" pitchFamily="34" charset="0"/>
                <a:cs typeface="Arial" panose="020B0604020202020204" pitchFamily="34" charset="0"/>
              </a:rPr>
              <a:t>+6 YOY </a:t>
            </a:r>
          </a:p>
          <a:p>
            <a:pPr algn="ctr"/>
            <a:r>
              <a:rPr lang="en-US" altLang="ko-KR" sz="1400" dirty="0">
                <a:solidFill>
                  <a:schemeClr val="bg1"/>
                </a:solidFill>
                <a:latin typeface="Arial" panose="020B0604020202020204" pitchFamily="34" charset="0"/>
                <a:cs typeface="Arial" panose="020B0604020202020204" pitchFamily="34" charset="0"/>
              </a:rPr>
              <a:t>(Any consequence)</a:t>
            </a:r>
            <a:endParaRPr lang="ko-KR" altLang="en-US" sz="14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2ACE9B8-5FB9-47E9-9A91-B23FA2726478}"/>
              </a:ext>
            </a:extLst>
          </p:cNvPr>
          <p:cNvSpPr txBox="1"/>
          <p:nvPr/>
        </p:nvSpPr>
        <p:spPr>
          <a:xfrm>
            <a:off x="5847907" y="6355786"/>
            <a:ext cx="6176943" cy="566656"/>
          </a:xfrm>
          <a:prstGeom prst="rect">
            <a:avLst/>
          </a:prstGeom>
          <a:noFill/>
        </p:spPr>
        <p:txBody>
          <a:bodyPr wrap="square" lIns="179285" tIns="143428" rIns="179285" bIns="143428" rtlCol="0">
            <a:spAutoFit/>
          </a:bodyPr>
          <a:lstStyle/>
          <a:p>
            <a:pPr>
              <a:lnSpc>
                <a:spcPct val="90000"/>
              </a:lnSpc>
            </a:pPr>
            <a:r>
              <a:rPr lang="en-US" sz="1000" i="1" dirty="0">
                <a:solidFill>
                  <a:schemeClr val="bg1">
                    <a:lumMod val="50000"/>
                  </a:schemeClr>
                </a:solidFill>
              </a:rPr>
              <a:t>Q9: Please tell us if any of the following has ever happened to you or to a friend/family member as a consequence of being treated uncivilly</a:t>
            </a:r>
          </a:p>
        </p:txBody>
      </p:sp>
      <p:graphicFrame>
        <p:nvGraphicFramePr>
          <p:cNvPr id="5" name="Chart 4">
            <a:extLst>
              <a:ext uri="{FF2B5EF4-FFF2-40B4-BE49-F238E27FC236}">
                <a16:creationId xmlns:a16="http://schemas.microsoft.com/office/drawing/2014/main" id="{4D796346-143D-40D0-894B-7B1D2997E640}"/>
              </a:ext>
            </a:extLst>
          </p:cNvPr>
          <p:cNvGraphicFramePr/>
          <p:nvPr>
            <p:extLst>
              <p:ext uri="{D42A27DB-BD31-4B8C-83A1-F6EECF244321}">
                <p14:modId xmlns:p14="http://schemas.microsoft.com/office/powerpoint/2010/main" val="2104448097"/>
              </p:ext>
            </p:extLst>
          </p:nvPr>
        </p:nvGraphicFramePr>
        <p:xfrm>
          <a:off x="5107901" y="1651922"/>
          <a:ext cx="3989194" cy="4532817"/>
        </p:xfrm>
        <a:graphic>
          <a:graphicData uri="http://schemas.openxmlformats.org/drawingml/2006/chart">
            <c:chart xmlns:c="http://schemas.openxmlformats.org/drawingml/2006/chart" xmlns:r="http://schemas.openxmlformats.org/officeDocument/2006/relationships" r:id="rId4"/>
          </a:graphicData>
        </a:graphic>
      </p:graphicFrame>
      <p:grpSp>
        <p:nvGrpSpPr>
          <p:cNvPr id="35" name="Group 34">
            <a:extLst>
              <a:ext uri="{FF2B5EF4-FFF2-40B4-BE49-F238E27FC236}">
                <a16:creationId xmlns:a16="http://schemas.microsoft.com/office/drawing/2014/main" id="{59C4B0A2-DADF-4E61-B700-5CED966A7BB0}"/>
              </a:ext>
            </a:extLst>
          </p:cNvPr>
          <p:cNvGrpSpPr/>
          <p:nvPr/>
        </p:nvGrpSpPr>
        <p:grpSpPr>
          <a:xfrm>
            <a:off x="8615585" y="2170664"/>
            <a:ext cx="3114643" cy="3283465"/>
            <a:chOff x="8916087" y="2251280"/>
            <a:chExt cx="3114643" cy="3106428"/>
          </a:xfrm>
        </p:grpSpPr>
        <p:grpSp>
          <p:nvGrpSpPr>
            <p:cNvPr id="10" name="Group 9">
              <a:extLst>
                <a:ext uri="{FF2B5EF4-FFF2-40B4-BE49-F238E27FC236}">
                  <a16:creationId xmlns:a16="http://schemas.microsoft.com/office/drawing/2014/main" id="{AA63DB55-76B0-462D-A3EE-02FAA609AEC0}"/>
                </a:ext>
              </a:extLst>
            </p:cNvPr>
            <p:cNvGrpSpPr/>
            <p:nvPr/>
          </p:nvGrpSpPr>
          <p:grpSpPr>
            <a:xfrm>
              <a:off x="9409785" y="2251280"/>
              <a:ext cx="2620945" cy="3106428"/>
              <a:chOff x="9510265" y="2251280"/>
              <a:chExt cx="2620945" cy="3106428"/>
            </a:xfrm>
          </p:grpSpPr>
          <p:sp>
            <p:nvSpPr>
              <p:cNvPr id="9" name="TextBox 8">
                <a:extLst>
                  <a:ext uri="{FF2B5EF4-FFF2-40B4-BE49-F238E27FC236}">
                    <a16:creationId xmlns:a16="http://schemas.microsoft.com/office/drawing/2014/main" id="{FAF81E81-6AF3-48F7-A71A-57C024E42A38}"/>
                  </a:ext>
                </a:extLst>
              </p:cNvPr>
              <p:cNvSpPr txBox="1"/>
              <p:nvPr/>
            </p:nvSpPr>
            <p:spPr>
              <a:xfrm>
                <a:off x="9510265" y="3324968"/>
                <a:ext cx="1109599" cy="307777"/>
              </a:xfrm>
              <a:prstGeom prst="rect">
                <a:avLst/>
              </a:prstGeom>
              <a:noFill/>
            </p:spPr>
            <p:txBody>
              <a:bodyPr wrap="none" rtlCol="0">
                <a:spAutoFit/>
              </a:bodyPr>
              <a:lstStyle/>
              <a:p>
                <a:r>
                  <a:rPr lang="en-US" sz="1400" dirty="0"/>
                  <a:t>Lost money</a:t>
                </a:r>
              </a:p>
            </p:txBody>
          </p:sp>
          <p:sp>
            <p:nvSpPr>
              <p:cNvPr id="18" name="TextBox 17">
                <a:extLst>
                  <a:ext uri="{FF2B5EF4-FFF2-40B4-BE49-F238E27FC236}">
                    <a16:creationId xmlns:a16="http://schemas.microsoft.com/office/drawing/2014/main" id="{2B54591A-7125-4B38-A2E6-A6B5CE503454}"/>
                  </a:ext>
                </a:extLst>
              </p:cNvPr>
              <p:cNvSpPr txBox="1"/>
              <p:nvPr/>
            </p:nvSpPr>
            <p:spPr>
              <a:xfrm>
                <a:off x="9510265" y="2251280"/>
                <a:ext cx="2620945" cy="523220"/>
              </a:xfrm>
              <a:prstGeom prst="rect">
                <a:avLst/>
              </a:prstGeom>
              <a:noFill/>
            </p:spPr>
            <p:txBody>
              <a:bodyPr wrap="square" rtlCol="0">
                <a:spAutoFit/>
              </a:bodyPr>
              <a:lstStyle/>
              <a:p>
                <a:r>
                  <a:rPr lang="en-US" sz="1400" dirty="0"/>
                  <a:t>Less likely to participate in social media, blogs &amp; forums</a:t>
                </a:r>
              </a:p>
            </p:txBody>
          </p:sp>
          <p:sp>
            <p:nvSpPr>
              <p:cNvPr id="19" name="TextBox 18">
                <a:extLst>
                  <a:ext uri="{FF2B5EF4-FFF2-40B4-BE49-F238E27FC236}">
                    <a16:creationId xmlns:a16="http://schemas.microsoft.com/office/drawing/2014/main" id="{518ABD3D-4EF0-4930-B231-468DE02F2237}"/>
                  </a:ext>
                </a:extLst>
              </p:cNvPr>
              <p:cNvSpPr txBox="1"/>
              <p:nvPr/>
            </p:nvSpPr>
            <p:spPr>
              <a:xfrm>
                <a:off x="9510265" y="2813569"/>
                <a:ext cx="2620945" cy="523220"/>
              </a:xfrm>
              <a:prstGeom prst="rect">
                <a:avLst/>
              </a:prstGeom>
              <a:noFill/>
            </p:spPr>
            <p:txBody>
              <a:bodyPr wrap="square" rtlCol="0">
                <a:spAutoFit/>
              </a:bodyPr>
              <a:lstStyle/>
              <a:p>
                <a:r>
                  <a:rPr lang="en-US" sz="1400" dirty="0"/>
                  <a:t>Personal reputation was damaged</a:t>
                </a:r>
              </a:p>
            </p:txBody>
          </p:sp>
          <p:sp>
            <p:nvSpPr>
              <p:cNvPr id="20" name="TextBox 19">
                <a:extLst>
                  <a:ext uri="{FF2B5EF4-FFF2-40B4-BE49-F238E27FC236}">
                    <a16:creationId xmlns:a16="http://schemas.microsoft.com/office/drawing/2014/main" id="{4CDD9435-3CCE-4787-ADA7-7C742CB7E0DD}"/>
                  </a:ext>
                </a:extLst>
              </p:cNvPr>
              <p:cNvSpPr txBox="1"/>
              <p:nvPr/>
            </p:nvSpPr>
            <p:spPr>
              <a:xfrm>
                <a:off x="9510265" y="3722704"/>
                <a:ext cx="2620945" cy="523220"/>
              </a:xfrm>
              <a:prstGeom prst="rect">
                <a:avLst/>
              </a:prstGeom>
              <a:noFill/>
            </p:spPr>
            <p:txBody>
              <a:bodyPr wrap="square" rtlCol="0">
                <a:spAutoFit/>
              </a:bodyPr>
              <a:lstStyle/>
              <a:p>
                <a:r>
                  <a:rPr lang="en-US" sz="1400" dirty="0"/>
                  <a:t>Intentionally spent less time at school</a:t>
                </a:r>
              </a:p>
            </p:txBody>
          </p:sp>
          <p:sp>
            <p:nvSpPr>
              <p:cNvPr id="21" name="TextBox 20">
                <a:extLst>
                  <a:ext uri="{FF2B5EF4-FFF2-40B4-BE49-F238E27FC236}">
                    <a16:creationId xmlns:a16="http://schemas.microsoft.com/office/drawing/2014/main" id="{338A655C-0395-48AC-A6FA-694318C475DA}"/>
                  </a:ext>
                </a:extLst>
              </p:cNvPr>
              <p:cNvSpPr txBox="1"/>
              <p:nvPr/>
            </p:nvSpPr>
            <p:spPr>
              <a:xfrm>
                <a:off x="9510265" y="4631839"/>
                <a:ext cx="2620945" cy="307777"/>
              </a:xfrm>
              <a:prstGeom prst="rect">
                <a:avLst/>
              </a:prstGeom>
              <a:noFill/>
            </p:spPr>
            <p:txBody>
              <a:bodyPr wrap="square" rtlCol="0">
                <a:spAutoFit/>
              </a:bodyPr>
              <a:lstStyle/>
              <a:p>
                <a:r>
                  <a:rPr lang="en-US" sz="1400" dirty="0"/>
                  <a:t>Quit my job</a:t>
                </a:r>
              </a:p>
            </p:txBody>
          </p:sp>
          <p:sp>
            <p:nvSpPr>
              <p:cNvPr id="22" name="TextBox 21">
                <a:extLst>
                  <a:ext uri="{FF2B5EF4-FFF2-40B4-BE49-F238E27FC236}">
                    <a16:creationId xmlns:a16="http://schemas.microsoft.com/office/drawing/2014/main" id="{51C918BE-AE65-4EBD-AB6F-D1635EB05A69}"/>
                  </a:ext>
                </a:extLst>
              </p:cNvPr>
              <p:cNvSpPr txBox="1"/>
              <p:nvPr/>
            </p:nvSpPr>
            <p:spPr>
              <a:xfrm>
                <a:off x="9510265" y="5049931"/>
                <a:ext cx="2620945" cy="307777"/>
              </a:xfrm>
              <a:prstGeom prst="rect">
                <a:avLst/>
              </a:prstGeom>
              <a:noFill/>
            </p:spPr>
            <p:txBody>
              <a:bodyPr wrap="square" rtlCol="0">
                <a:spAutoFit/>
              </a:bodyPr>
              <a:lstStyle/>
              <a:p>
                <a:r>
                  <a:rPr lang="en-US" sz="1400" dirty="0"/>
                  <a:t>Was physically harmed offline</a:t>
                </a:r>
              </a:p>
            </p:txBody>
          </p:sp>
          <p:sp>
            <p:nvSpPr>
              <p:cNvPr id="23" name="TextBox 22">
                <a:extLst>
                  <a:ext uri="{FF2B5EF4-FFF2-40B4-BE49-F238E27FC236}">
                    <a16:creationId xmlns:a16="http://schemas.microsoft.com/office/drawing/2014/main" id="{18F5BB68-566E-4005-95ED-50A2B673AC41}"/>
                  </a:ext>
                </a:extLst>
              </p:cNvPr>
              <p:cNvSpPr txBox="1"/>
              <p:nvPr/>
            </p:nvSpPr>
            <p:spPr>
              <a:xfrm>
                <a:off x="9510265" y="4223925"/>
                <a:ext cx="2620945" cy="307777"/>
              </a:xfrm>
              <a:prstGeom prst="rect">
                <a:avLst/>
              </a:prstGeom>
              <a:noFill/>
            </p:spPr>
            <p:txBody>
              <a:bodyPr wrap="square" rtlCol="0">
                <a:spAutoFit/>
              </a:bodyPr>
              <a:lstStyle/>
              <a:p>
                <a:r>
                  <a:rPr lang="en-US" sz="1400" dirty="0"/>
                  <a:t>Had thoughts of suicide</a:t>
                </a:r>
              </a:p>
            </p:txBody>
          </p:sp>
        </p:grpSp>
        <p:cxnSp>
          <p:nvCxnSpPr>
            <p:cNvPr id="12" name="Straight Connector 11">
              <a:extLst>
                <a:ext uri="{FF2B5EF4-FFF2-40B4-BE49-F238E27FC236}">
                  <a16:creationId xmlns:a16="http://schemas.microsoft.com/office/drawing/2014/main" id="{76C4E080-6FAA-4B56-BE63-16D246162A95}"/>
                </a:ext>
              </a:extLst>
            </p:cNvPr>
            <p:cNvCxnSpPr>
              <a:cxnSpLocks/>
            </p:cNvCxnSpPr>
            <p:nvPr/>
          </p:nvCxnSpPr>
          <p:spPr>
            <a:xfrm flipH="1" flipV="1">
              <a:off x="9130049" y="5009219"/>
              <a:ext cx="236705" cy="142361"/>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D27333B-9417-4044-BD39-7CB1487DDB61}"/>
                </a:ext>
              </a:extLst>
            </p:cNvPr>
            <p:cNvCxnSpPr>
              <a:cxnSpLocks/>
            </p:cNvCxnSpPr>
            <p:nvPr/>
          </p:nvCxnSpPr>
          <p:spPr>
            <a:xfrm flipH="1" flipV="1">
              <a:off x="9183955" y="4743050"/>
              <a:ext cx="204314" cy="42678"/>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F7DF239-E4B8-4833-BE44-F68F4CEED549}"/>
                </a:ext>
              </a:extLst>
            </p:cNvPr>
            <p:cNvCxnSpPr>
              <a:cxnSpLocks/>
            </p:cNvCxnSpPr>
            <p:nvPr/>
          </p:nvCxnSpPr>
          <p:spPr>
            <a:xfrm flipH="1">
              <a:off x="8916087" y="3893710"/>
              <a:ext cx="429150" cy="2434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99D2E6B-367D-4C77-9C1D-C526804AD476}"/>
                </a:ext>
              </a:extLst>
            </p:cNvPr>
            <p:cNvCxnSpPr/>
            <p:nvPr/>
          </p:nvCxnSpPr>
          <p:spPr>
            <a:xfrm flipH="1">
              <a:off x="9140807" y="3463690"/>
              <a:ext cx="236704" cy="134156"/>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E28C173-921E-4FEA-841F-BEACFEFBBCF7}"/>
                </a:ext>
              </a:extLst>
            </p:cNvPr>
            <p:cNvCxnSpPr>
              <a:cxnSpLocks/>
            </p:cNvCxnSpPr>
            <p:nvPr/>
          </p:nvCxnSpPr>
          <p:spPr>
            <a:xfrm flipH="1">
              <a:off x="8937603" y="3075179"/>
              <a:ext cx="429150" cy="26161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03593BE-2302-41E1-B67D-363B4FB187EA}"/>
                </a:ext>
              </a:extLst>
            </p:cNvPr>
            <p:cNvCxnSpPr>
              <a:cxnSpLocks/>
            </p:cNvCxnSpPr>
            <p:nvPr/>
          </p:nvCxnSpPr>
          <p:spPr>
            <a:xfrm flipH="1" flipV="1">
              <a:off x="9130049" y="2418566"/>
              <a:ext cx="295883" cy="43642"/>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48" name="Straight Connector 47">
            <a:extLst>
              <a:ext uri="{FF2B5EF4-FFF2-40B4-BE49-F238E27FC236}">
                <a16:creationId xmlns:a16="http://schemas.microsoft.com/office/drawing/2014/main" id="{6AEC4667-EBDE-480D-93E5-EA132FF0E33B}"/>
              </a:ext>
            </a:extLst>
          </p:cNvPr>
          <p:cNvCxnSpPr>
            <a:cxnSpLocks/>
          </p:cNvCxnSpPr>
          <p:nvPr/>
        </p:nvCxnSpPr>
        <p:spPr>
          <a:xfrm flipH="1">
            <a:off x="8829547" y="4429148"/>
            <a:ext cx="258220" cy="85275"/>
          </a:xfrm>
          <a:prstGeom prst="line">
            <a:avLst/>
          </a:prstGeom>
        </p:spPr>
        <p:style>
          <a:lnRef idx="1">
            <a:schemeClr val="accent1"/>
          </a:lnRef>
          <a:fillRef idx="0">
            <a:schemeClr val="accent1"/>
          </a:fillRef>
          <a:effectRef idx="0">
            <a:schemeClr val="accent1"/>
          </a:effectRef>
          <a:fontRef idx="minor">
            <a:schemeClr val="tx1"/>
          </a:fontRef>
        </p:style>
      </p:cxnSp>
      <p:sp>
        <p:nvSpPr>
          <p:cNvPr id="26" name="Slide Number Placeholder 2">
            <a:extLst>
              <a:ext uri="{FF2B5EF4-FFF2-40B4-BE49-F238E27FC236}">
                <a16:creationId xmlns:a16="http://schemas.microsoft.com/office/drawing/2014/main" id="{1EF26BC9-4B9B-4E12-A15D-06F9C3638859}"/>
              </a:ext>
            </a:extLst>
          </p:cNvPr>
          <p:cNvSpPr txBox="1">
            <a:spLocks/>
          </p:cNvSpPr>
          <p:nvPr/>
        </p:nvSpPr>
        <p:spPr>
          <a:xfrm>
            <a:off x="9290050" y="6486525"/>
            <a:ext cx="2901950" cy="371475"/>
          </a:xfrm>
          <a:prstGeom prst="rect">
            <a:avLst/>
          </a:prstGeom>
        </p:spPr>
        <p:txBody>
          <a:bodyPr vert="horz" lIns="91440" tIns="45720" rIns="91440" bIns="45720" rtlCol="0" anchor="ctr"/>
          <a:lstStyle>
            <a:defPPr>
              <a:defRPr lang="en-US"/>
            </a:defPPr>
            <a:lvl1pPr marL="0" algn="r" defTabSz="914286" rtl="0" eaLnBrk="1" latinLnBrk="0" hangingPunct="1">
              <a:defRPr sz="1200" kern="1200">
                <a:solidFill>
                  <a:schemeClr val="bg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fld id="{7EFC24D6-DB8F-6B44-BA5A-9BEC68C15CAA}" type="slidenum">
              <a:rPr lang="en-US" smtClean="0">
                <a:solidFill>
                  <a:srgbClr val="000000">
                    <a:lumMod val="50000"/>
                    <a:lumOff val="50000"/>
                  </a:srgbClr>
                </a:solidFill>
              </a:rPr>
              <a:pPr/>
              <a:t>20</a:t>
            </a:fld>
            <a:endParaRPr lang="en-US" dirty="0">
              <a:solidFill>
                <a:srgbClr val="000000">
                  <a:lumMod val="50000"/>
                  <a:lumOff val="50000"/>
                </a:srgbClr>
              </a:solidFill>
            </a:endParaRPr>
          </a:p>
        </p:txBody>
      </p:sp>
    </p:spTree>
    <p:extLst>
      <p:ext uri="{BB962C8B-B14F-4D97-AF65-F5344CB8AC3E}">
        <p14:creationId xmlns:p14="http://schemas.microsoft.com/office/powerpoint/2010/main" val="142951389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6" name="Chart 25">
            <a:extLst>
              <a:ext uri="{FF2B5EF4-FFF2-40B4-BE49-F238E27FC236}">
                <a16:creationId xmlns:a16="http://schemas.microsoft.com/office/drawing/2014/main" id="{E3C23635-F79D-4F32-A498-0833E29CC4AB}"/>
              </a:ext>
            </a:extLst>
          </p:cNvPr>
          <p:cNvGraphicFramePr/>
          <p:nvPr>
            <p:extLst>
              <p:ext uri="{D42A27DB-BD31-4B8C-83A1-F6EECF244321}">
                <p14:modId xmlns:p14="http://schemas.microsoft.com/office/powerpoint/2010/main" val="310332265"/>
              </p:ext>
            </p:extLst>
          </p:nvPr>
        </p:nvGraphicFramePr>
        <p:xfrm>
          <a:off x="5117953" y="1651922"/>
          <a:ext cx="3989194" cy="4532817"/>
        </p:xfrm>
        <a:graphic>
          <a:graphicData uri="http://schemas.openxmlformats.org/drawingml/2006/chart">
            <c:chart xmlns:c="http://schemas.openxmlformats.org/drawingml/2006/chart" xmlns:r="http://schemas.openxmlformats.org/officeDocument/2006/relationships" r:id="rId3"/>
          </a:graphicData>
        </a:graphic>
      </p:graphicFrame>
      <p:sp>
        <p:nvSpPr>
          <p:cNvPr id="7" name="Rectangle 6"/>
          <p:cNvSpPr/>
          <p:nvPr/>
        </p:nvSpPr>
        <p:spPr>
          <a:xfrm>
            <a:off x="1" y="0"/>
            <a:ext cx="5107900"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sp>
        <p:nvSpPr>
          <p:cNvPr id="6" name="Title 5"/>
          <p:cNvSpPr>
            <a:spLocks noGrp="1"/>
          </p:cNvSpPr>
          <p:nvPr>
            <p:ph type="title"/>
          </p:nvPr>
        </p:nvSpPr>
        <p:spPr>
          <a:xfrm>
            <a:off x="3052640" y="10269"/>
            <a:ext cx="8948441" cy="1179288"/>
          </a:xfrm>
        </p:spPr>
        <p:txBody>
          <a:bodyPr/>
          <a:lstStyle/>
          <a:p>
            <a:r>
              <a:rPr lang="en-US" altLang="ko-KR" sz="4400" b="0" dirty="0"/>
              <a:t>Many actions were taken less often</a:t>
            </a:r>
            <a:endParaRPr lang="ko-KR" altLang="en-US" b="0" dirty="0"/>
          </a:p>
        </p:txBody>
      </p:sp>
      <p:grpSp>
        <p:nvGrpSpPr>
          <p:cNvPr id="17" name="Group 16">
            <a:extLst>
              <a:ext uri="{FF2B5EF4-FFF2-40B4-BE49-F238E27FC236}">
                <a16:creationId xmlns:a16="http://schemas.microsoft.com/office/drawing/2014/main" id="{D0D06D6A-1876-4DAB-8E2E-48B997D9C837}"/>
              </a:ext>
            </a:extLst>
          </p:cNvPr>
          <p:cNvGrpSpPr/>
          <p:nvPr/>
        </p:nvGrpSpPr>
        <p:grpSpPr>
          <a:xfrm>
            <a:off x="338272" y="1734845"/>
            <a:ext cx="3201687" cy="3200400"/>
            <a:chOff x="664345" y="2188450"/>
            <a:chExt cx="3201687" cy="3200400"/>
          </a:xfrm>
        </p:grpSpPr>
        <p:graphicFrame>
          <p:nvGraphicFramePr>
            <p:cNvPr id="42" name="Chart 41">
              <a:extLst>
                <a:ext uri="{FF2B5EF4-FFF2-40B4-BE49-F238E27FC236}">
                  <a16:creationId xmlns:a16="http://schemas.microsoft.com/office/drawing/2014/main" id="{2E9E445C-F41E-4E82-A0A2-DA0C47903816}"/>
                </a:ext>
              </a:extLst>
            </p:cNvPr>
            <p:cNvGraphicFramePr>
              <a:graphicFrameLocks noChangeAspect="1"/>
            </p:cNvGraphicFramePr>
            <p:nvPr>
              <p:extLst>
                <p:ext uri="{D42A27DB-BD31-4B8C-83A1-F6EECF244321}">
                  <p14:modId xmlns:p14="http://schemas.microsoft.com/office/powerpoint/2010/main" val="2880745260"/>
                </p:ext>
              </p:extLst>
            </p:nvPr>
          </p:nvGraphicFramePr>
          <p:xfrm>
            <a:off x="664345" y="2188450"/>
            <a:ext cx="3201687" cy="3200400"/>
          </p:xfrm>
          <a:graphic>
            <a:graphicData uri="http://schemas.openxmlformats.org/drawingml/2006/chart">
              <c:chart xmlns:c="http://schemas.openxmlformats.org/drawingml/2006/chart" xmlns:r="http://schemas.openxmlformats.org/officeDocument/2006/relationships" r:id="rId4"/>
            </a:graphicData>
          </a:graphic>
        </p:graphicFrame>
        <p:sp>
          <p:nvSpPr>
            <p:cNvPr id="16" name="Rectangle 15">
              <a:extLst>
                <a:ext uri="{FF2B5EF4-FFF2-40B4-BE49-F238E27FC236}">
                  <a16:creationId xmlns:a16="http://schemas.microsoft.com/office/drawing/2014/main" id="{EF655F99-9091-47B9-8C96-9C48C2003DBB}"/>
                </a:ext>
              </a:extLst>
            </p:cNvPr>
            <p:cNvSpPr/>
            <p:nvPr/>
          </p:nvSpPr>
          <p:spPr>
            <a:xfrm>
              <a:off x="1732832" y="3326985"/>
              <a:ext cx="1064715" cy="923330"/>
            </a:xfrm>
            <a:prstGeom prst="rect">
              <a:avLst/>
            </a:prstGeom>
          </p:spPr>
          <p:txBody>
            <a:bodyPr wrap="none">
              <a:spAutoFit/>
            </a:bodyPr>
            <a:lstStyle/>
            <a:p>
              <a:pPr algn="ctr"/>
              <a:r>
                <a:rPr lang="en-US" altLang="ko-KR" sz="5400" dirty="0">
                  <a:solidFill>
                    <a:schemeClr val="bg1"/>
                  </a:solidFill>
                  <a:latin typeface="Impact" panose="020B0806030902050204" pitchFamily="34" charset="0"/>
                </a:rPr>
                <a:t>91</a:t>
              </a:r>
              <a:r>
                <a:rPr lang="en-US" altLang="ko-KR" sz="2700" dirty="0">
                  <a:solidFill>
                    <a:schemeClr val="bg1"/>
                  </a:solidFill>
                  <a:latin typeface="Impact" panose="020B0806030902050204" pitchFamily="34" charset="0"/>
                </a:rPr>
                <a:t>%</a:t>
              </a:r>
              <a:endParaRPr lang="ko-KR" altLang="en-US" sz="2700" dirty="0">
                <a:solidFill>
                  <a:schemeClr val="bg1"/>
                </a:solidFill>
                <a:latin typeface="Impact" panose="020B0806030902050204" pitchFamily="34" charset="0"/>
              </a:endParaRPr>
            </a:p>
          </p:txBody>
        </p:sp>
      </p:grpSp>
      <p:sp>
        <p:nvSpPr>
          <p:cNvPr id="45" name="TextBox 44">
            <a:extLst>
              <a:ext uri="{FF2B5EF4-FFF2-40B4-BE49-F238E27FC236}">
                <a16:creationId xmlns:a16="http://schemas.microsoft.com/office/drawing/2014/main" id="{C862E79D-463E-4C6F-B0ED-587186E137E3}"/>
              </a:ext>
            </a:extLst>
          </p:cNvPr>
          <p:cNvSpPr txBox="1">
            <a:spLocks/>
          </p:cNvSpPr>
          <p:nvPr/>
        </p:nvSpPr>
        <p:spPr>
          <a:xfrm>
            <a:off x="306086" y="4998543"/>
            <a:ext cx="3812785" cy="1015663"/>
          </a:xfrm>
          <a:prstGeom prst="rect">
            <a:avLst/>
          </a:prstGeom>
          <a:solidFill>
            <a:srgbClr val="28608C">
              <a:alpha val="85000"/>
            </a:srgbClr>
          </a:solidFill>
        </p:spPr>
        <p:txBody>
          <a:bodyPr wrap="square" rtlCol="0" anchor="t">
            <a:spAutoFit/>
          </a:bodyPr>
          <a:lstStyle/>
          <a:p>
            <a:pPr algn="ctr"/>
            <a:r>
              <a:rPr lang="en-US" altLang="ko-KR" sz="2800" dirty="0">
                <a:solidFill>
                  <a:schemeClr val="bg1"/>
                </a:solidFill>
                <a:latin typeface="Arial" panose="020B0604020202020204" pitchFamily="34" charset="0"/>
                <a:cs typeface="Arial" panose="020B0604020202020204" pitchFamily="34" charset="0"/>
              </a:rPr>
              <a:t>Actions taken</a:t>
            </a:r>
          </a:p>
          <a:p>
            <a:pPr algn="ctr"/>
            <a:r>
              <a:rPr lang="en-US" altLang="ko-KR" dirty="0">
                <a:solidFill>
                  <a:schemeClr val="bg1"/>
                </a:solidFill>
                <a:latin typeface="Arial" panose="020B0604020202020204" pitchFamily="34" charset="0"/>
                <a:cs typeface="Arial" panose="020B0604020202020204" pitchFamily="34" charset="0"/>
              </a:rPr>
              <a:t> +1 YOY</a:t>
            </a:r>
          </a:p>
          <a:p>
            <a:pPr algn="ctr"/>
            <a:r>
              <a:rPr lang="en-US" altLang="ko-KR" sz="1400" dirty="0">
                <a:solidFill>
                  <a:schemeClr val="bg1"/>
                </a:solidFill>
                <a:latin typeface="Arial" panose="020B0604020202020204" pitchFamily="34" charset="0"/>
                <a:cs typeface="Arial" panose="020B0604020202020204" pitchFamily="34" charset="0"/>
              </a:rPr>
              <a:t>(Any action taken)</a:t>
            </a:r>
            <a:endParaRPr lang="ko-KR" altLang="en-US" sz="1400" dirty="0">
              <a:solidFill>
                <a:schemeClr val="bg1"/>
              </a:solidFill>
              <a:latin typeface="Arial" panose="020B0604020202020204" pitchFamily="34" charset="0"/>
              <a:cs typeface="Arial" panose="020B0604020202020204" pitchFamily="34" charset="0"/>
            </a:endParaRPr>
          </a:p>
        </p:txBody>
      </p:sp>
      <p:sp>
        <p:nvSpPr>
          <p:cNvPr id="46" name="TextBox 45">
            <a:extLst>
              <a:ext uri="{FF2B5EF4-FFF2-40B4-BE49-F238E27FC236}">
                <a16:creationId xmlns:a16="http://schemas.microsoft.com/office/drawing/2014/main" id="{82ACE9B8-5FB9-47E9-9A91-B23FA2726478}"/>
              </a:ext>
            </a:extLst>
          </p:cNvPr>
          <p:cNvSpPr txBox="1"/>
          <p:nvPr/>
        </p:nvSpPr>
        <p:spPr>
          <a:xfrm>
            <a:off x="5847907" y="6355786"/>
            <a:ext cx="6176943" cy="566656"/>
          </a:xfrm>
          <a:prstGeom prst="rect">
            <a:avLst/>
          </a:prstGeom>
          <a:noFill/>
        </p:spPr>
        <p:txBody>
          <a:bodyPr wrap="square" lIns="179285" tIns="143428" rIns="179285" bIns="143428" rtlCol="0">
            <a:spAutoFit/>
          </a:bodyPr>
          <a:lstStyle/>
          <a:p>
            <a:pPr>
              <a:lnSpc>
                <a:spcPct val="90000"/>
              </a:lnSpc>
            </a:pPr>
            <a:r>
              <a:rPr lang="en-US" sz="1000" i="1" dirty="0">
                <a:solidFill>
                  <a:schemeClr val="bg1">
                    <a:lumMod val="50000"/>
                  </a:schemeClr>
                </a:solidFill>
              </a:rPr>
              <a:t>Q9: Please tell us if any of the following has ever happened to you or to a friend/family member as a consequence of being treated uncivilly</a:t>
            </a:r>
          </a:p>
        </p:txBody>
      </p:sp>
      <p:grpSp>
        <p:nvGrpSpPr>
          <p:cNvPr id="10" name="Group 9">
            <a:extLst>
              <a:ext uri="{FF2B5EF4-FFF2-40B4-BE49-F238E27FC236}">
                <a16:creationId xmlns:a16="http://schemas.microsoft.com/office/drawing/2014/main" id="{AA63DB55-76B0-462D-A3EE-02FAA609AEC0}"/>
              </a:ext>
            </a:extLst>
          </p:cNvPr>
          <p:cNvGrpSpPr/>
          <p:nvPr/>
        </p:nvGrpSpPr>
        <p:grpSpPr>
          <a:xfrm>
            <a:off x="9077008" y="2170665"/>
            <a:ext cx="2620946" cy="3643922"/>
            <a:chOff x="9510264" y="2251280"/>
            <a:chExt cx="2620946" cy="3424320"/>
          </a:xfrm>
        </p:grpSpPr>
        <p:sp>
          <p:nvSpPr>
            <p:cNvPr id="9" name="TextBox 8">
              <a:extLst>
                <a:ext uri="{FF2B5EF4-FFF2-40B4-BE49-F238E27FC236}">
                  <a16:creationId xmlns:a16="http://schemas.microsoft.com/office/drawing/2014/main" id="{FAF81E81-6AF3-48F7-A71A-57C024E42A38}"/>
                </a:ext>
              </a:extLst>
            </p:cNvPr>
            <p:cNvSpPr txBox="1"/>
            <p:nvPr/>
          </p:nvSpPr>
          <p:spPr>
            <a:xfrm>
              <a:off x="9510265" y="3300639"/>
              <a:ext cx="1943161" cy="289229"/>
            </a:xfrm>
            <a:prstGeom prst="rect">
              <a:avLst/>
            </a:prstGeom>
            <a:noFill/>
          </p:spPr>
          <p:txBody>
            <a:bodyPr wrap="none" rtlCol="0">
              <a:spAutoFit/>
            </a:bodyPr>
            <a:lstStyle/>
            <a:p>
              <a:r>
                <a:rPr lang="en-US" sz="1400" b="1" dirty="0"/>
                <a:t>I stood up for myself</a:t>
              </a:r>
            </a:p>
          </p:txBody>
        </p:sp>
        <p:sp>
          <p:nvSpPr>
            <p:cNvPr id="18" name="TextBox 17">
              <a:extLst>
                <a:ext uri="{FF2B5EF4-FFF2-40B4-BE49-F238E27FC236}">
                  <a16:creationId xmlns:a16="http://schemas.microsoft.com/office/drawing/2014/main" id="{2B54591A-7125-4B38-A2E6-A6B5CE503454}"/>
                </a:ext>
              </a:extLst>
            </p:cNvPr>
            <p:cNvSpPr txBox="1"/>
            <p:nvPr/>
          </p:nvSpPr>
          <p:spPr>
            <a:xfrm>
              <a:off x="9510265" y="2251280"/>
              <a:ext cx="2620945" cy="523220"/>
            </a:xfrm>
            <a:prstGeom prst="rect">
              <a:avLst/>
            </a:prstGeom>
            <a:noFill/>
          </p:spPr>
          <p:txBody>
            <a:bodyPr wrap="square" rtlCol="0">
              <a:spAutoFit/>
            </a:bodyPr>
            <a:lstStyle/>
            <a:p>
              <a:r>
                <a:rPr lang="en-US" sz="1400" dirty="0"/>
                <a:t>Reduced the personal information I share online</a:t>
              </a:r>
            </a:p>
          </p:txBody>
        </p:sp>
        <p:sp>
          <p:nvSpPr>
            <p:cNvPr id="19" name="TextBox 18">
              <a:extLst>
                <a:ext uri="{FF2B5EF4-FFF2-40B4-BE49-F238E27FC236}">
                  <a16:creationId xmlns:a16="http://schemas.microsoft.com/office/drawing/2014/main" id="{518ABD3D-4EF0-4930-B231-468DE02F2237}"/>
                </a:ext>
              </a:extLst>
            </p:cNvPr>
            <p:cNvSpPr txBox="1"/>
            <p:nvPr/>
          </p:nvSpPr>
          <p:spPr>
            <a:xfrm>
              <a:off x="9510265" y="2775959"/>
              <a:ext cx="2620945" cy="523220"/>
            </a:xfrm>
            <a:prstGeom prst="rect">
              <a:avLst/>
            </a:prstGeom>
            <a:noFill/>
          </p:spPr>
          <p:txBody>
            <a:bodyPr wrap="square" rtlCol="0">
              <a:spAutoFit/>
            </a:bodyPr>
            <a:lstStyle/>
            <a:p>
              <a:r>
                <a:rPr lang="en-US" sz="1400" dirty="0"/>
                <a:t>I used tighter privacy settings on social media</a:t>
              </a:r>
            </a:p>
          </p:txBody>
        </p:sp>
        <p:sp>
          <p:nvSpPr>
            <p:cNvPr id="20" name="TextBox 19">
              <a:extLst>
                <a:ext uri="{FF2B5EF4-FFF2-40B4-BE49-F238E27FC236}">
                  <a16:creationId xmlns:a16="http://schemas.microsoft.com/office/drawing/2014/main" id="{4CDD9435-3CCE-4787-ADA7-7C742CB7E0DD}"/>
                </a:ext>
              </a:extLst>
            </p:cNvPr>
            <p:cNvSpPr txBox="1"/>
            <p:nvPr/>
          </p:nvSpPr>
          <p:spPr>
            <a:xfrm>
              <a:off x="9510265" y="3609875"/>
              <a:ext cx="2620945" cy="491688"/>
            </a:xfrm>
            <a:prstGeom prst="rect">
              <a:avLst/>
            </a:prstGeom>
            <a:noFill/>
          </p:spPr>
          <p:txBody>
            <a:bodyPr wrap="square" rtlCol="0">
              <a:spAutoFit/>
            </a:bodyPr>
            <a:lstStyle/>
            <a:p>
              <a:r>
                <a:rPr lang="en-US" sz="1400" b="1" dirty="0"/>
                <a:t>I paused before replying to someone I disagreed with</a:t>
              </a:r>
            </a:p>
          </p:txBody>
        </p:sp>
        <p:sp>
          <p:nvSpPr>
            <p:cNvPr id="21" name="TextBox 20">
              <a:extLst>
                <a:ext uri="{FF2B5EF4-FFF2-40B4-BE49-F238E27FC236}">
                  <a16:creationId xmlns:a16="http://schemas.microsoft.com/office/drawing/2014/main" id="{338A655C-0395-48AC-A6FA-694318C475DA}"/>
                </a:ext>
              </a:extLst>
            </p:cNvPr>
            <p:cNvSpPr txBox="1"/>
            <p:nvPr/>
          </p:nvSpPr>
          <p:spPr>
            <a:xfrm>
              <a:off x="9510265" y="4659234"/>
              <a:ext cx="2620945" cy="491688"/>
            </a:xfrm>
            <a:prstGeom prst="rect">
              <a:avLst/>
            </a:prstGeom>
            <a:noFill/>
          </p:spPr>
          <p:txBody>
            <a:bodyPr wrap="square" rtlCol="0">
              <a:spAutoFit/>
            </a:bodyPr>
            <a:lstStyle/>
            <a:p>
              <a:r>
                <a:rPr lang="en-US" sz="1400" b="1" dirty="0"/>
                <a:t>I showed respect for other people's point of view</a:t>
              </a:r>
            </a:p>
          </p:txBody>
        </p:sp>
        <p:sp>
          <p:nvSpPr>
            <p:cNvPr id="22" name="TextBox 21">
              <a:extLst>
                <a:ext uri="{FF2B5EF4-FFF2-40B4-BE49-F238E27FC236}">
                  <a16:creationId xmlns:a16="http://schemas.microsoft.com/office/drawing/2014/main" id="{51C918BE-AE65-4EBD-AB6F-D1635EB05A69}"/>
                </a:ext>
              </a:extLst>
            </p:cNvPr>
            <p:cNvSpPr txBox="1"/>
            <p:nvPr/>
          </p:nvSpPr>
          <p:spPr>
            <a:xfrm>
              <a:off x="9510264" y="5183912"/>
              <a:ext cx="2620945" cy="491688"/>
            </a:xfrm>
            <a:prstGeom prst="rect">
              <a:avLst/>
            </a:prstGeom>
            <a:noFill/>
          </p:spPr>
          <p:txBody>
            <a:bodyPr wrap="square" rtlCol="0">
              <a:spAutoFit/>
            </a:bodyPr>
            <a:lstStyle/>
            <a:p>
              <a:r>
                <a:rPr lang="en-US" sz="1400" b="1" dirty="0"/>
                <a:t>I treated the other person with dignity and respect</a:t>
              </a:r>
            </a:p>
          </p:txBody>
        </p:sp>
        <p:sp>
          <p:nvSpPr>
            <p:cNvPr id="23" name="TextBox 22">
              <a:extLst>
                <a:ext uri="{FF2B5EF4-FFF2-40B4-BE49-F238E27FC236}">
                  <a16:creationId xmlns:a16="http://schemas.microsoft.com/office/drawing/2014/main" id="{18F5BB68-566E-4005-95ED-50A2B673AC41}"/>
                </a:ext>
              </a:extLst>
            </p:cNvPr>
            <p:cNvSpPr txBox="1"/>
            <p:nvPr/>
          </p:nvSpPr>
          <p:spPr>
            <a:xfrm>
              <a:off x="9510265" y="4134554"/>
              <a:ext cx="2620945" cy="491688"/>
            </a:xfrm>
            <a:prstGeom prst="rect">
              <a:avLst/>
            </a:prstGeom>
            <a:noFill/>
          </p:spPr>
          <p:txBody>
            <a:bodyPr wrap="square" rtlCol="0">
              <a:spAutoFit/>
            </a:bodyPr>
            <a:lstStyle/>
            <a:p>
              <a:r>
                <a:rPr lang="en-US" sz="1400" b="1" dirty="0"/>
                <a:t>I defended someone who was treated unsafe or uncivil</a:t>
              </a:r>
            </a:p>
          </p:txBody>
        </p:sp>
      </p:grpSp>
      <p:cxnSp>
        <p:nvCxnSpPr>
          <p:cNvPr id="12" name="Straight Connector 11">
            <a:extLst>
              <a:ext uri="{FF2B5EF4-FFF2-40B4-BE49-F238E27FC236}">
                <a16:creationId xmlns:a16="http://schemas.microsoft.com/office/drawing/2014/main" id="{76C4E080-6FAA-4B56-BE63-16D246162A95}"/>
              </a:ext>
            </a:extLst>
          </p:cNvPr>
          <p:cNvCxnSpPr>
            <a:cxnSpLocks/>
            <a:stCxn id="22" idx="1"/>
          </p:cNvCxnSpPr>
          <p:nvPr/>
        </p:nvCxnSpPr>
        <p:spPr>
          <a:xfrm flipH="1" flipV="1">
            <a:off x="8721969" y="4863755"/>
            <a:ext cx="355039" cy="689222"/>
          </a:xfrm>
          <a:prstGeom prst="line">
            <a:avLst/>
          </a:prstGeom>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DD27333B-9417-4044-BD39-7CB1487DDB61}"/>
              </a:ext>
            </a:extLst>
          </p:cNvPr>
          <p:cNvCxnSpPr>
            <a:cxnSpLocks/>
          </p:cNvCxnSpPr>
          <p:nvPr/>
        </p:nvCxnSpPr>
        <p:spPr>
          <a:xfrm flipH="1" flipV="1">
            <a:off x="8886119" y="4602145"/>
            <a:ext cx="190891" cy="235601"/>
          </a:xfrm>
          <a:prstGeom prst="line">
            <a:avLst/>
          </a:prstGeom>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4F7DF239-E4B8-4833-BE44-F68F4CEED549}"/>
              </a:ext>
            </a:extLst>
          </p:cNvPr>
          <p:cNvCxnSpPr>
            <a:cxnSpLocks/>
            <a:stCxn id="20" idx="1"/>
          </p:cNvCxnSpPr>
          <p:nvPr/>
        </p:nvCxnSpPr>
        <p:spPr>
          <a:xfrm flipH="1">
            <a:off x="8840305" y="3877997"/>
            <a:ext cx="236704" cy="170876"/>
          </a:xfrm>
          <a:prstGeom prst="line">
            <a:avLst/>
          </a:prstGeom>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99D2E6B-367D-4C77-9C1D-C526804AD476}"/>
              </a:ext>
            </a:extLst>
          </p:cNvPr>
          <p:cNvCxnSpPr>
            <a:cxnSpLocks/>
          </p:cNvCxnSpPr>
          <p:nvPr/>
        </p:nvCxnSpPr>
        <p:spPr>
          <a:xfrm flipH="1">
            <a:off x="8861466" y="3493319"/>
            <a:ext cx="215543" cy="37965"/>
          </a:xfrm>
          <a:prstGeom prst="line">
            <a:avLst/>
          </a:prstGeom>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CE28C173-921E-4FEA-841F-BEACFEFBBCF7}"/>
              </a:ext>
            </a:extLst>
          </p:cNvPr>
          <p:cNvCxnSpPr>
            <a:cxnSpLocks/>
            <a:stCxn id="19" idx="1"/>
          </p:cNvCxnSpPr>
          <p:nvPr/>
        </p:nvCxnSpPr>
        <p:spPr>
          <a:xfrm flipH="1">
            <a:off x="8647859" y="3007379"/>
            <a:ext cx="429150" cy="195590"/>
          </a:xfrm>
          <a:prstGeom prst="line">
            <a:avLst/>
          </a:prstGeom>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703593BE-2302-41E1-B67D-363B4FB187EA}"/>
              </a:ext>
            </a:extLst>
          </p:cNvPr>
          <p:cNvCxnSpPr>
            <a:cxnSpLocks/>
          </p:cNvCxnSpPr>
          <p:nvPr/>
        </p:nvCxnSpPr>
        <p:spPr>
          <a:xfrm flipH="1">
            <a:off x="8647859" y="2395120"/>
            <a:ext cx="445297" cy="296573"/>
          </a:xfrm>
          <a:prstGeom prst="line">
            <a:avLst/>
          </a:prstGeom>
        </p:spPr>
        <p:style>
          <a:lnRef idx="1">
            <a:schemeClr val="accent1"/>
          </a:lnRef>
          <a:fillRef idx="0">
            <a:schemeClr val="accent1"/>
          </a:fillRef>
          <a:effectRef idx="0">
            <a:schemeClr val="accent1"/>
          </a:effectRef>
          <a:fontRef idx="minor">
            <a:schemeClr val="tx1"/>
          </a:fontRef>
        </p:style>
      </p:cxnSp>
      <p:cxnSp>
        <p:nvCxnSpPr>
          <p:cNvPr id="48" name="Straight Connector 47">
            <a:extLst>
              <a:ext uri="{FF2B5EF4-FFF2-40B4-BE49-F238E27FC236}">
                <a16:creationId xmlns:a16="http://schemas.microsoft.com/office/drawing/2014/main" id="{6AEC4667-EBDE-480D-93E5-EA132FF0E33B}"/>
              </a:ext>
            </a:extLst>
          </p:cNvPr>
          <p:cNvCxnSpPr>
            <a:cxnSpLocks/>
          </p:cNvCxnSpPr>
          <p:nvPr/>
        </p:nvCxnSpPr>
        <p:spPr>
          <a:xfrm flipH="1" flipV="1">
            <a:off x="8886119" y="4245807"/>
            <a:ext cx="190890" cy="72179"/>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E9E24235-6F9D-45A3-BE53-A328ECB069FC}"/>
              </a:ext>
            </a:extLst>
          </p:cNvPr>
          <p:cNvSpPr txBox="1"/>
          <p:nvPr/>
        </p:nvSpPr>
        <p:spPr>
          <a:xfrm>
            <a:off x="9074167" y="1872376"/>
            <a:ext cx="2662908" cy="276999"/>
          </a:xfrm>
          <a:prstGeom prst="rect">
            <a:avLst/>
          </a:prstGeom>
          <a:noFill/>
        </p:spPr>
        <p:txBody>
          <a:bodyPr wrap="none" rtlCol="0">
            <a:spAutoFit/>
          </a:bodyPr>
          <a:lstStyle/>
          <a:p>
            <a:r>
              <a:rPr lang="en-US" sz="1200" b="1" dirty="0">
                <a:solidFill>
                  <a:schemeClr val="tx1">
                    <a:lumMod val="65000"/>
                    <a:lumOff val="35000"/>
                  </a:schemeClr>
                </a:solidFill>
              </a:rPr>
              <a:t>Bold</a:t>
            </a:r>
            <a:r>
              <a:rPr lang="en-US" sz="1200" i="1" dirty="0">
                <a:solidFill>
                  <a:schemeClr val="tx1">
                    <a:lumMod val="65000"/>
                    <a:lumOff val="35000"/>
                  </a:schemeClr>
                </a:solidFill>
              </a:rPr>
              <a:t> = </a:t>
            </a:r>
            <a:r>
              <a:rPr lang="en-US" sz="1200" dirty="0">
                <a:solidFill>
                  <a:schemeClr val="tx1">
                    <a:lumMod val="65000"/>
                    <a:lumOff val="35000"/>
                  </a:schemeClr>
                </a:solidFill>
              </a:rPr>
              <a:t>digital civility challenge items</a:t>
            </a:r>
          </a:p>
        </p:txBody>
      </p:sp>
      <p:sp>
        <p:nvSpPr>
          <p:cNvPr id="28" name="Slide Number Placeholder 2">
            <a:extLst>
              <a:ext uri="{FF2B5EF4-FFF2-40B4-BE49-F238E27FC236}">
                <a16:creationId xmlns:a16="http://schemas.microsoft.com/office/drawing/2014/main" id="{2F4C8C4B-448D-4D9B-9D54-986F756A9C9D}"/>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prstClr val="black">
                    <a:lumMod val="50000"/>
                    <a:lumOff val="50000"/>
                  </a:prstClr>
                </a:solidFill>
                <a:latin typeface="Arial"/>
              </a:rPr>
              <a:pPr algn="r">
                <a:defRPr/>
              </a:pPr>
              <a:t>21</a:t>
            </a:fld>
            <a:endParaRPr lang="en-US" sz="1200" dirty="0">
              <a:solidFill>
                <a:prstClr val="black">
                  <a:lumMod val="50000"/>
                  <a:lumOff val="50000"/>
                </a:prstClr>
              </a:solidFill>
              <a:latin typeface="Arial"/>
            </a:endParaRPr>
          </a:p>
        </p:txBody>
      </p:sp>
    </p:spTree>
    <p:extLst>
      <p:ext uri="{BB962C8B-B14F-4D97-AF65-F5344CB8AC3E}">
        <p14:creationId xmlns:p14="http://schemas.microsoft.com/office/powerpoint/2010/main" val="33365588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1F91DB4-B2C7-4383-B142-84EAFE850CCE}"/>
              </a:ext>
            </a:extLst>
          </p:cNvPr>
          <p:cNvSpPr/>
          <p:nvPr/>
        </p:nvSpPr>
        <p:spPr>
          <a:xfrm>
            <a:off x="3682850" y="5879"/>
            <a:ext cx="4242910" cy="6858000"/>
          </a:xfrm>
          <a:prstGeom prst="rect">
            <a:avLst/>
          </a:prstGeom>
          <a:solidFill>
            <a:srgbClr val="28608C">
              <a:alpha val="90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a:extLst>
              <a:ext uri="{FF2B5EF4-FFF2-40B4-BE49-F238E27FC236}">
                <a16:creationId xmlns:a16="http://schemas.microsoft.com/office/drawing/2014/main" id="{554AB881-62DC-4FBF-A8D4-5272F83816A7}"/>
              </a:ext>
            </a:extLst>
          </p:cNvPr>
          <p:cNvSpPr/>
          <p:nvPr/>
        </p:nvSpPr>
        <p:spPr>
          <a:xfrm>
            <a:off x="7928886" y="5879"/>
            <a:ext cx="4259035" cy="6858000"/>
          </a:xfrm>
          <a:prstGeom prst="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2">
            <a:extLst>
              <a:ext uri="{FF2B5EF4-FFF2-40B4-BE49-F238E27FC236}">
                <a16:creationId xmlns:a16="http://schemas.microsoft.com/office/drawing/2014/main" id="{25952532-1CDF-4FF3-9AA2-EAB892056195}"/>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fld id="{7EFC24D6-DB8F-6B44-BA5A-9BEC68C15CAA}" type="slidenum">
              <a:rPr lang="en-US" sz="1200" smtClean="0">
                <a:solidFill>
                  <a:schemeClr val="bg1"/>
                </a:solidFill>
              </a:rPr>
              <a:pPr algn="r"/>
              <a:t>22</a:t>
            </a:fld>
            <a:endParaRPr lang="en-US" sz="1200" dirty="0">
              <a:solidFill>
                <a:schemeClr val="bg1"/>
              </a:solidFill>
            </a:endParaRPr>
          </a:p>
        </p:txBody>
      </p:sp>
      <p:graphicFrame>
        <p:nvGraphicFramePr>
          <p:cNvPr id="6" name="Chart 5">
            <a:extLst>
              <a:ext uri="{FF2B5EF4-FFF2-40B4-BE49-F238E27FC236}">
                <a16:creationId xmlns:a16="http://schemas.microsoft.com/office/drawing/2014/main" id="{211296F5-DA0D-4479-BB6D-8FD8E7B42191}"/>
              </a:ext>
            </a:extLst>
          </p:cNvPr>
          <p:cNvGraphicFramePr/>
          <p:nvPr/>
        </p:nvGraphicFramePr>
        <p:xfrm>
          <a:off x="8212037" y="2587453"/>
          <a:ext cx="3814916" cy="3770670"/>
        </p:xfrm>
        <a:graphic>
          <a:graphicData uri="http://schemas.openxmlformats.org/drawingml/2006/chart">
            <c:chart xmlns:c="http://schemas.openxmlformats.org/drawingml/2006/chart" xmlns:r="http://schemas.openxmlformats.org/officeDocument/2006/relationships" r:id="rId3"/>
          </a:graphicData>
        </a:graphic>
      </p:graphicFrame>
      <p:sp>
        <p:nvSpPr>
          <p:cNvPr id="18" name="TextBox 17">
            <a:extLst>
              <a:ext uri="{FF2B5EF4-FFF2-40B4-BE49-F238E27FC236}">
                <a16:creationId xmlns:a16="http://schemas.microsoft.com/office/drawing/2014/main" id="{4C3AA553-565D-48CC-8677-0D3072149FC7}"/>
              </a:ext>
            </a:extLst>
          </p:cNvPr>
          <p:cNvSpPr txBox="1"/>
          <p:nvPr/>
        </p:nvSpPr>
        <p:spPr>
          <a:xfrm>
            <a:off x="8518241" y="448179"/>
            <a:ext cx="3615144" cy="830997"/>
          </a:xfrm>
          <a:prstGeom prst="rect">
            <a:avLst/>
          </a:prstGeom>
          <a:noFill/>
        </p:spPr>
        <p:txBody>
          <a:bodyPr wrap="square" rtlCol="0">
            <a:spAutoFit/>
          </a:bodyPr>
          <a:lstStyle/>
          <a:p>
            <a:r>
              <a:rPr lang="en-US" sz="2400" dirty="0">
                <a:solidFill>
                  <a:schemeClr val="bg1"/>
                </a:solidFill>
              </a:rPr>
              <a:t>Slightly more pessimistic for the coming year</a:t>
            </a:r>
          </a:p>
        </p:txBody>
      </p:sp>
      <p:sp>
        <p:nvSpPr>
          <p:cNvPr id="20" name="TextBox 19">
            <a:extLst>
              <a:ext uri="{FF2B5EF4-FFF2-40B4-BE49-F238E27FC236}">
                <a16:creationId xmlns:a16="http://schemas.microsoft.com/office/drawing/2014/main" id="{D18B2A42-E2F2-49F7-B589-72C3DE99A682}"/>
              </a:ext>
            </a:extLst>
          </p:cNvPr>
          <p:cNvSpPr txBox="1"/>
          <p:nvPr/>
        </p:nvSpPr>
        <p:spPr>
          <a:xfrm>
            <a:off x="8632720" y="6318795"/>
            <a:ext cx="2892056" cy="400110"/>
          </a:xfrm>
          <a:prstGeom prst="rect">
            <a:avLst/>
          </a:prstGeom>
          <a:noFill/>
        </p:spPr>
        <p:txBody>
          <a:bodyPr wrap="square" rtlCol="0">
            <a:spAutoFit/>
          </a:bodyPr>
          <a:lstStyle/>
          <a:p>
            <a:r>
              <a:rPr lang="en-US" sz="1000" i="1" dirty="0">
                <a:solidFill>
                  <a:schemeClr val="bg1"/>
                </a:solidFill>
              </a:rPr>
              <a:t>Q2019.1.2: A year from now, do you expect the state of online civility in your country to be:</a:t>
            </a:r>
          </a:p>
        </p:txBody>
      </p:sp>
      <p:grpSp>
        <p:nvGrpSpPr>
          <p:cNvPr id="32" name="Group 31">
            <a:extLst>
              <a:ext uri="{FF2B5EF4-FFF2-40B4-BE49-F238E27FC236}">
                <a16:creationId xmlns:a16="http://schemas.microsoft.com/office/drawing/2014/main" id="{9B06A1D9-CBF7-4137-AA67-B5A1D3317693}"/>
              </a:ext>
            </a:extLst>
          </p:cNvPr>
          <p:cNvGrpSpPr/>
          <p:nvPr/>
        </p:nvGrpSpPr>
        <p:grpSpPr>
          <a:xfrm>
            <a:off x="-9832" y="5879"/>
            <a:ext cx="3815268" cy="6858000"/>
            <a:chOff x="4257368" y="0"/>
            <a:chExt cx="3815268" cy="6858000"/>
          </a:xfrm>
        </p:grpSpPr>
        <p:sp>
          <p:nvSpPr>
            <p:cNvPr id="7" name="Rectangle 6">
              <a:extLst>
                <a:ext uri="{FF2B5EF4-FFF2-40B4-BE49-F238E27FC236}">
                  <a16:creationId xmlns:a16="http://schemas.microsoft.com/office/drawing/2014/main" id="{95EC74EB-5282-4E09-9543-437887917B0B}"/>
                </a:ext>
              </a:extLst>
            </p:cNvPr>
            <p:cNvSpPr/>
            <p:nvPr/>
          </p:nvSpPr>
          <p:spPr>
            <a:xfrm>
              <a:off x="4257368" y="0"/>
              <a:ext cx="3687097" cy="6858000"/>
            </a:xfrm>
            <a:prstGeom prst="rect">
              <a:avLst/>
            </a:prstGeom>
            <a:solidFill>
              <a:srgbClr val="26262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1">
              <a:extLst>
                <a:ext uri="{FF2B5EF4-FFF2-40B4-BE49-F238E27FC236}">
                  <a16:creationId xmlns:a16="http://schemas.microsoft.com/office/drawing/2014/main" id="{CF028269-013E-4B5A-9216-E699F0450E63}"/>
                </a:ext>
              </a:extLst>
            </p:cNvPr>
            <p:cNvSpPr txBox="1">
              <a:spLocks/>
            </p:cNvSpPr>
            <p:nvPr/>
          </p:nvSpPr>
          <p:spPr>
            <a:xfrm>
              <a:off x="4385539" y="313799"/>
              <a:ext cx="3687097" cy="1648976"/>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buNone/>
              </a:pPr>
              <a:r>
                <a:rPr lang="en-US" sz="3200" dirty="0">
                  <a:solidFill>
                    <a:schemeClr val="bg1"/>
                  </a:solidFill>
                </a:rPr>
                <a:t>Perceptions about</a:t>
              </a:r>
            </a:p>
            <a:p>
              <a:pPr marL="0" indent="0">
                <a:spcBef>
                  <a:spcPts val="0"/>
                </a:spcBef>
                <a:buNone/>
              </a:pPr>
              <a:r>
                <a:rPr lang="en-US" sz="3200" dirty="0">
                  <a:solidFill>
                    <a:schemeClr val="bg1"/>
                  </a:solidFill>
                </a:rPr>
                <a:t>Digital Civility: </a:t>
              </a:r>
            </a:p>
            <a:p>
              <a:pPr marL="0" indent="0">
                <a:spcBef>
                  <a:spcPts val="0"/>
                </a:spcBef>
                <a:buNone/>
              </a:pPr>
              <a:r>
                <a:rPr lang="en-US" sz="3200" dirty="0">
                  <a:solidFill>
                    <a:schemeClr val="bg1"/>
                  </a:solidFill>
                </a:rPr>
                <a:t>Present &amp; Future</a:t>
              </a:r>
            </a:p>
          </p:txBody>
        </p:sp>
        <p:sp>
          <p:nvSpPr>
            <p:cNvPr id="21" name="TextBox 20">
              <a:extLst>
                <a:ext uri="{FF2B5EF4-FFF2-40B4-BE49-F238E27FC236}">
                  <a16:creationId xmlns:a16="http://schemas.microsoft.com/office/drawing/2014/main" id="{0055892C-592A-4A8C-9277-0AFE14F39033}"/>
                </a:ext>
              </a:extLst>
            </p:cNvPr>
            <p:cNvSpPr txBox="1"/>
            <p:nvPr/>
          </p:nvSpPr>
          <p:spPr>
            <a:xfrm>
              <a:off x="4623332" y="3008800"/>
              <a:ext cx="3156154" cy="523220"/>
            </a:xfrm>
            <a:prstGeom prst="rect">
              <a:avLst/>
            </a:prstGeom>
            <a:noFill/>
          </p:spPr>
          <p:txBody>
            <a:bodyPr wrap="square" rtlCol="0">
              <a:spAutoFit/>
            </a:bodyPr>
            <a:lstStyle/>
            <a:p>
              <a:r>
                <a:rPr lang="en-US" sz="1400" dirty="0">
                  <a:solidFill>
                    <a:schemeClr val="bg1"/>
                  </a:solidFill>
                </a:rPr>
                <a:t>People are contacted online without their permission or consent</a:t>
              </a:r>
            </a:p>
          </p:txBody>
        </p:sp>
        <p:sp>
          <p:nvSpPr>
            <p:cNvPr id="22" name="TextBox 21">
              <a:extLst>
                <a:ext uri="{FF2B5EF4-FFF2-40B4-BE49-F238E27FC236}">
                  <a16:creationId xmlns:a16="http://schemas.microsoft.com/office/drawing/2014/main" id="{A7E7AAE8-E74C-4761-9E42-FBA69DCC004A}"/>
                </a:ext>
              </a:extLst>
            </p:cNvPr>
            <p:cNvSpPr txBox="1"/>
            <p:nvPr/>
          </p:nvSpPr>
          <p:spPr>
            <a:xfrm>
              <a:off x="4633161" y="3838751"/>
              <a:ext cx="3156154" cy="523220"/>
            </a:xfrm>
            <a:prstGeom prst="rect">
              <a:avLst/>
            </a:prstGeom>
            <a:noFill/>
          </p:spPr>
          <p:txBody>
            <a:bodyPr wrap="square" rtlCol="0">
              <a:spAutoFit/>
            </a:bodyPr>
            <a:lstStyle/>
            <a:p>
              <a:r>
                <a:rPr lang="en-US" sz="1400" dirty="0">
                  <a:solidFill>
                    <a:schemeClr val="bg1"/>
                  </a:solidFill>
                </a:rPr>
                <a:t>People are bullied, harassed or abused online</a:t>
              </a:r>
            </a:p>
          </p:txBody>
        </p:sp>
        <p:sp>
          <p:nvSpPr>
            <p:cNvPr id="23" name="TextBox 22">
              <a:extLst>
                <a:ext uri="{FF2B5EF4-FFF2-40B4-BE49-F238E27FC236}">
                  <a16:creationId xmlns:a16="http://schemas.microsoft.com/office/drawing/2014/main" id="{6BAA987E-4524-4A14-8753-A1B2BFD190D3}"/>
                </a:ext>
              </a:extLst>
            </p:cNvPr>
            <p:cNvSpPr txBox="1"/>
            <p:nvPr/>
          </p:nvSpPr>
          <p:spPr>
            <a:xfrm>
              <a:off x="4633161" y="4628539"/>
              <a:ext cx="3156154" cy="738664"/>
            </a:xfrm>
            <a:prstGeom prst="rect">
              <a:avLst/>
            </a:prstGeom>
            <a:noFill/>
          </p:spPr>
          <p:txBody>
            <a:bodyPr wrap="square" rtlCol="0">
              <a:spAutoFit/>
            </a:bodyPr>
            <a:lstStyle/>
            <a:p>
              <a:r>
                <a:rPr lang="en-US" sz="1400" dirty="0">
                  <a:solidFill>
                    <a:schemeClr val="bg1"/>
                  </a:solidFill>
                </a:rPr>
                <a:t>People experience unwanted relationship requests or sexual advances online</a:t>
              </a:r>
            </a:p>
          </p:txBody>
        </p:sp>
        <p:sp>
          <p:nvSpPr>
            <p:cNvPr id="24" name="TextBox 23">
              <a:extLst>
                <a:ext uri="{FF2B5EF4-FFF2-40B4-BE49-F238E27FC236}">
                  <a16:creationId xmlns:a16="http://schemas.microsoft.com/office/drawing/2014/main" id="{33198C44-146C-4C8A-9AB4-98DC6C366562}"/>
                </a:ext>
              </a:extLst>
            </p:cNvPr>
            <p:cNvSpPr txBox="1"/>
            <p:nvPr/>
          </p:nvSpPr>
          <p:spPr>
            <a:xfrm>
              <a:off x="4617183" y="5566361"/>
              <a:ext cx="3156154" cy="523220"/>
            </a:xfrm>
            <a:prstGeom prst="rect">
              <a:avLst/>
            </a:prstGeom>
            <a:noFill/>
          </p:spPr>
          <p:txBody>
            <a:bodyPr wrap="square" rtlCol="0">
              <a:spAutoFit/>
            </a:bodyPr>
            <a:lstStyle/>
            <a:p>
              <a:r>
                <a:rPr lang="en-US" sz="1400" dirty="0">
                  <a:solidFill>
                    <a:schemeClr val="bg1"/>
                  </a:solidFill>
                </a:rPr>
                <a:t>People’s personal or work reputation is attacked and or damaged online</a:t>
              </a:r>
            </a:p>
          </p:txBody>
        </p:sp>
      </p:grpSp>
      <p:grpSp>
        <p:nvGrpSpPr>
          <p:cNvPr id="34" name="Group 33">
            <a:extLst>
              <a:ext uri="{FF2B5EF4-FFF2-40B4-BE49-F238E27FC236}">
                <a16:creationId xmlns:a16="http://schemas.microsoft.com/office/drawing/2014/main" id="{C955EE38-1176-488A-A90A-F3FA78A2ADE0}"/>
              </a:ext>
            </a:extLst>
          </p:cNvPr>
          <p:cNvGrpSpPr/>
          <p:nvPr/>
        </p:nvGrpSpPr>
        <p:grpSpPr>
          <a:xfrm>
            <a:off x="8273193" y="2514359"/>
            <a:ext cx="3497142" cy="369332"/>
            <a:chOff x="7987573" y="2712647"/>
            <a:chExt cx="3497142" cy="369332"/>
          </a:xfrm>
        </p:grpSpPr>
        <p:sp>
          <p:nvSpPr>
            <p:cNvPr id="28" name="TextBox 27">
              <a:extLst>
                <a:ext uri="{FF2B5EF4-FFF2-40B4-BE49-F238E27FC236}">
                  <a16:creationId xmlns:a16="http://schemas.microsoft.com/office/drawing/2014/main" id="{9EDC3DEA-58F0-4E22-80B7-56007C167D00}"/>
                </a:ext>
              </a:extLst>
            </p:cNvPr>
            <p:cNvSpPr txBox="1"/>
            <p:nvPr/>
          </p:nvSpPr>
          <p:spPr>
            <a:xfrm>
              <a:off x="7987573" y="2712647"/>
              <a:ext cx="800219" cy="369332"/>
            </a:xfrm>
            <a:prstGeom prst="rect">
              <a:avLst/>
            </a:prstGeom>
            <a:noFill/>
          </p:spPr>
          <p:txBody>
            <a:bodyPr wrap="none" rtlCol="0">
              <a:spAutoFit/>
            </a:bodyPr>
            <a:lstStyle/>
            <a:p>
              <a:r>
                <a:rPr lang="en-US" dirty="0"/>
                <a:t>Better</a:t>
              </a:r>
            </a:p>
          </p:txBody>
        </p:sp>
        <p:sp>
          <p:nvSpPr>
            <p:cNvPr id="29" name="TextBox 28">
              <a:extLst>
                <a:ext uri="{FF2B5EF4-FFF2-40B4-BE49-F238E27FC236}">
                  <a16:creationId xmlns:a16="http://schemas.microsoft.com/office/drawing/2014/main" id="{41D449BB-89A0-4D5E-9F88-E1ABA76C6B09}"/>
                </a:ext>
              </a:extLst>
            </p:cNvPr>
            <p:cNvSpPr txBox="1"/>
            <p:nvPr/>
          </p:nvSpPr>
          <p:spPr>
            <a:xfrm>
              <a:off x="9348975" y="2712647"/>
              <a:ext cx="787395" cy="369332"/>
            </a:xfrm>
            <a:prstGeom prst="rect">
              <a:avLst/>
            </a:prstGeom>
            <a:noFill/>
          </p:spPr>
          <p:txBody>
            <a:bodyPr wrap="none" rtlCol="0">
              <a:spAutoFit/>
            </a:bodyPr>
            <a:lstStyle/>
            <a:p>
              <a:r>
                <a:rPr lang="en-US" dirty="0"/>
                <a:t>Same</a:t>
              </a:r>
            </a:p>
          </p:txBody>
        </p:sp>
        <p:sp>
          <p:nvSpPr>
            <p:cNvPr id="30" name="TextBox 29">
              <a:extLst>
                <a:ext uri="{FF2B5EF4-FFF2-40B4-BE49-F238E27FC236}">
                  <a16:creationId xmlns:a16="http://schemas.microsoft.com/office/drawing/2014/main" id="{8EF94FFD-0176-46B7-B0C5-766BF8327C49}"/>
                </a:ext>
              </a:extLst>
            </p:cNvPr>
            <p:cNvSpPr txBox="1"/>
            <p:nvPr/>
          </p:nvSpPr>
          <p:spPr>
            <a:xfrm>
              <a:off x="10637367" y="2712647"/>
              <a:ext cx="847348" cy="369332"/>
            </a:xfrm>
            <a:prstGeom prst="rect">
              <a:avLst/>
            </a:prstGeom>
            <a:noFill/>
          </p:spPr>
          <p:txBody>
            <a:bodyPr wrap="none" rtlCol="0">
              <a:spAutoFit/>
            </a:bodyPr>
            <a:lstStyle/>
            <a:p>
              <a:r>
                <a:rPr lang="en-US" dirty="0"/>
                <a:t>Worse</a:t>
              </a:r>
            </a:p>
          </p:txBody>
        </p:sp>
      </p:grpSp>
      <p:graphicFrame>
        <p:nvGraphicFramePr>
          <p:cNvPr id="5" name="Chart 4">
            <a:extLst>
              <a:ext uri="{FF2B5EF4-FFF2-40B4-BE49-F238E27FC236}">
                <a16:creationId xmlns:a16="http://schemas.microsoft.com/office/drawing/2014/main" id="{EC302253-18D6-4DE6-BF81-24974BD1E237}"/>
              </a:ext>
            </a:extLst>
          </p:cNvPr>
          <p:cNvGraphicFramePr/>
          <p:nvPr/>
        </p:nvGraphicFramePr>
        <p:xfrm>
          <a:off x="3913148" y="2595480"/>
          <a:ext cx="3814916" cy="3770670"/>
        </p:xfrm>
        <a:graphic>
          <a:graphicData uri="http://schemas.openxmlformats.org/drawingml/2006/chart">
            <c:chart xmlns:c="http://schemas.openxmlformats.org/drawingml/2006/chart" xmlns:r="http://schemas.openxmlformats.org/officeDocument/2006/relationships" r:id="rId4"/>
          </a:graphicData>
        </a:graphic>
      </p:graphicFrame>
      <p:sp>
        <p:nvSpPr>
          <p:cNvPr id="17" name="TextBox 16">
            <a:extLst>
              <a:ext uri="{FF2B5EF4-FFF2-40B4-BE49-F238E27FC236}">
                <a16:creationId xmlns:a16="http://schemas.microsoft.com/office/drawing/2014/main" id="{6B4DF07A-B719-4D01-A038-69E498761896}"/>
              </a:ext>
            </a:extLst>
          </p:cNvPr>
          <p:cNvSpPr txBox="1"/>
          <p:nvPr/>
        </p:nvSpPr>
        <p:spPr>
          <a:xfrm>
            <a:off x="4490420" y="429122"/>
            <a:ext cx="2627770" cy="830997"/>
          </a:xfrm>
          <a:prstGeom prst="rect">
            <a:avLst/>
          </a:prstGeom>
          <a:noFill/>
        </p:spPr>
        <p:txBody>
          <a:bodyPr wrap="square" rtlCol="0">
            <a:spAutoFit/>
          </a:bodyPr>
          <a:lstStyle/>
          <a:p>
            <a:r>
              <a:rPr lang="en-US" sz="2400" dirty="0">
                <a:solidFill>
                  <a:schemeClr val="bg1"/>
                </a:solidFill>
              </a:rPr>
              <a:t>Digital civility was rated poorly today</a:t>
            </a:r>
          </a:p>
        </p:txBody>
      </p:sp>
      <p:sp>
        <p:nvSpPr>
          <p:cNvPr id="19" name="TextBox 18">
            <a:extLst>
              <a:ext uri="{FF2B5EF4-FFF2-40B4-BE49-F238E27FC236}">
                <a16:creationId xmlns:a16="http://schemas.microsoft.com/office/drawing/2014/main" id="{B874E615-B5DE-4FFB-8F53-021D307C2C0C}"/>
              </a:ext>
            </a:extLst>
          </p:cNvPr>
          <p:cNvSpPr txBox="1"/>
          <p:nvPr/>
        </p:nvSpPr>
        <p:spPr>
          <a:xfrm>
            <a:off x="4581742" y="6286290"/>
            <a:ext cx="2812026" cy="400110"/>
          </a:xfrm>
          <a:prstGeom prst="rect">
            <a:avLst/>
          </a:prstGeom>
          <a:noFill/>
        </p:spPr>
        <p:txBody>
          <a:bodyPr wrap="square" rtlCol="0">
            <a:spAutoFit/>
          </a:bodyPr>
          <a:lstStyle/>
          <a:p>
            <a:r>
              <a:rPr lang="en-US" sz="1000" i="1" dirty="0">
                <a:solidFill>
                  <a:schemeClr val="bg1"/>
                </a:solidFill>
              </a:rPr>
              <a:t>Q2019.1.1: What would you say is the current state of digital civility in your country regarding</a:t>
            </a:r>
          </a:p>
        </p:txBody>
      </p:sp>
      <p:grpSp>
        <p:nvGrpSpPr>
          <p:cNvPr id="36" name="Group 35">
            <a:extLst>
              <a:ext uri="{FF2B5EF4-FFF2-40B4-BE49-F238E27FC236}">
                <a16:creationId xmlns:a16="http://schemas.microsoft.com/office/drawing/2014/main" id="{72E301FC-3578-4C5F-9F08-3D1F3F7915FF}"/>
              </a:ext>
            </a:extLst>
          </p:cNvPr>
          <p:cNvGrpSpPr/>
          <p:nvPr/>
        </p:nvGrpSpPr>
        <p:grpSpPr>
          <a:xfrm>
            <a:off x="3919018" y="2514359"/>
            <a:ext cx="3559461" cy="369332"/>
            <a:chOff x="3919018" y="2661843"/>
            <a:chExt cx="3559461" cy="369332"/>
          </a:xfrm>
        </p:grpSpPr>
        <p:sp>
          <p:nvSpPr>
            <p:cNvPr id="25" name="TextBox 24">
              <a:extLst>
                <a:ext uri="{FF2B5EF4-FFF2-40B4-BE49-F238E27FC236}">
                  <a16:creationId xmlns:a16="http://schemas.microsoft.com/office/drawing/2014/main" id="{9257492A-AFB9-4759-9D6A-3007AB7AA780}"/>
                </a:ext>
              </a:extLst>
            </p:cNvPr>
            <p:cNvSpPr txBox="1"/>
            <p:nvPr/>
          </p:nvSpPr>
          <p:spPr>
            <a:xfrm>
              <a:off x="3919018" y="2661843"/>
              <a:ext cx="748923" cy="369332"/>
            </a:xfrm>
            <a:prstGeom prst="rect">
              <a:avLst/>
            </a:prstGeom>
            <a:noFill/>
          </p:spPr>
          <p:txBody>
            <a:bodyPr wrap="none" rtlCol="0">
              <a:spAutoFit/>
            </a:bodyPr>
            <a:lstStyle/>
            <a:p>
              <a:r>
                <a:rPr lang="en-US" dirty="0"/>
                <a:t>Good</a:t>
              </a:r>
            </a:p>
          </p:txBody>
        </p:sp>
        <p:sp>
          <p:nvSpPr>
            <p:cNvPr id="26" name="TextBox 25">
              <a:extLst>
                <a:ext uri="{FF2B5EF4-FFF2-40B4-BE49-F238E27FC236}">
                  <a16:creationId xmlns:a16="http://schemas.microsoft.com/office/drawing/2014/main" id="{CA2E1285-A02C-4243-A8B8-35AF235ABA11}"/>
                </a:ext>
              </a:extLst>
            </p:cNvPr>
            <p:cNvSpPr txBox="1"/>
            <p:nvPr/>
          </p:nvSpPr>
          <p:spPr>
            <a:xfrm>
              <a:off x="5290251" y="2661843"/>
              <a:ext cx="928459" cy="369332"/>
            </a:xfrm>
            <a:prstGeom prst="rect">
              <a:avLst/>
            </a:prstGeom>
            <a:noFill/>
          </p:spPr>
          <p:txBody>
            <a:bodyPr wrap="none" rtlCol="0">
              <a:spAutoFit/>
            </a:bodyPr>
            <a:lstStyle/>
            <a:p>
              <a:r>
                <a:rPr lang="en-US" dirty="0"/>
                <a:t>Neutral</a:t>
              </a:r>
            </a:p>
          </p:txBody>
        </p:sp>
        <p:sp>
          <p:nvSpPr>
            <p:cNvPr id="27" name="TextBox 26">
              <a:extLst>
                <a:ext uri="{FF2B5EF4-FFF2-40B4-BE49-F238E27FC236}">
                  <a16:creationId xmlns:a16="http://schemas.microsoft.com/office/drawing/2014/main" id="{6E32E636-0B44-4CD2-9C1A-A13F1D977DA4}"/>
                </a:ext>
              </a:extLst>
            </p:cNvPr>
            <p:cNvSpPr txBox="1"/>
            <p:nvPr/>
          </p:nvSpPr>
          <p:spPr>
            <a:xfrm>
              <a:off x="6883444" y="2661843"/>
              <a:ext cx="595035" cy="369332"/>
            </a:xfrm>
            <a:prstGeom prst="rect">
              <a:avLst/>
            </a:prstGeom>
            <a:noFill/>
          </p:spPr>
          <p:txBody>
            <a:bodyPr wrap="none" rtlCol="0">
              <a:spAutoFit/>
            </a:bodyPr>
            <a:lstStyle/>
            <a:p>
              <a:r>
                <a:rPr lang="en-US" dirty="0"/>
                <a:t>Bad</a:t>
              </a:r>
            </a:p>
          </p:txBody>
        </p:sp>
      </p:grpSp>
      <p:grpSp>
        <p:nvGrpSpPr>
          <p:cNvPr id="12" name="Group 11">
            <a:extLst>
              <a:ext uri="{FF2B5EF4-FFF2-40B4-BE49-F238E27FC236}">
                <a16:creationId xmlns:a16="http://schemas.microsoft.com/office/drawing/2014/main" id="{F23C8986-5B19-43D1-A3FA-78EA493B15F4}"/>
              </a:ext>
            </a:extLst>
          </p:cNvPr>
          <p:cNvGrpSpPr/>
          <p:nvPr/>
        </p:nvGrpSpPr>
        <p:grpSpPr>
          <a:xfrm>
            <a:off x="5200494" y="1327724"/>
            <a:ext cx="5401828" cy="1097280"/>
            <a:chOff x="5200494" y="1015742"/>
            <a:chExt cx="5401828" cy="1097280"/>
          </a:xfrm>
        </p:grpSpPr>
        <p:grpSp>
          <p:nvGrpSpPr>
            <p:cNvPr id="37" name="Group 36">
              <a:extLst>
                <a:ext uri="{FF2B5EF4-FFF2-40B4-BE49-F238E27FC236}">
                  <a16:creationId xmlns:a16="http://schemas.microsoft.com/office/drawing/2014/main" id="{F4B625BE-0C6A-470F-92EC-B6B19701CC5F}"/>
                </a:ext>
              </a:extLst>
            </p:cNvPr>
            <p:cNvGrpSpPr>
              <a:grpSpLocks noChangeAspect="1"/>
            </p:cNvGrpSpPr>
            <p:nvPr/>
          </p:nvGrpSpPr>
          <p:grpSpPr>
            <a:xfrm>
              <a:off x="9505042" y="1015742"/>
              <a:ext cx="1097280" cy="1097280"/>
              <a:chOff x="9505042" y="809266"/>
              <a:chExt cx="1280160" cy="1280160"/>
            </a:xfrm>
          </p:grpSpPr>
          <p:sp>
            <p:nvSpPr>
              <p:cNvPr id="10" name="Oval 9">
                <a:extLst>
                  <a:ext uri="{FF2B5EF4-FFF2-40B4-BE49-F238E27FC236}">
                    <a16:creationId xmlns:a16="http://schemas.microsoft.com/office/drawing/2014/main" id="{33758190-B696-49F9-A204-824B7F39FBDB}"/>
                  </a:ext>
                </a:extLst>
              </p:cNvPr>
              <p:cNvSpPr>
                <a:spLocks noChangeAspect="1"/>
              </p:cNvSpPr>
              <p:nvPr/>
            </p:nvSpPr>
            <p:spPr>
              <a:xfrm>
                <a:off x="9505042" y="809266"/>
                <a:ext cx="1280160" cy="1280160"/>
              </a:xfrm>
              <a:prstGeom prst="ellipse">
                <a:avLst/>
              </a:prstGeom>
              <a:solidFill>
                <a:srgbClr val="262626"/>
              </a:solidFill>
              <a:ln w="762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11" name="Picture 10" descr="A close up of a logo&#10;&#10;Description automatically generated">
                <a:extLst>
                  <a:ext uri="{FF2B5EF4-FFF2-40B4-BE49-F238E27FC236}">
                    <a16:creationId xmlns:a16="http://schemas.microsoft.com/office/drawing/2014/main" id="{26007EFE-8CD2-48E5-8221-34EE7829C658}"/>
                  </a:ext>
                </a:extLst>
              </p:cNvPr>
              <p:cNvPicPr>
                <a:picLocks noChangeAspect="1"/>
              </p:cNvPicPr>
              <p:nvPr/>
            </p:nvPicPr>
            <p:blipFill>
              <a:blip r:embed="rId5" cstate="print">
                <a:lum bright="70000" contrast="-70000"/>
                <a:extLst>
                  <a:ext uri="{28A0092B-C50C-407E-A947-70E740481C1C}">
                    <a14:useLocalDpi xmlns:a14="http://schemas.microsoft.com/office/drawing/2010/main" val="0"/>
                  </a:ext>
                </a:extLst>
              </a:blip>
              <a:stretch>
                <a:fillRect/>
              </a:stretch>
            </p:blipFill>
            <p:spPr>
              <a:xfrm>
                <a:off x="9779362" y="1101048"/>
                <a:ext cx="731520" cy="731520"/>
              </a:xfrm>
              <a:prstGeom prst="rect">
                <a:avLst/>
              </a:prstGeom>
            </p:spPr>
          </p:pic>
        </p:grpSp>
        <p:grpSp>
          <p:nvGrpSpPr>
            <p:cNvPr id="9" name="Group 8">
              <a:extLst>
                <a:ext uri="{FF2B5EF4-FFF2-40B4-BE49-F238E27FC236}">
                  <a16:creationId xmlns:a16="http://schemas.microsoft.com/office/drawing/2014/main" id="{4C9FA559-930E-472F-8361-526AC268ED48}"/>
                </a:ext>
              </a:extLst>
            </p:cNvPr>
            <p:cNvGrpSpPr/>
            <p:nvPr/>
          </p:nvGrpSpPr>
          <p:grpSpPr>
            <a:xfrm>
              <a:off x="5200494" y="1015742"/>
              <a:ext cx="1097280" cy="1097280"/>
              <a:chOff x="5200494" y="1015742"/>
              <a:chExt cx="1097280" cy="1097280"/>
            </a:xfrm>
          </p:grpSpPr>
          <p:sp>
            <p:nvSpPr>
              <p:cNvPr id="14" name="Oval 13">
                <a:extLst>
                  <a:ext uri="{FF2B5EF4-FFF2-40B4-BE49-F238E27FC236}">
                    <a16:creationId xmlns:a16="http://schemas.microsoft.com/office/drawing/2014/main" id="{26EF217A-0C17-461D-BFBF-E0B0C70F40DA}"/>
                  </a:ext>
                </a:extLst>
              </p:cNvPr>
              <p:cNvSpPr>
                <a:spLocks noChangeAspect="1"/>
              </p:cNvSpPr>
              <p:nvPr/>
            </p:nvSpPr>
            <p:spPr>
              <a:xfrm>
                <a:off x="5200494" y="1015742"/>
                <a:ext cx="1097280" cy="1097280"/>
              </a:xfrm>
              <a:prstGeom prst="ellipse">
                <a:avLst/>
              </a:prstGeom>
              <a:solidFill>
                <a:srgbClr val="262626"/>
              </a:solidFill>
              <a:ln w="762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33" name="Picture 32" descr="A close up of a logo&#10;&#10;Description automatically generated">
                <a:extLst>
                  <a:ext uri="{FF2B5EF4-FFF2-40B4-BE49-F238E27FC236}">
                    <a16:creationId xmlns:a16="http://schemas.microsoft.com/office/drawing/2014/main" id="{51A4A877-573F-43AA-8CD8-C25B338F0B49}"/>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383374" y="1198622"/>
                <a:ext cx="731520" cy="731520"/>
              </a:xfrm>
              <a:prstGeom prst="rect">
                <a:avLst/>
              </a:prstGeom>
            </p:spPr>
          </p:pic>
        </p:grpSp>
      </p:grpSp>
    </p:spTree>
    <p:extLst>
      <p:ext uri="{BB962C8B-B14F-4D97-AF65-F5344CB8AC3E}">
        <p14:creationId xmlns:p14="http://schemas.microsoft.com/office/powerpoint/2010/main" val="317061862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54AB881-62DC-4FBF-A8D4-5272F83816A7}"/>
              </a:ext>
            </a:extLst>
          </p:cNvPr>
          <p:cNvSpPr/>
          <p:nvPr/>
        </p:nvSpPr>
        <p:spPr>
          <a:xfrm>
            <a:off x="3687097" y="13820"/>
            <a:ext cx="8495361" cy="6858000"/>
          </a:xfrm>
          <a:prstGeom prst="rect">
            <a:avLst/>
          </a:prstGeom>
          <a:solidFill>
            <a:schemeClr val="accent1">
              <a:alpha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 name="Slide Number Placeholder 2">
            <a:extLst>
              <a:ext uri="{FF2B5EF4-FFF2-40B4-BE49-F238E27FC236}">
                <a16:creationId xmlns:a16="http://schemas.microsoft.com/office/drawing/2014/main" id="{25952532-1CDF-4FF3-9AA2-EAB892056195}"/>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fld id="{7EFC24D6-DB8F-6B44-BA5A-9BEC68C15CAA}" type="slidenum">
              <a:rPr lang="en-US" sz="1200" smtClean="0">
                <a:solidFill>
                  <a:schemeClr val="bg1"/>
                </a:solidFill>
              </a:rPr>
              <a:pPr algn="r"/>
              <a:t>23</a:t>
            </a:fld>
            <a:endParaRPr lang="en-US" sz="1200" dirty="0">
              <a:solidFill>
                <a:schemeClr val="bg1"/>
              </a:solidFill>
            </a:endParaRPr>
          </a:p>
        </p:txBody>
      </p:sp>
      <p:graphicFrame>
        <p:nvGraphicFramePr>
          <p:cNvPr id="6" name="Chart 5">
            <a:extLst>
              <a:ext uri="{FF2B5EF4-FFF2-40B4-BE49-F238E27FC236}">
                <a16:creationId xmlns:a16="http://schemas.microsoft.com/office/drawing/2014/main" id="{211296F5-DA0D-4479-BB6D-8FD8E7B42191}"/>
              </a:ext>
            </a:extLst>
          </p:cNvPr>
          <p:cNvGraphicFramePr/>
          <p:nvPr/>
        </p:nvGraphicFramePr>
        <p:xfrm>
          <a:off x="5865141" y="2530259"/>
          <a:ext cx="5616321" cy="4023360"/>
        </p:xfrm>
        <a:graphic>
          <a:graphicData uri="http://schemas.openxmlformats.org/drawingml/2006/chart">
            <c:chart xmlns:c="http://schemas.openxmlformats.org/drawingml/2006/chart" xmlns:r="http://schemas.openxmlformats.org/officeDocument/2006/relationships" r:id="rId3"/>
          </a:graphicData>
        </a:graphic>
      </p:graphicFrame>
      <p:grpSp>
        <p:nvGrpSpPr>
          <p:cNvPr id="37" name="Group 36">
            <a:extLst>
              <a:ext uri="{FF2B5EF4-FFF2-40B4-BE49-F238E27FC236}">
                <a16:creationId xmlns:a16="http://schemas.microsoft.com/office/drawing/2014/main" id="{F4B625BE-0C6A-470F-92EC-B6B19701CC5F}"/>
              </a:ext>
            </a:extLst>
          </p:cNvPr>
          <p:cNvGrpSpPr/>
          <p:nvPr/>
        </p:nvGrpSpPr>
        <p:grpSpPr>
          <a:xfrm>
            <a:off x="8193844" y="939454"/>
            <a:ext cx="1097280" cy="1097280"/>
            <a:chOff x="9505042" y="809266"/>
            <a:chExt cx="1097280" cy="1097280"/>
          </a:xfrm>
        </p:grpSpPr>
        <p:sp>
          <p:nvSpPr>
            <p:cNvPr id="10" name="Oval 9">
              <a:extLst>
                <a:ext uri="{FF2B5EF4-FFF2-40B4-BE49-F238E27FC236}">
                  <a16:creationId xmlns:a16="http://schemas.microsoft.com/office/drawing/2014/main" id="{33758190-B696-49F9-A204-824B7F39FBDB}"/>
                </a:ext>
              </a:extLst>
            </p:cNvPr>
            <p:cNvSpPr>
              <a:spLocks noChangeAspect="1"/>
            </p:cNvSpPr>
            <p:nvPr/>
          </p:nvSpPr>
          <p:spPr>
            <a:xfrm>
              <a:off x="9505042" y="809266"/>
              <a:ext cx="1097280" cy="1097280"/>
            </a:xfrm>
            <a:prstGeom prst="ellipse">
              <a:avLst/>
            </a:prstGeom>
            <a:solidFill>
              <a:srgbClr val="262626"/>
            </a:solidFill>
            <a:ln w="76200">
              <a:solidFill>
                <a:schemeClr val="accent1">
                  <a:shade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ko-KR" altLang="en-US"/>
            </a:p>
          </p:txBody>
        </p:sp>
        <p:pic>
          <p:nvPicPr>
            <p:cNvPr id="11" name="Picture 10" descr="A close up of a logo&#10;&#10;Description automatically generated">
              <a:extLst>
                <a:ext uri="{FF2B5EF4-FFF2-40B4-BE49-F238E27FC236}">
                  <a16:creationId xmlns:a16="http://schemas.microsoft.com/office/drawing/2014/main" id="{26007EFE-8CD2-48E5-8221-34EE7829C658}"/>
                </a:ext>
              </a:extLst>
            </p:cNvPr>
            <p:cNvPicPr>
              <a:picLocks noChangeAspect="1"/>
            </p:cNvPicPr>
            <p:nvPr/>
          </p:nvPicPr>
          <p:blipFill>
            <a:blip r:embed="rId4" cstate="print">
              <a:lum bright="70000" contrast="-70000"/>
              <a:extLst>
                <a:ext uri="{28A0092B-C50C-407E-A947-70E740481C1C}">
                  <a14:useLocalDpi xmlns:a14="http://schemas.microsoft.com/office/drawing/2010/main" val="0"/>
                </a:ext>
              </a:extLst>
            </a:blip>
            <a:stretch>
              <a:fillRect/>
            </a:stretch>
          </p:blipFill>
          <p:spPr>
            <a:xfrm>
              <a:off x="9779362" y="1101048"/>
              <a:ext cx="548640" cy="548640"/>
            </a:xfrm>
            <a:prstGeom prst="rect">
              <a:avLst/>
            </a:prstGeom>
          </p:spPr>
        </p:pic>
      </p:grpSp>
      <p:sp>
        <p:nvSpPr>
          <p:cNvPr id="18" name="TextBox 17">
            <a:extLst>
              <a:ext uri="{FF2B5EF4-FFF2-40B4-BE49-F238E27FC236}">
                <a16:creationId xmlns:a16="http://schemas.microsoft.com/office/drawing/2014/main" id="{4C3AA553-565D-48CC-8677-0D3072149FC7}"/>
              </a:ext>
            </a:extLst>
          </p:cNvPr>
          <p:cNvSpPr txBox="1"/>
          <p:nvPr/>
        </p:nvSpPr>
        <p:spPr>
          <a:xfrm>
            <a:off x="6374762" y="365920"/>
            <a:ext cx="4515916" cy="523220"/>
          </a:xfrm>
          <a:prstGeom prst="rect">
            <a:avLst/>
          </a:prstGeom>
          <a:noFill/>
        </p:spPr>
        <p:txBody>
          <a:bodyPr wrap="none" rtlCol="0">
            <a:spAutoFit/>
          </a:bodyPr>
          <a:lstStyle/>
          <a:p>
            <a:r>
              <a:rPr lang="en-US" sz="2800" dirty="0">
                <a:solidFill>
                  <a:schemeClr val="bg1"/>
                </a:solidFill>
              </a:rPr>
              <a:t>Expectations for the 2020’s</a:t>
            </a:r>
          </a:p>
        </p:txBody>
      </p:sp>
      <p:sp>
        <p:nvSpPr>
          <p:cNvPr id="20" name="TextBox 19">
            <a:extLst>
              <a:ext uri="{FF2B5EF4-FFF2-40B4-BE49-F238E27FC236}">
                <a16:creationId xmlns:a16="http://schemas.microsoft.com/office/drawing/2014/main" id="{D18B2A42-E2F2-49F7-B589-72C3DE99A682}"/>
              </a:ext>
            </a:extLst>
          </p:cNvPr>
          <p:cNvSpPr txBox="1"/>
          <p:nvPr/>
        </p:nvSpPr>
        <p:spPr>
          <a:xfrm>
            <a:off x="5492223" y="6376948"/>
            <a:ext cx="6362156" cy="246221"/>
          </a:xfrm>
          <a:prstGeom prst="rect">
            <a:avLst/>
          </a:prstGeom>
          <a:noFill/>
        </p:spPr>
        <p:txBody>
          <a:bodyPr wrap="square" rtlCol="0">
            <a:spAutoFit/>
          </a:bodyPr>
          <a:lstStyle/>
          <a:p>
            <a:r>
              <a:rPr lang="en-US" sz="1000" i="1" dirty="0">
                <a:solidFill>
                  <a:schemeClr val="bg1"/>
                </a:solidFill>
              </a:rPr>
              <a:t> Q12F:  Next year will begin the new decade of the 2020s.  Thinking ahead to the 2020s, do you expect… </a:t>
            </a:r>
          </a:p>
        </p:txBody>
      </p:sp>
      <p:sp>
        <p:nvSpPr>
          <p:cNvPr id="7" name="Rectangle 6">
            <a:extLst>
              <a:ext uri="{FF2B5EF4-FFF2-40B4-BE49-F238E27FC236}">
                <a16:creationId xmlns:a16="http://schemas.microsoft.com/office/drawing/2014/main" id="{95EC74EB-5282-4E09-9543-437887917B0B}"/>
              </a:ext>
            </a:extLst>
          </p:cNvPr>
          <p:cNvSpPr>
            <a:spLocks/>
          </p:cNvSpPr>
          <p:nvPr/>
        </p:nvSpPr>
        <p:spPr>
          <a:xfrm>
            <a:off x="0" y="13820"/>
            <a:ext cx="4847303" cy="6858000"/>
          </a:xfrm>
          <a:prstGeom prst="rect">
            <a:avLst/>
          </a:prstGeom>
          <a:solidFill>
            <a:srgbClr val="26262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ext Placeholder 1">
            <a:extLst>
              <a:ext uri="{FF2B5EF4-FFF2-40B4-BE49-F238E27FC236}">
                <a16:creationId xmlns:a16="http://schemas.microsoft.com/office/drawing/2014/main" id="{CF028269-013E-4B5A-9216-E699F0450E63}"/>
              </a:ext>
            </a:extLst>
          </p:cNvPr>
          <p:cNvSpPr txBox="1">
            <a:spLocks/>
          </p:cNvSpPr>
          <p:nvPr/>
        </p:nvSpPr>
        <p:spPr>
          <a:xfrm>
            <a:off x="251209" y="272752"/>
            <a:ext cx="4394323" cy="1863850"/>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3200" dirty="0">
                <a:solidFill>
                  <a:prstClr val="white"/>
                </a:solidFill>
              </a:rPr>
              <a:t>A longer time horizon gives rise to greater optimism</a:t>
            </a:r>
          </a:p>
        </p:txBody>
      </p:sp>
      <p:grpSp>
        <p:nvGrpSpPr>
          <p:cNvPr id="34" name="Group 33">
            <a:extLst>
              <a:ext uri="{FF2B5EF4-FFF2-40B4-BE49-F238E27FC236}">
                <a16:creationId xmlns:a16="http://schemas.microsoft.com/office/drawing/2014/main" id="{C955EE38-1176-488A-A90A-F3FA78A2ADE0}"/>
              </a:ext>
            </a:extLst>
          </p:cNvPr>
          <p:cNvGrpSpPr/>
          <p:nvPr/>
        </p:nvGrpSpPr>
        <p:grpSpPr>
          <a:xfrm>
            <a:off x="6636171" y="2239584"/>
            <a:ext cx="4194737" cy="369332"/>
            <a:chOff x="8250035" y="2712647"/>
            <a:chExt cx="3026341" cy="369332"/>
          </a:xfrm>
        </p:grpSpPr>
        <p:sp>
          <p:nvSpPr>
            <p:cNvPr id="28" name="TextBox 27">
              <a:extLst>
                <a:ext uri="{FF2B5EF4-FFF2-40B4-BE49-F238E27FC236}">
                  <a16:creationId xmlns:a16="http://schemas.microsoft.com/office/drawing/2014/main" id="{9EDC3DEA-58F0-4E22-80B7-56007C167D00}"/>
                </a:ext>
              </a:extLst>
            </p:cNvPr>
            <p:cNvSpPr txBox="1"/>
            <p:nvPr/>
          </p:nvSpPr>
          <p:spPr>
            <a:xfrm>
              <a:off x="8250035" y="2712647"/>
              <a:ext cx="800219" cy="369332"/>
            </a:xfrm>
            <a:prstGeom prst="rect">
              <a:avLst/>
            </a:prstGeom>
            <a:noFill/>
          </p:spPr>
          <p:txBody>
            <a:bodyPr wrap="none" rtlCol="0">
              <a:spAutoFit/>
            </a:bodyPr>
            <a:lstStyle/>
            <a:p>
              <a:r>
                <a:rPr lang="en-US" dirty="0"/>
                <a:t>Better</a:t>
              </a:r>
            </a:p>
          </p:txBody>
        </p:sp>
        <p:sp>
          <p:nvSpPr>
            <p:cNvPr id="29" name="TextBox 28">
              <a:extLst>
                <a:ext uri="{FF2B5EF4-FFF2-40B4-BE49-F238E27FC236}">
                  <a16:creationId xmlns:a16="http://schemas.microsoft.com/office/drawing/2014/main" id="{41D449BB-89A0-4D5E-9F88-E1ABA76C6B09}"/>
                </a:ext>
              </a:extLst>
            </p:cNvPr>
            <p:cNvSpPr txBox="1"/>
            <p:nvPr/>
          </p:nvSpPr>
          <p:spPr>
            <a:xfrm>
              <a:off x="9490843" y="2712647"/>
              <a:ext cx="611329" cy="369332"/>
            </a:xfrm>
            <a:prstGeom prst="rect">
              <a:avLst/>
            </a:prstGeom>
            <a:noFill/>
          </p:spPr>
          <p:txBody>
            <a:bodyPr wrap="none" rtlCol="0">
              <a:spAutoFit/>
            </a:bodyPr>
            <a:lstStyle/>
            <a:p>
              <a:r>
                <a:rPr lang="en-US" dirty="0"/>
                <a:t>Worse</a:t>
              </a:r>
            </a:p>
          </p:txBody>
        </p:sp>
        <p:sp>
          <p:nvSpPr>
            <p:cNvPr id="30" name="TextBox 29">
              <a:extLst>
                <a:ext uri="{FF2B5EF4-FFF2-40B4-BE49-F238E27FC236}">
                  <a16:creationId xmlns:a16="http://schemas.microsoft.com/office/drawing/2014/main" id="{8EF94FFD-0176-46B7-B0C5-766BF8327C49}"/>
                </a:ext>
              </a:extLst>
            </p:cNvPr>
            <p:cNvSpPr txBox="1"/>
            <p:nvPr/>
          </p:nvSpPr>
          <p:spPr>
            <a:xfrm>
              <a:off x="10708301" y="2712647"/>
              <a:ext cx="568075" cy="369332"/>
            </a:xfrm>
            <a:prstGeom prst="rect">
              <a:avLst/>
            </a:prstGeom>
            <a:noFill/>
          </p:spPr>
          <p:txBody>
            <a:bodyPr wrap="none" rtlCol="0">
              <a:spAutoFit/>
            </a:bodyPr>
            <a:lstStyle/>
            <a:p>
              <a:r>
                <a:rPr lang="en-US" dirty="0"/>
                <a:t>Same</a:t>
              </a:r>
            </a:p>
          </p:txBody>
        </p:sp>
      </p:grpSp>
      <p:grpSp>
        <p:nvGrpSpPr>
          <p:cNvPr id="9" name="Group 8">
            <a:extLst>
              <a:ext uri="{FF2B5EF4-FFF2-40B4-BE49-F238E27FC236}">
                <a16:creationId xmlns:a16="http://schemas.microsoft.com/office/drawing/2014/main" id="{DCC30FD4-CD4E-4284-826F-0D3CD918C389}"/>
              </a:ext>
            </a:extLst>
          </p:cNvPr>
          <p:cNvGrpSpPr/>
          <p:nvPr/>
        </p:nvGrpSpPr>
        <p:grpSpPr>
          <a:xfrm>
            <a:off x="340556" y="2611831"/>
            <a:ext cx="4481957" cy="3569317"/>
            <a:chOff x="340556" y="2611831"/>
            <a:chExt cx="4481957" cy="3569317"/>
          </a:xfrm>
        </p:grpSpPr>
        <p:sp>
          <p:nvSpPr>
            <p:cNvPr id="21" name="TextBox 20">
              <a:extLst>
                <a:ext uri="{FF2B5EF4-FFF2-40B4-BE49-F238E27FC236}">
                  <a16:creationId xmlns:a16="http://schemas.microsoft.com/office/drawing/2014/main" id="{0055892C-592A-4A8C-9277-0AFE14F39033}"/>
                </a:ext>
              </a:extLst>
            </p:cNvPr>
            <p:cNvSpPr txBox="1"/>
            <p:nvPr/>
          </p:nvSpPr>
          <p:spPr>
            <a:xfrm>
              <a:off x="340556" y="4217933"/>
              <a:ext cx="4166707" cy="523220"/>
            </a:xfrm>
            <a:prstGeom prst="rect">
              <a:avLst/>
            </a:prstGeom>
            <a:noFill/>
          </p:spPr>
          <p:txBody>
            <a:bodyPr wrap="square" rtlCol="0">
              <a:spAutoFit/>
            </a:bodyPr>
            <a:lstStyle/>
            <a:p>
              <a:r>
                <a:rPr lang="en-US" sz="1400" dirty="0">
                  <a:solidFill>
                    <a:schemeClr val="bg1"/>
                  </a:solidFill>
                </a:rPr>
                <a:t>The number of women who experience sexual harassment or abuse online will be...</a:t>
              </a:r>
            </a:p>
          </p:txBody>
        </p:sp>
        <p:sp>
          <p:nvSpPr>
            <p:cNvPr id="22" name="TextBox 21">
              <a:extLst>
                <a:ext uri="{FF2B5EF4-FFF2-40B4-BE49-F238E27FC236}">
                  <a16:creationId xmlns:a16="http://schemas.microsoft.com/office/drawing/2014/main" id="{A7E7AAE8-E74C-4761-9E42-FBA69DCC004A}"/>
                </a:ext>
              </a:extLst>
            </p:cNvPr>
            <p:cNvSpPr txBox="1"/>
            <p:nvPr/>
          </p:nvSpPr>
          <p:spPr>
            <a:xfrm>
              <a:off x="340556" y="3522603"/>
              <a:ext cx="4029058" cy="523220"/>
            </a:xfrm>
            <a:prstGeom prst="rect">
              <a:avLst/>
            </a:prstGeom>
            <a:noFill/>
          </p:spPr>
          <p:txBody>
            <a:bodyPr wrap="square" rtlCol="0">
              <a:spAutoFit/>
            </a:bodyPr>
            <a:lstStyle/>
            <a:p>
              <a:r>
                <a:rPr lang="en-US" sz="1400" dirty="0">
                  <a:solidFill>
                    <a:schemeClr val="bg1"/>
                  </a:solidFill>
                </a:rPr>
                <a:t>Your ability to protect your personal information and privacy online will be...</a:t>
              </a:r>
            </a:p>
          </p:txBody>
        </p:sp>
        <p:sp>
          <p:nvSpPr>
            <p:cNvPr id="23" name="TextBox 22">
              <a:extLst>
                <a:ext uri="{FF2B5EF4-FFF2-40B4-BE49-F238E27FC236}">
                  <a16:creationId xmlns:a16="http://schemas.microsoft.com/office/drawing/2014/main" id="{6BAA987E-4524-4A14-8753-A1B2BFD190D3}"/>
                </a:ext>
              </a:extLst>
            </p:cNvPr>
            <p:cNvSpPr txBox="1"/>
            <p:nvPr/>
          </p:nvSpPr>
          <p:spPr>
            <a:xfrm>
              <a:off x="340556" y="5657928"/>
              <a:ext cx="3156154" cy="523220"/>
            </a:xfrm>
            <a:prstGeom prst="rect">
              <a:avLst/>
            </a:prstGeom>
            <a:noFill/>
          </p:spPr>
          <p:txBody>
            <a:bodyPr wrap="square" rtlCol="0">
              <a:spAutoFit/>
            </a:bodyPr>
            <a:lstStyle/>
            <a:p>
              <a:r>
                <a:rPr lang="en-US" sz="1400" dirty="0">
                  <a:solidFill>
                    <a:schemeClr val="bg1"/>
                  </a:solidFill>
                </a:rPr>
                <a:t>The number of teens who are bullied, harassed or abused online will be...</a:t>
              </a:r>
            </a:p>
          </p:txBody>
        </p:sp>
        <p:sp>
          <p:nvSpPr>
            <p:cNvPr id="24" name="TextBox 23">
              <a:extLst>
                <a:ext uri="{FF2B5EF4-FFF2-40B4-BE49-F238E27FC236}">
                  <a16:creationId xmlns:a16="http://schemas.microsoft.com/office/drawing/2014/main" id="{33198C44-146C-4C8A-9AB4-98DC6C366562}"/>
                </a:ext>
              </a:extLst>
            </p:cNvPr>
            <p:cNvSpPr txBox="1"/>
            <p:nvPr/>
          </p:nvSpPr>
          <p:spPr>
            <a:xfrm>
              <a:off x="340556" y="4962599"/>
              <a:ext cx="3956546" cy="523220"/>
            </a:xfrm>
            <a:prstGeom prst="rect">
              <a:avLst/>
            </a:prstGeom>
            <a:noFill/>
          </p:spPr>
          <p:txBody>
            <a:bodyPr wrap="square" rtlCol="0">
              <a:spAutoFit/>
            </a:bodyPr>
            <a:lstStyle/>
            <a:p>
              <a:r>
                <a:rPr lang="en-US" sz="1400" dirty="0">
                  <a:solidFill>
                    <a:schemeClr val="bg1"/>
                  </a:solidFill>
                </a:rPr>
                <a:t>Online discussions about local, national or international politics will be...</a:t>
              </a:r>
            </a:p>
          </p:txBody>
        </p:sp>
        <p:sp>
          <p:nvSpPr>
            <p:cNvPr id="31" name="TextBox 30">
              <a:extLst>
                <a:ext uri="{FF2B5EF4-FFF2-40B4-BE49-F238E27FC236}">
                  <a16:creationId xmlns:a16="http://schemas.microsoft.com/office/drawing/2014/main" id="{598CED55-68EC-44CA-9642-9F61C986E443}"/>
                </a:ext>
              </a:extLst>
            </p:cNvPr>
            <p:cNvSpPr txBox="1"/>
            <p:nvPr/>
          </p:nvSpPr>
          <p:spPr>
            <a:xfrm>
              <a:off x="340556" y="2611831"/>
              <a:ext cx="4481957" cy="738664"/>
            </a:xfrm>
            <a:prstGeom prst="rect">
              <a:avLst/>
            </a:prstGeom>
            <a:noFill/>
          </p:spPr>
          <p:txBody>
            <a:bodyPr wrap="square" rtlCol="0">
              <a:spAutoFit/>
            </a:bodyPr>
            <a:lstStyle/>
            <a:p>
              <a:r>
                <a:rPr lang="en-US" sz="1400" dirty="0">
                  <a:solidFill>
                    <a:schemeClr val="bg1"/>
                  </a:solidFill>
                </a:rPr>
                <a:t>Technology and social media companies' tools and policies to encourage respectful and civil behavior while punishing bad behavior will be...</a:t>
              </a:r>
            </a:p>
          </p:txBody>
        </p:sp>
      </p:grpSp>
      <p:sp>
        <p:nvSpPr>
          <p:cNvPr id="2" name="Speech Bubble: Rectangle with Corners Rounded 1">
            <a:extLst>
              <a:ext uri="{FF2B5EF4-FFF2-40B4-BE49-F238E27FC236}">
                <a16:creationId xmlns:a16="http://schemas.microsoft.com/office/drawing/2014/main" id="{BB775E02-A671-490C-92D2-679586DFB0F3}"/>
              </a:ext>
            </a:extLst>
          </p:cNvPr>
          <p:cNvSpPr/>
          <p:nvPr/>
        </p:nvSpPr>
        <p:spPr>
          <a:xfrm>
            <a:off x="5037690" y="1135665"/>
            <a:ext cx="2083365" cy="901069"/>
          </a:xfrm>
          <a:prstGeom prst="wedgeRoundRectCallout">
            <a:avLst>
              <a:gd name="adj1" fmla="val -71914"/>
              <a:gd name="adj2" fmla="val 128615"/>
              <a:gd name="adj3" fmla="val 16667"/>
            </a:avLst>
          </a:prstGeom>
          <a:solidFill>
            <a:srgbClr val="3282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i="1" dirty="0">
                <a:solidFill>
                  <a:schemeClr val="bg1"/>
                </a:solidFill>
              </a:rPr>
              <a:t>Technology can help encourage civil behavior</a:t>
            </a:r>
            <a:endParaRPr lang="en-US" dirty="0"/>
          </a:p>
        </p:txBody>
      </p:sp>
    </p:spTree>
    <p:extLst>
      <p:ext uri="{BB962C8B-B14F-4D97-AF65-F5344CB8AC3E}">
        <p14:creationId xmlns:p14="http://schemas.microsoft.com/office/powerpoint/2010/main" val="301565528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ECC4ED1-216E-4E61-8C87-EA1C4692C83F}"/>
              </a:ext>
            </a:extLst>
          </p:cNvPr>
          <p:cNvSpPr/>
          <p:nvPr/>
        </p:nvSpPr>
        <p:spPr bwMode="auto">
          <a:xfrm>
            <a:off x="5303521" y="0"/>
            <a:ext cx="6888480" cy="6858000"/>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3" name="Slide Number Placeholder 2">
            <a:extLst>
              <a:ext uri="{FF2B5EF4-FFF2-40B4-BE49-F238E27FC236}">
                <a16:creationId xmlns:a16="http://schemas.microsoft.com/office/drawing/2014/main" id="{8B197B52-C815-4421-B44C-6783C8AFE907}"/>
              </a:ext>
            </a:extLst>
          </p:cNvPr>
          <p:cNvSpPr>
            <a:spLocks noGrp="1"/>
          </p:cNvSpPr>
          <p:nvPr>
            <p:ph type="sldNum" sz="quarter" idx="4"/>
          </p:nvPr>
        </p:nvSpPr>
        <p:spPr/>
        <p:txBody>
          <a:bodyPr/>
          <a:lstStyle/>
          <a:p>
            <a:fld id="{7EFC24D6-DB8F-6B44-BA5A-9BEC68C15CAA}" type="slidenum">
              <a:rPr lang="en-US" smtClean="0"/>
              <a:pPr/>
              <a:t>24</a:t>
            </a:fld>
            <a:endParaRPr lang="en-US" dirty="0"/>
          </a:p>
        </p:txBody>
      </p:sp>
      <p:pic>
        <p:nvPicPr>
          <p:cNvPr id="5" name="Picture 4" descr="A close up of a logo&#10;&#10;Description automatically generated">
            <a:extLst>
              <a:ext uri="{FF2B5EF4-FFF2-40B4-BE49-F238E27FC236}">
                <a16:creationId xmlns:a16="http://schemas.microsoft.com/office/drawing/2014/main" id="{96EB78DF-E66E-492D-A72B-E93B9BDDFC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7819" y="835742"/>
            <a:ext cx="5067547" cy="5024283"/>
          </a:xfrm>
          <a:prstGeom prst="rect">
            <a:avLst/>
          </a:prstGeom>
        </p:spPr>
      </p:pic>
      <p:graphicFrame>
        <p:nvGraphicFramePr>
          <p:cNvPr id="8" name="Chart 7">
            <a:extLst>
              <a:ext uri="{FF2B5EF4-FFF2-40B4-BE49-F238E27FC236}">
                <a16:creationId xmlns:a16="http://schemas.microsoft.com/office/drawing/2014/main" id="{518BAC19-B007-4853-BF93-5E858DDF45A3}"/>
              </a:ext>
            </a:extLst>
          </p:cNvPr>
          <p:cNvGraphicFramePr/>
          <p:nvPr>
            <p:extLst>
              <p:ext uri="{D42A27DB-BD31-4B8C-83A1-F6EECF244321}">
                <p14:modId xmlns:p14="http://schemas.microsoft.com/office/powerpoint/2010/main" val="2369818897"/>
              </p:ext>
            </p:extLst>
          </p:nvPr>
        </p:nvGraphicFramePr>
        <p:xfrm>
          <a:off x="5476568" y="1091380"/>
          <a:ext cx="6391903" cy="5046953"/>
        </p:xfrm>
        <a:graphic>
          <a:graphicData uri="http://schemas.openxmlformats.org/drawingml/2006/chart">
            <c:chart xmlns:c="http://schemas.openxmlformats.org/drawingml/2006/chart" xmlns:r="http://schemas.openxmlformats.org/officeDocument/2006/relationships" r:id="rId4"/>
          </a:graphicData>
        </a:graphic>
      </p:graphicFrame>
      <p:sp>
        <p:nvSpPr>
          <p:cNvPr id="7" name="TextBox 6">
            <a:extLst>
              <a:ext uri="{FF2B5EF4-FFF2-40B4-BE49-F238E27FC236}">
                <a16:creationId xmlns:a16="http://schemas.microsoft.com/office/drawing/2014/main" id="{A7C1733A-C464-498B-973A-0C95D497905D}"/>
              </a:ext>
            </a:extLst>
          </p:cNvPr>
          <p:cNvSpPr txBox="1"/>
          <p:nvPr/>
        </p:nvSpPr>
        <p:spPr>
          <a:xfrm>
            <a:off x="6096000" y="6272152"/>
            <a:ext cx="5397910" cy="400110"/>
          </a:xfrm>
          <a:prstGeom prst="rect">
            <a:avLst/>
          </a:prstGeom>
          <a:noFill/>
        </p:spPr>
        <p:txBody>
          <a:bodyPr wrap="square" rtlCol="0">
            <a:spAutoFit/>
          </a:bodyPr>
          <a:lstStyle/>
          <a:p>
            <a:r>
              <a:rPr lang="en-US" sz="1000" i="1" dirty="0">
                <a:solidFill>
                  <a:schemeClr val="bg1"/>
                </a:solidFill>
              </a:rPr>
              <a:t> Q12G:  Which three words best describe what you hope will come to define online experiences and interactions during the next decade?</a:t>
            </a:r>
          </a:p>
        </p:txBody>
      </p:sp>
      <p:sp>
        <p:nvSpPr>
          <p:cNvPr id="9" name="TextBox 8">
            <a:extLst>
              <a:ext uri="{FF2B5EF4-FFF2-40B4-BE49-F238E27FC236}">
                <a16:creationId xmlns:a16="http://schemas.microsoft.com/office/drawing/2014/main" id="{576E7E7E-E28D-4816-8DDD-FE1267446C21}"/>
              </a:ext>
            </a:extLst>
          </p:cNvPr>
          <p:cNvSpPr txBox="1"/>
          <p:nvPr/>
        </p:nvSpPr>
        <p:spPr>
          <a:xfrm>
            <a:off x="5594394" y="267087"/>
            <a:ext cx="6016712" cy="738664"/>
          </a:xfrm>
          <a:prstGeom prst="rect">
            <a:avLst/>
          </a:prstGeom>
          <a:noFill/>
        </p:spPr>
        <p:txBody>
          <a:bodyPr wrap="none" lIns="182880" tIns="146304" rIns="182880" bIns="146304" rtlCol="0">
            <a:spAutoFit/>
          </a:bodyPr>
          <a:lstStyle/>
          <a:p>
            <a:pPr>
              <a:lnSpc>
                <a:spcPct val="90000"/>
              </a:lnSpc>
            </a:pPr>
            <a:r>
              <a:rPr lang="en-US" sz="3200" dirty="0">
                <a:solidFill>
                  <a:schemeClr val="bg1"/>
                </a:solidFill>
                <a:latin typeface="Arial" panose="020B0604020202020204" pitchFamily="34" charset="0"/>
                <a:cs typeface="Arial" panose="020B0604020202020204" pitchFamily="34" charset="0"/>
              </a:rPr>
              <a:t>Aspirations for the next decade</a:t>
            </a:r>
          </a:p>
        </p:txBody>
      </p:sp>
      <p:sp>
        <p:nvSpPr>
          <p:cNvPr id="2" name="Speech Bubble: Rectangle with Corners Rounded 1">
            <a:extLst>
              <a:ext uri="{FF2B5EF4-FFF2-40B4-BE49-F238E27FC236}">
                <a16:creationId xmlns:a16="http://schemas.microsoft.com/office/drawing/2014/main" id="{6D82AC13-C77C-41B4-9666-FFD6F9A43BF6}"/>
              </a:ext>
            </a:extLst>
          </p:cNvPr>
          <p:cNvSpPr/>
          <p:nvPr/>
        </p:nvSpPr>
        <p:spPr>
          <a:xfrm>
            <a:off x="10018207" y="2411603"/>
            <a:ext cx="2023311" cy="924449"/>
          </a:xfrm>
          <a:prstGeom prst="wedgeRoundRectCallout">
            <a:avLst>
              <a:gd name="adj1" fmla="val -8810"/>
              <a:gd name="adj2" fmla="val -141237"/>
              <a:gd name="adj3" fmla="val 16667"/>
            </a:avLst>
          </a:prstGeom>
          <a:solidFill>
            <a:srgbClr val="28608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Foundational values for online behavior</a:t>
            </a:r>
          </a:p>
        </p:txBody>
      </p:sp>
    </p:spTree>
    <p:extLst>
      <p:ext uri="{BB962C8B-B14F-4D97-AF65-F5344CB8AC3E}">
        <p14:creationId xmlns:p14="http://schemas.microsoft.com/office/powerpoint/2010/main" val="119928378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262626">
            <a:alpha val="92000"/>
          </a:srgb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B79DFF5-CA3B-4C97-944F-295553021FF0}"/>
              </a:ext>
            </a:extLst>
          </p:cNvPr>
          <p:cNvSpPr>
            <a:spLocks noGrp="1"/>
          </p:cNvSpPr>
          <p:nvPr>
            <p:ph type="title"/>
          </p:nvPr>
        </p:nvSpPr>
        <p:spPr/>
        <p:txBody>
          <a:bodyPr/>
          <a:lstStyle/>
          <a:p>
            <a:r>
              <a:rPr lang="en-US" sz="4400" dirty="0">
                <a:solidFill>
                  <a:schemeClr val="tx1"/>
                </a:solidFill>
                <a:latin typeface="Arial" panose="020B0604020202020204" pitchFamily="34" charset="0"/>
                <a:cs typeface="Arial" panose="020B0604020202020204" pitchFamily="34" charset="0"/>
              </a:rPr>
              <a:t>Finding &amp; getting help is becoming easier</a:t>
            </a:r>
          </a:p>
        </p:txBody>
      </p:sp>
      <p:graphicFrame>
        <p:nvGraphicFramePr>
          <p:cNvPr id="6" name="Chart 5">
            <a:extLst>
              <a:ext uri="{FF2B5EF4-FFF2-40B4-BE49-F238E27FC236}">
                <a16:creationId xmlns:a16="http://schemas.microsoft.com/office/drawing/2014/main" id="{A210CB95-2DAE-4642-B279-2D105DCFAF77}"/>
              </a:ext>
            </a:extLst>
          </p:cNvPr>
          <p:cNvGraphicFramePr/>
          <p:nvPr>
            <p:extLst>
              <p:ext uri="{D42A27DB-BD31-4B8C-83A1-F6EECF244321}">
                <p14:modId xmlns:p14="http://schemas.microsoft.com/office/powerpoint/2010/main" val="2252974332"/>
              </p:ext>
            </p:extLst>
          </p:nvPr>
        </p:nvGraphicFramePr>
        <p:xfrm>
          <a:off x="309531" y="1743739"/>
          <a:ext cx="3720214" cy="4235105"/>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9" name="Chart 8">
            <a:extLst>
              <a:ext uri="{FF2B5EF4-FFF2-40B4-BE49-F238E27FC236}">
                <a16:creationId xmlns:a16="http://schemas.microsoft.com/office/drawing/2014/main" id="{FDB6DDD1-E27D-494A-BEAC-DB40341175AD}"/>
              </a:ext>
            </a:extLst>
          </p:cNvPr>
          <p:cNvGraphicFramePr/>
          <p:nvPr>
            <p:extLst>
              <p:ext uri="{D42A27DB-BD31-4B8C-83A1-F6EECF244321}">
                <p14:modId xmlns:p14="http://schemas.microsoft.com/office/powerpoint/2010/main" val="3718135093"/>
              </p:ext>
            </p:extLst>
          </p:nvPr>
        </p:nvGraphicFramePr>
        <p:xfrm>
          <a:off x="4262433" y="1743739"/>
          <a:ext cx="3720214" cy="423510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a:extLst>
              <a:ext uri="{FF2B5EF4-FFF2-40B4-BE49-F238E27FC236}">
                <a16:creationId xmlns:a16="http://schemas.microsoft.com/office/drawing/2014/main" id="{33F4C5B8-6872-41D0-904E-68E990171605}"/>
              </a:ext>
            </a:extLst>
          </p:cNvPr>
          <p:cNvGraphicFramePr/>
          <p:nvPr>
            <p:extLst>
              <p:ext uri="{D42A27DB-BD31-4B8C-83A1-F6EECF244321}">
                <p14:modId xmlns:p14="http://schemas.microsoft.com/office/powerpoint/2010/main" val="1973740750"/>
              </p:ext>
            </p:extLst>
          </p:nvPr>
        </p:nvGraphicFramePr>
        <p:xfrm>
          <a:off x="8215335" y="1743739"/>
          <a:ext cx="3720214" cy="4235105"/>
        </p:xfrm>
        <a:graphic>
          <a:graphicData uri="http://schemas.openxmlformats.org/drawingml/2006/chart">
            <c:chart xmlns:c="http://schemas.openxmlformats.org/drawingml/2006/chart" xmlns:r="http://schemas.openxmlformats.org/officeDocument/2006/relationships" r:id="rId5"/>
          </a:graphicData>
        </a:graphic>
      </p:graphicFrame>
      <p:grpSp>
        <p:nvGrpSpPr>
          <p:cNvPr id="11" name="Group 10">
            <a:extLst>
              <a:ext uri="{FF2B5EF4-FFF2-40B4-BE49-F238E27FC236}">
                <a16:creationId xmlns:a16="http://schemas.microsoft.com/office/drawing/2014/main" id="{EA178992-E2D0-4437-9792-B68A83A744CE}"/>
              </a:ext>
            </a:extLst>
          </p:cNvPr>
          <p:cNvGrpSpPr/>
          <p:nvPr/>
        </p:nvGrpSpPr>
        <p:grpSpPr>
          <a:xfrm>
            <a:off x="-10048" y="6249603"/>
            <a:ext cx="10099890" cy="581165"/>
            <a:chOff x="-10048" y="6398464"/>
            <a:chExt cx="10099890" cy="581165"/>
          </a:xfrm>
        </p:grpSpPr>
        <p:sp>
          <p:nvSpPr>
            <p:cNvPr id="12" name="Rectangle 11">
              <a:extLst>
                <a:ext uri="{FF2B5EF4-FFF2-40B4-BE49-F238E27FC236}">
                  <a16:creationId xmlns:a16="http://schemas.microsoft.com/office/drawing/2014/main" id="{C841E7A3-839B-47E5-AD1F-A7086FCD9B05}"/>
                </a:ext>
              </a:extLst>
            </p:cNvPr>
            <p:cNvSpPr/>
            <p:nvPr/>
          </p:nvSpPr>
          <p:spPr>
            <a:xfrm>
              <a:off x="-10048" y="6398464"/>
              <a:ext cx="10096542" cy="246221"/>
            </a:xfrm>
            <a:prstGeom prst="rect">
              <a:avLst/>
            </a:prstGeom>
          </p:spPr>
          <p:txBody>
            <a:bodyPr wrap="square">
              <a:spAutoFit/>
            </a:bodyPr>
            <a:lstStyle/>
            <a:p>
              <a:r>
                <a:rPr lang="en-US" sz="1000" i="1" dirty="0">
                  <a:latin typeface="Arial" panose="020B0604020202020204" pitchFamily="34" charset="0"/>
                  <a:cs typeface="Arial" panose="020B0604020202020204" pitchFamily="34" charset="0"/>
                </a:rPr>
                <a:t>  Q10: How confident are you in your ability to manage uncivil behavior online?</a:t>
              </a:r>
            </a:p>
          </p:txBody>
        </p:sp>
        <p:sp>
          <p:nvSpPr>
            <p:cNvPr id="13" name="Rectangle 12">
              <a:extLst>
                <a:ext uri="{FF2B5EF4-FFF2-40B4-BE49-F238E27FC236}">
                  <a16:creationId xmlns:a16="http://schemas.microsoft.com/office/drawing/2014/main" id="{27E89B13-1554-427F-A774-46EF54EA98A8}"/>
                </a:ext>
              </a:extLst>
            </p:cNvPr>
            <p:cNvSpPr/>
            <p:nvPr/>
          </p:nvSpPr>
          <p:spPr>
            <a:xfrm>
              <a:off x="-8374" y="6570960"/>
              <a:ext cx="10096542" cy="246221"/>
            </a:xfrm>
            <a:prstGeom prst="rect">
              <a:avLst/>
            </a:prstGeom>
          </p:spPr>
          <p:txBody>
            <a:bodyPr wrap="square">
              <a:spAutoFit/>
            </a:bodyPr>
            <a:lstStyle/>
            <a:p>
              <a:r>
                <a:rPr lang="en-US" sz="1000" i="1" dirty="0">
                  <a:latin typeface="Arial" panose="020B0604020202020204" pitchFamily="34" charset="0"/>
                  <a:cs typeface="Arial" panose="020B0604020202020204" pitchFamily="34" charset="0"/>
                </a:rPr>
                <a:t>  Q11: If you need help, do you know where to get help to manage online risks or uncivil behavior online?</a:t>
              </a:r>
            </a:p>
          </p:txBody>
        </p:sp>
        <p:sp>
          <p:nvSpPr>
            <p:cNvPr id="14" name="Rectangle 13">
              <a:extLst>
                <a:ext uri="{FF2B5EF4-FFF2-40B4-BE49-F238E27FC236}">
                  <a16:creationId xmlns:a16="http://schemas.microsoft.com/office/drawing/2014/main" id="{9A207199-BB8E-4A3B-AED9-314FAC858E38}"/>
                </a:ext>
              </a:extLst>
            </p:cNvPr>
            <p:cNvSpPr/>
            <p:nvPr/>
          </p:nvSpPr>
          <p:spPr>
            <a:xfrm>
              <a:off x="-6700" y="6733408"/>
              <a:ext cx="10096542" cy="246221"/>
            </a:xfrm>
            <a:prstGeom prst="rect">
              <a:avLst/>
            </a:prstGeom>
          </p:spPr>
          <p:txBody>
            <a:bodyPr wrap="square">
              <a:spAutoFit/>
            </a:bodyPr>
            <a:lstStyle/>
            <a:p>
              <a:r>
                <a:rPr lang="en-US" sz="1000" i="1" dirty="0">
                  <a:latin typeface="Arial" panose="020B0604020202020204" pitchFamily="34" charset="0"/>
                  <a:cs typeface="Arial" panose="020B0604020202020204" pitchFamily="34" charset="0"/>
                </a:rPr>
                <a:t>  Q11a: How difficult was it to get help when you were treated in an unsafe or uncivil manner?</a:t>
              </a:r>
            </a:p>
          </p:txBody>
        </p:sp>
      </p:grpSp>
      <p:sp>
        <p:nvSpPr>
          <p:cNvPr id="15" name="Slide Number Placeholder 2">
            <a:extLst>
              <a:ext uri="{FF2B5EF4-FFF2-40B4-BE49-F238E27FC236}">
                <a16:creationId xmlns:a16="http://schemas.microsoft.com/office/drawing/2014/main" id="{96DE6466-EF74-484A-9CF2-D6F699534B07}"/>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schemeClr val="tx1"/>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dirty="0">
              <a:ln>
                <a:noFill/>
              </a:ln>
              <a:solidFill>
                <a:schemeClr val="tx1"/>
              </a:solidFill>
              <a:effectLst/>
              <a:uLnTx/>
              <a:uFillTx/>
              <a:latin typeface="Arial"/>
              <a:cs typeface="+mn-cs"/>
            </a:endParaRPr>
          </a:p>
        </p:txBody>
      </p:sp>
    </p:spTree>
    <p:extLst>
      <p:ext uri="{BB962C8B-B14F-4D97-AF65-F5344CB8AC3E}">
        <p14:creationId xmlns:p14="http://schemas.microsoft.com/office/powerpoint/2010/main" val="349162350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9000" r="-9000"/>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48A2979-A456-4286-B8FC-8FF4C0C58EFD}"/>
              </a:ext>
            </a:extLst>
          </p:cNvPr>
          <p:cNvSpPr txBox="1"/>
          <p:nvPr/>
        </p:nvSpPr>
        <p:spPr>
          <a:xfrm>
            <a:off x="0" y="2835644"/>
            <a:ext cx="6096000" cy="923330"/>
          </a:xfrm>
          <a:prstGeom prst="rect">
            <a:avLst/>
          </a:prstGeom>
          <a:noFill/>
        </p:spPr>
        <p:txBody>
          <a:bodyPr wrap="square" rtlCol="0" anchor="ctr">
            <a:spAutoFit/>
          </a:bodyPr>
          <a:lstStyle/>
          <a:p>
            <a:pPr algn="r"/>
            <a:r>
              <a:rPr lang="en-US" altLang="ko-KR" sz="5400" b="1" dirty="0">
                <a:solidFill>
                  <a:schemeClr val="bg1"/>
                </a:solidFill>
                <a:cs typeface="Arial" pitchFamily="34" charset="0"/>
              </a:rPr>
              <a:t>Audiences</a:t>
            </a:r>
          </a:p>
        </p:txBody>
      </p:sp>
      <p:sp>
        <p:nvSpPr>
          <p:cNvPr id="6" name="Freeform: Shape 5">
            <a:extLst>
              <a:ext uri="{FF2B5EF4-FFF2-40B4-BE49-F238E27FC236}">
                <a16:creationId xmlns:a16="http://schemas.microsoft.com/office/drawing/2014/main" id="{6E2E9094-67D8-4A7C-B3AF-095F1FFF635E}"/>
              </a:ext>
            </a:extLst>
          </p:cNvPr>
          <p:cNvSpPr/>
          <p:nvPr/>
        </p:nvSpPr>
        <p:spPr>
          <a:xfrm>
            <a:off x="5377220" y="2050576"/>
            <a:ext cx="1528549" cy="2756848"/>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spTree>
    <p:extLst>
      <p:ext uri="{BB962C8B-B14F-4D97-AF65-F5344CB8AC3E}">
        <p14:creationId xmlns:p14="http://schemas.microsoft.com/office/powerpoint/2010/main" val="355594877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B7F6333-17E3-4356-924E-63DA98C9229B}"/>
              </a:ext>
            </a:extLst>
          </p:cNvPr>
          <p:cNvSpPr/>
          <p:nvPr/>
        </p:nvSpPr>
        <p:spPr bwMode="auto">
          <a:xfrm>
            <a:off x="0" y="-1"/>
            <a:ext cx="12192000" cy="4129873"/>
          </a:xfrm>
          <a:prstGeom prst="rect">
            <a:avLst/>
          </a:prstGeom>
          <a:blipFill>
            <a:blip r:embed="rId3"/>
            <a:stretch>
              <a:fillRect/>
            </a:stretch>
          </a:bli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nvGrpSpPr>
          <p:cNvPr id="16" name="Group 15">
            <a:extLst>
              <a:ext uri="{FF2B5EF4-FFF2-40B4-BE49-F238E27FC236}">
                <a16:creationId xmlns:a16="http://schemas.microsoft.com/office/drawing/2014/main" id="{B4813022-A243-4FD6-A9F2-EBFA062FFC3B}"/>
              </a:ext>
            </a:extLst>
          </p:cNvPr>
          <p:cNvGrpSpPr/>
          <p:nvPr/>
        </p:nvGrpSpPr>
        <p:grpSpPr>
          <a:xfrm>
            <a:off x="800282" y="3301088"/>
            <a:ext cx="11053652" cy="1645920"/>
            <a:chOff x="482797" y="3458067"/>
            <a:chExt cx="11053652" cy="1645920"/>
          </a:xfrm>
        </p:grpSpPr>
        <p:sp>
          <p:nvSpPr>
            <p:cNvPr id="3" name="Oval 2">
              <a:extLst>
                <a:ext uri="{FF2B5EF4-FFF2-40B4-BE49-F238E27FC236}">
                  <a16:creationId xmlns:a16="http://schemas.microsoft.com/office/drawing/2014/main" id="{E3CB70FA-CF8D-4A51-9451-AEC5978BA81C}"/>
                </a:ext>
              </a:extLst>
            </p:cNvPr>
            <p:cNvSpPr>
              <a:spLocks noChangeAspect="1"/>
            </p:cNvSpPr>
            <p:nvPr/>
          </p:nvSpPr>
          <p:spPr>
            <a:xfrm>
              <a:off x="482797" y="3458067"/>
              <a:ext cx="1645920" cy="1645920"/>
            </a:xfrm>
            <a:prstGeom prst="ellipse">
              <a:avLst/>
            </a:prstGeom>
            <a:solidFill>
              <a:srgbClr val="2860BE"/>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4400" dirty="0">
                  <a:latin typeface="Impact" panose="020B0806030902050204" pitchFamily="34" charset="0"/>
                </a:rPr>
                <a:t>66</a:t>
              </a:r>
              <a:r>
                <a:rPr lang="en-US" altLang="ko-KR" sz="2700" dirty="0"/>
                <a:t>%</a:t>
              </a:r>
              <a:endParaRPr lang="ko-KR" altLang="en-US" sz="2700" dirty="0"/>
            </a:p>
          </p:txBody>
        </p:sp>
        <p:sp>
          <p:nvSpPr>
            <p:cNvPr id="8" name="Oval 7">
              <a:extLst>
                <a:ext uri="{FF2B5EF4-FFF2-40B4-BE49-F238E27FC236}">
                  <a16:creationId xmlns:a16="http://schemas.microsoft.com/office/drawing/2014/main" id="{2D6B4A9B-233A-4F48-ABEB-40CF0F1A55E7}"/>
                </a:ext>
              </a:extLst>
            </p:cNvPr>
            <p:cNvSpPr>
              <a:spLocks noChangeAspect="1"/>
            </p:cNvSpPr>
            <p:nvPr/>
          </p:nvSpPr>
          <p:spPr>
            <a:xfrm>
              <a:off x="2834730" y="3458067"/>
              <a:ext cx="1645920" cy="1645920"/>
            </a:xfrm>
            <a:prstGeom prst="ellipse">
              <a:avLst/>
            </a:prstGeom>
            <a:solidFill>
              <a:srgbClr val="2860BE"/>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4400" dirty="0">
                  <a:latin typeface="Impact" panose="020B0806030902050204" pitchFamily="34" charset="0"/>
                </a:rPr>
                <a:t>70</a:t>
              </a:r>
              <a:r>
                <a:rPr lang="en-US" altLang="ko-KR" sz="2700" dirty="0"/>
                <a:t>%</a:t>
              </a:r>
              <a:endParaRPr lang="ko-KR" altLang="en-US" sz="2700" dirty="0"/>
            </a:p>
          </p:txBody>
        </p:sp>
        <p:sp>
          <p:nvSpPr>
            <p:cNvPr id="9" name="Oval 8">
              <a:extLst>
                <a:ext uri="{FF2B5EF4-FFF2-40B4-BE49-F238E27FC236}">
                  <a16:creationId xmlns:a16="http://schemas.microsoft.com/office/drawing/2014/main" id="{11C384C5-2BB4-4468-A0DE-B11273DA9160}"/>
                </a:ext>
              </a:extLst>
            </p:cNvPr>
            <p:cNvSpPr>
              <a:spLocks noChangeAspect="1"/>
            </p:cNvSpPr>
            <p:nvPr/>
          </p:nvSpPr>
          <p:spPr>
            <a:xfrm>
              <a:off x="5186663" y="3458067"/>
              <a:ext cx="1645920" cy="1645920"/>
            </a:xfrm>
            <a:prstGeom prst="ellipse">
              <a:avLst/>
            </a:prstGeom>
            <a:solidFill>
              <a:srgbClr val="2860BE"/>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4400" dirty="0">
                  <a:latin typeface="Impact" panose="020B0806030902050204" pitchFamily="34" charset="0"/>
                </a:rPr>
                <a:t>66</a:t>
              </a:r>
              <a:r>
                <a:rPr lang="en-US" altLang="ko-KR" sz="2700" dirty="0"/>
                <a:t>%</a:t>
              </a:r>
              <a:endParaRPr lang="ko-KR" altLang="en-US" sz="2700" dirty="0"/>
            </a:p>
          </p:txBody>
        </p:sp>
        <p:sp>
          <p:nvSpPr>
            <p:cNvPr id="10" name="Oval 9">
              <a:extLst>
                <a:ext uri="{FF2B5EF4-FFF2-40B4-BE49-F238E27FC236}">
                  <a16:creationId xmlns:a16="http://schemas.microsoft.com/office/drawing/2014/main" id="{49065BF3-BC81-4068-B8CE-0A3AED8F7708}"/>
                </a:ext>
              </a:extLst>
            </p:cNvPr>
            <p:cNvSpPr>
              <a:spLocks noChangeAspect="1"/>
            </p:cNvSpPr>
            <p:nvPr/>
          </p:nvSpPr>
          <p:spPr>
            <a:xfrm>
              <a:off x="9890529" y="3458067"/>
              <a:ext cx="1645920" cy="1645920"/>
            </a:xfrm>
            <a:prstGeom prst="ellipse">
              <a:avLst/>
            </a:prstGeom>
            <a:solidFill>
              <a:srgbClr val="2860BE"/>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4400" dirty="0">
                  <a:latin typeface="Impact" panose="020B0806030902050204" pitchFamily="34" charset="0"/>
                </a:rPr>
                <a:t>48</a:t>
              </a:r>
              <a:r>
                <a:rPr lang="en-US" altLang="ko-KR" sz="2700" dirty="0"/>
                <a:t>%</a:t>
              </a:r>
              <a:endParaRPr lang="ko-KR" altLang="en-US" sz="2700" dirty="0"/>
            </a:p>
          </p:txBody>
        </p:sp>
        <p:sp>
          <p:nvSpPr>
            <p:cNvPr id="14" name="Oval 13">
              <a:extLst>
                <a:ext uri="{FF2B5EF4-FFF2-40B4-BE49-F238E27FC236}">
                  <a16:creationId xmlns:a16="http://schemas.microsoft.com/office/drawing/2014/main" id="{AED7D3D6-6024-418D-92E5-EC7DC55AD95E}"/>
                </a:ext>
              </a:extLst>
            </p:cNvPr>
            <p:cNvSpPr>
              <a:spLocks noChangeAspect="1"/>
            </p:cNvSpPr>
            <p:nvPr/>
          </p:nvSpPr>
          <p:spPr>
            <a:xfrm>
              <a:off x="7538596" y="3458067"/>
              <a:ext cx="1645920" cy="1645920"/>
            </a:xfrm>
            <a:prstGeom prst="ellipse">
              <a:avLst/>
            </a:prstGeom>
            <a:solidFill>
              <a:srgbClr val="2860BE"/>
            </a:solidFill>
            <a:ln w="762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ltLang="ko-KR" sz="4400" dirty="0">
                  <a:latin typeface="Impact" panose="020B0806030902050204" pitchFamily="34" charset="0"/>
                </a:rPr>
                <a:t>77</a:t>
              </a:r>
              <a:r>
                <a:rPr lang="en-US" altLang="ko-KR" sz="2700" dirty="0"/>
                <a:t>%</a:t>
              </a:r>
              <a:endParaRPr lang="ko-KR" altLang="en-US" sz="2700" dirty="0"/>
            </a:p>
          </p:txBody>
        </p:sp>
      </p:grpSp>
      <p:grpSp>
        <p:nvGrpSpPr>
          <p:cNvPr id="17" name="Group 16">
            <a:extLst>
              <a:ext uri="{FF2B5EF4-FFF2-40B4-BE49-F238E27FC236}">
                <a16:creationId xmlns:a16="http://schemas.microsoft.com/office/drawing/2014/main" id="{E6D9ED5E-C1EE-4B5E-9033-C71E9AA005BE}"/>
              </a:ext>
            </a:extLst>
          </p:cNvPr>
          <p:cNvGrpSpPr/>
          <p:nvPr/>
        </p:nvGrpSpPr>
        <p:grpSpPr>
          <a:xfrm>
            <a:off x="827973" y="4924351"/>
            <a:ext cx="11486118" cy="1292662"/>
            <a:chOff x="291588" y="5139582"/>
            <a:chExt cx="11486118" cy="1292662"/>
          </a:xfrm>
        </p:grpSpPr>
        <p:sp>
          <p:nvSpPr>
            <p:cNvPr id="6" name="TextBox 5">
              <a:extLst>
                <a:ext uri="{FF2B5EF4-FFF2-40B4-BE49-F238E27FC236}">
                  <a16:creationId xmlns:a16="http://schemas.microsoft.com/office/drawing/2014/main" id="{E75EC21C-B9D4-4A55-9E26-2792D096BCB6}"/>
                </a:ext>
              </a:extLst>
            </p:cNvPr>
            <p:cNvSpPr txBox="1"/>
            <p:nvPr/>
          </p:nvSpPr>
          <p:spPr>
            <a:xfrm>
              <a:off x="291588" y="5139582"/>
              <a:ext cx="2028337" cy="960263"/>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rPr>
                <a:t>Experienced a risk</a:t>
              </a:r>
            </a:p>
          </p:txBody>
        </p:sp>
        <p:sp>
          <p:nvSpPr>
            <p:cNvPr id="11" name="TextBox 10">
              <a:extLst>
                <a:ext uri="{FF2B5EF4-FFF2-40B4-BE49-F238E27FC236}">
                  <a16:creationId xmlns:a16="http://schemas.microsoft.com/office/drawing/2014/main" id="{D2C78F20-C114-4FF9-A85B-266F43A2DF31}"/>
                </a:ext>
              </a:extLst>
            </p:cNvPr>
            <p:cNvSpPr txBox="1"/>
            <p:nvPr/>
          </p:nvSpPr>
          <p:spPr>
            <a:xfrm>
              <a:off x="9749369" y="5139582"/>
              <a:ext cx="2028337" cy="1292662"/>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rPr>
                <a:t>Asked parents for help</a:t>
              </a:r>
            </a:p>
          </p:txBody>
        </p:sp>
        <p:sp>
          <p:nvSpPr>
            <p:cNvPr id="12" name="TextBox 11">
              <a:extLst>
                <a:ext uri="{FF2B5EF4-FFF2-40B4-BE49-F238E27FC236}">
                  <a16:creationId xmlns:a16="http://schemas.microsoft.com/office/drawing/2014/main" id="{6274962E-F159-4A98-BC2A-B3281F5CB0F9}"/>
                </a:ext>
              </a:extLst>
            </p:cNvPr>
            <p:cNvSpPr txBox="1"/>
            <p:nvPr/>
          </p:nvSpPr>
          <p:spPr>
            <a:xfrm>
              <a:off x="2476910" y="5139582"/>
              <a:ext cx="2590478" cy="960263"/>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rPr>
                <a:t>Moderate-Unbearable pain</a:t>
              </a:r>
            </a:p>
          </p:txBody>
        </p:sp>
        <p:sp>
          <p:nvSpPr>
            <p:cNvPr id="13" name="TextBox 12">
              <a:extLst>
                <a:ext uri="{FF2B5EF4-FFF2-40B4-BE49-F238E27FC236}">
                  <a16:creationId xmlns:a16="http://schemas.microsoft.com/office/drawing/2014/main" id="{94A88399-E9D9-4149-86C1-F843848D967A}"/>
                </a:ext>
              </a:extLst>
            </p:cNvPr>
            <p:cNvSpPr txBox="1"/>
            <p:nvPr/>
          </p:nvSpPr>
          <p:spPr>
            <a:xfrm>
              <a:off x="7454606" y="5139582"/>
              <a:ext cx="2210243" cy="960263"/>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rPr>
                <a:t>Suffered a consequence</a:t>
              </a:r>
            </a:p>
          </p:txBody>
        </p:sp>
        <p:sp>
          <p:nvSpPr>
            <p:cNvPr id="15" name="TextBox 14">
              <a:extLst>
                <a:ext uri="{FF2B5EF4-FFF2-40B4-BE49-F238E27FC236}">
                  <a16:creationId xmlns:a16="http://schemas.microsoft.com/office/drawing/2014/main" id="{75397A9B-6FC9-4D2C-A451-1EDD1FA8B8FF}"/>
                </a:ext>
              </a:extLst>
            </p:cNvPr>
            <p:cNvSpPr txBox="1"/>
            <p:nvPr/>
          </p:nvSpPr>
          <p:spPr>
            <a:xfrm>
              <a:off x="5067388" y="5139582"/>
              <a:ext cx="2590478" cy="960263"/>
            </a:xfrm>
            <a:prstGeom prst="rect">
              <a:avLst/>
            </a:prstGeom>
            <a:noFill/>
          </p:spPr>
          <p:txBody>
            <a:bodyPr wrap="square" lIns="182880" tIns="146304" rIns="182880" bIns="146304" rtlCol="0">
              <a:spAutoFit/>
            </a:bodyPr>
            <a:lstStyle/>
            <a:p>
              <a:pPr>
                <a:lnSpc>
                  <a:spcPct val="90000"/>
                </a:lnSpc>
              </a:pPr>
              <a:r>
                <a:rPr lang="en-US" sz="2400" dirty="0">
                  <a:solidFill>
                    <a:schemeClr val="bg1">
                      <a:lumMod val="65000"/>
                      <a:lumOff val="35000"/>
                    </a:schemeClr>
                  </a:solidFill>
                </a:rPr>
                <a:t>Worry risk will happen again</a:t>
              </a:r>
            </a:p>
          </p:txBody>
        </p:sp>
      </p:grpSp>
      <p:sp>
        <p:nvSpPr>
          <p:cNvPr id="20" name="TextBox 19">
            <a:extLst>
              <a:ext uri="{FF2B5EF4-FFF2-40B4-BE49-F238E27FC236}">
                <a16:creationId xmlns:a16="http://schemas.microsoft.com/office/drawing/2014/main" id="{439A7CF0-A443-4C42-AD17-BD85ED57545E}"/>
              </a:ext>
            </a:extLst>
          </p:cNvPr>
          <p:cNvSpPr txBox="1"/>
          <p:nvPr/>
        </p:nvSpPr>
        <p:spPr>
          <a:xfrm>
            <a:off x="79087" y="160774"/>
            <a:ext cx="2425536" cy="627864"/>
          </a:xfrm>
          <a:prstGeom prst="rect">
            <a:avLst/>
          </a:prstGeom>
          <a:solidFill>
            <a:srgbClr val="28608C"/>
          </a:solidFill>
        </p:spPr>
        <p:txBody>
          <a:bodyPr wrap="none" lIns="182880" tIns="146304" rIns="182880" bIns="146304" rtlCol="0">
            <a:spAutoFit/>
          </a:bodyPr>
          <a:lstStyle/>
          <a:p>
            <a:pPr>
              <a:lnSpc>
                <a:spcPct val="90000"/>
              </a:lnSpc>
            </a:pPr>
            <a:r>
              <a:rPr lang="en-US" sz="2400" dirty="0"/>
              <a:t>Profile of Teens</a:t>
            </a:r>
          </a:p>
        </p:txBody>
      </p:sp>
      <p:sp>
        <p:nvSpPr>
          <p:cNvPr id="21" name="TextBox 20">
            <a:extLst>
              <a:ext uri="{FF2B5EF4-FFF2-40B4-BE49-F238E27FC236}">
                <a16:creationId xmlns:a16="http://schemas.microsoft.com/office/drawing/2014/main" id="{E45460DE-080D-4C26-9A21-54C9FF43CE60}"/>
              </a:ext>
            </a:extLst>
          </p:cNvPr>
          <p:cNvSpPr txBox="1"/>
          <p:nvPr/>
        </p:nvSpPr>
        <p:spPr>
          <a:xfrm>
            <a:off x="0" y="6161555"/>
            <a:ext cx="1056508" cy="517065"/>
          </a:xfrm>
          <a:prstGeom prst="rect">
            <a:avLst/>
          </a:prstGeom>
          <a:noFill/>
        </p:spPr>
        <p:txBody>
          <a:bodyPr wrap="none" lIns="182880" tIns="146304" rIns="182880" bIns="146304" rtlCol="0">
            <a:spAutoFit/>
          </a:bodyPr>
          <a:lstStyle/>
          <a:p>
            <a:pPr>
              <a:lnSpc>
                <a:spcPct val="90000"/>
              </a:lnSpc>
            </a:pPr>
            <a:r>
              <a:rPr lang="en-US" sz="1600" dirty="0">
                <a:solidFill>
                  <a:schemeClr val="bg1">
                    <a:lumMod val="65000"/>
                    <a:lumOff val="35000"/>
                  </a:schemeClr>
                </a:solidFill>
                <a:latin typeface="Arial" panose="020B0604020202020204" pitchFamily="34" charset="0"/>
                <a:cs typeface="Arial" panose="020B0604020202020204" pitchFamily="34" charset="0"/>
              </a:rPr>
              <a:t>YOY </a:t>
            </a:r>
            <a:r>
              <a:rPr lang="en-US" sz="1600" dirty="0">
                <a:solidFill>
                  <a:schemeClr val="bg1">
                    <a:lumMod val="65000"/>
                    <a:lumOff val="35000"/>
                  </a:schemeClr>
                </a:solidFill>
                <a:latin typeface="Wingdings 3" panose="05040102010807070707" pitchFamily="18" charset="2"/>
              </a:rPr>
              <a:t>p</a:t>
            </a:r>
            <a:endParaRPr lang="en-US" sz="1600" dirty="0">
              <a:solidFill>
                <a:schemeClr val="bg1">
                  <a:lumMod val="65000"/>
                  <a:lumOff val="35000"/>
                </a:schemeClr>
              </a:solidFill>
            </a:endParaRPr>
          </a:p>
        </p:txBody>
      </p:sp>
      <p:sp>
        <p:nvSpPr>
          <p:cNvPr id="22" name="TextBox 21">
            <a:extLst>
              <a:ext uri="{FF2B5EF4-FFF2-40B4-BE49-F238E27FC236}">
                <a16:creationId xmlns:a16="http://schemas.microsoft.com/office/drawing/2014/main" id="{59ED97A3-ED2D-4DA0-8BC5-9920B4D8CA4F}"/>
              </a:ext>
            </a:extLst>
          </p:cNvPr>
          <p:cNvSpPr txBox="1"/>
          <p:nvPr/>
        </p:nvSpPr>
        <p:spPr>
          <a:xfrm>
            <a:off x="3430544" y="6100996"/>
            <a:ext cx="912750" cy="627864"/>
          </a:xfrm>
          <a:prstGeom prst="rect">
            <a:avLst/>
          </a:prstGeom>
          <a:noFill/>
        </p:spPr>
        <p:txBody>
          <a:bodyPr wrap="none" lIns="182880" tIns="146304" rIns="182880" bIns="146304" rtlCol="0">
            <a:spAutoFit/>
          </a:bodyPr>
          <a:lstStyle/>
          <a:p>
            <a:pPr>
              <a:lnSpc>
                <a:spcPct val="90000"/>
              </a:lnSpc>
            </a:pPr>
            <a:r>
              <a:rPr lang="en-US" sz="2400" dirty="0">
                <a:solidFill>
                  <a:schemeClr val="bg1">
                    <a:lumMod val="65000"/>
                    <a:lumOff val="35000"/>
                  </a:schemeClr>
                </a:solidFill>
              </a:rPr>
              <a:t>+12</a:t>
            </a:r>
          </a:p>
        </p:txBody>
      </p:sp>
      <p:sp>
        <p:nvSpPr>
          <p:cNvPr id="23" name="TextBox 22">
            <a:extLst>
              <a:ext uri="{FF2B5EF4-FFF2-40B4-BE49-F238E27FC236}">
                <a16:creationId xmlns:a16="http://schemas.microsoft.com/office/drawing/2014/main" id="{361A997E-CB4F-43CB-97C1-9F3085479C6C}"/>
              </a:ext>
            </a:extLst>
          </p:cNvPr>
          <p:cNvSpPr txBox="1"/>
          <p:nvPr/>
        </p:nvSpPr>
        <p:spPr>
          <a:xfrm>
            <a:off x="8222666" y="6100996"/>
            <a:ext cx="746038" cy="627864"/>
          </a:xfrm>
          <a:prstGeom prst="rect">
            <a:avLst/>
          </a:prstGeom>
          <a:noFill/>
        </p:spPr>
        <p:txBody>
          <a:bodyPr wrap="none" lIns="182880" tIns="146304" rIns="182880" bIns="146304" rtlCol="0">
            <a:spAutoFit/>
          </a:bodyPr>
          <a:lstStyle/>
          <a:p>
            <a:pPr>
              <a:lnSpc>
                <a:spcPct val="90000"/>
              </a:lnSpc>
            </a:pPr>
            <a:r>
              <a:rPr lang="en-US" sz="2400" dirty="0">
                <a:solidFill>
                  <a:schemeClr val="bg1">
                    <a:lumMod val="65000"/>
                    <a:lumOff val="35000"/>
                  </a:schemeClr>
                </a:solidFill>
              </a:rPr>
              <a:t>+7</a:t>
            </a:r>
          </a:p>
        </p:txBody>
      </p:sp>
      <p:sp>
        <p:nvSpPr>
          <p:cNvPr id="24" name="TextBox 23">
            <a:extLst>
              <a:ext uri="{FF2B5EF4-FFF2-40B4-BE49-F238E27FC236}">
                <a16:creationId xmlns:a16="http://schemas.microsoft.com/office/drawing/2014/main" id="{990B92B0-61B7-4EBE-B3B9-36250F909722}"/>
              </a:ext>
            </a:extLst>
          </p:cNvPr>
          <p:cNvSpPr txBox="1"/>
          <p:nvPr/>
        </p:nvSpPr>
        <p:spPr>
          <a:xfrm>
            <a:off x="5870733" y="6100996"/>
            <a:ext cx="912750" cy="627864"/>
          </a:xfrm>
          <a:prstGeom prst="rect">
            <a:avLst/>
          </a:prstGeom>
          <a:noFill/>
        </p:spPr>
        <p:txBody>
          <a:bodyPr wrap="none" lIns="182880" tIns="146304" rIns="182880" bIns="146304" rtlCol="0">
            <a:spAutoFit/>
          </a:bodyPr>
          <a:lstStyle/>
          <a:p>
            <a:pPr>
              <a:lnSpc>
                <a:spcPct val="90000"/>
              </a:lnSpc>
            </a:pPr>
            <a:r>
              <a:rPr lang="en-US" sz="2400" dirty="0">
                <a:solidFill>
                  <a:schemeClr val="bg1">
                    <a:lumMod val="65000"/>
                    <a:lumOff val="35000"/>
                  </a:schemeClr>
                </a:solidFill>
              </a:rPr>
              <a:t>+11</a:t>
            </a:r>
          </a:p>
        </p:txBody>
      </p:sp>
      <p:sp>
        <p:nvSpPr>
          <p:cNvPr id="25" name="TextBox 24">
            <a:extLst>
              <a:ext uri="{FF2B5EF4-FFF2-40B4-BE49-F238E27FC236}">
                <a16:creationId xmlns:a16="http://schemas.microsoft.com/office/drawing/2014/main" id="{3100101F-9B4E-486B-AE80-1B6A5DF3EC3D}"/>
              </a:ext>
            </a:extLst>
          </p:cNvPr>
          <p:cNvSpPr txBox="1"/>
          <p:nvPr/>
        </p:nvSpPr>
        <p:spPr>
          <a:xfrm>
            <a:off x="1050596" y="6100996"/>
            <a:ext cx="746038" cy="627864"/>
          </a:xfrm>
          <a:prstGeom prst="rect">
            <a:avLst/>
          </a:prstGeom>
          <a:noFill/>
        </p:spPr>
        <p:txBody>
          <a:bodyPr wrap="none" lIns="182880" tIns="146304" rIns="182880" bIns="146304" rtlCol="0">
            <a:spAutoFit/>
          </a:bodyPr>
          <a:lstStyle/>
          <a:p>
            <a:pPr>
              <a:lnSpc>
                <a:spcPct val="90000"/>
              </a:lnSpc>
            </a:pPr>
            <a:r>
              <a:rPr lang="en-US" sz="2400" dirty="0">
                <a:solidFill>
                  <a:schemeClr val="bg1">
                    <a:lumMod val="65000"/>
                    <a:lumOff val="35000"/>
                  </a:schemeClr>
                </a:solidFill>
              </a:rPr>
              <a:t>+3</a:t>
            </a:r>
          </a:p>
        </p:txBody>
      </p:sp>
      <p:sp>
        <p:nvSpPr>
          <p:cNvPr id="26" name="TextBox 25">
            <a:extLst>
              <a:ext uri="{FF2B5EF4-FFF2-40B4-BE49-F238E27FC236}">
                <a16:creationId xmlns:a16="http://schemas.microsoft.com/office/drawing/2014/main" id="{98453DEE-8FF4-4B1F-BA69-76B6F4EE21BF}"/>
              </a:ext>
            </a:extLst>
          </p:cNvPr>
          <p:cNvSpPr txBox="1"/>
          <p:nvPr/>
        </p:nvSpPr>
        <p:spPr>
          <a:xfrm>
            <a:off x="10559428" y="6100996"/>
            <a:ext cx="746038" cy="627864"/>
          </a:xfrm>
          <a:prstGeom prst="rect">
            <a:avLst/>
          </a:prstGeom>
          <a:noFill/>
        </p:spPr>
        <p:txBody>
          <a:bodyPr wrap="none" lIns="182880" tIns="146304" rIns="182880" bIns="146304" rtlCol="0">
            <a:spAutoFit/>
          </a:bodyPr>
          <a:lstStyle/>
          <a:p>
            <a:pPr>
              <a:lnSpc>
                <a:spcPct val="90000"/>
              </a:lnSpc>
            </a:pPr>
            <a:r>
              <a:rPr lang="en-US" sz="2400" dirty="0">
                <a:solidFill>
                  <a:schemeClr val="bg1">
                    <a:lumMod val="65000"/>
                    <a:lumOff val="35000"/>
                  </a:schemeClr>
                </a:solidFill>
              </a:rPr>
              <a:t>+6</a:t>
            </a:r>
          </a:p>
        </p:txBody>
      </p:sp>
      <p:sp>
        <p:nvSpPr>
          <p:cNvPr id="27" name="Slide Number Placeholder 2">
            <a:extLst>
              <a:ext uri="{FF2B5EF4-FFF2-40B4-BE49-F238E27FC236}">
                <a16:creationId xmlns:a16="http://schemas.microsoft.com/office/drawing/2014/main" id="{AD69B3EC-F1C2-4FC9-83A3-09C4DEFBF538}"/>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3895854087"/>
      </p:ext>
    </p:extLst>
  </p:cSld>
  <p:clrMapOvr>
    <a:masterClrMapping/>
  </p:clrMapOvr>
  <p:transition>
    <p:fad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235BD7A-CC20-48E8-9971-97CEEB7C2F74}"/>
              </a:ext>
            </a:extLst>
          </p:cNvPr>
          <p:cNvSpPr>
            <a:spLocks noGrp="1"/>
          </p:cNvSpPr>
          <p:nvPr>
            <p:ph type="title"/>
          </p:nvPr>
        </p:nvSpPr>
        <p:spPr/>
        <p:txBody>
          <a:bodyPr/>
          <a:lstStyle/>
          <a:p>
            <a:r>
              <a:rPr lang="en-US" dirty="0"/>
              <a:t>      Gen Z &amp; Millennials are at greater risk due to their activities online</a:t>
            </a:r>
          </a:p>
        </p:txBody>
      </p:sp>
      <p:graphicFrame>
        <p:nvGraphicFramePr>
          <p:cNvPr id="13" name="Chart 12">
            <a:extLst>
              <a:ext uri="{FF2B5EF4-FFF2-40B4-BE49-F238E27FC236}">
                <a16:creationId xmlns:a16="http://schemas.microsoft.com/office/drawing/2014/main" id="{73348A28-0831-4852-B264-EDC1591A3EEA}"/>
              </a:ext>
            </a:extLst>
          </p:cNvPr>
          <p:cNvGraphicFramePr/>
          <p:nvPr>
            <p:extLst>
              <p:ext uri="{D42A27DB-BD31-4B8C-83A1-F6EECF244321}">
                <p14:modId xmlns:p14="http://schemas.microsoft.com/office/powerpoint/2010/main" val="3014087336"/>
              </p:ext>
            </p:extLst>
          </p:nvPr>
        </p:nvGraphicFramePr>
        <p:xfrm>
          <a:off x="4001082" y="1099157"/>
          <a:ext cx="7948136" cy="5027738"/>
        </p:xfrm>
        <a:graphic>
          <a:graphicData uri="http://schemas.openxmlformats.org/drawingml/2006/chart">
            <c:chart xmlns:c="http://schemas.openxmlformats.org/drawingml/2006/chart" xmlns:r="http://schemas.openxmlformats.org/officeDocument/2006/relationships" r:id="rId3"/>
          </a:graphicData>
        </a:graphic>
      </p:graphicFrame>
      <p:grpSp>
        <p:nvGrpSpPr>
          <p:cNvPr id="47" name="Group 46">
            <a:extLst>
              <a:ext uri="{FF2B5EF4-FFF2-40B4-BE49-F238E27FC236}">
                <a16:creationId xmlns:a16="http://schemas.microsoft.com/office/drawing/2014/main" id="{0BFB286A-5553-4C16-867A-048456FD957F}"/>
              </a:ext>
            </a:extLst>
          </p:cNvPr>
          <p:cNvGrpSpPr/>
          <p:nvPr/>
        </p:nvGrpSpPr>
        <p:grpSpPr>
          <a:xfrm>
            <a:off x="26222" y="1273093"/>
            <a:ext cx="4104590" cy="4199566"/>
            <a:chOff x="26747" y="1298124"/>
            <a:chExt cx="4186896" cy="4283776"/>
          </a:xfrm>
        </p:grpSpPr>
        <p:sp>
          <p:nvSpPr>
            <p:cNvPr id="14" name="TextBox 13">
              <a:extLst>
                <a:ext uri="{FF2B5EF4-FFF2-40B4-BE49-F238E27FC236}">
                  <a16:creationId xmlns:a16="http://schemas.microsoft.com/office/drawing/2014/main" id="{344489BB-698E-4AF5-AC7B-51530ACD361B}"/>
                </a:ext>
              </a:extLst>
            </p:cNvPr>
            <p:cNvSpPr txBox="1"/>
            <p:nvPr/>
          </p:nvSpPr>
          <p:spPr>
            <a:xfrm>
              <a:off x="1352580" y="1298124"/>
              <a:ext cx="2154912" cy="51699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Digital Civility Index</a:t>
              </a:r>
            </a:p>
          </p:txBody>
        </p:sp>
        <p:sp>
          <p:nvSpPr>
            <p:cNvPr id="15" name="TextBox 14">
              <a:extLst>
                <a:ext uri="{FF2B5EF4-FFF2-40B4-BE49-F238E27FC236}">
                  <a16:creationId xmlns:a16="http://schemas.microsoft.com/office/drawing/2014/main" id="{82924FEB-8224-4C7F-80AE-886AEDE996D1}"/>
                </a:ext>
              </a:extLst>
            </p:cNvPr>
            <p:cNvSpPr txBox="1"/>
            <p:nvPr/>
          </p:nvSpPr>
          <p:spPr>
            <a:xfrm>
              <a:off x="276226" y="1786443"/>
              <a:ext cx="352054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Access bank &amp; credit card accounts</a:t>
              </a:r>
            </a:p>
          </p:txBody>
        </p:sp>
        <p:sp>
          <p:nvSpPr>
            <p:cNvPr id="16" name="TextBox 15">
              <a:extLst>
                <a:ext uri="{FF2B5EF4-FFF2-40B4-BE49-F238E27FC236}">
                  <a16:creationId xmlns:a16="http://schemas.microsoft.com/office/drawing/2014/main" id="{02413408-6256-4954-9099-92FFEB2B81BE}"/>
                </a:ext>
              </a:extLst>
            </p:cNvPr>
            <p:cNvSpPr txBox="1"/>
            <p:nvPr/>
          </p:nvSpPr>
          <p:spPr>
            <a:xfrm>
              <a:off x="1661828" y="2293983"/>
              <a:ext cx="2195798"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Buy products online</a:t>
              </a:r>
            </a:p>
          </p:txBody>
        </p:sp>
        <p:sp>
          <p:nvSpPr>
            <p:cNvPr id="17" name="TextBox 16">
              <a:extLst>
                <a:ext uri="{FF2B5EF4-FFF2-40B4-BE49-F238E27FC236}">
                  <a16:creationId xmlns:a16="http://schemas.microsoft.com/office/drawing/2014/main" id="{CA4C6888-DE67-4A92-AA68-0A8D760B29D3}"/>
                </a:ext>
              </a:extLst>
            </p:cNvPr>
            <p:cNvSpPr txBox="1"/>
            <p:nvPr/>
          </p:nvSpPr>
          <p:spPr>
            <a:xfrm>
              <a:off x="26747" y="2835551"/>
              <a:ext cx="3914773"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Timely download of software updates* </a:t>
              </a:r>
            </a:p>
          </p:txBody>
        </p:sp>
        <p:sp>
          <p:nvSpPr>
            <p:cNvPr id="18" name="TextBox 17">
              <a:extLst>
                <a:ext uri="{FF2B5EF4-FFF2-40B4-BE49-F238E27FC236}">
                  <a16:creationId xmlns:a16="http://schemas.microsoft.com/office/drawing/2014/main" id="{A1450E6C-D7C2-43CB-A6C9-B4ACB6E65FDE}"/>
                </a:ext>
              </a:extLst>
            </p:cNvPr>
            <p:cNvSpPr txBox="1"/>
            <p:nvPr/>
          </p:nvSpPr>
          <p:spPr>
            <a:xfrm>
              <a:off x="247650" y="3369181"/>
              <a:ext cx="3644372"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Share email in exchange for content</a:t>
              </a:r>
            </a:p>
          </p:txBody>
        </p:sp>
        <p:sp>
          <p:nvSpPr>
            <p:cNvPr id="19" name="TextBox 18">
              <a:extLst>
                <a:ext uri="{FF2B5EF4-FFF2-40B4-BE49-F238E27FC236}">
                  <a16:creationId xmlns:a16="http://schemas.microsoft.com/office/drawing/2014/main" id="{7EC6DD4A-6F54-4572-8D56-A0B522896526}"/>
                </a:ext>
              </a:extLst>
            </p:cNvPr>
            <p:cNvSpPr txBox="1"/>
            <p:nvPr/>
          </p:nvSpPr>
          <p:spPr>
            <a:xfrm>
              <a:off x="558272" y="3843517"/>
              <a:ext cx="333375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Download movies, music, videos</a:t>
              </a:r>
            </a:p>
          </p:txBody>
        </p:sp>
        <p:sp>
          <p:nvSpPr>
            <p:cNvPr id="20" name="TextBox 19">
              <a:extLst>
                <a:ext uri="{FF2B5EF4-FFF2-40B4-BE49-F238E27FC236}">
                  <a16:creationId xmlns:a16="http://schemas.microsoft.com/office/drawing/2014/main" id="{A3DC6BFB-7A90-40E2-B6AE-6E22FA7FB8CA}"/>
                </a:ext>
              </a:extLst>
            </p:cNvPr>
            <p:cNvSpPr txBox="1"/>
            <p:nvPr/>
          </p:nvSpPr>
          <p:spPr>
            <a:xfrm>
              <a:off x="841133" y="4343446"/>
              <a:ext cx="337251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Regularly change passwords*</a:t>
              </a:r>
            </a:p>
          </p:txBody>
        </p:sp>
        <p:sp>
          <p:nvSpPr>
            <p:cNvPr id="21" name="TextBox 20">
              <a:extLst>
                <a:ext uri="{FF2B5EF4-FFF2-40B4-BE49-F238E27FC236}">
                  <a16:creationId xmlns:a16="http://schemas.microsoft.com/office/drawing/2014/main" id="{EE752260-AAE4-4890-B47A-F080888E78D7}"/>
                </a:ext>
              </a:extLst>
            </p:cNvPr>
            <p:cNvSpPr txBox="1"/>
            <p:nvPr/>
          </p:nvSpPr>
          <p:spPr>
            <a:xfrm>
              <a:off x="1948921" y="4843375"/>
              <a:ext cx="188179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Use Torrent sites</a:t>
              </a:r>
            </a:p>
          </p:txBody>
        </p:sp>
      </p:grpSp>
      <p:sp>
        <p:nvSpPr>
          <p:cNvPr id="22" name="TextBox 21">
            <a:extLst>
              <a:ext uri="{FF2B5EF4-FFF2-40B4-BE49-F238E27FC236}">
                <a16:creationId xmlns:a16="http://schemas.microsoft.com/office/drawing/2014/main" id="{0D27996C-4A9F-486B-A8CB-10FA705CD578}"/>
              </a:ext>
            </a:extLst>
          </p:cNvPr>
          <p:cNvSpPr txBox="1"/>
          <p:nvPr/>
        </p:nvSpPr>
        <p:spPr>
          <a:xfrm>
            <a:off x="10378210" y="1244650"/>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2</a:t>
            </a:r>
          </a:p>
        </p:txBody>
      </p:sp>
      <p:sp>
        <p:nvSpPr>
          <p:cNvPr id="23" name="TextBox 22">
            <a:extLst>
              <a:ext uri="{FF2B5EF4-FFF2-40B4-BE49-F238E27FC236}">
                <a16:creationId xmlns:a16="http://schemas.microsoft.com/office/drawing/2014/main" id="{51E0801B-EF42-4D2B-B015-D95A18A307A4}"/>
              </a:ext>
            </a:extLst>
          </p:cNvPr>
          <p:cNvSpPr txBox="1"/>
          <p:nvPr/>
        </p:nvSpPr>
        <p:spPr>
          <a:xfrm>
            <a:off x="9053432" y="126233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29" name="TextBox 28">
            <a:extLst>
              <a:ext uri="{FF2B5EF4-FFF2-40B4-BE49-F238E27FC236}">
                <a16:creationId xmlns:a16="http://schemas.microsoft.com/office/drawing/2014/main" id="{6894FEB2-FACB-4E77-951A-63067BDA6342}"/>
              </a:ext>
            </a:extLst>
          </p:cNvPr>
          <p:cNvSpPr txBox="1"/>
          <p:nvPr/>
        </p:nvSpPr>
        <p:spPr>
          <a:xfrm>
            <a:off x="9654775" y="2337052"/>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73</a:t>
            </a:r>
          </a:p>
        </p:txBody>
      </p:sp>
      <p:sp>
        <p:nvSpPr>
          <p:cNvPr id="30" name="TextBox 29">
            <a:extLst>
              <a:ext uri="{FF2B5EF4-FFF2-40B4-BE49-F238E27FC236}">
                <a16:creationId xmlns:a16="http://schemas.microsoft.com/office/drawing/2014/main" id="{E301B8D1-78CB-4C3A-A419-8FEDB3B4DF0F}"/>
              </a:ext>
            </a:extLst>
          </p:cNvPr>
          <p:cNvSpPr txBox="1"/>
          <p:nvPr/>
        </p:nvSpPr>
        <p:spPr>
          <a:xfrm>
            <a:off x="10552067" y="232881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4</a:t>
            </a:r>
          </a:p>
        </p:txBody>
      </p:sp>
      <p:sp>
        <p:nvSpPr>
          <p:cNvPr id="31" name="TextBox 30">
            <a:extLst>
              <a:ext uri="{FF2B5EF4-FFF2-40B4-BE49-F238E27FC236}">
                <a16:creationId xmlns:a16="http://schemas.microsoft.com/office/drawing/2014/main" id="{D7BB53CA-0097-4CB2-B44C-D783C51C73B5}"/>
              </a:ext>
            </a:extLst>
          </p:cNvPr>
          <p:cNvSpPr txBox="1"/>
          <p:nvPr/>
        </p:nvSpPr>
        <p:spPr>
          <a:xfrm>
            <a:off x="7777533" y="1780996"/>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1</a:t>
            </a:r>
          </a:p>
        </p:txBody>
      </p:sp>
      <p:sp>
        <p:nvSpPr>
          <p:cNvPr id="32" name="TextBox 31">
            <a:extLst>
              <a:ext uri="{FF2B5EF4-FFF2-40B4-BE49-F238E27FC236}">
                <a16:creationId xmlns:a16="http://schemas.microsoft.com/office/drawing/2014/main" id="{15ECC8C6-FDC8-4087-8CA6-EB99E3E06520}"/>
              </a:ext>
            </a:extLst>
          </p:cNvPr>
          <p:cNvSpPr txBox="1"/>
          <p:nvPr/>
        </p:nvSpPr>
        <p:spPr>
          <a:xfrm>
            <a:off x="8747695" y="1780996"/>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3</a:t>
            </a:r>
          </a:p>
        </p:txBody>
      </p:sp>
      <p:sp>
        <p:nvSpPr>
          <p:cNvPr id="33" name="TextBox 32">
            <a:extLst>
              <a:ext uri="{FF2B5EF4-FFF2-40B4-BE49-F238E27FC236}">
                <a16:creationId xmlns:a16="http://schemas.microsoft.com/office/drawing/2014/main" id="{9877C9CD-8869-4C72-9C0D-822CDDFFD69F}"/>
              </a:ext>
            </a:extLst>
          </p:cNvPr>
          <p:cNvSpPr txBox="1"/>
          <p:nvPr/>
        </p:nvSpPr>
        <p:spPr>
          <a:xfrm>
            <a:off x="9065125" y="287641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34" name="TextBox 33">
            <a:extLst>
              <a:ext uri="{FF2B5EF4-FFF2-40B4-BE49-F238E27FC236}">
                <a16:creationId xmlns:a16="http://schemas.microsoft.com/office/drawing/2014/main" id="{77A19E24-9FE4-4CC6-9A26-075E59D22C0C}"/>
              </a:ext>
            </a:extLst>
          </p:cNvPr>
          <p:cNvSpPr txBox="1"/>
          <p:nvPr/>
        </p:nvSpPr>
        <p:spPr>
          <a:xfrm>
            <a:off x="10198913" y="2868498"/>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0</a:t>
            </a:r>
          </a:p>
        </p:txBody>
      </p:sp>
      <p:sp>
        <p:nvSpPr>
          <p:cNvPr id="36" name="TextBox 35">
            <a:extLst>
              <a:ext uri="{FF2B5EF4-FFF2-40B4-BE49-F238E27FC236}">
                <a16:creationId xmlns:a16="http://schemas.microsoft.com/office/drawing/2014/main" id="{B0111592-8F90-4B02-BACB-D26847601217}"/>
              </a:ext>
            </a:extLst>
          </p:cNvPr>
          <p:cNvSpPr txBox="1"/>
          <p:nvPr/>
        </p:nvSpPr>
        <p:spPr>
          <a:xfrm>
            <a:off x="8576282" y="34486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5</a:t>
            </a:r>
          </a:p>
        </p:txBody>
      </p:sp>
      <p:sp>
        <p:nvSpPr>
          <p:cNvPr id="37" name="TextBox 36">
            <a:extLst>
              <a:ext uri="{FF2B5EF4-FFF2-40B4-BE49-F238E27FC236}">
                <a16:creationId xmlns:a16="http://schemas.microsoft.com/office/drawing/2014/main" id="{6BC1402E-2046-4A59-8B37-C74E38BFEDD2}"/>
              </a:ext>
            </a:extLst>
          </p:cNvPr>
          <p:cNvSpPr txBox="1"/>
          <p:nvPr/>
        </p:nvSpPr>
        <p:spPr>
          <a:xfrm>
            <a:off x="9901043" y="3447244"/>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1</a:t>
            </a:r>
          </a:p>
        </p:txBody>
      </p:sp>
      <p:sp>
        <p:nvSpPr>
          <p:cNvPr id="38" name="TextBox 37">
            <a:extLst>
              <a:ext uri="{FF2B5EF4-FFF2-40B4-BE49-F238E27FC236}">
                <a16:creationId xmlns:a16="http://schemas.microsoft.com/office/drawing/2014/main" id="{5182A2F1-0C24-481C-890D-20A009C59EA7}"/>
              </a:ext>
            </a:extLst>
          </p:cNvPr>
          <p:cNvSpPr txBox="1"/>
          <p:nvPr/>
        </p:nvSpPr>
        <p:spPr>
          <a:xfrm>
            <a:off x="1895096" y="882943"/>
            <a:ext cx="1916985" cy="452522"/>
          </a:xfrm>
          <a:prstGeom prst="rect">
            <a:avLst/>
          </a:prstGeom>
          <a:noFill/>
        </p:spPr>
        <p:txBody>
          <a:bodyPr wrap="none" lIns="179285" tIns="143428" rIns="179285" bIns="143428" rtlCol="0">
            <a:spAutoFit/>
          </a:bodyPr>
          <a:lstStyle/>
          <a:p>
            <a:pPr>
              <a:lnSpc>
                <a:spcPct val="90000"/>
              </a:lnSpc>
            </a:pPr>
            <a:r>
              <a:rPr lang="en-US" sz="1176" dirty="0">
                <a:solidFill>
                  <a:schemeClr val="bg1">
                    <a:lumMod val="50000"/>
                    <a:lumOff val="50000"/>
                  </a:schemeClr>
                </a:solidFill>
              </a:rPr>
              <a:t>% Almost always, often</a:t>
            </a:r>
          </a:p>
        </p:txBody>
      </p:sp>
      <p:sp>
        <p:nvSpPr>
          <p:cNvPr id="40" name="TextBox 39">
            <a:extLst>
              <a:ext uri="{FF2B5EF4-FFF2-40B4-BE49-F238E27FC236}">
                <a16:creationId xmlns:a16="http://schemas.microsoft.com/office/drawing/2014/main" id="{FE5CC45C-328C-4DDC-97C1-4EE534453F32}"/>
              </a:ext>
            </a:extLst>
          </p:cNvPr>
          <p:cNvSpPr txBox="1"/>
          <p:nvPr/>
        </p:nvSpPr>
        <p:spPr>
          <a:xfrm>
            <a:off x="3881526" y="3768613"/>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a:t>
            </a:r>
          </a:p>
        </p:txBody>
      </p:sp>
      <p:sp>
        <p:nvSpPr>
          <p:cNvPr id="41" name="TextBox 40">
            <a:extLst>
              <a:ext uri="{FF2B5EF4-FFF2-40B4-BE49-F238E27FC236}">
                <a16:creationId xmlns:a16="http://schemas.microsoft.com/office/drawing/2014/main" id="{55D8651A-BD0F-4AC4-BA46-861ABEA12794}"/>
              </a:ext>
            </a:extLst>
          </p:cNvPr>
          <p:cNvSpPr txBox="1"/>
          <p:nvPr/>
        </p:nvSpPr>
        <p:spPr>
          <a:xfrm>
            <a:off x="3508719" y="4763086"/>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3</a:t>
            </a:r>
          </a:p>
        </p:txBody>
      </p:sp>
      <p:sp>
        <p:nvSpPr>
          <p:cNvPr id="42" name="TextBox 41">
            <a:extLst>
              <a:ext uri="{FF2B5EF4-FFF2-40B4-BE49-F238E27FC236}">
                <a16:creationId xmlns:a16="http://schemas.microsoft.com/office/drawing/2014/main" id="{240F0871-7F84-4257-984E-5EB5D5891DAF}"/>
              </a:ext>
            </a:extLst>
          </p:cNvPr>
          <p:cNvSpPr txBox="1"/>
          <p:nvPr/>
        </p:nvSpPr>
        <p:spPr>
          <a:xfrm>
            <a:off x="7536273" y="450991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8</a:t>
            </a:r>
          </a:p>
        </p:txBody>
      </p:sp>
      <p:sp>
        <p:nvSpPr>
          <p:cNvPr id="43" name="TextBox 42">
            <a:extLst>
              <a:ext uri="{FF2B5EF4-FFF2-40B4-BE49-F238E27FC236}">
                <a16:creationId xmlns:a16="http://schemas.microsoft.com/office/drawing/2014/main" id="{CC0068E0-4A8D-4252-902E-13052278FDDF}"/>
              </a:ext>
            </a:extLst>
          </p:cNvPr>
          <p:cNvSpPr txBox="1"/>
          <p:nvPr/>
        </p:nvSpPr>
        <p:spPr>
          <a:xfrm>
            <a:off x="8688680" y="451623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2</a:t>
            </a:r>
          </a:p>
        </p:txBody>
      </p:sp>
      <p:sp>
        <p:nvSpPr>
          <p:cNvPr id="44" name="TextBox 43">
            <a:extLst>
              <a:ext uri="{FF2B5EF4-FFF2-40B4-BE49-F238E27FC236}">
                <a16:creationId xmlns:a16="http://schemas.microsoft.com/office/drawing/2014/main" id="{55F21481-2F5C-41AE-A005-6C456CCFBF02}"/>
              </a:ext>
            </a:extLst>
          </p:cNvPr>
          <p:cNvSpPr txBox="1"/>
          <p:nvPr/>
        </p:nvSpPr>
        <p:spPr>
          <a:xfrm>
            <a:off x="10811088" y="395897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7</a:t>
            </a:r>
          </a:p>
        </p:txBody>
      </p:sp>
      <p:sp>
        <p:nvSpPr>
          <p:cNvPr id="45" name="TextBox 44">
            <a:extLst>
              <a:ext uri="{FF2B5EF4-FFF2-40B4-BE49-F238E27FC236}">
                <a16:creationId xmlns:a16="http://schemas.microsoft.com/office/drawing/2014/main" id="{0750B0AC-23B4-416D-8565-CFD8499B6405}"/>
              </a:ext>
            </a:extLst>
          </p:cNvPr>
          <p:cNvSpPr txBox="1"/>
          <p:nvPr/>
        </p:nvSpPr>
        <p:spPr>
          <a:xfrm>
            <a:off x="6755805" y="505057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39</a:t>
            </a:r>
          </a:p>
        </p:txBody>
      </p:sp>
      <p:graphicFrame>
        <p:nvGraphicFramePr>
          <p:cNvPr id="6" name="Table 5">
            <a:extLst>
              <a:ext uri="{FF2B5EF4-FFF2-40B4-BE49-F238E27FC236}">
                <a16:creationId xmlns:a16="http://schemas.microsoft.com/office/drawing/2014/main" id="{DAC7E139-DA37-41A1-AB48-647B838A4293}"/>
              </a:ext>
            </a:extLst>
          </p:cNvPr>
          <p:cNvGraphicFramePr>
            <a:graphicFrameLocks noGrp="1"/>
          </p:cNvGraphicFramePr>
          <p:nvPr>
            <p:extLst>
              <p:ext uri="{D42A27DB-BD31-4B8C-83A1-F6EECF244321}">
                <p14:modId xmlns:p14="http://schemas.microsoft.com/office/powerpoint/2010/main" val="1311250372"/>
              </p:ext>
            </p:extLst>
          </p:nvPr>
        </p:nvGraphicFramePr>
        <p:xfrm>
          <a:off x="349580" y="1254248"/>
          <a:ext cx="3808017" cy="4864608"/>
        </p:xfrm>
        <a:graphic>
          <a:graphicData uri="http://schemas.openxmlformats.org/drawingml/2006/table">
            <a:tbl>
              <a:tblPr firstRow="1" bandRow="1">
                <a:tableStyleId>{5940675A-B579-460E-94D1-54222C63F5DA}</a:tableStyleId>
              </a:tblPr>
              <a:tblGrid>
                <a:gridCol w="3808017">
                  <a:extLst>
                    <a:ext uri="{9D8B030D-6E8A-4147-A177-3AD203B41FA5}">
                      <a16:colId xmlns:a16="http://schemas.microsoft.com/office/drawing/2014/main" val="1939421861"/>
                    </a:ext>
                  </a:extLst>
                </a:gridCol>
              </a:tblGrid>
              <a:tr h="539496">
                <a:tc>
                  <a:txBody>
                    <a:bodyPr/>
                    <a:lstStyle/>
                    <a:p>
                      <a:pPr algn="l"/>
                      <a:r>
                        <a:rPr lang="en-US" dirty="0">
                          <a:solidFill>
                            <a:schemeClr val="bg1"/>
                          </a:solidFill>
                        </a:rPr>
                        <a:t>Digital Civility Index </a:t>
                      </a:r>
                      <a:r>
                        <a:rPr lang="en-US" sz="1200" dirty="0">
                          <a:solidFill>
                            <a:schemeClr val="bg1"/>
                          </a:solidFill>
                        </a:rPr>
                        <a:t>(%)</a:t>
                      </a:r>
                      <a:endParaRPr lang="en-US" dirty="0">
                        <a:solidFill>
                          <a:schemeClr val="bg1"/>
                        </a:solidFill>
                      </a:endParaRPr>
                    </a:p>
                  </a:txBody>
                  <a:tcPr anchor="ctr">
                    <a:solidFill>
                      <a:srgbClr val="3282BE"/>
                    </a:solidFill>
                  </a:tcPr>
                </a:tc>
                <a:extLst>
                  <a:ext uri="{0D108BD9-81ED-4DB2-BD59-A6C34878D82A}">
                    <a16:rowId xmlns:a16="http://schemas.microsoft.com/office/drawing/2014/main" val="3860876448"/>
                  </a:ext>
                </a:extLst>
              </a:tr>
              <a:tr h="539496">
                <a:tc>
                  <a:txBody>
                    <a:bodyPr/>
                    <a:lstStyle/>
                    <a:p>
                      <a:pPr algn="l"/>
                      <a:r>
                        <a:rPr lang="en-US" sz="1800" dirty="0">
                          <a:solidFill>
                            <a:schemeClr val="bg1"/>
                          </a:solidFill>
                        </a:rPr>
                        <a:t>Current digital civility </a:t>
                      </a:r>
                      <a:r>
                        <a:rPr lang="en-US" sz="1200" dirty="0">
                          <a:solidFill>
                            <a:schemeClr val="bg1"/>
                          </a:solidFill>
                        </a:rPr>
                        <a:t>(Avg.% bad ) </a:t>
                      </a:r>
                    </a:p>
                  </a:txBody>
                  <a:tcPr anchor="ctr">
                    <a:solidFill>
                      <a:srgbClr val="3282BE"/>
                    </a:solidFill>
                  </a:tcPr>
                </a:tc>
                <a:extLst>
                  <a:ext uri="{0D108BD9-81ED-4DB2-BD59-A6C34878D82A}">
                    <a16:rowId xmlns:a16="http://schemas.microsoft.com/office/drawing/2014/main" val="1657407004"/>
                  </a:ext>
                </a:extLst>
              </a:tr>
              <a:tr h="539496">
                <a:tc>
                  <a:txBody>
                    <a:bodyPr/>
                    <a:lstStyle/>
                    <a:p>
                      <a:pPr algn="l"/>
                      <a:r>
                        <a:rPr lang="en-US" dirty="0">
                          <a:solidFill>
                            <a:schemeClr val="bg1"/>
                          </a:solidFill>
                        </a:rPr>
                        <a:t>Risks are a big problem </a:t>
                      </a:r>
                      <a:r>
                        <a:rPr lang="en-US" sz="1200" dirty="0">
                          <a:solidFill>
                            <a:schemeClr val="bg1"/>
                          </a:solidFill>
                        </a:rPr>
                        <a:t>(Avg. %)</a:t>
                      </a:r>
                    </a:p>
                  </a:txBody>
                  <a:tcPr anchor="ctr">
                    <a:solidFill>
                      <a:srgbClr val="3282BE"/>
                    </a:solidFill>
                  </a:tcPr>
                </a:tc>
                <a:extLst>
                  <a:ext uri="{0D108BD9-81ED-4DB2-BD59-A6C34878D82A}">
                    <a16:rowId xmlns:a16="http://schemas.microsoft.com/office/drawing/2014/main" val="990945001"/>
                  </a:ext>
                </a:extLst>
              </a:tr>
              <a:tr h="539496">
                <a:tc>
                  <a:txBody>
                    <a:bodyPr/>
                    <a:lstStyle/>
                    <a:p>
                      <a:pPr algn="l"/>
                      <a:r>
                        <a:rPr lang="en-US" dirty="0">
                          <a:solidFill>
                            <a:schemeClr val="bg1"/>
                          </a:solidFill>
                        </a:rPr>
                        <a:t>Pain </a:t>
                      </a:r>
                      <a:r>
                        <a:rPr lang="en-US" sz="1200" dirty="0">
                          <a:solidFill>
                            <a:schemeClr val="bg1"/>
                          </a:solidFill>
                        </a:rPr>
                        <a:t>(% moderate-unbearable)</a:t>
                      </a:r>
                    </a:p>
                  </a:txBody>
                  <a:tcPr anchor="ctr">
                    <a:solidFill>
                      <a:srgbClr val="3282BE"/>
                    </a:solidFill>
                  </a:tcPr>
                </a:tc>
                <a:extLst>
                  <a:ext uri="{0D108BD9-81ED-4DB2-BD59-A6C34878D82A}">
                    <a16:rowId xmlns:a16="http://schemas.microsoft.com/office/drawing/2014/main" val="122733020"/>
                  </a:ext>
                </a:extLst>
              </a:tr>
              <a:tr h="539496">
                <a:tc>
                  <a:txBody>
                    <a:bodyPr/>
                    <a:lstStyle/>
                    <a:p>
                      <a:pPr algn="l"/>
                      <a:r>
                        <a:rPr lang="en-US" dirty="0">
                          <a:solidFill>
                            <a:schemeClr val="bg1"/>
                          </a:solidFill>
                        </a:rPr>
                        <a:t>Worry </a:t>
                      </a:r>
                      <a:r>
                        <a:rPr lang="en-US" sz="1200" dirty="0">
                          <a:solidFill>
                            <a:schemeClr val="bg1"/>
                          </a:solidFill>
                        </a:rPr>
                        <a:t>(% somewhat-extremely worried)</a:t>
                      </a:r>
                    </a:p>
                  </a:txBody>
                  <a:tcPr anchor="ctr">
                    <a:solidFill>
                      <a:srgbClr val="3282BE"/>
                    </a:solidFill>
                  </a:tcPr>
                </a:tc>
                <a:extLst>
                  <a:ext uri="{0D108BD9-81ED-4DB2-BD59-A6C34878D82A}">
                    <a16:rowId xmlns:a16="http://schemas.microsoft.com/office/drawing/2014/main" val="1732853233"/>
                  </a:ext>
                </a:extLst>
              </a:tr>
              <a:tr h="539496">
                <a:tc>
                  <a:txBody>
                    <a:bodyPr/>
                    <a:lstStyle/>
                    <a:p>
                      <a:pPr algn="l"/>
                      <a:r>
                        <a:rPr lang="en-US" dirty="0">
                          <a:solidFill>
                            <a:schemeClr val="bg1"/>
                          </a:solidFill>
                        </a:rPr>
                        <a:t>Consequences (% any)</a:t>
                      </a:r>
                    </a:p>
                  </a:txBody>
                  <a:tcPr anchor="ctr">
                    <a:solidFill>
                      <a:srgbClr val="3282BE"/>
                    </a:solidFill>
                  </a:tcPr>
                </a:tc>
                <a:extLst>
                  <a:ext uri="{0D108BD9-81ED-4DB2-BD59-A6C34878D82A}">
                    <a16:rowId xmlns:a16="http://schemas.microsoft.com/office/drawing/2014/main" val="2838285918"/>
                  </a:ext>
                </a:extLst>
              </a:tr>
              <a:tr h="539496">
                <a:tc>
                  <a:txBody>
                    <a:bodyPr/>
                    <a:lstStyle/>
                    <a:p>
                      <a:pPr algn="l"/>
                      <a:r>
                        <a:rPr lang="en-US" dirty="0">
                          <a:solidFill>
                            <a:schemeClr val="bg1"/>
                          </a:solidFill>
                        </a:rPr>
                        <a:t>Confidence in handling risks </a:t>
                      </a:r>
                      <a:r>
                        <a:rPr lang="en-US" sz="1200" dirty="0">
                          <a:solidFill>
                            <a:schemeClr val="bg1"/>
                          </a:solidFill>
                        </a:rPr>
                        <a:t>(% yes)</a:t>
                      </a:r>
                    </a:p>
                  </a:txBody>
                  <a:tcPr anchor="ctr">
                    <a:solidFill>
                      <a:srgbClr val="3282BE"/>
                    </a:solidFill>
                  </a:tcPr>
                </a:tc>
                <a:extLst>
                  <a:ext uri="{0D108BD9-81ED-4DB2-BD59-A6C34878D82A}">
                    <a16:rowId xmlns:a16="http://schemas.microsoft.com/office/drawing/2014/main" val="4078659576"/>
                  </a:ext>
                </a:extLst>
              </a:tr>
              <a:tr h="539496">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mn-lt"/>
                          <a:cs typeface="+mn-cs"/>
                        </a:rPr>
                        <a:t>Know where to find help </a:t>
                      </a:r>
                      <a:r>
                        <a:rPr kumimoji="0" lang="en-US" sz="1200" b="0" i="0" u="none" strike="noStrike" kern="1200" cap="none" spc="0" normalizeH="0" baseline="0" noProof="0" dirty="0">
                          <a:ln>
                            <a:noFill/>
                          </a:ln>
                          <a:solidFill>
                            <a:prstClr val="white"/>
                          </a:solidFill>
                          <a:effectLst/>
                          <a:uLnTx/>
                          <a:uFillTx/>
                          <a:latin typeface="+mn-lt"/>
                          <a:cs typeface="+mn-cs"/>
                        </a:rPr>
                        <a:t>(% Yes)</a:t>
                      </a:r>
                    </a:p>
                  </a:txBody>
                  <a:tcPr anchor="ctr">
                    <a:solidFill>
                      <a:srgbClr val="3282BE"/>
                    </a:solidFill>
                  </a:tcPr>
                </a:tc>
                <a:extLst>
                  <a:ext uri="{0D108BD9-81ED-4DB2-BD59-A6C34878D82A}">
                    <a16:rowId xmlns:a16="http://schemas.microsoft.com/office/drawing/2014/main" val="2207602048"/>
                  </a:ext>
                </a:extLst>
              </a:tr>
              <a:tr h="539496">
                <a:tc>
                  <a:txBody>
                    <a:bodyPr/>
                    <a:lstStyle/>
                    <a:p>
                      <a:pPr marL="0" marR="0" lvl="0" indent="0" algn="l" defTabSz="914423" rtl="0" eaLnBrk="1" fontAlgn="auto" latinLnBrk="0" hangingPunct="1">
                        <a:lnSpc>
                          <a:spcPct val="100000"/>
                        </a:lnSpc>
                        <a:spcBef>
                          <a:spcPts val="0"/>
                        </a:spcBef>
                        <a:spcAft>
                          <a:spcPts val="0"/>
                        </a:spcAft>
                        <a:buClrTx/>
                        <a:buSzTx/>
                        <a:buFontTx/>
                        <a:buNone/>
                        <a:tabLst/>
                        <a:defRPr/>
                      </a:pPr>
                      <a:r>
                        <a:rPr lang="en-US" dirty="0">
                          <a:solidFill>
                            <a:schemeClr val="bg1"/>
                          </a:solidFill>
                        </a:rPr>
                        <a:t>Finding help is hard </a:t>
                      </a:r>
                      <a:r>
                        <a:rPr lang="en-US" sz="1200" dirty="0">
                          <a:solidFill>
                            <a:schemeClr val="bg1"/>
                          </a:solidFill>
                        </a:rPr>
                        <a:t>(% somewhat-extremely difficult)</a:t>
                      </a:r>
                    </a:p>
                  </a:txBody>
                  <a:tcPr anchor="ctr">
                    <a:solidFill>
                      <a:srgbClr val="3282BE"/>
                    </a:solidFill>
                  </a:tcPr>
                </a:tc>
                <a:extLst>
                  <a:ext uri="{0D108BD9-81ED-4DB2-BD59-A6C34878D82A}">
                    <a16:rowId xmlns:a16="http://schemas.microsoft.com/office/drawing/2014/main" val="293699591"/>
                  </a:ext>
                </a:extLst>
              </a:tr>
            </a:tbl>
          </a:graphicData>
        </a:graphic>
      </p:graphicFrame>
      <p:grpSp>
        <p:nvGrpSpPr>
          <p:cNvPr id="9" name="Group 8">
            <a:extLst>
              <a:ext uri="{FF2B5EF4-FFF2-40B4-BE49-F238E27FC236}">
                <a16:creationId xmlns:a16="http://schemas.microsoft.com/office/drawing/2014/main" id="{2EE750A4-B9F7-465A-A1C9-B869F0E3CD82}"/>
              </a:ext>
            </a:extLst>
          </p:cNvPr>
          <p:cNvGrpSpPr/>
          <p:nvPr/>
        </p:nvGrpSpPr>
        <p:grpSpPr>
          <a:xfrm>
            <a:off x="6951266" y="6206237"/>
            <a:ext cx="2644246" cy="513948"/>
            <a:chOff x="4444310" y="679366"/>
            <a:chExt cx="2644246" cy="513948"/>
          </a:xfrm>
        </p:grpSpPr>
        <p:sp>
          <p:nvSpPr>
            <p:cNvPr id="27" name="TextBox 26">
              <a:extLst>
                <a:ext uri="{FF2B5EF4-FFF2-40B4-BE49-F238E27FC236}">
                  <a16:creationId xmlns:a16="http://schemas.microsoft.com/office/drawing/2014/main" id="{3314B1BD-7781-4F21-91E9-FDE120307E11}"/>
                </a:ext>
              </a:extLst>
            </p:cNvPr>
            <p:cNvSpPr txBox="1"/>
            <p:nvPr/>
          </p:nvSpPr>
          <p:spPr>
            <a:xfrm>
              <a:off x="6165433" y="686481"/>
              <a:ext cx="923123" cy="506833"/>
            </a:xfrm>
            <a:prstGeom prst="rect">
              <a:avLst/>
            </a:prstGeom>
            <a:solidFill>
              <a:schemeClr val="bg1"/>
            </a:solidFill>
          </p:spPr>
          <p:txBody>
            <a:bodyPr wrap="none" lIns="179285" tIns="143428" rIns="179285" bIns="143428" rtlCol="0">
              <a:spAutoFit/>
            </a:bodyPr>
            <a:lstStyle/>
            <a:p>
              <a:pPr>
                <a:lnSpc>
                  <a:spcPct val="90000"/>
                </a:lnSpc>
              </a:pPr>
              <a:r>
                <a:rPr lang="en-US" sz="1568" dirty="0"/>
                <a:t>Adults</a:t>
              </a:r>
              <a:endParaRPr lang="en-US" sz="2353" dirty="0">
                <a:latin typeface="Wingdings" panose="05000000000000000000" pitchFamily="2" charset="2"/>
              </a:endParaRPr>
            </a:p>
          </p:txBody>
        </p:sp>
        <p:sp>
          <p:nvSpPr>
            <p:cNvPr id="28" name="TextBox 27">
              <a:extLst>
                <a:ext uri="{FF2B5EF4-FFF2-40B4-BE49-F238E27FC236}">
                  <a16:creationId xmlns:a16="http://schemas.microsoft.com/office/drawing/2014/main" id="{690AB8D5-BC1A-4FC8-A740-FDAA15E085C9}"/>
                </a:ext>
              </a:extLst>
            </p:cNvPr>
            <p:cNvSpPr txBox="1"/>
            <p:nvPr/>
          </p:nvSpPr>
          <p:spPr>
            <a:xfrm>
              <a:off x="4662055" y="679366"/>
              <a:ext cx="900809" cy="506833"/>
            </a:xfrm>
            <a:prstGeom prst="rect">
              <a:avLst/>
            </a:prstGeom>
            <a:solidFill>
              <a:schemeClr val="bg1"/>
            </a:solidFill>
          </p:spPr>
          <p:txBody>
            <a:bodyPr wrap="none" lIns="179285" tIns="143428" rIns="179285" bIns="143428" rtlCol="0">
              <a:spAutoFit/>
            </a:bodyPr>
            <a:lstStyle/>
            <a:p>
              <a:pPr>
                <a:lnSpc>
                  <a:spcPct val="90000"/>
                </a:lnSpc>
              </a:pPr>
              <a:r>
                <a:rPr lang="en-US" sz="1568" dirty="0"/>
                <a:t>Teens</a:t>
              </a:r>
              <a:endParaRPr lang="en-US" sz="2353" dirty="0">
                <a:latin typeface="Wingdings" panose="05000000000000000000" pitchFamily="2" charset="2"/>
              </a:endParaRPr>
            </a:p>
          </p:txBody>
        </p:sp>
        <p:sp>
          <p:nvSpPr>
            <p:cNvPr id="8" name="Oval 7">
              <a:extLst>
                <a:ext uri="{FF2B5EF4-FFF2-40B4-BE49-F238E27FC236}">
                  <a16:creationId xmlns:a16="http://schemas.microsoft.com/office/drawing/2014/main" id="{95E6866B-2745-4CE6-A7E7-B77CC5F3436E}"/>
                </a:ext>
              </a:extLst>
            </p:cNvPr>
            <p:cNvSpPr/>
            <p:nvPr/>
          </p:nvSpPr>
          <p:spPr>
            <a:xfrm>
              <a:off x="5966222" y="778082"/>
              <a:ext cx="274320" cy="274320"/>
            </a:xfrm>
            <a:prstGeom prst="ellipse">
              <a:avLst/>
            </a:prstGeom>
            <a:solidFill>
              <a:srgbClr val="FFFF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0" name="Oval 49">
              <a:extLst>
                <a:ext uri="{FF2B5EF4-FFF2-40B4-BE49-F238E27FC236}">
                  <a16:creationId xmlns:a16="http://schemas.microsoft.com/office/drawing/2014/main" id="{2822460E-64EC-4DA1-952F-9A22A07BE3B1}"/>
                </a:ext>
              </a:extLst>
            </p:cNvPr>
            <p:cNvSpPr/>
            <p:nvPr/>
          </p:nvSpPr>
          <p:spPr>
            <a:xfrm>
              <a:off x="4444310" y="782641"/>
              <a:ext cx="274320" cy="274320"/>
            </a:xfrm>
            <a:prstGeom prst="ellipse">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2" name="TextBox 51">
            <a:extLst>
              <a:ext uri="{FF2B5EF4-FFF2-40B4-BE49-F238E27FC236}">
                <a16:creationId xmlns:a16="http://schemas.microsoft.com/office/drawing/2014/main" id="{57D627A5-B8AC-411F-8FD1-B177B944CC85}"/>
              </a:ext>
            </a:extLst>
          </p:cNvPr>
          <p:cNvSpPr txBox="1"/>
          <p:nvPr/>
        </p:nvSpPr>
        <p:spPr>
          <a:xfrm>
            <a:off x="9829303" y="395702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5</a:t>
            </a:r>
          </a:p>
        </p:txBody>
      </p:sp>
      <p:sp>
        <p:nvSpPr>
          <p:cNvPr id="53" name="TextBox 52">
            <a:extLst>
              <a:ext uri="{FF2B5EF4-FFF2-40B4-BE49-F238E27FC236}">
                <a16:creationId xmlns:a16="http://schemas.microsoft.com/office/drawing/2014/main" id="{AA3A86D5-DD66-4A0F-A3F3-ADDE74D54923}"/>
              </a:ext>
            </a:extLst>
          </p:cNvPr>
          <p:cNvSpPr txBox="1"/>
          <p:nvPr/>
        </p:nvSpPr>
        <p:spPr>
          <a:xfrm>
            <a:off x="9787900" y="5049374"/>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5</a:t>
            </a:r>
          </a:p>
        </p:txBody>
      </p:sp>
      <p:sp>
        <p:nvSpPr>
          <p:cNvPr id="46" name="TextBox 45">
            <a:extLst>
              <a:ext uri="{FF2B5EF4-FFF2-40B4-BE49-F238E27FC236}">
                <a16:creationId xmlns:a16="http://schemas.microsoft.com/office/drawing/2014/main" id="{F65428C6-FBAC-48CF-A572-DF3ECDC7306A}"/>
              </a:ext>
            </a:extLst>
          </p:cNvPr>
          <p:cNvSpPr txBox="1"/>
          <p:nvPr/>
        </p:nvSpPr>
        <p:spPr>
          <a:xfrm>
            <a:off x="8078925" y="560075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4</a:t>
            </a:r>
          </a:p>
        </p:txBody>
      </p:sp>
      <p:sp>
        <p:nvSpPr>
          <p:cNvPr id="54" name="TextBox 53">
            <a:extLst>
              <a:ext uri="{FF2B5EF4-FFF2-40B4-BE49-F238E27FC236}">
                <a16:creationId xmlns:a16="http://schemas.microsoft.com/office/drawing/2014/main" id="{C4D1F017-16AA-4303-B69A-40994F795BE1}"/>
              </a:ext>
            </a:extLst>
          </p:cNvPr>
          <p:cNvSpPr txBox="1"/>
          <p:nvPr/>
        </p:nvSpPr>
        <p:spPr>
          <a:xfrm>
            <a:off x="6946276" y="5599613"/>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1</a:t>
            </a:r>
          </a:p>
        </p:txBody>
      </p:sp>
      <p:sp>
        <p:nvSpPr>
          <p:cNvPr id="48" name="Slide Number Placeholder 2">
            <a:extLst>
              <a:ext uri="{FF2B5EF4-FFF2-40B4-BE49-F238E27FC236}">
                <a16:creationId xmlns:a16="http://schemas.microsoft.com/office/drawing/2014/main" id="{355479EE-0D31-4F8F-8B38-C5DFE2FD16CA}"/>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
        <p:nvSpPr>
          <p:cNvPr id="49" name="Text Placeholder 1">
            <a:extLst>
              <a:ext uri="{FF2B5EF4-FFF2-40B4-BE49-F238E27FC236}">
                <a16:creationId xmlns:a16="http://schemas.microsoft.com/office/drawing/2014/main" id="{4516981F-498C-42F6-9E0D-1AB0B9702FAC}"/>
              </a:ext>
            </a:extLst>
          </p:cNvPr>
          <p:cNvSpPr txBox="1">
            <a:spLocks/>
          </p:cNvSpPr>
          <p:nvPr/>
        </p:nvSpPr>
        <p:spPr>
          <a:xfrm>
            <a:off x="323529" y="304601"/>
            <a:ext cx="11573197" cy="794064"/>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dirty="0"/>
              <a:t>Teens better at finding help vs. Adults</a:t>
            </a:r>
          </a:p>
        </p:txBody>
      </p:sp>
    </p:spTree>
    <p:extLst>
      <p:ext uri="{BB962C8B-B14F-4D97-AF65-F5344CB8AC3E}">
        <p14:creationId xmlns:p14="http://schemas.microsoft.com/office/powerpoint/2010/main" val="2006128782"/>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E2CF2F-A1EC-49A5-B0DC-BF876589CA99}"/>
              </a:ext>
            </a:extLst>
          </p:cNvPr>
          <p:cNvSpPr>
            <a:spLocks noGrp="1"/>
          </p:cNvSpPr>
          <p:nvPr>
            <p:ph type="sldNum" sz="quarter" idx="4"/>
          </p:nvPr>
        </p:nvSpPr>
        <p:spPr/>
        <p:txBody>
          <a:bodyPr/>
          <a:lstStyle/>
          <a:p>
            <a:fld id="{7EFC24D6-DB8F-6B44-BA5A-9BEC68C15CAA}" type="slidenum">
              <a:rPr lang="en-US" smtClean="0"/>
              <a:pPr/>
              <a:t>29</a:t>
            </a:fld>
            <a:endParaRPr lang="en-US" dirty="0"/>
          </a:p>
        </p:txBody>
      </p:sp>
      <p:sp>
        <p:nvSpPr>
          <p:cNvPr id="41" name="Title 1">
            <a:extLst>
              <a:ext uri="{FF2B5EF4-FFF2-40B4-BE49-F238E27FC236}">
                <a16:creationId xmlns:a16="http://schemas.microsoft.com/office/drawing/2014/main" id="{5C84AEE8-7AC3-4D3D-B54A-7F6383473665}"/>
              </a:ext>
            </a:extLst>
          </p:cNvPr>
          <p:cNvSpPr txBox="1">
            <a:spLocks/>
          </p:cNvSpPr>
          <p:nvPr/>
        </p:nvSpPr>
        <p:spPr>
          <a:xfrm>
            <a:off x="0" y="279707"/>
            <a:ext cx="0" cy="0"/>
          </a:xfrm>
        </p:spPr>
        <p:txBody>
          <a:bodyPr/>
          <a:lstStyle>
            <a:lvl1pPr algn="l" defTabSz="914423"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graphicFrame>
        <p:nvGraphicFramePr>
          <p:cNvPr id="42" name="Chart 41">
            <a:extLst>
              <a:ext uri="{FF2B5EF4-FFF2-40B4-BE49-F238E27FC236}">
                <a16:creationId xmlns:a16="http://schemas.microsoft.com/office/drawing/2014/main" id="{FD05E52E-B74C-4745-B374-98033695D0A1}"/>
              </a:ext>
            </a:extLst>
          </p:cNvPr>
          <p:cNvGraphicFramePr/>
          <p:nvPr>
            <p:extLst>
              <p:ext uri="{D42A27DB-BD31-4B8C-83A1-F6EECF244321}">
                <p14:modId xmlns:p14="http://schemas.microsoft.com/office/powerpoint/2010/main" val="2737817405"/>
              </p:ext>
            </p:extLst>
          </p:nvPr>
        </p:nvGraphicFramePr>
        <p:xfrm>
          <a:off x="4020609" y="1610447"/>
          <a:ext cx="7948136" cy="4607473"/>
        </p:xfrm>
        <a:graphic>
          <a:graphicData uri="http://schemas.openxmlformats.org/drawingml/2006/chart">
            <c:chart xmlns:c="http://schemas.openxmlformats.org/drawingml/2006/chart" xmlns:r="http://schemas.openxmlformats.org/officeDocument/2006/relationships" r:id="rId3"/>
          </a:graphicData>
        </a:graphic>
      </p:graphicFrame>
      <p:grpSp>
        <p:nvGrpSpPr>
          <p:cNvPr id="43" name="Group 42">
            <a:extLst>
              <a:ext uri="{FF2B5EF4-FFF2-40B4-BE49-F238E27FC236}">
                <a16:creationId xmlns:a16="http://schemas.microsoft.com/office/drawing/2014/main" id="{61C5D3C9-2068-4BED-BA65-DD5F7EE25313}"/>
              </a:ext>
            </a:extLst>
          </p:cNvPr>
          <p:cNvGrpSpPr/>
          <p:nvPr/>
        </p:nvGrpSpPr>
        <p:grpSpPr>
          <a:xfrm>
            <a:off x="26222" y="1552800"/>
            <a:ext cx="4104590" cy="4199566"/>
            <a:chOff x="26747" y="1298124"/>
            <a:chExt cx="4186896" cy="4283776"/>
          </a:xfrm>
        </p:grpSpPr>
        <p:sp>
          <p:nvSpPr>
            <p:cNvPr id="44" name="TextBox 43">
              <a:extLst>
                <a:ext uri="{FF2B5EF4-FFF2-40B4-BE49-F238E27FC236}">
                  <a16:creationId xmlns:a16="http://schemas.microsoft.com/office/drawing/2014/main" id="{6F64ACCC-25B4-4AB8-821F-1A77CCBACB9D}"/>
                </a:ext>
              </a:extLst>
            </p:cNvPr>
            <p:cNvSpPr txBox="1"/>
            <p:nvPr/>
          </p:nvSpPr>
          <p:spPr>
            <a:xfrm>
              <a:off x="1352580" y="1298124"/>
              <a:ext cx="2154912" cy="51699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Digital Civility Index</a:t>
              </a:r>
            </a:p>
          </p:txBody>
        </p:sp>
        <p:sp>
          <p:nvSpPr>
            <p:cNvPr id="45" name="TextBox 44">
              <a:extLst>
                <a:ext uri="{FF2B5EF4-FFF2-40B4-BE49-F238E27FC236}">
                  <a16:creationId xmlns:a16="http://schemas.microsoft.com/office/drawing/2014/main" id="{0CDB7E26-145E-4A0C-B9B4-BF4307029E40}"/>
                </a:ext>
              </a:extLst>
            </p:cNvPr>
            <p:cNvSpPr txBox="1"/>
            <p:nvPr/>
          </p:nvSpPr>
          <p:spPr>
            <a:xfrm>
              <a:off x="276226" y="1786443"/>
              <a:ext cx="352054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Access bank &amp; credit card accounts</a:t>
              </a:r>
            </a:p>
          </p:txBody>
        </p:sp>
        <p:sp>
          <p:nvSpPr>
            <p:cNvPr id="46" name="TextBox 45">
              <a:extLst>
                <a:ext uri="{FF2B5EF4-FFF2-40B4-BE49-F238E27FC236}">
                  <a16:creationId xmlns:a16="http://schemas.microsoft.com/office/drawing/2014/main" id="{CF6A90C1-D1D8-4F4C-B888-9D3BB4B4783F}"/>
                </a:ext>
              </a:extLst>
            </p:cNvPr>
            <p:cNvSpPr txBox="1"/>
            <p:nvPr/>
          </p:nvSpPr>
          <p:spPr>
            <a:xfrm>
              <a:off x="1661828" y="2293983"/>
              <a:ext cx="2195798"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Buy products online</a:t>
              </a:r>
            </a:p>
          </p:txBody>
        </p:sp>
        <p:sp>
          <p:nvSpPr>
            <p:cNvPr id="47" name="TextBox 46">
              <a:extLst>
                <a:ext uri="{FF2B5EF4-FFF2-40B4-BE49-F238E27FC236}">
                  <a16:creationId xmlns:a16="http://schemas.microsoft.com/office/drawing/2014/main" id="{F6CDDCD4-0741-4DBE-8DAC-B4F1BC7A6F81}"/>
                </a:ext>
              </a:extLst>
            </p:cNvPr>
            <p:cNvSpPr txBox="1"/>
            <p:nvPr/>
          </p:nvSpPr>
          <p:spPr>
            <a:xfrm>
              <a:off x="26747" y="2835551"/>
              <a:ext cx="3914773"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Timely download of software updates* </a:t>
              </a:r>
            </a:p>
          </p:txBody>
        </p:sp>
        <p:sp>
          <p:nvSpPr>
            <p:cNvPr id="48" name="TextBox 47">
              <a:extLst>
                <a:ext uri="{FF2B5EF4-FFF2-40B4-BE49-F238E27FC236}">
                  <a16:creationId xmlns:a16="http://schemas.microsoft.com/office/drawing/2014/main" id="{C0E891ED-D19B-4696-BA93-F9DE74756303}"/>
                </a:ext>
              </a:extLst>
            </p:cNvPr>
            <p:cNvSpPr txBox="1"/>
            <p:nvPr/>
          </p:nvSpPr>
          <p:spPr>
            <a:xfrm>
              <a:off x="247650" y="3369181"/>
              <a:ext cx="3644372"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Share email in exchange for content</a:t>
              </a:r>
            </a:p>
          </p:txBody>
        </p:sp>
        <p:sp>
          <p:nvSpPr>
            <p:cNvPr id="49" name="TextBox 48">
              <a:extLst>
                <a:ext uri="{FF2B5EF4-FFF2-40B4-BE49-F238E27FC236}">
                  <a16:creationId xmlns:a16="http://schemas.microsoft.com/office/drawing/2014/main" id="{4A75BB50-817D-48E3-8CD9-E673EC941355}"/>
                </a:ext>
              </a:extLst>
            </p:cNvPr>
            <p:cNvSpPr txBox="1"/>
            <p:nvPr/>
          </p:nvSpPr>
          <p:spPr>
            <a:xfrm>
              <a:off x="558272" y="3843517"/>
              <a:ext cx="333375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Download movies, music, videos</a:t>
              </a:r>
            </a:p>
          </p:txBody>
        </p:sp>
        <p:sp>
          <p:nvSpPr>
            <p:cNvPr id="50" name="TextBox 49">
              <a:extLst>
                <a:ext uri="{FF2B5EF4-FFF2-40B4-BE49-F238E27FC236}">
                  <a16:creationId xmlns:a16="http://schemas.microsoft.com/office/drawing/2014/main" id="{4DAB5068-60D6-49F7-BA02-BAB3C0822FB5}"/>
                </a:ext>
              </a:extLst>
            </p:cNvPr>
            <p:cNvSpPr txBox="1"/>
            <p:nvPr/>
          </p:nvSpPr>
          <p:spPr>
            <a:xfrm>
              <a:off x="841133" y="4343446"/>
              <a:ext cx="337251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Regularly change passwords*</a:t>
              </a:r>
            </a:p>
          </p:txBody>
        </p:sp>
        <p:sp>
          <p:nvSpPr>
            <p:cNvPr id="51" name="TextBox 50">
              <a:extLst>
                <a:ext uri="{FF2B5EF4-FFF2-40B4-BE49-F238E27FC236}">
                  <a16:creationId xmlns:a16="http://schemas.microsoft.com/office/drawing/2014/main" id="{182A235F-2F43-49C5-995A-433BC8894571}"/>
                </a:ext>
              </a:extLst>
            </p:cNvPr>
            <p:cNvSpPr txBox="1"/>
            <p:nvPr/>
          </p:nvSpPr>
          <p:spPr>
            <a:xfrm>
              <a:off x="1948921" y="4843375"/>
              <a:ext cx="188179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Use Torrent sites</a:t>
              </a:r>
            </a:p>
          </p:txBody>
        </p:sp>
      </p:grpSp>
      <p:sp>
        <p:nvSpPr>
          <p:cNvPr id="56" name="TextBox 55">
            <a:extLst>
              <a:ext uri="{FF2B5EF4-FFF2-40B4-BE49-F238E27FC236}">
                <a16:creationId xmlns:a16="http://schemas.microsoft.com/office/drawing/2014/main" id="{C726F0AD-4C26-4E03-804B-614D317AEE4E}"/>
              </a:ext>
            </a:extLst>
          </p:cNvPr>
          <p:cNvSpPr txBox="1"/>
          <p:nvPr/>
        </p:nvSpPr>
        <p:spPr>
          <a:xfrm>
            <a:off x="7335178" y="462911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5</a:t>
            </a:r>
          </a:p>
        </p:txBody>
      </p:sp>
      <p:sp>
        <p:nvSpPr>
          <p:cNvPr id="61" name="TextBox 60">
            <a:extLst>
              <a:ext uri="{FF2B5EF4-FFF2-40B4-BE49-F238E27FC236}">
                <a16:creationId xmlns:a16="http://schemas.microsoft.com/office/drawing/2014/main" id="{05DE1CD7-6B1A-4531-A9F5-0AA32EE2F59C}"/>
              </a:ext>
            </a:extLst>
          </p:cNvPr>
          <p:cNvSpPr txBox="1"/>
          <p:nvPr/>
        </p:nvSpPr>
        <p:spPr>
          <a:xfrm>
            <a:off x="3881526" y="4048320"/>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a:t>
            </a:r>
          </a:p>
        </p:txBody>
      </p:sp>
      <p:sp>
        <p:nvSpPr>
          <p:cNvPr id="62" name="TextBox 61">
            <a:extLst>
              <a:ext uri="{FF2B5EF4-FFF2-40B4-BE49-F238E27FC236}">
                <a16:creationId xmlns:a16="http://schemas.microsoft.com/office/drawing/2014/main" id="{CCF0DFA3-7DB7-4CA4-B65F-DD805CA353B7}"/>
              </a:ext>
            </a:extLst>
          </p:cNvPr>
          <p:cNvSpPr txBox="1"/>
          <p:nvPr/>
        </p:nvSpPr>
        <p:spPr>
          <a:xfrm>
            <a:off x="3508719" y="5042793"/>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3</a:t>
            </a:r>
          </a:p>
        </p:txBody>
      </p:sp>
      <p:sp>
        <p:nvSpPr>
          <p:cNvPr id="63" name="TextBox 62">
            <a:extLst>
              <a:ext uri="{FF2B5EF4-FFF2-40B4-BE49-F238E27FC236}">
                <a16:creationId xmlns:a16="http://schemas.microsoft.com/office/drawing/2014/main" id="{1B4DC185-B5A2-4C08-B32C-B5739A41DE75}"/>
              </a:ext>
            </a:extLst>
          </p:cNvPr>
          <p:cNvSpPr txBox="1"/>
          <p:nvPr/>
        </p:nvSpPr>
        <p:spPr>
          <a:xfrm>
            <a:off x="9798922" y="413340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4</a:t>
            </a:r>
          </a:p>
        </p:txBody>
      </p:sp>
      <p:sp>
        <p:nvSpPr>
          <p:cNvPr id="64" name="TextBox 63">
            <a:extLst>
              <a:ext uri="{FF2B5EF4-FFF2-40B4-BE49-F238E27FC236}">
                <a16:creationId xmlns:a16="http://schemas.microsoft.com/office/drawing/2014/main" id="{8736F066-F521-4B50-BE4C-5DEF624A3D76}"/>
              </a:ext>
            </a:extLst>
          </p:cNvPr>
          <p:cNvSpPr txBox="1"/>
          <p:nvPr/>
        </p:nvSpPr>
        <p:spPr>
          <a:xfrm>
            <a:off x="10678247" y="412896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5</a:t>
            </a:r>
          </a:p>
        </p:txBody>
      </p:sp>
      <p:sp>
        <p:nvSpPr>
          <p:cNvPr id="66" name="TextBox 65">
            <a:extLst>
              <a:ext uri="{FF2B5EF4-FFF2-40B4-BE49-F238E27FC236}">
                <a16:creationId xmlns:a16="http://schemas.microsoft.com/office/drawing/2014/main" id="{D80C19FE-F968-4A49-88DF-E42F33E6BE0B}"/>
              </a:ext>
            </a:extLst>
          </p:cNvPr>
          <p:cNvSpPr txBox="1"/>
          <p:nvPr/>
        </p:nvSpPr>
        <p:spPr>
          <a:xfrm>
            <a:off x="6892656" y="5121125"/>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40</a:t>
            </a:r>
          </a:p>
        </p:txBody>
      </p:sp>
      <p:graphicFrame>
        <p:nvGraphicFramePr>
          <p:cNvPr id="67" name="Table 66">
            <a:extLst>
              <a:ext uri="{FF2B5EF4-FFF2-40B4-BE49-F238E27FC236}">
                <a16:creationId xmlns:a16="http://schemas.microsoft.com/office/drawing/2014/main" id="{3C5D531B-8E78-420A-9D5B-ACE2F86B7C2C}"/>
              </a:ext>
            </a:extLst>
          </p:cNvPr>
          <p:cNvGraphicFramePr>
            <a:graphicFrameLocks noGrp="1"/>
          </p:cNvGraphicFramePr>
          <p:nvPr>
            <p:extLst>
              <p:ext uri="{D42A27DB-BD31-4B8C-83A1-F6EECF244321}">
                <p14:modId xmlns:p14="http://schemas.microsoft.com/office/powerpoint/2010/main" val="1967768753"/>
              </p:ext>
            </p:extLst>
          </p:nvPr>
        </p:nvGraphicFramePr>
        <p:xfrm>
          <a:off x="367728" y="1688936"/>
          <a:ext cx="3808017" cy="4468344"/>
        </p:xfrm>
        <a:graphic>
          <a:graphicData uri="http://schemas.openxmlformats.org/drawingml/2006/table">
            <a:tbl>
              <a:tblPr firstRow="1" bandRow="1">
                <a:tableStyleId>{5940675A-B579-460E-94D1-54222C63F5DA}</a:tableStyleId>
              </a:tblPr>
              <a:tblGrid>
                <a:gridCol w="3808017">
                  <a:extLst>
                    <a:ext uri="{9D8B030D-6E8A-4147-A177-3AD203B41FA5}">
                      <a16:colId xmlns:a16="http://schemas.microsoft.com/office/drawing/2014/main" val="1939421861"/>
                    </a:ext>
                  </a:extLst>
                </a:gridCol>
              </a:tblGrid>
              <a:tr h="489963">
                <a:tc>
                  <a:txBody>
                    <a:bodyPr/>
                    <a:lstStyle/>
                    <a:p>
                      <a:pPr algn="l"/>
                      <a:r>
                        <a:rPr lang="en-US" dirty="0">
                          <a:solidFill>
                            <a:schemeClr val="bg1"/>
                          </a:solidFill>
                        </a:rPr>
                        <a:t>Digital Civility Index </a:t>
                      </a:r>
                      <a:r>
                        <a:rPr lang="en-US" sz="1200" dirty="0">
                          <a:solidFill>
                            <a:schemeClr val="bg1"/>
                          </a:solidFill>
                        </a:rPr>
                        <a:t>(%)</a:t>
                      </a:r>
                      <a:endParaRPr lang="en-US" dirty="0">
                        <a:solidFill>
                          <a:schemeClr val="bg1"/>
                        </a:solidFill>
                      </a:endParaRPr>
                    </a:p>
                  </a:txBody>
                  <a:tcPr anchor="ctr">
                    <a:solidFill>
                      <a:srgbClr val="3282BE"/>
                    </a:solidFill>
                  </a:tcPr>
                </a:tc>
                <a:extLst>
                  <a:ext uri="{0D108BD9-81ED-4DB2-BD59-A6C34878D82A}">
                    <a16:rowId xmlns:a16="http://schemas.microsoft.com/office/drawing/2014/main" val="3860876448"/>
                  </a:ext>
                </a:extLst>
              </a:tr>
              <a:tr h="489963">
                <a:tc>
                  <a:txBody>
                    <a:bodyPr/>
                    <a:lstStyle/>
                    <a:p>
                      <a:pPr algn="l"/>
                      <a:r>
                        <a:rPr lang="en-US" sz="1800" dirty="0">
                          <a:solidFill>
                            <a:schemeClr val="bg1"/>
                          </a:solidFill>
                        </a:rPr>
                        <a:t>Current digital civility </a:t>
                      </a:r>
                      <a:r>
                        <a:rPr lang="en-US" sz="1200" dirty="0">
                          <a:solidFill>
                            <a:schemeClr val="bg1"/>
                          </a:solidFill>
                        </a:rPr>
                        <a:t>(Avg.% bad ) </a:t>
                      </a:r>
                    </a:p>
                  </a:txBody>
                  <a:tcPr anchor="ctr">
                    <a:solidFill>
                      <a:srgbClr val="3282BE"/>
                    </a:solidFill>
                  </a:tcPr>
                </a:tc>
                <a:extLst>
                  <a:ext uri="{0D108BD9-81ED-4DB2-BD59-A6C34878D82A}">
                    <a16:rowId xmlns:a16="http://schemas.microsoft.com/office/drawing/2014/main" val="1657407004"/>
                  </a:ext>
                </a:extLst>
              </a:tr>
              <a:tr h="489963">
                <a:tc>
                  <a:txBody>
                    <a:bodyPr/>
                    <a:lstStyle/>
                    <a:p>
                      <a:pPr algn="l"/>
                      <a:r>
                        <a:rPr lang="en-US" dirty="0">
                          <a:solidFill>
                            <a:schemeClr val="bg1"/>
                          </a:solidFill>
                        </a:rPr>
                        <a:t>Risks are a big problem </a:t>
                      </a:r>
                      <a:r>
                        <a:rPr lang="en-US" sz="1200" dirty="0">
                          <a:solidFill>
                            <a:schemeClr val="bg1"/>
                          </a:solidFill>
                        </a:rPr>
                        <a:t>(Avg. %)</a:t>
                      </a:r>
                    </a:p>
                  </a:txBody>
                  <a:tcPr anchor="ctr">
                    <a:solidFill>
                      <a:srgbClr val="3282BE"/>
                    </a:solidFill>
                  </a:tcPr>
                </a:tc>
                <a:extLst>
                  <a:ext uri="{0D108BD9-81ED-4DB2-BD59-A6C34878D82A}">
                    <a16:rowId xmlns:a16="http://schemas.microsoft.com/office/drawing/2014/main" val="122733020"/>
                  </a:ext>
                </a:extLst>
              </a:tr>
              <a:tr h="489963">
                <a:tc>
                  <a:txBody>
                    <a:bodyPr/>
                    <a:lstStyle/>
                    <a:p>
                      <a:pPr algn="l"/>
                      <a:r>
                        <a:rPr lang="en-US" dirty="0">
                          <a:solidFill>
                            <a:schemeClr val="bg1"/>
                          </a:solidFill>
                        </a:rPr>
                        <a:t>Pain </a:t>
                      </a:r>
                      <a:r>
                        <a:rPr lang="en-US" sz="1200" dirty="0">
                          <a:solidFill>
                            <a:schemeClr val="bg1"/>
                          </a:solidFill>
                        </a:rPr>
                        <a:t>(% moderate-unbearable)</a:t>
                      </a:r>
                    </a:p>
                  </a:txBody>
                  <a:tcPr anchor="ctr">
                    <a:solidFill>
                      <a:srgbClr val="3282BE"/>
                    </a:solidFill>
                  </a:tcPr>
                </a:tc>
                <a:extLst>
                  <a:ext uri="{0D108BD9-81ED-4DB2-BD59-A6C34878D82A}">
                    <a16:rowId xmlns:a16="http://schemas.microsoft.com/office/drawing/2014/main" val="1732853233"/>
                  </a:ext>
                </a:extLst>
              </a:tr>
              <a:tr h="489963">
                <a:tc>
                  <a:txBody>
                    <a:bodyPr/>
                    <a:lstStyle/>
                    <a:p>
                      <a:pPr algn="l"/>
                      <a:r>
                        <a:rPr lang="en-US" dirty="0">
                          <a:solidFill>
                            <a:schemeClr val="bg1"/>
                          </a:solidFill>
                        </a:rPr>
                        <a:t>Worry </a:t>
                      </a:r>
                      <a:r>
                        <a:rPr lang="en-US" sz="1200" dirty="0">
                          <a:solidFill>
                            <a:schemeClr val="bg1"/>
                          </a:solidFill>
                        </a:rPr>
                        <a:t>(% somewhat-extremely worried)</a:t>
                      </a:r>
                    </a:p>
                  </a:txBody>
                  <a:tcPr anchor="ctr">
                    <a:solidFill>
                      <a:srgbClr val="3282BE"/>
                    </a:solidFill>
                  </a:tcPr>
                </a:tc>
                <a:extLst>
                  <a:ext uri="{0D108BD9-81ED-4DB2-BD59-A6C34878D82A}">
                    <a16:rowId xmlns:a16="http://schemas.microsoft.com/office/drawing/2014/main" val="2838285918"/>
                  </a:ext>
                </a:extLst>
              </a:tr>
              <a:tr h="489963">
                <a:tc>
                  <a:txBody>
                    <a:bodyPr/>
                    <a:lstStyle/>
                    <a:p>
                      <a:pPr algn="l"/>
                      <a:r>
                        <a:rPr lang="en-US" dirty="0">
                          <a:solidFill>
                            <a:schemeClr val="bg1"/>
                          </a:solidFill>
                        </a:rPr>
                        <a:t>Consequences </a:t>
                      </a:r>
                      <a:r>
                        <a:rPr lang="en-US" sz="1200" dirty="0">
                          <a:solidFill>
                            <a:schemeClr val="bg1"/>
                          </a:solidFill>
                        </a:rPr>
                        <a:t>(% any)</a:t>
                      </a:r>
                    </a:p>
                  </a:txBody>
                  <a:tcPr anchor="ctr">
                    <a:solidFill>
                      <a:srgbClr val="3282BE"/>
                    </a:solidFill>
                  </a:tcPr>
                </a:tc>
                <a:extLst>
                  <a:ext uri="{0D108BD9-81ED-4DB2-BD59-A6C34878D82A}">
                    <a16:rowId xmlns:a16="http://schemas.microsoft.com/office/drawing/2014/main" val="4078659576"/>
                  </a:ext>
                </a:extLst>
              </a:tr>
              <a:tr h="489963">
                <a:tc>
                  <a:txBody>
                    <a:bodyPr/>
                    <a:lstStyle/>
                    <a:p>
                      <a:pPr algn="l"/>
                      <a:r>
                        <a:rPr lang="en-US" dirty="0">
                          <a:solidFill>
                            <a:schemeClr val="bg1"/>
                          </a:solidFill>
                        </a:rPr>
                        <a:t>Confidence in handling risks </a:t>
                      </a:r>
                      <a:r>
                        <a:rPr lang="en-US" sz="1200" dirty="0">
                          <a:solidFill>
                            <a:schemeClr val="bg1"/>
                          </a:solidFill>
                        </a:rPr>
                        <a:t>(% yes)</a:t>
                      </a:r>
                    </a:p>
                  </a:txBody>
                  <a:tcPr anchor="ctr">
                    <a:solidFill>
                      <a:srgbClr val="3282BE"/>
                    </a:solidFill>
                  </a:tcPr>
                </a:tc>
                <a:extLst>
                  <a:ext uri="{0D108BD9-81ED-4DB2-BD59-A6C34878D82A}">
                    <a16:rowId xmlns:a16="http://schemas.microsoft.com/office/drawing/2014/main" val="2207602048"/>
                  </a:ext>
                </a:extLst>
              </a:tr>
              <a:tr h="489963">
                <a:tc>
                  <a:txBody>
                    <a:bodyPr/>
                    <a:lstStyle/>
                    <a:p>
                      <a:pPr algn="l"/>
                      <a:r>
                        <a:rPr lang="en-US" dirty="0">
                          <a:solidFill>
                            <a:schemeClr val="bg1"/>
                          </a:solidFill>
                        </a:rPr>
                        <a:t>Finding help is hard </a:t>
                      </a:r>
                      <a:r>
                        <a:rPr lang="en-US" sz="1200" dirty="0">
                          <a:solidFill>
                            <a:schemeClr val="bg1"/>
                          </a:solidFill>
                        </a:rPr>
                        <a:t>(% somewhat-extremely difficult)</a:t>
                      </a:r>
                    </a:p>
                  </a:txBody>
                  <a:tcPr anchor="ctr">
                    <a:solidFill>
                      <a:srgbClr val="3282BE"/>
                    </a:solidFill>
                  </a:tcPr>
                </a:tc>
                <a:extLst>
                  <a:ext uri="{0D108BD9-81ED-4DB2-BD59-A6C34878D82A}">
                    <a16:rowId xmlns:a16="http://schemas.microsoft.com/office/drawing/2014/main" val="293699591"/>
                  </a:ext>
                </a:extLst>
              </a:tr>
              <a:tr h="489963">
                <a:tc>
                  <a:txBody>
                    <a:bodyPr/>
                    <a:lstStyle/>
                    <a:p>
                      <a:pPr algn="r"/>
                      <a:r>
                        <a:rPr lang="en-US" sz="1800" dirty="0">
                          <a:solidFill>
                            <a:schemeClr val="bg1"/>
                          </a:solidFill>
                        </a:rPr>
                        <a:t>KEY</a:t>
                      </a:r>
                    </a:p>
                  </a:txBody>
                  <a:tcPr anchor="ctr">
                    <a:solidFill>
                      <a:srgbClr val="3282BE"/>
                    </a:solidFill>
                  </a:tcPr>
                </a:tc>
                <a:extLst>
                  <a:ext uri="{0D108BD9-81ED-4DB2-BD59-A6C34878D82A}">
                    <a16:rowId xmlns:a16="http://schemas.microsoft.com/office/drawing/2014/main" val="3068553423"/>
                  </a:ext>
                </a:extLst>
              </a:tr>
            </a:tbl>
          </a:graphicData>
        </a:graphic>
      </p:graphicFrame>
      <p:sp>
        <p:nvSpPr>
          <p:cNvPr id="69" name="TextBox 68">
            <a:extLst>
              <a:ext uri="{FF2B5EF4-FFF2-40B4-BE49-F238E27FC236}">
                <a16:creationId xmlns:a16="http://schemas.microsoft.com/office/drawing/2014/main" id="{AB6B5A76-08A8-41AE-AC8B-FEB4D39F219F}"/>
              </a:ext>
            </a:extLst>
          </p:cNvPr>
          <p:cNvSpPr txBox="1"/>
          <p:nvPr/>
        </p:nvSpPr>
        <p:spPr>
          <a:xfrm>
            <a:off x="8550229" y="4629617"/>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0</a:t>
            </a:r>
          </a:p>
        </p:txBody>
      </p:sp>
      <p:sp>
        <p:nvSpPr>
          <p:cNvPr id="70" name="TextBox 69">
            <a:extLst>
              <a:ext uri="{FF2B5EF4-FFF2-40B4-BE49-F238E27FC236}">
                <a16:creationId xmlns:a16="http://schemas.microsoft.com/office/drawing/2014/main" id="{ECD54846-9E72-4F52-A8B5-3B94FC42A0E8}"/>
              </a:ext>
            </a:extLst>
          </p:cNvPr>
          <p:cNvSpPr txBox="1"/>
          <p:nvPr/>
        </p:nvSpPr>
        <p:spPr>
          <a:xfrm>
            <a:off x="7873946" y="512172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2</a:t>
            </a:r>
          </a:p>
        </p:txBody>
      </p:sp>
      <p:sp>
        <p:nvSpPr>
          <p:cNvPr id="71" name="Slide Number Placeholder 2">
            <a:extLst>
              <a:ext uri="{FF2B5EF4-FFF2-40B4-BE49-F238E27FC236}">
                <a16:creationId xmlns:a16="http://schemas.microsoft.com/office/drawing/2014/main" id="{A149036E-3B1F-4411-A7A4-7BA460995D1A}"/>
              </a:ext>
            </a:extLst>
          </p:cNvPr>
          <p:cNvSpPr txBox="1">
            <a:spLocks/>
          </p:cNvSpPr>
          <p:nvPr/>
        </p:nvSpPr>
        <p:spPr>
          <a:xfrm>
            <a:off x="9280508" y="6520009"/>
            <a:ext cx="2901950" cy="371475"/>
          </a:xfrm>
          <a:prstGeom prst="rect">
            <a:avLst/>
          </a:prstGeom>
        </p:spPr>
        <p:txBody>
          <a:bodyPr/>
          <a:lstStyle>
            <a:defPPr>
              <a:defRPr lang="en-US"/>
            </a:defPPr>
            <a:lvl1pPr marL="0" algn="r" defTabSz="914286" rtl="0" eaLnBrk="1" latinLnBrk="0" hangingPunct="1">
              <a:defRPr sz="1200" kern="1200">
                <a:solidFill>
                  <a:schemeClr val="bg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29</a:t>
            </a:fld>
            <a:endParaRPr lang="en-US" dirty="0">
              <a:solidFill>
                <a:prstClr val="black">
                  <a:lumMod val="50000"/>
                  <a:lumOff val="50000"/>
                </a:prstClr>
              </a:solidFill>
              <a:latin typeface="Arial"/>
            </a:endParaRPr>
          </a:p>
        </p:txBody>
      </p:sp>
      <p:grpSp>
        <p:nvGrpSpPr>
          <p:cNvPr id="72" name="Group 71">
            <a:extLst>
              <a:ext uri="{FF2B5EF4-FFF2-40B4-BE49-F238E27FC236}">
                <a16:creationId xmlns:a16="http://schemas.microsoft.com/office/drawing/2014/main" id="{BF3F5AE3-5FD4-433E-A01A-8141129467E1}"/>
              </a:ext>
            </a:extLst>
          </p:cNvPr>
          <p:cNvGrpSpPr/>
          <p:nvPr/>
        </p:nvGrpSpPr>
        <p:grpSpPr>
          <a:xfrm>
            <a:off x="6579337" y="5620174"/>
            <a:ext cx="3121718" cy="517591"/>
            <a:chOff x="6905872" y="5351225"/>
            <a:chExt cx="3121718" cy="517591"/>
          </a:xfrm>
        </p:grpSpPr>
        <p:sp>
          <p:nvSpPr>
            <p:cNvPr id="73" name="TextBox 72">
              <a:extLst>
                <a:ext uri="{FF2B5EF4-FFF2-40B4-BE49-F238E27FC236}">
                  <a16:creationId xmlns:a16="http://schemas.microsoft.com/office/drawing/2014/main" id="{2701DE32-3137-4EC4-B600-AB7FBD7B9871}"/>
                </a:ext>
              </a:extLst>
            </p:cNvPr>
            <p:cNvSpPr txBox="1"/>
            <p:nvPr/>
          </p:nvSpPr>
          <p:spPr>
            <a:xfrm>
              <a:off x="8801371" y="5361983"/>
              <a:ext cx="1226219"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Teen girls</a:t>
              </a:r>
              <a:endParaRPr lang="en-US" sz="2353" dirty="0">
                <a:solidFill>
                  <a:schemeClr val="bg1"/>
                </a:solidFill>
                <a:latin typeface="Wingdings" panose="05000000000000000000" pitchFamily="2" charset="2"/>
              </a:endParaRPr>
            </a:p>
          </p:txBody>
        </p:sp>
        <p:sp>
          <p:nvSpPr>
            <p:cNvPr id="74" name="TextBox 73">
              <a:extLst>
                <a:ext uri="{FF2B5EF4-FFF2-40B4-BE49-F238E27FC236}">
                  <a16:creationId xmlns:a16="http://schemas.microsoft.com/office/drawing/2014/main" id="{B55229FE-350A-4DBA-9F3F-2F8759883937}"/>
                </a:ext>
              </a:extLst>
            </p:cNvPr>
            <p:cNvSpPr txBox="1"/>
            <p:nvPr/>
          </p:nvSpPr>
          <p:spPr>
            <a:xfrm>
              <a:off x="7162943" y="5351225"/>
              <a:ext cx="1282324"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Teen boys</a:t>
              </a:r>
              <a:endParaRPr lang="en-US" sz="2353" dirty="0">
                <a:solidFill>
                  <a:schemeClr val="bg1"/>
                </a:solidFill>
                <a:latin typeface="Wingdings" panose="05000000000000000000" pitchFamily="2" charset="2"/>
              </a:endParaRPr>
            </a:p>
          </p:txBody>
        </p:sp>
        <p:sp>
          <p:nvSpPr>
            <p:cNvPr id="75" name="Oval 74">
              <a:extLst>
                <a:ext uri="{FF2B5EF4-FFF2-40B4-BE49-F238E27FC236}">
                  <a16:creationId xmlns:a16="http://schemas.microsoft.com/office/drawing/2014/main" id="{F7A409FB-B988-4B0E-A111-969606E76200}"/>
                </a:ext>
              </a:extLst>
            </p:cNvPr>
            <p:cNvSpPr/>
            <p:nvPr/>
          </p:nvSpPr>
          <p:spPr>
            <a:xfrm>
              <a:off x="8588421" y="5457275"/>
              <a:ext cx="274320" cy="274320"/>
            </a:xfrm>
            <a:prstGeom prst="ellipse">
              <a:avLst/>
            </a:prstGeom>
            <a:solidFill>
              <a:srgbClr val="FFFF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a:extLst>
                <a:ext uri="{FF2B5EF4-FFF2-40B4-BE49-F238E27FC236}">
                  <a16:creationId xmlns:a16="http://schemas.microsoft.com/office/drawing/2014/main" id="{CCA31B6F-6573-4F3F-A3BE-36BCDDCFF82D}"/>
                </a:ext>
              </a:extLst>
            </p:cNvPr>
            <p:cNvSpPr/>
            <p:nvPr/>
          </p:nvSpPr>
          <p:spPr>
            <a:xfrm>
              <a:off x="6905872" y="5457275"/>
              <a:ext cx="274319" cy="274320"/>
            </a:xfrm>
            <a:prstGeom prst="ellipse">
              <a:avLst/>
            </a:prstGeom>
            <a:solidFill>
              <a:srgbClr val="3282B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7" name="Text Placeholder 1">
            <a:extLst>
              <a:ext uri="{FF2B5EF4-FFF2-40B4-BE49-F238E27FC236}">
                <a16:creationId xmlns:a16="http://schemas.microsoft.com/office/drawing/2014/main" id="{D05D5CE5-5E32-41FF-A890-C029AB5D0637}"/>
              </a:ext>
            </a:extLst>
          </p:cNvPr>
          <p:cNvSpPr txBox="1">
            <a:spLocks/>
          </p:cNvSpPr>
          <p:nvPr/>
        </p:nvSpPr>
        <p:spPr>
          <a:xfrm>
            <a:off x="323529" y="304601"/>
            <a:ext cx="11573197" cy="794064"/>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dirty="0"/>
              <a:t>Teen girls feel more at risk than Teen boys</a:t>
            </a:r>
          </a:p>
        </p:txBody>
      </p:sp>
      <p:sp>
        <p:nvSpPr>
          <p:cNvPr id="87" name="TextBox 86">
            <a:extLst>
              <a:ext uri="{FF2B5EF4-FFF2-40B4-BE49-F238E27FC236}">
                <a16:creationId xmlns:a16="http://schemas.microsoft.com/office/drawing/2014/main" id="{98E809D6-1165-4014-932F-B124D497CB33}"/>
              </a:ext>
            </a:extLst>
          </p:cNvPr>
          <p:cNvSpPr txBox="1"/>
          <p:nvPr/>
        </p:nvSpPr>
        <p:spPr>
          <a:xfrm>
            <a:off x="9110661" y="1678177"/>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88" name="TextBox 87">
            <a:extLst>
              <a:ext uri="{FF2B5EF4-FFF2-40B4-BE49-F238E27FC236}">
                <a16:creationId xmlns:a16="http://schemas.microsoft.com/office/drawing/2014/main" id="{1EB5CB39-8C81-4555-9999-5F23FDFA30FA}"/>
              </a:ext>
            </a:extLst>
          </p:cNvPr>
          <p:cNvSpPr txBox="1"/>
          <p:nvPr/>
        </p:nvSpPr>
        <p:spPr>
          <a:xfrm>
            <a:off x="9907362" y="1671138"/>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89" name="TextBox 88">
            <a:extLst>
              <a:ext uri="{FF2B5EF4-FFF2-40B4-BE49-F238E27FC236}">
                <a16:creationId xmlns:a16="http://schemas.microsoft.com/office/drawing/2014/main" id="{3EB38508-651E-4CAB-8E83-A02CC02ECBE5}"/>
              </a:ext>
            </a:extLst>
          </p:cNvPr>
          <p:cNvSpPr txBox="1"/>
          <p:nvPr/>
        </p:nvSpPr>
        <p:spPr>
          <a:xfrm>
            <a:off x="8973875" y="2156703"/>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5</a:t>
            </a:r>
          </a:p>
        </p:txBody>
      </p:sp>
      <p:sp>
        <p:nvSpPr>
          <p:cNvPr id="90" name="TextBox 89">
            <a:extLst>
              <a:ext uri="{FF2B5EF4-FFF2-40B4-BE49-F238E27FC236}">
                <a16:creationId xmlns:a16="http://schemas.microsoft.com/office/drawing/2014/main" id="{F26D69E1-D14B-49A8-A2B6-D572BEC7587D}"/>
              </a:ext>
            </a:extLst>
          </p:cNvPr>
          <p:cNvSpPr txBox="1"/>
          <p:nvPr/>
        </p:nvSpPr>
        <p:spPr>
          <a:xfrm>
            <a:off x="9545554" y="26612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1</a:t>
            </a:r>
          </a:p>
        </p:txBody>
      </p:sp>
      <p:sp>
        <p:nvSpPr>
          <p:cNvPr id="91" name="TextBox 90">
            <a:extLst>
              <a:ext uri="{FF2B5EF4-FFF2-40B4-BE49-F238E27FC236}">
                <a16:creationId xmlns:a16="http://schemas.microsoft.com/office/drawing/2014/main" id="{5F3E409A-56A4-4A72-BCD5-8D3695EACED6}"/>
              </a:ext>
            </a:extLst>
          </p:cNvPr>
          <p:cNvSpPr txBox="1"/>
          <p:nvPr/>
        </p:nvSpPr>
        <p:spPr>
          <a:xfrm>
            <a:off x="10764501" y="2664106"/>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6</a:t>
            </a:r>
          </a:p>
        </p:txBody>
      </p:sp>
      <p:sp>
        <p:nvSpPr>
          <p:cNvPr id="92" name="TextBox 91">
            <a:extLst>
              <a:ext uri="{FF2B5EF4-FFF2-40B4-BE49-F238E27FC236}">
                <a16:creationId xmlns:a16="http://schemas.microsoft.com/office/drawing/2014/main" id="{D9862561-BAB8-4FC9-831D-6D2EDA54FBE1}"/>
              </a:ext>
            </a:extLst>
          </p:cNvPr>
          <p:cNvSpPr txBox="1"/>
          <p:nvPr/>
        </p:nvSpPr>
        <p:spPr>
          <a:xfrm>
            <a:off x="9267831" y="314744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8</a:t>
            </a:r>
          </a:p>
        </p:txBody>
      </p:sp>
      <p:sp>
        <p:nvSpPr>
          <p:cNvPr id="93" name="TextBox 92">
            <a:extLst>
              <a:ext uri="{FF2B5EF4-FFF2-40B4-BE49-F238E27FC236}">
                <a16:creationId xmlns:a16="http://schemas.microsoft.com/office/drawing/2014/main" id="{54675DFA-C958-415B-BE44-E97B5FEBC664}"/>
              </a:ext>
            </a:extLst>
          </p:cNvPr>
          <p:cNvSpPr txBox="1"/>
          <p:nvPr/>
        </p:nvSpPr>
        <p:spPr>
          <a:xfrm>
            <a:off x="10514377" y="315679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3</a:t>
            </a:r>
          </a:p>
        </p:txBody>
      </p:sp>
      <p:sp>
        <p:nvSpPr>
          <p:cNvPr id="94" name="TextBox 93">
            <a:extLst>
              <a:ext uri="{FF2B5EF4-FFF2-40B4-BE49-F238E27FC236}">
                <a16:creationId xmlns:a16="http://schemas.microsoft.com/office/drawing/2014/main" id="{5B2CAAC4-9BA9-4391-89F7-497D24A03967}"/>
              </a:ext>
            </a:extLst>
          </p:cNvPr>
          <p:cNvSpPr txBox="1"/>
          <p:nvPr/>
        </p:nvSpPr>
        <p:spPr>
          <a:xfrm>
            <a:off x="10133357" y="3647007"/>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9</a:t>
            </a:r>
          </a:p>
        </p:txBody>
      </p:sp>
      <p:sp>
        <p:nvSpPr>
          <p:cNvPr id="95" name="TextBox 94">
            <a:extLst>
              <a:ext uri="{FF2B5EF4-FFF2-40B4-BE49-F238E27FC236}">
                <a16:creationId xmlns:a16="http://schemas.microsoft.com/office/drawing/2014/main" id="{68150E26-F937-46D8-973C-65FB2771A14B}"/>
              </a:ext>
            </a:extLst>
          </p:cNvPr>
          <p:cNvSpPr txBox="1"/>
          <p:nvPr/>
        </p:nvSpPr>
        <p:spPr>
          <a:xfrm>
            <a:off x="8948597" y="364506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4</a:t>
            </a:r>
          </a:p>
        </p:txBody>
      </p:sp>
      <p:sp>
        <p:nvSpPr>
          <p:cNvPr id="96" name="TextBox 95">
            <a:extLst>
              <a:ext uri="{FF2B5EF4-FFF2-40B4-BE49-F238E27FC236}">
                <a16:creationId xmlns:a16="http://schemas.microsoft.com/office/drawing/2014/main" id="{E3156A03-88F2-4405-9916-397B9C1217F4}"/>
              </a:ext>
            </a:extLst>
          </p:cNvPr>
          <p:cNvSpPr txBox="1"/>
          <p:nvPr/>
        </p:nvSpPr>
        <p:spPr>
          <a:xfrm>
            <a:off x="7835353" y="215849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1</a:t>
            </a:r>
          </a:p>
        </p:txBody>
      </p:sp>
    </p:spTree>
    <p:extLst>
      <p:ext uri="{BB962C8B-B14F-4D97-AF65-F5344CB8AC3E}">
        <p14:creationId xmlns:p14="http://schemas.microsoft.com/office/powerpoint/2010/main" val="39966129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6AF8B5-FB52-4D6B-A113-DBBCEAFE8B5D}"/>
              </a:ext>
            </a:extLst>
          </p:cNvPr>
          <p:cNvSpPr>
            <a:spLocks noGrp="1"/>
          </p:cNvSpPr>
          <p:nvPr>
            <p:ph type="sldNum" sz="quarter" idx="4"/>
          </p:nvPr>
        </p:nvSpPr>
        <p:spPr/>
        <p:txBody>
          <a:bodyPr/>
          <a:lstStyle/>
          <a:p>
            <a:fld id="{7EFC24D6-DB8F-6B44-BA5A-9BEC68C15CAA}" type="slidenum">
              <a:rPr lang="en-US" smtClean="0"/>
              <a:pPr/>
              <a:t>3</a:t>
            </a:fld>
            <a:endParaRPr lang="en-US" dirty="0"/>
          </a:p>
        </p:txBody>
      </p:sp>
      <p:sp>
        <p:nvSpPr>
          <p:cNvPr id="55" name="Text Placeholder 1">
            <a:extLst>
              <a:ext uri="{FF2B5EF4-FFF2-40B4-BE49-F238E27FC236}">
                <a16:creationId xmlns:a16="http://schemas.microsoft.com/office/drawing/2014/main" id="{03576730-495B-4D82-969A-95AC40E159F7}"/>
              </a:ext>
            </a:extLst>
          </p:cNvPr>
          <p:cNvSpPr txBox="1">
            <a:spLocks/>
          </p:cNvSpPr>
          <p:nvPr/>
        </p:nvSpPr>
        <p:spPr>
          <a:xfrm>
            <a:off x="323529" y="339509"/>
            <a:ext cx="11573197" cy="724247"/>
          </a:xfrm>
          <a:prstGeom prst="rect">
            <a:avLst/>
          </a:prstGeom>
        </p:spPr>
        <p:txBody>
          <a:bodyPr anchor="ctr"/>
          <a:lstStyle>
            <a:lvl1pPr marL="0" indent="0" algn="ctr" defTabSz="914423" rtl="0" eaLnBrk="1" latinLnBrk="0" hangingPunct="1">
              <a:lnSpc>
                <a:spcPct val="90000"/>
              </a:lnSpc>
              <a:spcBef>
                <a:spcPts val="1000"/>
              </a:spcBef>
              <a:buFont typeface="Arial" panose="020B0604020202020204" pitchFamily="34" charset="0"/>
              <a:buNone/>
              <a:defRPr sz="4400" b="0" kern="1200" baseline="0">
                <a:solidFill>
                  <a:schemeClr val="tx1"/>
                </a:solidFill>
                <a:latin typeface="+mj-lt"/>
                <a:ea typeface="+mn-ea"/>
                <a:cs typeface="Arial" pitchFamily="34" charset="0"/>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23"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4400" b="0" i="0" u="none" strike="noStrike" kern="1200" cap="none" spc="0" normalizeH="0" baseline="0" noProof="0" dirty="0">
                <a:ln>
                  <a:noFill/>
                </a:ln>
                <a:solidFill>
                  <a:sysClr val="windowText" lastClr="000000"/>
                </a:solidFill>
                <a:effectLst/>
                <a:uLnTx/>
                <a:uFillTx/>
                <a:latin typeface="Arial"/>
                <a:cs typeface="Arial" pitchFamily="34" charset="0"/>
              </a:rPr>
              <a:t>42,000+ Interviews since 2016</a:t>
            </a:r>
          </a:p>
        </p:txBody>
      </p:sp>
      <p:sp>
        <p:nvSpPr>
          <p:cNvPr id="56" name="Slide Number Placeholder 2">
            <a:extLst>
              <a:ext uri="{FF2B5EF4-FFF2-40B4-BE49-F238E27FC236}">
                <a16:creationId xmlns:a16="http://schemas.microsoft.com/office/drawing/2014/main" id="{7D829E76-0DB3-48A0-9784-34A2E149080C}"/>
              </a:ext>
            </a:extLst>
          </p:cNvPr>
          <p:cNvSpPr txBox="1">
            <a:spLocks/>
          </p:cNvSpPr>
          <p:nvPr/>
        </p:nvSpPr>
        <p:spPr>
          <a:xfrm>
            <a:off x="9280508" y="6520009"/>
            <a:ext cx="2901950" cy="371475"/>
          </a:xfrm>
          <a:prstGeom prst="rect">
            <a:avLst/>
          </a:prstGeom>
        </p:spPr>
        <p:txBody>
          <a:bodyPr/>
          <a:lstStyle>
            <a:defPPr>
              <a:defRPr lang="en-US"/>
            </a:defPPr>
            <a:lvl1pPr marL="0" algn="r" defTabSz="914286" rtl="0" eaLnBrk="1" latinLnBrk="0" hangingPunct="1">
              <a:defRPr sz="1200" kern="1200">
                <a:solidFill>
                  <a:schemeClr val="tx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3</a:t>
            </a:fld>
            <a:endParaRPr lang="en-US" dirty="0">
              <a:solidFill>
                <a:prstClr val="black">
                  <a:lumMod val="50000"/>
                  <a:lumOff val="50000"/>
                </a:prstClr>
              </a:solidFill>
              <a:latin typeface="Arial"/>
            </a:endParaRPr>
          </a:p>
        </p:txBody>
      </p:sp>
      <p:grpSp>
        <p:nvGrpSpPr>
          <p:cNvPr id="57" name="Group 56">
            <a:extLst>
              <a:ext uri="{FF2B5EF4-FFF2-40B4-BE49-F238E27FC236}">
                <a16:creationId xmlns:a16="http://schemas.microsoft.com/office/drawing/2014/main" id="{3B798667-776E-4614-89F7-23EF132D9779}"/>
              </a:ext>
            </a:extLst>
          </p:cNvPr>
          <p:cNvGrpSpPr/>
          <p:nvPr/>
        </p:nvGrpSpPr>
        <p:grpSpPr>
          <a:xfrm>
            <a:off x="5156723" y="1335313"/>
            <a:ext cx="6071714" cy="4863619"/>
            <a:chOff x="6120960" y="1333500"/>
            <a:chExt cx="5270940" cy="3976553"/>
          </a:xfrm>
        </p:grpSpPr>
        <p:grpSp>
          <p:nvGrpSpPr>
            <p:cNvPr id="58" name="Group 57">
              <a:extLst>
                <a:ext uri="{FF2B5EF4-FFF2-40B4-BE49-F238E27FC236}">
                  <a16:creationId xmlns:a16="http://schemas.microsoft.com/office/drawing/2014/main" id="{374FB4A3-A7BA-45E2-9B59-964F740F00DE}"/>
                </a:ext>
              </a:extLst>
            </p:cNvPr>
            <p:cNvGrpSpPr/>
            <p:nvPr/>
          </p:nvGrpSpPr>
          <p:grpSpPr>
            <a:xfrm>
              <a:off x="6132357" y="1333500"/>
              <a:ext cx="5250340" cy="3972061"/>
              <a:chOff x="-961382" y="1846733"/>
              <a:chExt cx="3856780" cy="3318276"/>
            </a:xfrm>
            <a:solidFill>
              <a:sysClr val="window" lastClr="FFFFFF">
                <a:lumMod val="75000"/>
              </a:sysClr>
            </a:solidFill>
          </p:grpSpPr>
          <p:sp>
            <p:nvSpPr>
              <p:cNvPr id="60" name="Freeform: Shape 59">
                <a:extLst>
                  <a:ext uri="{FF2B5EF4-FFF2-40B4-BE49-F238E27FC236}">
                    <a16:creationId xmlns:a16="http://schemas.microsoft.com/office/drawing/2014/main" id="{269BD80F-E684-4A6A-91AC-609BC816965A}"/>
                  </a:ext>
                </a:extLst>
              </p:cNvPr>
              <p:cNvSpPr/>
              <p:nvPr/>
            </p:nvSpPr>
            <p:spPr>
              <a:xfrm>
                <a:off x="967226"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61" name="Freeform: Shape 60">
                <a:extLst>
                  <a:ext uri="{FF2B5EF4-FFF2-40B4-BE49-F238E27FC236}">
                    <a16:creationId xmlns:a16="http://schemas.microsoft.com/office/drawing/2014/main" id="{FAE9DE04-FD76-463E-897A-BDA0D6783B76}"/>
                  </a:ext>
                </a:extLst>
              </p:cNvPr>
              <p:cNvSpPr/>
              <p:nvPr/>
            </p:nvSpPr>
            <p:spPr>
              <a:xfrm>
                <a:off x="968583"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62" name="Freeform: Shape 61">
                <a:extLst>
                  <a:ext uri="{FF2B5EF4-FFF2-40B4-BE49-F238E27FC236}">
                    <a16:creationId xmlns:a16="http://schemas.microsoft.com/office/drawing/2014/main" id="{1E7E1FAF-3192-40D4-A3BD-3903CD5B0978}"/>
                  </a:ext>
                </a:extLst>
              </p:cNvPr>
              <p:cNvSpPr/>
              <p:nvPr/>
            </p:nvSpPr>
            <p:spPr>
              <a:xfrm flipH="1">
                <a:off x="-212820"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63" name="Freeform: Shape 62">
                <a:extLst>
                  <a:ext uri="{FF2B5EF4-FFF2-40B4-BE49-F238E27FC236}">
                    <a16:creationId xmlns:a16="http://schemas.microsoft.com/office/drawing/2014/main" id="{4774674F-E6F5-4E0E-A51B-532F4526497A}"/>
                  </a:ext>
                </a:extLst>
              </p:cNvPr>
              <p:cNvSpPr/>
              <p:nvPr/>
            </p:nvSpPr>
            <p:spPr>
              <a:xfrm flipH="1">
                <a:off x="-961382"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sp>
          <p:nvSpPr>
            <p:cNvPr id="59" name="Freeform: Shape 58">
              <a:extLst>
                <a:ext uri="{FF2B5EF4-FFF2-40B4-BE49-F238E27FC236}">
                  <a16:creationId xmlns:a16="http://schemas.microsoft.com/office/drawing/2014/main" id="{4BAFB488-6CD4-4F2F-88D4-77A648AA36CD}"/>
                </a:ext>
              </a:extLst>
            </p:cNvPr>
            <p:cNvSpPr/>
            <p:nvPr/>
          </p:nvSpPr>
          <p:spPr>
            <a:xfrm>
              <a:off x="6120960" y="2395787"/>
              <a:ext cx="5270940" cy="2914266"/>
            </a:xfrm>
            <a:custGeom>
              <a:avLst/>
              <a:gdLst>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87780 w 3886200"/>
                <a:gd name="connsiteY10" fmla="*/ 30480 h 2209800"/>
                <a:gd name="connsiteX11" fmla="*/ 0 w 3886200"/>
                <a:gd name="connsiteY11" fmla="*/ 2209800 h 2209800"/>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73493 w 3886200"/>
                <a:gd name="connsiteY10" fmla="*/ 35242 h 2209800"/>
                <a:gd name="connsiteX11" fmla="*/ 0 w 3886200"/>
                <a:gd name="connsiteY11" fmla="*/ 2209800 h 2209800"/>
                <a:gd name="connsiteX0" fmla="*/ 0 w 3881437"/>
                <a:gd name="connsiteY0" fmla="*/ 2219325 h 2219325"/>
                <a:gd name="connsiteX1" fmla="*/ 3881437 w 3881437"/>
                <a:gd name="connsiteY1" fmla="*/ 2209800 h 2219325"/>
                <a:gd name="connsiteX2" fmla="*/ 2578417 w 3881437"/>
                <a:gd name="connsiteY2" fmla="*/ 0 h 2219325"/>
                <a:gd name="connsiteX3" fmla="*/ 2426017 w 3881437"/>
                <a:gd name="connsiteY3" fmla="*/ 236220 h 2219325"/>
                <a:gd name="connsiteX4" fmla="*/ 2045017 w 3881437"/>
                <a:gd name="connsiteY4" fmla="*/ 259080 h 2219325"/>
                <a:gd name="connsiteX5" fmla="*/ 1907857 w 3881437"/>
                <a:gd name="connsiteY5" fmla="*/ 106680 h 2219325"/>
                <a:gd name="connsiteX6" fmla="*/ 1747837 w 3881437"/>
                <a:gd name="connsiteY6" fmla="*/ 289560 h 2219325"/>
                <a:gd name="connsiteX7" fmla="*/ 1671637 w 3881437"/>
                <a:gd name="connsiteY7" fmla="*/ 419100 h 2219325"/>
                <a:gd name="connsiteX8" fmla="*/ 1427797 w 3881437"/>
                <a:gd name="connsiteY8" fmla="*/ 411480 h 2219325"/>
                <a:gd name="connsiteX9" fmla="*/ 1397317 w 3881437"/>
                <a:gd name="connsiteY9" fmla="*/ 175260 h 2219325"/>
                <a:gd name="connsiteX10" fmla="*/ 1268730 w 3881437"/>
                <a:gd name="connsiteY10" fmla="*/ 35242 h 2219325"/>
                <a:gd name="connsiteX11" fmla="*/ 0 w 3881437"/>
                <a:gd name="connsiteY11" fmla="*/ 2219325 h 2219325"/>
                <a:gd name="connsiteX0" fmla="*/ 0 w 3871912"/>
                <a:gd name="connsiteY0" fmla="*/ 2219325 h 2219325"/>
                <a:gd name="connsiteX1" fmla="*/ 3871912 w 3871912"/>
                <a:gd name="connsiteY1" fmla="*/ 2214562 h 2219325"/>
                <a:gd name="connsiteX2" fmla="*/ 2578417 w 3871912"/>
                <a:gd name="connsiteY2" fmla="*/ 0 h 2219325"/>
                <a:gd name="connsiteX3" fmla="*/ 2426017 w 3871912"/>
                <a:gd name="connsiteY3" fmla="*/ 236220 h 2219325"/>
                <a:gd name="connsiteX4" fmla="*/ 2045017 w 3871912"/>
                <a:gd name="connsiteY4" fmla="*/ 259080 h 2219325"/>
                <a:gd name="connsiteX5" fmla="*/ 1907857 w 3871912"/>
                <a:gd name="connsiteY5" fmla="*/ 106680 h 2219325"/>
                <a:gd name="connsiteX6" fmla="*/ 1747837 w 3871912"/>
                <a:gd name="connsiteY6" fmla="*/ 289560 h 2219325"/>
                <a:gd name="connsiteX7" fmla="*/ 1671637 w 3871912"/>
                <a:gd name="connsiteY7" fmla="*/ 419100 h 2219325"/>
                <a:gd name="connsiteX8" fmla="*/ 1427797 w 3871912"/>
                <a:gd name="connsiteY8" fmla="*/ 411480 h 2219325"/>
                <a:gd name="connsiteX9" fmla="*/ 1397317 w 3871912"/>
                <a:gd name="connsiteY9" fmla="*/ 175260 h 2219325"/>
                <a:gd name="connsiteX10" fmla="*/ 1268730 w 3871912"/>
                <a:gd name="connsiteY10" fmla="*/ 35242 h 2219325"/>
                <a:gd name="connsiteX11" fmla="*/ 0 w 3871912"/>
                <a:gd name="connsiteY11" fmla="*/ 2219325 h 2219325"/>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427797 w 3871912"/>
                <a:gd name="connsiteY8" fmla="*/ 42100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618297 w 3871912"/>
                <a:gd name="connsiteY8" fmla="*/ 2095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045017 w 3871912"/>
                <a:gd name="connsiteY4" fmla="*/ 47434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14487 w 3871912"/>
                <a:gd name="connsiteY7" fmla="*/ 438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741487 w 3871912"/>
                <a:gd name="connsiteY7" fmla="*/ 2343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912" h="2434590">
                  <a:moveTo>
                    <a:pt x="0" y="2434590"/>
                  </a:moveTo>
                  <a:lnTo>
                    <a:pt x="3871912" y="2429827"/>
                  </a:lnTo>
                  <a:lnTo>
                    <a:pt x="2578417" y="205740"/>
                  </a:lnTo>
                  <a:lnTo>
                    <a:pt x="2426017" y="451485"/>
                  </a:lnTo>
                  <a:lnTo>
                    <a:pt x="2178367" y="150495"/>
                  </a:lnTo>
                  <a:lnTo>
                    <a:pt x="1907857" y="321945"/>
                  </a:lnTo>
                  <a:lnTo>
                    <a:pt x="1747837" y="0"/>
                  </a:lnTo>
                  <a:lnTo>
                    <a:pt x="1741487" y="234315"/>
                  </a:lnTo>
                  <a:lnTo>
                    <a:pt x="1618297" y="226695"/>
                  </a:lnTo>
                  <a:lnTo>
                    <a:pt x="1397317" y="390525"/>
                  </a:lnTo>
                  <a:lnTo>
                    <a:pt x="1268730" y="250507"/>
                  </a:lnTo>
                  <a:lnTo>
                    <a:pt x="0" y="2434590"/>
                  </a:lnTo>
                  <a:close/>
                </a:path>
              </a:pathLst>
            </a:custGeom>
            <a:solidFill>
              <a:srgbClr val="73AF51">
                <a:alpha val="77255"/>
              </a:srgbClr>
            </a:solidFill>
            <a:ln w="9525" cap="flat" cmpd="sng" algn="ctr">
              <a:noFill/>
              <a:prstDash val="solid"/>
              <a:miter lim="800000"/>
            </a:ln>
            <a:effectLst/>
            <a:scene3d>
              <a:camera prst="orthographicFront"/>
              <a:lightRig rig="threePt" dir="t"/>
            </a:scene3d>
            <a:sp3d>
              <a:bevelT w="6350" h="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grpSp>
        <p:nvGrpSpPr>
          <p:cNvPr id="64" name="Group 63">
            <a:extLst>
              <a:ext uri="{FF2B5EF4-FFF2-40B4-BE49-F238E27FC236}">
                <a16:creationId xmlns:a16="http://schemas.microsoft.com/office/drawing/2014/main" id="{83E2E907-B304-4F57-961D-D1AB19E20D35}"/>
              </a:ext>
            </a:extLst>
          </p:cNvPr>
          <p:cNvGrpSpPr/>
          <p:nvPr/>
        </p:nvGrpSpPr>
        <p:grpSpPr>
          <a:xfrm>
            <a:off x="4169740" y="2881447"/>
            <a:ext cx="5270940" cy="3976553"/>
            <a:chOff x="5193218" y="2184277"/>
            <a:chExt cx="5270940" cy="3976553"/>
          </a:xfrm>
        </p:grpSpPr>
        <p:grpSp>
          <p:nvGrpSpPr>
            <p:cNvPr id="65" name="Group 64">
              <a:extLst>
                <a:ext uri="{FF2B5EF4-FFF2-40B4-BE49-F238E27FC236}">
                  <a16:creationId xmlns:a16="http://schemas.microsoft.com/office/drawing/2014/main" id="{B8A1D077-4488-48E0-AFFB-5105D9C7AEF9}"/>
                </a:ext>
              </a:extLst>
            </p:cNvPr>
            <p:cNvGrpSpPr/>
            <p:nvPr/>
          </p:nvGrpSpPr>
          <p:grpSpPr>
            <a:xfrm>
              <a:off x="5204615" y="2184277"/>
              <a:ext cx="5250340" cy="3972062"/>
              <a:chOff x="-961382" y="1846733"/>
              <a:chExt cx="3856780" cy="3318276"/>
            </a:xfrm>
            <a:solidFill>
              <a:sysClr val="window" lastClr="FFFFFF">
                <a:lumMod val="75000"/>
              </a:sysClr>
            </a:solidFill>
          </p:grpSpPr>
          <p:sp>
            <p:nvSpPr>
              <p:cNvPr id="67" name="Freeform: Shape 66">
                <a:extLst>
                  <a:ext uri="{FF2B5EF4-FFF2-40B4-BE49-F238E27FC236}">
                    <a16:creationId xmlns:a16="http://schemas.microsoft.com/office/drawing/2014/main" id="{D05F9F82-D547-4653-8E4E-1525F0673DC7}"/>
                  </a:ext>
                </a:extLst>
              </p:cNvPr>
              <p:cNvSpPr/>
              <p:nvPr/>
            </p:nvSpPr>
            <p:spPr>
              <a:xfrm>
                <a:off x="967226"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68" name="Freeform: Shape 67">
                <a:extLst>
                  <a:ext uri="{FF2B5EF4-FFF2-40B4-BE49-F238E27FC236}">
                    <a16:creationId xmlns:a16="http://schemas.microsoft.com/office/drawing/2014/main" id="{BF0CC2D9-F1E1-4595-9546-FEE33CFAE4E2}"/>
                  </a:ext>
                </a:extLst>
              </p:cNvPr>
              <p:cNvSpPr/>
              <p:nvPr/>
            </p:nvSpPr>
            <p:spPr>
              <a:xfrm>
                <a:off x="968583"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69" name="Freeform: Shape 68">
                <a:extLst>
                  <a:ext uri="{FF2B5EF4-FFF2-40B4-BE49-F238E27FC236}">
                    <a16:creationId xmlns:a16="http://schemas.microsoft.com/office/drawing/2014/main" id="{6F7919E9-C7DF-47F6-ADF0-668FD0DC7458}"/>
                  </a:ext>
                </a:extLst>
              </p:cNvPr>
              <p:cNvSpPr/>
              <p:nvPr/>
            </p:nvSpPr>
            <p:spPr>
              <a:xfrm flipH="1">
                <a:off x="-212820"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70" name="Freeform: Shape 69">
                <a:extLst>
                  <a:ext uri="{FF2B5EF4-FFF2-40B4-BE49-F238E27FC236}">
                    <a16:creationId xmlns:a16="http://schemas.microsoft.com/office/drawing/2014/main" id="{CAB3685E-86BA-4084-B150-BD2233E4D6AB}"/>
                  </a:ext>
                </a:extLst>
              </p:cNvPr>
              <p:cNvSpPr/>
              <p:nvPr/>
            </p:nvSpPr>
            <p:spPr>
              <a:xfrm flipH="1">
                <a:off x="-961382"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sp>
          <p:nvSpPr>
            <p:cNvPr id="66" name="Freeform: Shape 65">
              <a:extLst>
                <a:ext uri="{FF2B5EF4-FFF2-40B4-BE49-F238E27FC236}">
                  <a16:creationId xmlns:a16="http://schemas.microsoft.com/office/drawing/2014/main" id="{4BC2049B-18A2-47EB-B5C0-41FDE5D12B0B}"/>
                </a:ext>
              </a:extLst>
            </p:cNvPr>
            <p:cNvSpPr/>
            <p:nvPr/>
          </p:nvSpPr>
          <p:spPr>
            <a:xfrm>
              <a:off x="5193218" y="3246564"/>
              <a:ext cx="5270940" cy="2914266"/>
            </a:xfrm>
            <a:custGeom>
              <a:avLst/>
              <a:gdLst>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87780 w 3886200"/>
                <a:gd name="connsiteY10" fmla="*/ 30480 h 2209800"/>
                <a:gd name="connsiteX11" fmla="*/ 0 w 3886200"/>
                <a:gd name="connsiteY11" fmla="*/ 2209800 h 2209800"/>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73493 w 3886200"/>
                <a:gd name="connsiteY10" fmla="*/ 35242 h 2209800"/>
                <a:gd name="connsiteX11" fmla="*/ 0 w 3886200"/>
                <a:gd name="connsiteY11" fmla="*/ 2209800 h 2209800"/>
                <a:gd name="connsiteX0" fmla="*/ 0 w 3881437"/>
                <a:gd name="connsiteY0" fmla="*/ 2219325 h 2219325"/>
                <a:gd name="connsiteX1" fmla="*/ 3881437 w 3881437"/>
                <a:gd name="connsiteY1" fmla="*/ 2209800 h 2219325"/>
                <a:gd name="connsiteX2" fmla="*/ 2578417 w 3881437"/>
                <a:gd name="connsiteY2" fmla="*/ 0 h 2219325"/>
                <a:gd name="connsiteX3" fmla="*/ 2426017 w 3881437"/>
                <a:gd name="connsiteY3" fmla="*/ 236220 h 2219325"/>
                <a:gd name="connsiteX4" fmla="*/ 2045017 w 3881437"/>
                <a:gd name="connsiteY4" fmla="*/ 259080 h 2219325"/>
                <a:gd name="connsiteX5" fmla="*/ 1907857 w 3881437"/>
                <a:gd name="connsiteY5" fmla="*/ 106680 h 2219325"/>
                <a:gd name="connsiteX6" fmla="*/ 1747837 w 3881437"/>
                <a:gd name="connsiteY6" fmla="*/ 289560 h 2219325"/>
                <a:gd name="connsiteX7" fmla="*/ 1671637 w 3881437"/>
                <a:gd name="connsiteY7" fmla="*/ 419100 h 2219325"/>
                <a:gd name="connsiteX8" fmla="*/ 1427797 w 3881437"/>
                <a:gd name="connsiteY8" fmla="*/ 411480 h 2219325"/>
                <a:gd name="connsiteX9" fmla="*/ 1397317 w 3881437"/>
                <a:gd name="connsiteY9" fmla="*/ 175260 h 2219325"/>
                <a:gd name="connsiteX10" fmla="*/ 1268730 w 3881437"/>
                <a:gd name="connsiteY10" fmla="*/ 35242 h 2219325"/>
                <a:gd name="connsiteX11" fmla="*/ 0 w 3881437"/>
                <a:gd name="connsiteY11" fmla="*/ 2219325 h 2219325"/>
                <a:gd name="connsiteX0" fmla="*/ 0 w 3871912"/>
                <a:gd name="connsiteY0" fmla="*/ 2219325 h 2219325"/>
                <a:gd name="connsiteX1" fmla="*/ 3871912 w 3871912"/>
                <a:gd name="connsiteY1" fmla="*/ 2214562 h 2219325"/>
                <a:gd name="connsiteX2" fmla="*/ 2578417 w 3871912"/>
                <a:gd name="connsiteY2" fmla="*/ 0 h 2219325"/>
                <a:gd name="connsiteX3" fmla="*/ 2426017 w 3871912"/>
                <a:gd name="connsiteY3" fmla="*/ 236220 h 2219325"/>
                <a:gd name="connsiteX4" fmla="*/ 2045017 w 3871912"/>
                <a:gd name="connsiteY4" fmla="*/ 259080 h 2219325"/>
                <a:gd name="connsiteX5" fmla="*/ 1907857 w 3871912"/>
                <a:gd name="connsiteY5" fmla="*/ 106680 h 2219325"/>
                <a:gd name="connsiteX6" fmla="*/ 1747837 w 3871912"/>
                <a:gd name="connsiteY6" fmla="*/ 289560 h 2219325"/>
                <a:gd name="connsiteX7" fmla="*/ 1671637 w 3871912"/>
                <a:gd name="connsiteY7" fmla="*/ 419100 h 2219325"/>
                <a:gd name="connsiteX8" fmla="*/ 1427797 w 3871912"/>
                <a:gd name="connsiteY8" fmla="*/ 411480 h 2219325"/>
                <a:gd name="connsiteX9" fmla="*/ 1397317 w 3871912"/>
                <a:gd name="connsiteY9" fmla="*/ 175260 h 2219325"/>
                <a:gd name="connsiteX10" fmla="*/ 1268730 w 3871912"/>
                <a:gd name="connsiteY10" fmla="*/ 35242 h 2219325"/>
                <a:gd name="connsiteX11" fmla="*/ 0 w 3871912"/>
                <a:gd name="connsiteY11" fmla="*/ 2219325 h 2219325"/>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427797 w 3871912"/>
                <a:gd name="connsiteY8" fmla="*/ 42100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618297 w 3871912"/>
                <a:gd name="connsiteY8" fmla="*/ 2095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045017 w 3871912"/>
                <a:gd name="connsiteY4" fmla="*/ 47434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14487 w 3871912"/>
                <a:gd name="connsiteY7" fmla="*/ 438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741487 w 3871912"/>
                <a:gd name="connsiteY7" fmla="*/ 2343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912" h="2434590">
                  <a:moveTo>
                    <a:pt x="0" y="2434590"/>
                  </a:moveTo>
                  <a:lnTo>
                    <a:pt x="3871912" y="2429827"/>
                  </a:lnTo>
                  <a:lnTo>
                    <a:pt x="2578417" y="205740"/>
                  </a:lnTo>
                  <a:lnTo>
                    <a:pt x="2426017" y="451485"/>
                  </a:lnTo>
                  <a:lnTo>
                    <a:pt x="2178367" y="150495"/>
                  </a:lnTo>
                  <a:lnTo>
                    <a:pt x="1907857" y="321945"/>
                  </a:lnTo>
                  <a:lnTo>
                    <a:pt x="1747837" y="0"/>
                  </a:lnTo>
                  <a:lnTo>
                    <a:pt x="1741487" y="234315"/>
                  </a:lnTo>
                  <a:lnTo>
                    <a:pt x="1618297" y="226695"/>
                  </a:lnTo>
                  <a:lnTo>
                    <a:pt x="1397317" y="390525"/>
                  </a:lnTo>
                  <a:lnTo>
                    <a:pt x="1268730" y="250507"/>
                  </a:lnTo>
                  <a:lnTo>
                    <a:pt x="0" y="2434590"/>
                  </a:lnTo>
                  <a:close/>
                </a:path>
              </a:pathLst>
            </a:custGeom>
            <a:solidFill>
              <a:srgbClr val="5E9042">
                <a:alpha val="77647"/>
              </a:srgbClr>
            </a:solidFill>
            <a:ln w="9525" cap="flat" cmpd="sng" algn="ctr">
              <a:noFill/>
              <a:prstDash val="solid"/>
              <a:miter lim="800000"/>
            </a:ln>
            <a:effectLst/>
            <a:scene3d>
              <a:camera prst="orthographicFront"/>
              <a:lightRig rig="threePt" dir="t"/>
            </a:scene3d>
            <a:sp3d>
              <a:bevelT w="6350" h="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grpSp>
        <p:nvGrpSpPr>
          <p:cNvPr id="71" name="Group 70">
            <a:extLst>
              <a:ext uri="{FF2B5EF4-FFF2-40B4-BE49-F238E27FC236}">
                <a16:creationId xmlns:a16="http://schemas.microsoft.com/office/drawing/2014/main" id="{28F17F7E-0F75-40BA-B6C9-3E0A9205C32F}"/>
              </a:ext>
            </a:extLst>
          </p:cNvPr>
          <p:cNvGrpSpPr/>
          <p:nvPr/>
        </p:nvGrpSpPr>
        <p:grpSpPr>
          <a:xfrm>
            <a:off x="3669992" y="3622074"/>
            <a:ext cx="4289236" cy="3235926"/>
            <a:chOff x="5193218" y="2184277"/>
            <a:chExt cx="5270940" cy="3976553"/>
          </a:xfrm>
        </p:grpSpPr>
        <p:grpSp>
          <p:nvGrpSpPr>
            <p:cNvPr id="72" name="Group 71">
              <a:extLst>
                <a:ext uri="{FF2B5EF4-FFF2-40B4-BE49-F238E27FC236}">
                  <a16:creationId xmlns:a16="http://schemas.microsoft.com/office/drawing/2014/main" id="{1B48423F-4D9D-4BE3-ACBA-33F209E5681E}"/>
                </a:ext>
              </a:extLst>
            </p:cNvPr>
            <p:cNvGrpSpPr/>
            <p:nvPr/>
          </p:nvGrpSpPr>
          <p:grpSpPr>
            <a:xfrm>
              <a:off x="5204615" y="2184277"/>
              <a:ext cx="5250340" cy="3972062"/>
              <a:chOff x="-961382" y="1846733"/>
              <a:chExt cx="3856780" cy="3318276"/>
            </a:xfrm>
            <a:solidFill>
              <a:sysClr val="window" lastClr="FFFFFF">
                <a:lumMod val="75000"/>
              </a:sysClr>
            </a:solidFill>
          </p:grpSpPr>
          <p:sp>
            <p:nvSpPr>
              <p:cNvPr id="74" name="Freeform: Shape 73">
                <a:extLst>
                  <a:ext uri="{FF2B5EF4-FFF2-40B4-BE49-F238E27FC236}">
                    <a16:creationId xmlns:a16="http://schemas.microsoft.com/office/drawing/2014/main" id="{F9EED070-55EB-40F0-8260-DF4F4C8A3FCB}"/>
                  </a:ext>
                </a:extLst>
              </p:cNvPr>
              <p:cNvSpPr/>
              <p:nvPr/>
            </p:nvSpPr>
            <p:spPr>
              <a:xfrm>
                <a:off x="967226"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75" name="Freeform: Shape 74">
                <a:extLst>
                  <a:ext uri="{FF2B5EF4-FFF2-40B4-BE49-F238E27FC236}">
                    <a16:creationId xmlns:a16="http://schemas.microsoft.com/office/drawing/2014/main" id="{1FA540FC-6B70-4AF5-8897-C684CF260435}"/>
                  </a:ext>
                </a:extLst>
              </p:cNvPr>
              <p:cNvSpPr/>
              <p:nvPr/>
            </p:nvSpPr>
            <p:spPr>
              <a:xfrm>
                <a:off x="968583"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76" name="Freeform: Shape 75">
                <a:extLst>
                  <a:ext uri="{FF2B5EF4-FFF2-40B4-BE49-F238E27FC236}">
                    <a16:creationId xmlns:a16="http://schemas.microsoft.com/office/drawing/2014/main" id="{86E94037-AC99-4979-BBE3-31BBB47806F1}"/>
                  </a:ext>
                </a:extLst>
              </p:cNvPr>
              <p:cNvSpPr/>
              <p:nvPr/>
            </p:nvSpPr>
            <p:spPr>
              <a:xfrm flipH="1">
                <a:off x="-212820"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77" name="Freeform: Shape 76">
                <a:extLst>
                  <a:ext uri="{FF2B5EF4-FFF2-40B4-BE49-F238E27FC236}">
                    <a16:creationId xmlns:a16="http://schemas.microsoft.com/office/drawing/2014/main" id="{449DAEF2-8486-4CEF-81CF-E5B8A111F937}"/>
                  </a:ext>
                </a:extLst>
              </p:cNvPr>
              <p:cNvSpPr/>
              <p:nvPr/>
            </p:nvSpPr>
            <p:spPr>
              <a:xfrm flipH="1">
                <a:off x="-961382"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sp>
          <p:nvSpPr>
            <p:cNvPr id="73" name="Freeform: Shape 72">
              <a:extLst>
                <a:ext uri="{FF2B5EF4-FFF2-40B4-BE49-F238E27FC236}">
                  <a16:creationId xmlns:a16="http://schemas.microsoft.com/office/drawing/2014/main" id="{37A2EA28-7953-4891-A8A6-2749F8F909C0}"/>
                </a:ext>
              </a:extLst>
            </p:cNvPr>
            <p:cNvSpPr/>
            <p:nvPr/>
          </p:nvSpPr>
          <p:spPr>
            <a:xfrm>
              <a:off x="5193218" y="3246564"/>
              <a:ext cx="5270940" cy="2914266"/>
            </a:xfrm>
            <a:custGeom>
              <a:avLst/>
              <a:gdLst>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87780 w 3886200"/>
                <a:gd name="connsiteY10" fmla="*/ 30480 h 2209800"/>
                <a:gd name="connsiteX11" fmla="*/ 0 w 3886200"/>
                <a:gd name="connsiteY11" fmla="*/ 2209800 h 2209800"/>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73493 w 3886200"/>
                <a:gd name="connsiteY10" fmla="*/ 35242 h 2209800"/>
                <a:gd name="connsiteX11" fmla="*/ 0 w 3886200"/>
                <a:gd name="connsiteY11" fmla="*/ 2209800 h 2209800"/>
                <a:gd name="connsiteX0" fmla="*/ 0 w 3881437"/>
                <a:gd name="connsiteY0" fmla="*/ 2219325 h 2219325"/>
                <a:gd name="connsiteX1" fmla="*/ 3881437 w 3881437"/>
                <a:gd name="connsiteY1" fmla="*/ 2209800 h 2219325"/>
                <a:gd name="connsiteX2" fmla="*/ 2578417 w 3881437"/>
                <a:gd name="connsiteY2" fmla="*/ 0 h 2219325"/>
                <a:gd name="connsiteX3" fmla="*/ 2426017 w 3881437"/>
                <a:gd name="connsiteY3" fmla="*/ 236220 h 2219325"/>
                <a:gd name="connsiteX4" fmla="*/ 2045017 w 3881437"/>
                <a:gd name="connsiteY4" fmla="*/ 259080 h 2219325"/>
                <a:gd name="connsiteX5" fmla="*/ 1907857 w 3881437"/>
                <a:gd name="connsiteY5" fmla="*/ 106680 h 2219325"/>
                <a:gd name="connsiteX6" fmla="*/ 1747837 w 3881437"/>
                <a:gd name="connsiteY6" fmla="*/ 289560 h 2219325"/>
                <a:gd name="connsiteX7" fmla="*/ 1671637 w 3881437"/>
                <a:gd name="connsiteY7" fmla="*/ 419100 h 2219325"/>
                <a:gd name="connsiteX8" fmla="*/ 1427797 w 3881437"/>
                <a:gd name="connsiteY8" fmla="*/ 411480 h 2219325"/>
                <a:gd name="connsiteX9" fmla="*/ 1397317 w 3881437"/>
                <a:gd name="connsiteY9" fmla="*/ 175260 h 2219325"/>
                <a:gd name="connsiteX10" fmla="*/ 1268730 w 3881437"/>
                <a:gd name="connsiteY10" fmla="*/ 35242 h 2219325"/>
                <a:gd name="connsiteX11" fmla="*/ 0 w 3881437"/>
                <a:gd name="connsiteY11" fmla="*/ 2219325 h 2219325"/>
                <a:gd name="connsiteX0" fmla="*/ 0 w 3871912"/>
                <a:gd name="connsiteY0" fmla="*/ 2219325 h 2219325"/>
                <a:gd name="connsiteX1" fmla="*/ 3871912 w 3871912"/>
                <a:gd name="connsiteY1" fmla="*/ 2214562 h 2219325"/>
                <a:gd name="connsiteX2" fmla="*/ 2578417 w 3871912"/>
                <a:gd name="connsiteY2" fmla="*/ 0 h 2219325"/>
                <a:gd name="connsiteX3" fmla="*/ 2426017 w 3871912"/>
                <a:gd name="connsiteY3" fmla="*/ 236220 h 2219325"/>
                <a:gd name="connsiteX4" fmla="*/ 2045017 w 3871912"/>
                <a:gd name="connsiteY4" fmla="*/ 259080 h 2219325"/>
                <a:gd name="connsiteX5" fmla="*/ 1907857 w 3871912"/>
                <a:gd name="connsiteY5" fmla="*/ 106680 h 2219325"/>
                <a:gd name="connsiteX6" fmla="*/ 1747837 w 3871912"/>
                <a:gd name="connsiteY6" fmla="*/ 289560 h 2219325"/>
                <a:gd name="connsiteX7" fmla="*/ 1671637 w 3871912"/>
                <a:gd name="connsiteY7" fmla="*/ 419100 h 2219325"/>
                <a:gd name="connsiteX8" fmla="*/ 1427797 w 3871912"/>
                <a:gd name="connsiteY8" fmla="*/ 411480 h 2219325"/>
                <a:gd name="connsiteX9" fmla="*/ 1397317 w 3871912"/>
                <a:gd name="connsiteY9" fmla="*/ 175260 h 2219325"/>
                <a:gd name="connsiteX10" fmla="*/ 1268730 w 3871912"/>
                <a:gd name="connsiteY10" fmla="*/ 35242 h 2219325"/>
                <a:gd name="connsiteX11" fmla="*/ 0 w 3871912"/>
                <a:gd name="connsiteY11" fmla="*/ 2219325 h 2219325"/>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427797 w 3871912"/>
                <a:gd name="connsiteY8" fmla="*/ 42100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618297 w 3871912"/>
                <a:gd name="connsiteY8" fmla="*/ 2095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045017 w 3871912"/>
                <a:gd name="connsiteY4" fmla="*/ 47434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14487 w 3871912"/>
                <a:gd name="connsiteY7" fmla="*/ 438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741487 w 3871912"/>
                <a:gd name="connsiteY7" fmla="*/ 2343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912" h="2434590">
                  <a:moveTo>
                    <a:pt x="0" y="2434590"/>
                  </a:moveTo>
                  <a:lnTo>
                    <a:pt x="3871912" y="2429827"/>
                  </a:lnTo>
                  <a:lnTo>
                    <a:pt x="2578417" y="205740"/>
                  </a:lnTo>
                  <a:lnTo>
                    <a:pt x="2426017" y="451485"/>
                  </a:lnTo>
                  <a:lnTo>
                    <a:pt x="2178367" y="150495"/>
                  </a:lnTo>
                  <a:lnTo>
                    <a:pt x="1907857" y="321945"/>
                  </a:lnTo>
                  <a:lnTo>
                    <a:pt x="1747837" y="0"/>
                  </a:lnTo>
                  <a:lnTo>
                    <a:pt x="1741487" y="234315"/>
                  </a:lnTo>
                  <a:lnTo>
                    <a:pt x="1618297" y="226695"/>
                  </a:lnTo>
                  <a:lnTo>
                    <a:pt x="1397317" y="390525"/>
                  </a:lnTo>
                  <a:lnTo>
                    <a:pt x="1268730" y="250507"/>
                  </a:lnTo>
                  <a:lnTo>
                    <a:pt x="0" y="2434590"/>
                  </a:lnTo>
                  <a:close/>
                </a:path>
              </a:pathLst>
            </a:custGeom>
            <a:solidFill>
              <a:srgbClr val="5E9042">
                <a:alpha val="78000"/>
              </a:srgbClr>
            </a:solidFill>
            <a:ln w="9525" cap="flat" cmpd="sng" algn="ctr">
              <a:noFill/>
              <a:prstDash val="solid"/>
              <a:miter lim="800000"/>
            </a:ln>
            <a:effectLst/>
            <a:scene3d>
              <a:camera prst="orthographicFront"/>
              <a:lightRig rig="threePt" dir="t"/>
            </a:scene3d>
            <a:sp3d>
              <a:bevelT w="6350" h="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grpSp>
        <p:nvGrpSpPr>
          <p:cNvPr id="78" name="Group 77">
            <a:extLst>
              <a:ext uri="{FF2B5EF4-FFF2-40B4-BE49-F238E27FC236}">
                <a16:creationId xmlns:a16="http://schemas.microsoft.com/office/drawing/2014/main" id="{382BF336-2C24-4CFB-94ED-E74D2FBD75E6}"/>
              </a:ext>
            </a:extLst>
          </p:cNvPr>
          <p:cNvGrpSpPr/>
          <p:nvPr/>
        </p:nvGrpSpPr>
        <p:grpSpPr>
          <a:xfrm>
            <a:off x="9541" y="4549091"/>
            <a:ext cx="12182457" cy="2330836"/>
            <a:chOff x="-226143" y="5183653"/>
            <a:chExt cx="12418142" cy="1696273"/>
          </a:xfrm>
          <a:solidFill>
            <a:srgbClr val="7FB5DD"/>
          </a:solidFill>
        </p:grpSpPr>
        <p:sp>
          <p:nvSpPr>
            <p:cNvPr id="79" name="Freeform: Shape 78">
              <a:extLst>
                <a:ext uri="{FF2B5EF4-FFF2-40B4-BE49-F238E27FC236}">
                  <a16:creationId xmlns:a16="http://schemas.microsoft.com/office/drawing/2014/main" id="{8CFAE82F-C69D-4350-9678-DE673C045ABE}"/>
                </a:ext>
              </a:extLst>
            </p:cNvPr>
            <p:cNvSpPr/>
            <p:nvPr/>
          </p:nvSpPr>
          <p:spPr>
            <a:xfrm flipH="1">
              <a:off x="0" y="5183653"/>
              <a:ext cx="12191999" cy="1694256"/>
            </a:xfrm>
            <a:custGeom>
              <a:avLst/>
              <a:gdLst>
                <a:gd name="connsiteX0" fmla="*/ 8957869 w 12191999"/>
                <a:gd name="connsiteY0" fmla="*/ 2 h 2735201"/>
                <a:gd name="connsiteX1" fmla="*/ 10308907 w 12191999"/>
                <a:gd name="connsiteY1" fmla="*/ 807424 h 2735201"/>
                <a:gd name="connsiteX2" fmla="*/ 10570413 w 12191999"/>
                <a:gd name="connsiteY2" fmla="*/ 1015401 h 2735201"/>
                <a:gd name="connsiteX3" fmla="*/ 11524632 w 12191999"/>
                <a:gd name="connsiteY3" fmla="*/ 1661816 h 2735201"/>
                <a:gd name="connsiteX4" fmla="*/ 11624783 w 12191999"/>
                <a:gd name="connsiteY4" fmla="*/ 1833257 h 2735201"/>
                <a:gd name="connsiteX5" fmla="*/ 11852906 w 12191999"/>
                <a:gd name="connsiteY5" fmla="*/ 1836067 h 2735201"/>
                <a:gd name="connsiteX6" fmla="*/ 12144607 w 12191999"/>
                <a:gd name="connsiteY6" fmla="*/ 1878209 h 2735201"/>
                <a:gd name="connsiteX7" fmla="*/ 12191999 w 12191999"/>
                <a:gd name="connsiteY7" fmla="*/ 1894228 h 2735201"/>
                <a:gd name="connsiteX8" fmla="*/ 12191999 w 12191999"/>
                <a:gd name="connsiteY8" fmla="*/ 2735201 h 2735201"/>
                <a:gd name="connsiteX9" fmla="*/ 6452313 w 12191999"/>
                <a:gd name="connsiteY9" fmla="*/ 2735201 h 2735201"/>
                <a:gd name="connsiteX10" fmla="*/ 5172234 w 12191999"/>
                <a:gd name="connsiteY10" fmla="*/ 2735201 h 2735201"/>
                <a:gd name="connsiteX11" fmla="*/ 2657884 w 12191999"/>
                <a:gd name="connsiteY11" fmla="*/ 2735201 h 2735201"/>
                <a:gd name="connsiteX12" fmla="*/ 1235768 w 12191999"/>
                <a:gd name="connsiteY12" fmla="*/ 2735201 h 2735201"/>
                <a:gd name="connsiteX13" fmla="*/ 0 w 12191999"/>
                <a:gd name="connsiteY13" fmla="*/ 2735201 h 2735201"/>
                <a:gd name="connsiteX14" fmla="*/ 0 w 12191999"/>
                <a:gd name="connsiteY14" fmla="*/ 1746328 h 2735201"/>
                <a:gd name="connsiteX15" fmla="*/ 39705 w 12191999"/>
                <a:gd name="connsiteY15" fmla="*/ 1798250 h 2735201"/>
                <a:gd name="connsiteX16" fmla="*/ 186799 w 12191999"/>
                <a:gd name="connsiteY16" fmla="*/ 1760135 h 2735201"/>
                <a:gd name="connsiteX17" fmla="*/ 729916 w 12191999"/>
                <a:gd name="connsiteY17" fmla="*/ 1594336 h 2735201"/>
                <a:gd name="connsiteX18" fmla="*/ 1325836 w 12191999"/>
                <a:gd name="connsiteY18" fmla="*/ 1847799 h 2735201"/>
                <a:gd name="connsiteX19" fmla="*/ 1534160 w 12191999"/>
                <a:gd name="connsiteY19" fmla="*/ 2150335 h 2735201"/>
                <a:gd name="connsiteX20" fmla="*/ 1544687 w 12191999"/>
                <a:gd name="connsiteY20" fmla="*/ 2171439 h 2735201"/>
                <a:gd name="connsiteX21" fmla="*/ 1545220 w 12191999"/>
                <a:gd name="connsiteY21" fmla="*/ 2170800 h 2735201"/>
                <a:gd name="connsiteX22" fmla="*/ 2359487 w 12191999"/>
                <a:gd name="connsiteY22" fmla="*/ 1859106 h 2735201"/>
                <a:gd name="connsiteX23" fmla="*/ 2704296 w 12191999"/>
                <a:gd name="connsiteY23" fmla="*/ 1775434 h 2735201"/>
                <a:gd name="connsiteX24" fmla="*/ 3093885 w 12191999"/>
                <a:gd name="connsiteY24" fmla="*/ 1196514 h 2735201"/>
                <a:gd name="connsiteX25" fmla="*/ 4197720 w 12191999"/>
                <a:gd name="connsiteY25" fmla="*/ 769108 h 2735201"/>
                <a:gd name="connsiteX26" fmla="*/ 5288121 w 12191999"/>
                <a:gd name="connsiteY26" fmla="*/ 1189730 h 2735201"/>
                <a:gd name="connsiteX27" fmla="*/ 5636569 w 12191999"/>
                <a:gd name="connsiteY27" fmla="*/ 1639184 h 2735201"/>
                <a:gd name="connsiteX28" fmla="*/ 5669040 w 12191999"/>
                <a:gd name="connsiteY28" fmla="*/ 1715253 h 2735201"/>
                <a:gd name="connsiteX29" fmla="*/ 5772236 w 12191999"/>
                <a:gd name="connsiteY29" fmla="*/ 1691376 h 2735201"/>
                <a:gd name="connsiteX30" fmla="*/ 6094206 w 12191999"/>
                <a:gd name="connsiteY30" fmla="*/ 1703974 h 2735201"/>
                <a:gd name="connsiteX31" fmla="*/ 6275035 w 12191999"/>
                <a:gd name="connsiteY31" fmla="*/ 1642143 h 2735201"/>
                <a:gd name="connsiteX32" fmla="*/ 6742408 w 12191999"/>
                <a:gd name="connsiteY32" fmla="*/ 1240241 h 2735201"/>
                <a:gd name="connsiteX33" fmla="*/ 7184742 w 12191999"/>
                <a:gd name="connsiteY33" fmla="*/ 1169978 h 2735201"/>
                <a:gd name="connsiteX34" fmla="*/ 7465723 w 12191999"/>
                <a:gd name="connsiteY34" fmla="*/ 1169978 h 2735201"/>
                <a:gd name="connsiteX35" fmla="*/ 7521362 w 12191999"/>
                <a:gd name="connsiteY35" fmla="*/ 1018211 h 2735201"/>
                <a:gd name="connsiteX36" fmla="*/ 7958133 w 12191999"/>
                <a:gd name="connsiteY36" fmla="*/ 374606 h 2735201"/>
                <a:gd name="connsiteX37" fmla="*/ 8728742 w 12191999"/>
                <a:gd name="connsiteY37" fmla="*/ 20483 h 2735201"/>
                <a:gd name="connsiteX38" fmla="*/ 8957869 w 12191999"/>
                <a:gd name="connsiteY38" fmla="*/ 2 h 273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1999" h="2735201">
                  <a:moveTo>
                    <a:pt x="8957869" y="2"/>
                  </a:moveTo>
                  <a:cubicBezTo>
                    <a:pt x="9496785" y="-728"/>
                    <a:pt x="10050878" y="320504"/>
                    <a:pt x="10308907" y="807424"/>
                  </a:cubicBezTo>
                  <a:cubicBezTo>
                    <a:pt x="10406276" y="990106"/>
                    <a:pt x="10417404" y="1001348"/>
                    <a:pt x="10570413" y="1015401"/>
                  </a:cubicBezTo>
                  <a:cubicBezTo>
                    <a:pt x="10907033" y="1049127"/>
                    <a:pt x="11329893" y="1335798"/>
                    <a:pt x="11524632" y="1661816"/>
                  </a:cubicBezTo>
                  <a:lnTo>
                    <a:pt x="11624783" y="1833257"/>
                  </a:lnTo>
                  <a:lnTo>
                    <a:pt x="11852906" y="1836067"/>
                  </a:lnTo>
                  <a:cubicBezTo>
                    <a:pt x="11954101" y="1837121"/>
                    <a:pt x="12052165" y="1851613"/>
                    <a:pt x="12144607" y="1878209"/>
                  </a:cubicBezTo>
                  <a:lnTo>
                    <a:pt x="12191999" y="1894228"/>
                  </a:lnTo>
                  <a:lnTo>
                    <a:pt x="12191999" y="2735201"/>
                  </a:lnTo>
                  <a:lnTo>
                    <a:pt x="6452313" y="2735201"/>
                  </a:lnTo>
                  <a:lnTo>
                    <a:pt x="5172234" y="2735201"/>
                  </a:lnTo>
                  <a:lnTo>
                    <a:pt x="2657884" y="2735201"/>
                  </a:lnTo>
                  <a:lnTo>
                    <a:pt x="1235768" y="2735201"/>
                  </a:lnTo>
                  <a:lnTo>
                    <a:pt x="0" y="2735201"/>
                  </a:lnTo>
                  <a:lnTo>
                    <a:pt x="0" y="1746328"/>
                  </a:lnTo>
                  <a:lnTo>
                    <a:pt x="39705" y="1798250"/>
                  </a:lnTo>
                  <a:cubicBezTo>
                    <a:pt x="66106" y="1836365"/>
                    <a:pt x="77421" y="1834459"/>
                    <a:pt x="186799" y="1760135"/>
                  </a:cubicBezTo>
                  <a:cubicBezTo>
                    <a:pt x="360295" y="1641979"/>
                    <a:pt x="511160" y="1596242"/>
                    <a:pt x="729916" y="1594336"/>
                  </a:cubicBezTo>
                  <a:cubicBezTo>
                    <a:pt x="971301" y="1594336"/>
                    <a:pt x="1152340" y="1670566"/>
                    <a:pt x="1325836" y="1847799"/>
                  </a:cubicBezTo>
                  <a:cubicBezTo>
                    <a:pt x="1391840" y="1916882"/>
                    <a:pt x="1478470" y="2046264"/>
                    <a:pt x="1534160" y="2150335"/>
                  </a:cubicBezTo>
                  <a:lnTo>
                    <a:pt x="1544687" y="2171439"/>
                  </a:lnTo>
                  <a:lnTo>
                    <a:pt x="1545220" y="2170800"/>
                  </a:lnTo>
                  <a:cubicBezTo>
                    <a:pt x="1757752" y="1956629"/>
                    <a:pt x="2065617" y="1826598"/>
                    <a:pt x="2359487" y="1859106"/>
                  </a:cubicBezTo>
                  <a:cubicBezTo>
                    <a:pt x="2679667" y="1895288"/>
                    <a:pt x="2655038" y="1899811"/>
                    <a:pt x="2704296" y="1775434"/>
                  </a:cubicBezTo>
                  <a:cubicBezTo>
                    <a:pt x="2766988" y="1610351"/>
                    <a:pt x="2977456" y="1300538"/>
                    <a:pt x="3093885" y="1196514"/>
                  </a:cubicBezTo>
                  <a:cubicBezTo>
                    <a:pt x="3416303" y="909315"/>
                    <a:pt x="3779024" y="769108"/>
                    <a:pt x="4197720" y="769108"/>
                  </a:cubicBezTo>
                  <a:cubicBezTo>
                    <a:pt x="4643284" y="769108"/>
                    <a:pt x="4974659" y="895747"/>
                    <a:pt x="5288121" y="1189730"/>
                  </a:cubicBezTo>
                  <a:cubicBezTo>
                    <a:pt x="5431418" y="1323153"/>
                    <a:pt x="5548967" y="1475232"/>
                    <a:pt x="5636569" y="1639184"/>
                  </a:cubicBezTo>
                  <a:lnTo>
                    <a:pt x="5669040" y="1715253"/>
                  </a:lnTo>
                  <a:lnTo>
                    <a:pt x="5772236" y="1691376"/>
                  </a:lnTo>
                  <a:cubicBezTo>
                    <a:pt x="5883471" y="1672751"/>
                    <a:pt x="5995098" y="1675518"/>
                    <a:pt x="6094206" y="1703974"/>
                  </a:cubicBezTo>
                  <a:cubicBezTo>
                    <a:pt x="6216613" y="1737700"/>
                    <a:pt x="6227741" y="1734889"/>
                    <a:pt x="6275035" y="1642143"/>
                  </a:cubicBezTo>
                  <a:cubicBezTo>
                    <a:pt x="6344584" y="1507239"/>
                    <a:pt x="6553233" y="1327367"/>
                    <a:pt x="6742408" y="1240241"/>
                  </a:cubicBezTo>
                  <a:cubicBezTo>
                    <a:pt x="6862033" y="1186841"/>
                    <a:pt x="6973312" y="1167168"/>
                    <a:pt x="7184742" y="1169978"/>
                  </a:cubicBezTo>
                  <a:lnTo>
                    <a:pt x="7465723" y="1169978"/>
                  </a:lnTo>
                  <a:lnTo>
                    <a:pt x="7521362" y="1018211"/>
                  </a:lnTo>
                  <a:cubicBezTo>
                    <a:pt x="7599258" y="807424"/>
                    <a:pt x="7807906" y="501079"/>
                    <a:pt x="7958133" y="374606"/>
                  </a:cubicBezTo>
                  <a:cubicBezTo>
                    <a:pt x="8152872" y="208787"/>
                    <a:pt x="8458889" y="71072"/>
                    <a:pt x="8728742" y="20483"/>
                  </a:cubicBezTo>
                  <a:cubicBezTo>
                    <a:pt x="8804203" y="6782"/>
                    <a:pt x="8880881" y="107"/>
                    <a:pt x="8957869" y="2"/>
                  </a:cubicBezTo>
                  <a:close/>
                </a:path>
              </a:pathLst>
            </a:custGeom>
            <a:grpFill/>
            <a:ln w="9525" cap="flat" cmpd="sng" algn="ctr">
              <a:noFill/>
              <a:prstDash val="solid"/>
              <a:miter lim="800000"/>
            </a:ln>
            <a:effectLst>
              <a:outerShdw blurRad="241300" dist="38100" dir="1440000" algn="tl" rotWithShape="0">
                <a:sysClr val="window" lastClr="FFFFFF">
                  <a:alpha val="60000"/>
                </a:sys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useBgFill="1">
          <p:nvSpPr>
            <p:cNvPr id="80" name="Freeform: Shape 79">
              <a:extLst>
                <a:ext uri="{FF2B5EF4-FFF2-40B4-BE49-F238E27FC236}">
                  <a16:creationId xmlns:a16="http://schemas.microsoft.com/office/drawing/2014/main" id="{C91A1352-8997-4A21-AA2B-E514D46A1F73}"/>
                </a:ext>
              </a:extLst>
            </p:cNvPr>
            <p:cNvSpPr/>
            <p:nvPr/>
          </p:nvSpPr>
          <p:spPr>
            <a:xfrm flipH="1">
              <a:off x="-226143" y="5289689"/>
              <a:ext cx="11896726" cy="1590237"/>
            </a:xfrm>
            <a:custGeom>
              <a:avLst/>
              <a:gdLst>
                <a:gd name="connsiteX0" fmla="*/ 8957869 w 12191999"/>
                <a:gd name="connsiteY0" fmla="*/ 2 h 2735201"/>
                <a:gd name="connsiteX1" fmla="*/ 10308907 w 12191999"/>
                <a:gd name="connsiteY1" fmla="*/ 807424 h 2735201"/>
                <a:gd name="connsiteX2" fmla="*/ 10570413 w 12191999"/>
                <a:gd name="connsiteY2" fmla="*/ 1015401 h 2735201"/>
                <a:gd name="connsiteX3" fmla="*/ 11524632 w 12191999"/>
                <a:gd name="connsiteY3" fmla="*/ 1661816 h 2735201"/>
                <a:gd name="connsiteX4" fmla="*/ 11624783 w 12191999"/>
                <a:gd name="connsiteY4" fmla="*/ 1833257 h 2735201"/>
                <a:gd name="connsiteX5" fmla="*/ 11852906 w 12191999"/>
                <a:gd name="connsiteY5" fmla="*/ 1836067 h 2735201"/>
                <a:gd name="connsiteX6" fmla="*/ 12144607 w 12191999"/>
                <a:gd name="connsiteY6" fmla="*/ 1878209 h 2735201"/>
                <a:gd name="connsiteX7" fmla="*/ 12191999 w 12191999"/>
                <a:gd name="connsiteY7" fmla="*/ 1894228 h 2735201"/>
                <a:gd name="connsiteX8" fmla="*/ 12191999 w 12191999"/>
                <a:gd name="connsiteY8" fmla="*/ 2735201 h 2735201"/>
                <a:gd name="connsiteX9" fmla="*/ 6452313 w 12191999"/>
                <a:gd name="connsiteY9" fmla="*/ 2735201 h 2735201"/>
                <a:gd name="connsiteX10" fmla="*/ 5172234 w 12191999"/>
                <a:gd name="connsiteY10" fmla="*/ 2735201 h 2735201"/>
                <a:gd name="connsiteX11" fmla="*/ 2657884 w 12191999"/>
                <a:gd name="connsiteY11" fmla="*/ 2735201 h 2735201"/>
                <a:gd name="connsiteX12" fmla="*/ 1235768 w 12191999"/>
                <a:gd name="connsiteY12" fmla="*/ 2735201 h 2735201"/>
                <a:gd name="connsiteX13" fmla="*/ 0 w 12191999"/>
                <a:gd name="connsiteY13" fmla="*/ 2735201 h 2735201"/>
                <a:gd name="connsiteX14" fmla="*/ 0 w 12191999"/>
                <a:gd name="connsiteY14" fmla="*/ 1746328 h 2735201"/>
                <a:gd name="connsiteX15" fmla="*/ 39705 w 12191999"/>
                <a:gd name="connsiteY15" fmla="*/ 1798250 h 2735201"/>
                <a:gd name="connsiteX16" fmla="*/ 186799 w 12191999"/>
                <a:gd name="connsiteY16" fmla="*/ 1760135 h 2735201"/>
                <a:gd name="connsiteX17" fmla="*/ 729916 w 12191999"/>
                <a:gd name="connsiteY17" fmla="*/ 1594336 h 2735201"/>
                <a:gd name="connsiteX18" fmla="*/ 1325836 w 12191999"/>
                <a:gd name="connsiteY18" fmla="*/ 1847799 h 2735201"/>
                <a:gd name="connsiteX19" fmla="*/ 1534160 w 12191999"/>
                <a:gd name="connsiteY19" fmla="*/ 2150335 h 2735201"/>
                <a:gd name="connsiteX20" fmla="*/ 1544687 w 12191999"/>
                <a:gd name="connsiteY20" fmla="*/ 2171439 h 2735201"/>
                <a:gd name="connsiteX21" fmla="*/ 1545220 w 12191999"/>
                <a:gd name="connsiteY21" fmla="*/ 2170800 h 2735201"/>
                <a:gd name="connsiteX22" fmla="*/ 2359487 w 12191999"/>
                <a:gd name="connsiteY22" fmla="*/ 1859106 h 2735201"/>
                <a:gd name="connsiteX23" fmla="*/ 2704296 w 12191999"/>
                <a:gd name="connsiteY23" fmla="*/ 1775434 h 2735201"/>
                <a:gd name="connsiteX24" fmla="*/ 3093885 w 12191999"/>
                <a:gd name="connsiteY24" fmla="*/ 1196514 h 2735201"/>
                <a:gd name="connsiteX25" fmla="*/ 4197720 w 12191999"/>
                <a:gd name="connsiteY25" fmla="*/ 769108 h 2735201"/>
                <a:gd name="connsiteX26" fmla="*/ 5288121 w 12191999"/>
                <a:gd name="connsiteY26" fmla="*/ 1189730 h 2735201"/>
                <a:gd name="connsiteX27" fmla="*/ 5636569 w 12191999"/>
                <a:gd name="connsiteY27" fmla="*/ 1639184 h 2735201"/>
                <a:gd name="connsiteX28" fmla="*/ 5669040 w 12191999"/>
                <a:gd name="connsiteY28" fmla="*/ 1715253 h 2735201"/>
                <a:gd name="connsiteX29" fmla="*/ 5772236 w 12191999"/>
                <a:gd name="connsiteY29" fmla="*/ 1691376 h 2735201"/>
                <a:gd name="connsiteX30" fmla="*/ 6094206 w 12191999"/>
                <a:gd name="connsiteY30" fmla="*/ 1703974 h 2735201"/>
                <a:gd name="connsiteX31" fmla="*/ 6275035 w 12191999"/>
                <a:gd name="connsiteY31" fmla="*/ 1642143 h 2735201"/>
                <a:gd name="connsiteX32" fmla="*/ 6742408 w 12191999"/>
                <a:gd name="connsiteY32" fmla="*/ 1240241 h 2735201"/>
                <a:gd name="connsiteX33" fmla="*/ 7184742 w 12191999"/>
                <a:gd name="connsiteY33" fmla="*/ 1169978 h 2735201"/>
                <a:gd name="connsiteX34" fmla="*/ 7465723 w 12191999"/>
                <a:gd name="connsiteY34" fmla="*/ 1169978 h 2735201"/>
                <a:gd name="connsiteX35" fmla="*/ 7521362 w 12191999"/>
                <a:gd name="connsiteY35" fmla="*/ 1018211 h 2735201"/>
                <a:gd name="connsiteX36" fmla="*/ 7958133 w 12191999"/>
                <a:gd name="connsiteY36" fmla="*/ 374606 h 2735201"/>
                <a:gd name="connsiteX37" fmla="*/ 8728742 w 12191999"/>
                <a:gd name="connsiteY37" fmla="*/ 20483 h 2735201"/>
                <a:gd name="connsiteX38" fmla="*/ 8957869 w 12191999"/>
                <a:gd name="connsiteY38" fmla="*/ 2 h 27352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2191999" h="2735201">
                  <a:moveTo>
                    <a:pt x="8957869" y="2"/>
                  </a:moveTo>
                  <a:cubicBezTo>
                    <a:pt x="9496785" y="-728"/>
                    <a:pt x="10050878" y="320504"/>
                    <a:pt x="10308907" y="807424"/>
                  </a:cubicBezTo>
                  <a:cubicBezTo>
                    <a:pt x="10406276" y="990106"/>
                    <a:pt x="10417404" y="1001348"/>
                    <a:pt x="10570413" y="1015401"/>
                  </a:cubicBezTo>
                  <a:cubicBezTo>
                    <a:pt x="10907033" y="1049127"/>
                    <a:pt x="11329893" y="1335798"/>
                    <a:pt x="11524632" y="1661816"/>
                  </a:cubicBezTo>
                  <a:lnTo>
                    <a:pt x="11624783" y="1833257"/>
                  </a:lnTo>
                  <a:lnTo>
                    <a:pt x="11852906" y="1836067"/>
                  </a:lnTo>
                  <a:cubicBezTo>
                    <a:pt x="11954101" y="1837121"/>
                    <a:pt x="12052165" y="1851613"/>
                    <a:pt x="12144607" y="1878209"/>
                  </a:cubicBezTo>
                  <a:lnTo>
                    <a:pt x="12191999" y="1894228"/>
                  </a:lnTo>
                  <a:lnTo>
                    <a:pt x="12191999" y="2735201"/>
                  </a:lnTo>
                  <a:lnTo>
                    <a:pt x="6452313" y="2735201"/>
                  </a:lnTo>
                  <a:lnTo>
                    <a:pt x="5172234" y="2735201"/>
                  </a:lnTo>
                  <a:lnTo>
                    <a:pt x="2657884" y="2735201"/>
                  </a:lnTo>
                  <a:lnTo>
                    <a:pt x="1235768" y="2735201"/>
                  </a:lnTo>
                  <a:lnTo>
                    <a:pt x="0" y="2735201"/>
                  </a:lnTo>
                  <a:lnTo>
                    <a:pt x="0" y="1746328"/>
                  </a:lnTo>
                  <a:lnTo>
                    <a:pt x="39705" y="1798250"/>
                  </a:lnTo>
                  <a:cubicBezTo>
                    <a:pt x="66106" y="1836365"/>
                    <a:pt x="77421" y="1834459"/>
                    <a:pt x="186799" y="1760135"/>
                  </a:cubicBezTo>
                  <a:cubicBezTo>
                    <a:pt x="360295" y="1641979"/>
                    <a:pt x="511160" y="1596242"/>
                    <a:pt x="729916" y="1594336"/>
                  </a:cubicBezTo>
                  <a:cubicBezTo>
                    <a:pt x="971301" y="1594336"/>
                    <a:pt x="1152340" y="1670566"/>
                    <a:pt x="1325836" y="1847799"/>
                  </a:cubicBezTo>
                  <a:cubicBezTo>
                    <a:pt x="1391840" y="1916882"/>
                    <a:pt x="1478470" y="2046264"/>
                    <a:pt x="1534160" y="2150335"/>
                  </a:cubicBezTo>
                  <a:lnTo>
                    <a:pt x="1544687" y="2171439"/>
                  </a:lnTo>
                  <a:lnTo>
                    <a:pt x="1545220" y="2170800"/>
                  </a:lnTo>
                  <a:cubicBezTo>
                    <a:pt x="1757752" y="1956629"/>
                    <a:pt x="2065617" y="1826598"/>
                    <a:pt x="2359487" y="1859106"/>
                  </a:cubicBezTo>
                  <a:cubicBezTo>
                    <a:pt x="2679667" y="1895288"/>
                    <a:pt x="2655038" y="1899811"/>
                    <a:pt x="2704296" y="1775434"/>
                  </a:cubicBezTo>
                  <a:cubicBezTo>
                    <a:pt x="2766988" y="1610351"/>
                    <a:pt x="2977456" y="1300538"/>
                    <a:pt x="3093885" y="1196514"/>
                  </a:cubicBezTo>
                  <a:cubicBezTo>
                    <a:pt x="3416303" y="909315"/>
                    <a:pt x="3779024" y="769108"/>
                    <a:pt x="4197720" y="769108"/>
                  </a:cubicBezTo>
                  <a:cubicBezTo>
                    <a:pt x="4643284" y="769108"/>
                    <a:pt x="4974659" y="895747"/>
                    <a:pt x="5288121" y="1189730"/>
                  </a:cubicBezTo>
                  <a:cubicBezTo>
                    <a:pt x="5431418" y="1323153"/>
                    <a:pt x="5548967" y="1475232"/>
                    <a:pt x="5636569" y="1639184"/>
                  </a:cubicBezTo>
                  <a:lnTo>
                    <a:pt x="5669040" y="1715253"/>
                  </a:lnTo>
                  <a:lnTo>
                    <a:pt x="5772236" y="1691376"/>
                  </a:lnTo>
                  <a:cubicBezTo>
                    <a:pt x="5883471" y="1672751"/>
                    <a:pt x="5995098" y="1675518"/>
                    <a:pt x="6094206" y="1703974"/>
                  </a:cubicBezTo>
                  <a:cubicBezTo>
                    <a:pt x="6216613" y="1737700"/>
                    <a:pt x="6227741" y="1734889"/>
                    <a:pt x="6275035" y="1642143"/>
                  </a:cubicBezTo>
                  <a:cubicBezTo>
                    <a:pt x="6344584" y="1507239"/>
                    <a:pt x="6553233" y="1327367"/>
                    <a:pt x="6742408" y="1240241"/>
                  </a:cubicBezTo>
                  <a:cubicBezTo>
                    <a:pt x="6862033" y="1186841"/>
                    <a:pt x="6973312" y="1167168"/>
                    <a:pt x="7184742" y="1169978"/>
                  </a:cubicBezTo>
                  <a:lnTo>
                    <a:pt x="7465723" y="1169978"/>
                  </a:lnTo>
                  <a:lnTo>
                    <a:pt x="7521362" y="1018211"/>
                  </a:lnTo>
                  <a:cubicBezTo>
                    <a:pt x="7599258" y="807424"/>
                    <a:pt x="7807906" y="501079"/>
                    <a:pt x="7958133" y="374606"/>
                  </a:cubicBezTo>
                  <a:cubicBezTo>
                    <a:pt x="8152872" y="208787"/>
                    <a:pt x="8458889" y="71072"/>
                    <a:pt x="8728742" y="20483"/>
                  </a:cubicBezTo>
                  <a:cubicBezTo>
                    <a:pt x="8804203" y="6782"/>
                    <a:pt x="8880881" y="107"/>
                    <a:pt x="8957869" y="2"/>
                  </a:cubicBezTo>
                  <a:close/>
                </a:path>
              </a:pathLst>
            </a:custGeom>
            <a:grpFill/>
            <a:ln w="9525" cap="flat" cmpd="sng" algn="ctr">
              <a:noFill/>
              <a:prstDash val="solid"/>
              <a:miter lim="800000"/>
            </a:ln>
            <a:effectLst>
              <a:outerShdw blurRad="241300" dist="38100" dir="1440000" algn="tl" rotWithShape="0">
                <a:sysClr val="window" lastClr="FFFFFF">
                  <a:alpha val="60000"/>
                </a:sysClr>
              </a:outerShdw>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grpSp>
        <p:nvGrpSpPr>
          <p:cNvPr id="97" name="Group 96">
            <a:extLst>
              <a:ext uri="{FF2B5EF4-FFF2-40B4-BE49-F238E27FC236}">
                <a16:creationId xmlns:a16="http://schemas.microsoft.com/office/drawing/2014/main" id="{A1457020-7FDB-4CF1-A556-E35590DBF6C3}"/>
              </a:ext>
            </a:extLst>
          </p:cNvPr>
          <p:cNvGrpSpPr>
            <a:grpSpLocks noChangeAspect="1"/>
          </p:cNvGrpSpPr>
          <p:nvPr/>
        </p:nvGrpSpPr>
        <p:grpSpPr>
          <a:xfrm>
            <a:off x="3805388" y="4521813"/>
            <a:ext cx="2424086" cy="1828800"/>
            <a:chOff x="5193218" y="2184277"/>
            <a:chExt cx="5270940" cy="3976553"/>
          </a:xfrm>
        </p:grpSpPr>
        <p:grpSp>
          <p:nvGrpSpPr>
            <p:cNvPr id="98" name="Group 97">
              <a:extLst>
                <a:ext uri="{FF2B5EF4-FFF2-40B4-BE49-F238E27FC236}">
                  <a16:creationId xmlns:a16="http://schemas.microsoft.com/office/drawing/2014/main" id="{64AF19E7-E897-4512-BC3B-74E280AFA831}"/>
                </a:ext>
              </a:extLst>
            </p:cNvPr>
            <p:cNvGrpSpPr/>
            <p:nvPr/>
          </p:nvGrpSpPr>
          <p:grpSpPr>
            <a:xfrm>
              <a:off x="5204615" y="2184277"/>
              <a:ext cx="5250340" cy="3972062"/>
              <a:chOff x="-961382" y="1846733"/>
              <a:chExt cx="3856780" cy="3318276"/>
            </a:xfrm>
            <a:solidFill>
              <a:sysClr val="window" lastClr="FFFFFF">
                <a:lumMod val="75000"/>
              </a:sysClr>
            </a:solidFill>
          </p:grpSpPr>
          <p:sp>
            <p:nvSpPr>
              <p:cNvPr id="100" name="Freeform: Shape 99">
                <a:extLst>
                  <a:ext uri="{FF2B5EF4-FFF2-40B4-BE49-F238E27FC236}">
                    <a16:creationId xmlns:a16="http://schemas.microsoft.com/office/drawing/2014/main" id="{49D6F289-3AAE-44E8-8825-132982928750}"/>
                  </a:ext>
                </a:extLst>
              </p:cNvPr>
              <p:cNvSpPr/>
              <p:nvPr/>
            </p:nvSpPr>
            <p:spPr>
              <a:xfrm>
                <a:off x="967226"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101" name="Freeform: Shape 100">
                <a:extLst>
                  <a:ext uri="{FF2B5EF4-FFF2-40B4-BE49-F238E27FC236}">
                    <a16:creationId xmlns:a16="http://schemas.microsoft.com/office/drawing/2014/main" id="{90B6C05B-11C9-4E30-B923-ABA74DFA0CEB}"/>
                  </a:ext>
                </a:extLst>
              </p:cNvPr>
              <p:cNvSpPr/>
              <p:nvPr/>
            </p:nvSpPr>
            <p:spPr>
              <a:xfrm>
                <a:off x="968583"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102" name="Freeform: Shape 101">
                <a:extLst>
                  <a:ext uri="{FF2B5EF4-FFF2-40B4-BE49-F238E27FC236}">
                    <a16:creationId xmlns:a16="http://schemas.microsoft.com/office/drawing/2014/main" id="{A5B716BA-7F2D-47AB-92D7-8A6AD7A2ECAF}"/>
                  </a:ext>
                </a:extLst>
              </p:cNvPr>
              <p:cNvSpPr/>
              <p:nvPr/>
            </p:nvSpPr>
            <p:spPr>
              <a:xfrm flipH="1">
                <a:off x="-212820" y="1850553"/>
                <a:ext cx="1179610" cy="3314456"/>
              </a:xfrm>
              <a:custGeom>
                <a:avLst/>
                <a:gdLst>
                  <a:gd name="connsiteX0" fmla="*/ 1356 w 1179610"/>
                  <a:gd name="connsiteY0" fmla="*/ 0 h 3314456"/>
                  <a:gd name="connsiteX1" fmla="*/ 1179610 w 1179610"/>
                  <a:gd name="connsiteY1" fmla="*/ 3308065 h 3314456"/>
                  <a:gd name="connsiteX2" fmla="*/ 2510 w 1179610"/>
                  <a:gd name="connsiteY2" fmla="*/ 3314456 h 3314456"/>
                  <a:gd name="connsiteX3" fmla="*/ 1253 w 1179610"/>
                  <a:gd name="connsiteY3" fmla="*/ 1655318 h 3314456"/>
                  <a:gd name="connsiteX4" fmla="*/ 0 w 1179610"/>
                  <a:gd name="connsiteY4" fmla="*/ 2338 h 3314456"/>
                  <a:gd name="connsiteX5" fmla="*/ 1356 w 1179610"/>
                  <a:gd name="connsiteY5" fmla="*/ 0 h 3314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79610" h="3314456">
                    <a:moveTo>
                      <a:pt x="1356" y="0"/>
                    </a:moveTo>
                    <a:lnTo>
                      <a:pt x="1179610" y="3308065"/>
                    </a:lnTo>
                    <a:lnTo>
                      <a:pt x="2510" y="3314456"/>
                    </a:lnTo>
                    <a:cubicBezTo>
                      <a:pt x="1027" y="2764606"/>
                      <a:pt x="1140" y="2209962"/>
                      <a:pt x="1253" y="1655318"/>
                    </a:cubicBezTo>
                    <a:lnTo>
                      <a:pt x="0" y="2338"/>
                    </a:lnTo>
                    <a:lnTo>
                      <a:pt x="1356"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sp>
            <p:nvSpPr>
              <p:cNvPr id="103" name="Freeform: Shape 102">
                <a:extLst>
                  <a:ext uri="{FF2B5EF4-FFF2-40B4-BE49-F238E27FC236}">
                    <a16:creationId xmlns:a16="http://schemas.microsoft.com/office/drawing/2014/main" id="{482052B6-2B4C-444D-BDC1-F5F5FAE6A354}"/>
                  </a:ext>
                </a:extLst>
              </p:cNvPr>
              <p:cNvSpPr/>
              <p:nvPr/>
            </p:nvSpPr>
            <p:spPr>
              <a:xfrm flipH="1">
                <a:off x="-961382" y="1846733"/>
                <a:ext cx="1926815" cy="3318276"/>
              </a:xfrm>
              <a:custGeom>
                <a:avLst/>
                <a:gdLst>
                  <a:gd name="connsiteX0" fmla="*/ 2215 w 1926815"/>
                  <a:gd name="connsiteY0" fmla="*/ 0 h 3318276"/>
                  <a:gd name="connsiteX1" fmla="*/ 1926815 w 1926815"/>
                  <a:gd name="connsiteY1" fmla="*/ 3318276 h 3318276"/>
                  <a:gd name="connsiteX2" fmla="*/ 1154 w 1926815"/>
                  <a:gd name="connsiteY2" fmla="*/ 3318276 h 3318276"/>
                  <a:gd name="connsiteX3" fmla="*/ 1178254 w 1926815"/>
                  <a:gd name="connsiteY3" fmla="*/ 3311885 h 3318276"/>
                  <a:gd name="connsiteX4" fmla="*/ 0 w 1926815"/>
                  <a:gd name="connsiteY4" fmla="*/ 3820 h 3318276"/>
                  <a:gd name="connsiteX5" fmla="*/ 2215 w 1926815"/>
                  <a:gd name="connsiteY5" fmla="*/ 0 h 33182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5" h="3318276">
                    <a:moveTo>
                      <a:pt x="2215" y="0"/>
                    </a:moveTo>
                    <a:lnTo>
                      <a:pt x="1926815" y="3318276"/>
                    </a:lnTo>
                    <a:lnTo>
                      <a:pt x="1154" y="3318276"/>
                    </a:lnTo>
                    <a:lnTo>
                      <a:pt x="1178254" y="3311885"/>
                    </a:lnTo>
                    <a:lnTo>
                      <a:pt x="0" y="3820"/>
                    </a:lnTo>
                    <a:lnTo>
                      <a:pt x="2215" y="0"/>
                    </a:lnTo>
                    <a:close/>
                  </a:path>
                </a:pathLst>
              </a:custGeom>
              <a:grpFill/>
              <a:ln w="9525" cap="flat" cmpd="sng" algn="ctr">
                <a:noFill/>
                <a:prstDash val="solid"/>
                <a:miter lim="800000"/>
              </a:ln>
              <a:effectLst/>
              <a:scene3d>
                <a:camera prst="orthographicFront"/>
                <a:lightRig rig="threePt" dir="t"/>
              </a:scene3d>
              <a:sp3d>
                <a:bevelT w="285750" h="127000" prst="angle"/>
              </a:sp3d>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sp>
          <p:nvSpPr>
            <p:cNvPr id="99" name="Freeform: Shape 98">
              <a:extLst>
                <a:ext uri="{FF2B5EF4-FFF2-40B4-BE49-F238E27FC236}">
                  <a16:creationId xmlns:a16="http://schemas.microsoft.com/office/drawing/2014/main" id="{2A21BB68-6E33-4BA0-941E-6A15AC89C149}"/>
                </a:ext>
              </a:extLst>
            </p:cNvPr>
            <p:cNvSpPr/>
            <p:nvPr/>
          </p:nvSpPr>
          <p:spPr>
            <a:xfrm>
              <a:off x="5193218" y="3246564"/>
              <a:ext cx="5270940" cy="2914266"/>
            </a:xfrm>
            <a:custGeom>
              <a:avLst/>
              <a:gdLst>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87780 w 3886200"/>
                <a:gd name="connsiteY10" fmla="*/ 30480 h 2209800"/>
                <a:gd name="connsiteX11" fmla="*/ 0 w 3886200"/>
                <a:gd name="connsiteY11" fmla="*/ 2209800 h 2209800"/>
                <a:gd name="connsiteX0" fmla="*/ 0 w 3886200"/>
                <a:gd name="connsiteY0" fmla="*/ 2209800 h 2209800"/>
                <a:gd name="connsiteX1" fmla="*/ 3886200 w 3886200"/>
                <a:gd name="connsiteY1" fmla="*/ 2209800 h 2209800"/>
                <a:gd name="connsiteX2" fmla="*/ 2583180 w 3886200"/>
                <a:gd name="connsiteY2" fmla="*/ 0 h 2209800"/>
                <a:gd name="connsiteX3" fmla="*/ 2430780 w 3886200"/>
                <a:gd name="connsiteY3" fmla="*/ 236220 h 2209800"/>
                <a:gd name="connsiteX4" fmla="*/ 2049780 w 3886200"/>
                <a:gd name="connsiteY4" fmla="*/ 259080 h 2209800"/>
                <a:gd name="connsiteX5" fmla="*/ 1912620 w 3886200"/>
                <a:gd name="connsiteY5" fmla="*/ 106680 h 2209800"/>
                <a:gd name="connsiteX6" fmla="*/ 1752600 w 3886200"/>
                <a:gd name="connsiteY6" fmla="*/ 289560 h 2209800"/>
                <a:gd name="connsiteX7" fmla="*/ 1676400 w 3886200"/>
                <a:gd name="connsiteY7" fmla="*/ 419100 h 2209800"/>
                <a:gd name="connsiteX8" fmla="*/ 1432560 w 3886200"/>
                <a:gd name="connsiteY8" fmla="*/ 411480 h 2209800"/>
                <a:gd name="connsiteX9" fmla="*/ 1402080 w 3886200"/>
                <a:gd name="connsiteY9" fmla="*/ 175260 h 2209800"/>
                <a:gd name="connsiteX10" fmla="*/ 1273493 w 3886200"/>
                <a:gd name="connsiteY10" fmla="*/ 35242 h 2209800"/>
                <a:gd name="connsiteX11" fmla="*/ 0 w 3886200"/>
                <a:gd name="connsiteY11" fmla="*/ 2209800 h 2209800"/>
                <a:gd name="connsiteX0" fmla="*/ 0 w 3881437"/>
                <a:gd name="connsiteY0" fmla="*/ 2219325 h 2219325"/>
                <a:gd name="connsiteX1" fmla="*/ 3881437 w 3881437"/>
                <a:gd name="connsiteY1" fmla="*/ 2209800 h 2219325"/>
                <a:gd name="connsiteX2" fmla="*/ 2578417 w 3881437"/>
                <a:gd name="connsiteY2" fmla="*/ 0 h 2219325"/>
                <a:gd name="connsiteX3" fmla="*/ 2426017 w 3881437"/>
                <a:gd name="connsiteY3" fmla="*/ 236220 h 2219325"/>
                <a:gd name="connsiteX4" fmla="*/ 2045017 w 3881437"/>
                <a:gd name="connsiteY4" fmla="*/ 259080 h 2219325"/>
                <a:gd name="connsiteX5" fmla="*/ 1907857 w 3881437"/>
                <a:gd name="connsiteY5" fmla="*/ 106680 h 2219325"/>
                <a:gd name="connsiteX6" fmla="*/ 1747837 w 3881437"/>
                <a:gd name="connsiteY6" fmla="*/ 289560 h 2219325"/>
                <a:gd name="connsiteX7" fmla="*/ 1671637 w 3881437"/>
                <a:gd name="connsiteY7" fmla="*/ 419100 h 2219325"/>
                <a:gd name="connsiteX8" fmla="*/ 1427797 w 3881437"/>
                <a:gd name="connsiteY8" fmla="*/ 411480 h 2219325"/>
                <a:gd name="connsiteX9" fmla="*/ 1397317 w 3881437"/>
                <a:gd name="connsiteY9" fmla="*/ 175260 h 2219325"/>
                <a:gd name="connsiteX10" fmla="*/ 1268730 w 3881437"/>
                <a:gd name="connsiteY10" fmla="*/ 35242 h 2219325"/>
                <a:gd name="connsiteX11" fmla="*/ 0 w 3881437"/>
                <a:gd name="connsiteY11" fmla="*/ 2219325 h 2219325"/>
                <a:gd name="connsiteX0" fmla="*/ 0 w 3871912"/>
                <a:gd name="connsiteY0" fmla="*/ 2219325 h 2219325"/>
                <a:gd name="connsiteX1" fmla="*/ 3871912 w 3871912"/>
                <a:gd name="connsiteY1" fmla="*/ 2214562 h 2219325"/>
                <a:gd name="connsiteX2" fmla="*/ 2578417 w 3871912"/>
                <a:gd name="connsiteY2" fmla="*/ 0 h 2219325"/>
                <a:gd name="connsiteX3" fmla="*/ 2426017 w 3871912"/>
                <a:gd name="connsiteY3" fmla="*/ 236220 h 2219325"/>
                <a:gd name="connsiteX4" fmla="*/ 2045017 w 3871912"/>
                <a:gd name="connsiteY4" fmla="*/ 259080 h 2219325"/>
                <a:gd name="connsiteX5" fmla="*/ 1907857 w 3871912"/>
                <a:gd name="connsiteY5" fmla="*/ 106680 h 2219325"/>
                <a:gd name="connsiteX6" fmla="*/ 1747837 w 3871912"/>
                <a:gd name="connsiteY6" fmla="*/ 289560 h 2219325"/>
                <a:gd name="connsiteX7" fmla="*/ 1671637 w 3871912"/>
                <a:gd name="connsiteY7" fmla="*/ 419100 h 2219325"/>
                <a:gd name="connsiteX8" fmla="*/ 1427797 w 3871912"/>
                <a:gd name="connsiteY8" fmla="*/ 411480 h 2219325"/>
                <a:gd name="connsiteX9" fmla="*/ 1397317 w 3871912"/>
                <a:gd name="connsiteY9" fmla="*/ 175260 h 2219325"/>
                <a:gd name="connsiteX10" fmla="*/ 1268730 w 3871912"/>
                <a:gd name="connsiteY10" fmla="*/ 35242 h 2219325"/>
                <a:gd name="connsiteX11" fmla="*/ 0 w 3871912"/>
                <a:gd name="connsiteY11" fmla="*/ 2219325 h 2219325"/>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427797 w 3871912"/>
                <a:gd name="connsiteY8" fmla="*/ 42100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228850 h 2228850"/>
                <a:gd name="connsiteX1" fmla="*/ 3871912 w 3871912"/>
                <a:gd name="connsiteY1" fmla="*/ 2224087 h 2228850"/>
                <a:gd name="connsiteX2" fmla="*/ 2578417 w 3871912"/>
                <a:gd name="connsiteY2" fmla="*/ 0 h 2228850"/>
                <a:gd name="connsiteX3" fmla="*/ 2426017 w 3871912"/>
                <a:gd name="connsiteY3" fmla="*/ 245745 h 2228850"/>
                <a:gd name="connsiteX4" fmla="*/ 2045017 w 3871912"/>
                <a:gd name="connsiteY4" fmla="*/ 268605 h 2228850"/>
                <a:gd name="connsiteX5" fmla="*/ 1907857 w 3871912"/>
                <a:gd name="connsiteY5" fmla="*/ 116205 h 2228850"/>
                <a:gd name="connsiteX6" fmla="*/ 1747837 w 3871912"/>
                <a:gd name="connsiteY6" fmla="*/ 299085 h 2228850"/>
                <a:gd name="connsiteX7" fmla="*/ 1671637 w 3871912"/>
                <a:gd name="connsiteY7" fmla="*/ 428625 h 2228850"/>
                <a:gd name="connsiteX8" fmla="*/ 1618297 w 3871912"/>
                <a:gd name="connsiteY8" fmla="*/ 20955 h 2228850"/>
                <a:gd name="connsiteX9" fmla="*/ 1397317 w 3871912"/>
                <a:gd name="connsiteY9" fmla="*/ 184785 h 2228850"/>
                <a:gd name="connsiteX10" fmla="*/ 1268730 w 3871912"/>
                <a:gd name="connsiteY10" fmla="*/ 44767 h 2228850"/>
                <a:gd name="connsiteX11" fmla="*/ 0 w 3871912"/>
                <a:gd name="connsiteY11" fmla="*/ 2228850 h 222885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045017 w 3871912"/>
                <a:gd name="connsiteY4" fmla="*/ 47434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71637 w 3871912"/>
                <a:gd name="connsiteY7" fmla="*/ 63436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614487 w 3871912"/>
                <a:gd name="connsiteY7" fmla="*/ 438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 name="connsiteX0" fmla="*/ 0 w 3871912"/>
                <a:gd name="connsiteY0" fmla="*/ 2434590 h 2434590"/>
                <a:gd name="connsiteX1" fmla="*/ 3871912 w 3871912"/>
                <a:gd name="connsiteY1" fmla="*/ 2429827 h 2434590"/>
                <a:gd name="connsiteX2" fmla="*/ 2578417 w 3871912"/>
                <a:gd name="connsiteY2" fmla="*/ 205740 h 2434590"/>
                <a:gd name="connsiteX3" fmla="*/ 2426017 w 3871912"/>
                <a:gd name="connsiteY3" fmla="*/ 451485 h 2434590"/>
                <a:gd name="connsiteX4" fmla="*/ 2178367 w 3871912"/>
                <a:gd name="connsiteY4" fmla="*/ 150495 h 2434590"/>
                <a:gd name="connsiteX5" fmla="*/ 1907857 w 3871912"/>
                <a:gd name="connsiteY5" fmla="*/ 321945 h 2434590"/>
                <a:gd name="connsiteX6" fmla="*/ 1747837 w 3871912"/>
                <a:gd name="connsiteY6" fmla="*/ 0 h 2434590"/>
                <a:gd name="connsiteX7" fmla="*/ 1741487 w 3871912"/>
                <a:gd name="connsiteY7" fmla="*/ 234315 h 2434590"/>
                <a:gd name="connsiteX8" fmla="*/ 1618297 w 3871912"/>
                <a:gd name="connsiteY8" fmla="*/ 226695 h 2434590"/>
                <a:gd name="connsiteX9" fmla="*/ 1397317 w 3871912"/>
                <a:gd name="connsiteY9" fmla="*/ 390525 h 2434590"/>
                <a:gd name="connsiteX10" fmla="*/ 1268730 w 3871912"/>
                <a:gd name="connsiteY10" fmla="*/ 250507 h 2434590"/>
                <a:gd name="connsiteX11" fmla="*/ 0 w 3871912"/>
                <a:gd name="connsiteY11" fmla="*/ 2434590 h 243459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71912" h="2434590">
                  <a:moveTo>
                    <a:pt x="0" y="2434590"/>
                  </a:moveTo>
                  <a:lnTo>
                    <a:pt x="3871912" y="2429827"/>
                  </a:lnTo>
                  <a:lnTo>
                    <a:pt x="2578417" y="205740"/>
                  </a:lnTo>
                  <a:lnTo>
                    <a:pt x="2426017" y="451485"/>
                  </a:lnTo>
                  <a:lnTo>
                    <a:pt x="2178367" y="150495"/>
                  </a:lnTo>
                  <a:lnTo>
                    <a:pt x="1907857" y="321945"/>
                  </a:lnTo>
                  <a:lnTo>
                    <a:pt x="1747837" y="0"/>
                  </a:lnTo>
                  <a:lnTo>
                    <a:pt x="1741487" y="234315"/>
                  </a:lnTo>
                  <a:lnTo>
                    <a:pt x="1618297" y="226695"/>
                  </a:lnTo>
                  <a:lnTo>
                    <a:pt x="1397317" y="390525"/>
                  </a:lnTo>
                  <a:lnTo>
                    <a:pt x="1268730" y="250507"/>
                  </a:lnTo>
                  <a:lnTo>
                    <a:pt x="0" y="2434590"/>
                  </a:lnTo>
                  <a:close/>
                </a:path>
              </a:pathLst>
            </a:custGeom>
            <a:solidFill>
              <a:srgbClr val="5E9042">
                <a:alpha val="78000"/>
              </a:srgbClr>
            </a:solidFill>
            <a:ln w="9525" cap="flat" cmpd="sng" algn="ctr">
              <a:noFill/>
              <a:prstDash val="solid"/>
              <a:miter lim="800000"/>
            </a:ln>
            <a:effectLst/>
            <a:scene3d>
              <a:camera prst="orthographicFront"/>
              <a:lightRig rig="threePt" dir="t"/>
            </a:scene3d>
            <a:sp3d>
              <a:bevelT w="6350" h="0" prst="angle"/>
            </a:sp3d>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600" b="1" i="0" u="none" strike="noStrike" kern="0" cap="none" spc="0" normalizeH="0" baseline="0" noProof="0" dirty="0">
                <a:ln>
                  <a:noFill/>
                </a:ln>
                <a:solidFill>
                  <a:srgbClr val="2CB8AE"/>
                </a:solidFill>
                <a:effectLst/>
                <a:uLnTx/>
                <a:uFillTx/>
                <a:latin typeface="Arial"/>
                <a:cs typeface="+mn-cs"/>
              </a:endParaRPr>
            </a:p>
          </p:txBody>
        </p:sp>
      </p:grpSp>
      <p:grpSp>
        <p:nvGrpSpPr>
          <p:cNvPr id="3" name="Group 2">
            <a:extLst>
              <a:ext uri="{FF2B5EF4-FFF2-40B4-BE49-F238E27FC236}">
                <a16:creationId xmlns:a16="http://schemas.microsoft.com/office/drawing/2014/main" id="{0E03279A-3AD8-4E3B-82A6-100F99568CD8}"/>
              </a:ext>
            </a:extLst>
          </p:cNvPr>
          <p:cNvGrpSpPr/>
          <p:nvPr/>
        </p:nvGrpSpPr>
        <p:grpSpPr>
          <a:xfrm>
            <a:off x="897621" y="4641516"/>
            <a:ext cx="2917737" cy="1099313"/>
            <a:chOff x="1037475" y="4781370"/>
            <a:chExt cx="2917737" cy="1099313"/>
          </a:xfrm>
        </p:grpSpPr>
        <p:sp>
          <p:nvSpPr>
            <p:cNvPr id="84" name="TextBox 83">
              <a:extLst>
                <a:ext uri="{FF2B5EF4-FFF2-40B4-BE49-F238E27FC236}">
                  <a16:creationId xmlns:a16="http://schemas.microsoft.com/office/drawing/2014/main" id="{E01ED182-6020-4E82-9730-FC236B01258D}"/>
                </a:ext>
              </a:extLst>
            </p:cNvPr>
            <p:cNvSpPr txBox="1"/>
            <p:nvPr/>
          </p:nvSpPr>
          <p:spPr>
            <a:xfrm>
              <a:off x="1037475" y="4781370"/>
              <a:ext cx="2004179" cy="830997"/>
            </a:xfrm>
            <a:prstGeom prst="rect">
              <a:avLst/>
            </a:prstGeom>
            <a:noFill/>
          </p:spPr>
          <p:txBody>
            <a:bodyPr wrap="square" rtlCol="0">
              <a:spAutoFit/>
            </a:bodyPr>
            <a:lstStyle/>
            <a:p>
              <a:pPr>
                <a:defRPr/>
              </a:pPr>
              <a:r>
                <a:rPr lang="en-US" sz="3200" b="1" kern="0" dirty="0">
                  <a:solidFill>
                    <a:prstClr val="black">
                      <a:lumMod val="75000"/>
                      <a:lumOff val="25000"/>
                    </a:prstClr>
                  </a:solidFill>
                  <a:latin typeface="Arial" panose="020B0604020202020204" pitchFamily="34" charset="0"/>
                  <a:cs typeface="Arial" panose="020B0604020202020204" pitchFamily="34" charset="0"/>
                </a:rPr>
                <a:t>14 </a:t>
              </a:r>
              <a:r>
                <a:rPr lang="en-US" sz="1600" b="1" kern="0" dirty="0">
                  <a:solidFill>
                    <a:prstClr val="black">
                      <a:lumMod val="75000"/>
                      <a:lumOff val="25000"/>
                    </a:prstClr>
                  </a:solidFill>
                  <a:latin typeface="Arial" panose="020B0604020202020204" pitchFamily="34" charset="0"/>
                  <a:cs typeface="Arial" panose="020B0604020202020204" pitchFamily="34" charset="0"/>
                </a:rPr>
                <a:t>Countries</a:t>
              </a:r>
            </a:p>
            <a:p>
              <a:pPr>
                <a:defRPr/>
              </a:pPr>
              <a:r>
                <a:rPr lang="en-US" sz="1600" kern="0" dirty="0">
                  <a:solidFill>
                    <a:prstClr val="black">
                      <a:lumMod val="75000"/>
                      <a:lumOff val="25000"/>
                    </a:prstClr>
                  </a:solidFill>
                  <a:latin typeface="Arial" panose="020B0604020202020204" pitchFamily="34" charset="0"/>
                  <a:cs typeface="Arial" panose="020B0604020202020204" pitchFamily="34" charset="0"/>
                </a:rPr>
                <a:t>17 Online Risks</a:t>
              </a:r>
              <a:endParaRPr lang="en-US" sz="1600" dirty="0">
                <a:solidFill>
                  <a:prstClr val="black">
                    <a:lumMod val="75000"/>
                    <a:lumOff val="25000"/>
                  </a:prstClr>
                </a:solidFill>
                <a:latin typeface="Arial"/>
              </a:endParaRPr>
            </a:p>
          </p:txBody>
        </p:sp>
        <p:grpSp>
          <p:nvGrpSpPr>
            <p:cNvPr id="81" name="Group 80">
              <a:extLst>
                <a:ext uri="{FF2B5EF4-FFF2-40B4-BE49-F238E27FC236}">
                  <a16:creationId xmlns:a16="http://schemas.microsoft.com/office/drawing/2014/main" id="{6939758F-FF81-443D-A66E-F14310456D93}"/>
                </a:ext>
              </a:extLst>
            </p:cNvPr>
            <p:cNvGrpSpPr/>
            <p:nvPr/>
          </p:nvGrpSpPr>
          <p:grpSpPr>
            <a:xfrm>
              <a:off x="2857932" y="4783403"/>
              <a:ext cx="1097280" cy="1097280"/>
              <a:chOff x="1952872" y="3413750"/>
              <a:chExt cx="1097280" cy="1097280"/>
            </a:xfrm>
          </p:grpSpPr>
          <p:sp>
            <p:nvSpPr>
              <p:cNvPr id="82" name="Oval 81">
                <a:extLst>
                  <a:ext uri="{FF2B5EF4-FFF2-40B4-BE49-F238E27FC236}">
                    <a16:creationId xmlns:a16="http://schemas.microsoft.com/office/drawing/2014/main" id="{D7054497-BF02-45EC-B4B7-19473DB86AE1}"/>
                  </a:ext>
                </a:extLst>
              </p:cNvPr>
              <p:cNvSpPr/>
              <p:nvPr/>
            </p:nvSpPr>
            <p:spPr>
              <a:xfrm>
                <a:off x="1952872" y="3413750"/>
                <a:ext cx="1097280" cy="1097280"/>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cs typeface="+mn-cs"/>
                </a:endParaRPr>
              </a:p>
            </p:txBody>
          </p:sp>
          <p:sp>
            <p:nvSpPr>
              <p:cNvPr id="83" name="Rectangle 82">
                <a:extLst>
                  <a:ext uri="{FF2B5EF4-FFF2-40B4-BE49-F238E27FC236}">
                    <a16:creationId xmlns:a16="http://schemas.microsoft.com/office/drawing/2014/main" id="{179A0724-19E9-45C8-9E09-B27E69B5FE48}"/>
                  </a:ext>
                </a:extLst>
              </p:cNvPr>
              <p:cNvSpPr/>
              <p:nvPr/>
            </p:nvSpPr>
            <p:spPr>
              <a:xfrm>
                <a:off x="2008429" y="3708981"/>
                <a:ext cx="986167" cy="52322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800" b="1" i="0" u="none" strike="noStrike" kern="0" cap="none" spc="0" normalizeH="0" baseline="0" noProof="0" dirty="0">
                    <a:ln>
                      <a:noFill/>
                    </a:ln>
                    <a:solidFill>
                      <a:prstClr val="white"/>
                    </a:solidFill>
                    <a:effectLst/>
                    <a:uLnTx/>
                    <a:uFillTx/>
                    <a:latin typeface="Arial"/>
                  </a:rPr>
                  <a:t>2016</a:t>
                </a:r>
              </a:p>
            </p:txBody>
          </p:sp>
        </p:grpSp>
      </p:grpSp>
      <p:grpSp>
        <p:nvGrpSpPr>
          <p:cNvPr id="4" name="Group 3">
            <a:extLst>
              <a:ext uri="{FF2B5EF4-FFF2-40B4-BE49-F238E27FC236}">
                <a16:creationId xmlns:a16="http://schemas.microsoft.com/office/drawing/2014/main" id="{CF9763F4-F77F-41AF-B445-1797EBCC0D87}"/>
              </a:ext>
            </a:extLst>
          </p:cNvPr>
          <p:cNvGrpSpPr/>
          <p:nvPr/>
        </p:nvGrpSpPr>
        <p:grpSpPr>
          <a:xfrm>
            <a:off x="2110093" y="3448636"/>
            <a:ext cx="2854741" cy="1097280"/>
            <a:chOff x="2013271" y="3373330"/>
            <a:chExt cx="2854741" cy="1097280"/>
          </a:xfrm>
        </p:grpSpPr>
        <p:sp>
          <p:nvSpPr>
            <p:cNvPr id="94" name="TextBox 93">
              <a:extLst>
                <a:ext uri="{FF2B5EF4-FFF2-40B4-BE49-F238E27FC236}">
                  <a16:creationId xmlns:a16="http://schemas.microsoft.com/office/drawing/2014/main" id="{6B4FF578-867E-4FD9-BA4A-E25E7C278C92}"/>
                </a:ext>
              </a:extLst>
            </p:cNvPr>
            <p:cNvSpPr txBox="1"/>
            <p:nvPr/>
          </p:nvSpPr>
          <p:spPr>
            <a:xfrm>
              <a:off x="2013271" y="3490615"/>
              <a:ext cx="2004179" cy="830997"/>
            </a:xfrm>
            <a:prstGeom prst="rect">
              <a:avLst/>
            </a:prstGeom>
            <a:noFill/>
          </p:spPr>
          <p:txBody>
            <a:bodyPr wrap="square" rtlCol="0">
              <a:spAutoFit/>
            </a:bodyPr>
            <a:lstStyle/>
            <a:p>
              <a:pPr>
                <a:defRPr/>
              </a:pPr>
              <a:r>
                <a:rPr lang="en-US" sz="3200" b="1" kern="0" dirty="0">
                  <a:solidFill>
                    <a:prstClr val="black">
                      <a:lumMod val="75000"/>
                      <a:lumOff val="25000"/>
                    </a:prstClr>
                  </a:solidFill>
                  <a:latin typeface="Arial" panose="020B0604020202020204" pitchFamily="34" charset="0"/>
                  <a:cs typeface="Arial" panose="020B0604020202020204" pitchFamily="34" charset="0"/>
                </a:rPr>
                <a:t>23</a:t>
              </a:r>
              <a:r>
                <a:rPr lang="en-US" sz="1600" b="1" kern="0" dirty="0">
                  <a:solidFill>
                    <a:prstClr val="black">
                      <a:lumMod val="75000"/>
                      <a:lumOff val="25000"/>
                    </a:prstClr>
                  </a:solidFill>
                  <a:latin typeface="Arial" panose="020B0604020202020204" pitchFamily="34" charset="0"/>
                  <a:cs typeface="Arial" panose="020B0604020202020204" pitchFamily="34" charset="0"/>
                </a:rPr>
                <a:t> Countries</a:t>
              </a:r>
            </a:p>
            <a:p>
              <a:pPr>
                <a:defRPr/>
              </a:pPr>
              <a:r>
                <a:rPr lang="en-US" sz="1600" kern="0" dirty="0">
                  <a:solidFill>
                    <a:prstClr val="black">
                      <a:lumMod val="75000"/>
                      <a:lumOff val="25000"/>
                    </a:prstClr>
                  </a:solidFill>
                  <a:latin typeface="Arial" panose="020B0604020202020204" pitchFamily="34" charset="0"/>
                  <a:cs typeface="Arial" panose="020B0604020202020204" pitchFamily="34" charset="0"/>
                </a:rPr>
                <a:t>20 Online Risks</a:t>
              </a:r>
              <a:endParaRPr lang="en-US" sz="1600" dirty="0">
                <a:solidFill>
                  <a:prstClr val="black">
                    <a:lumMod val="75000"/>
                    <a:lumOff val="25000"/>
                  </a:prstClr>
                </a:solidFill>
                <a:latin typeface="Arial"/>
              </a:endParaRPr>
            </a:p>
          </p:txBody>
        </p:sp>
        <p:grpSp>
          <p:nvGrpSpPr>
            <p:cNvPr id="85" name="Group 84">
              <a:extLst>
                <a:ext uri="{FF2B5EF4-FFF2-40B4-BE49-F238E27FC236}">
                  <a16:creationId xmlns:a16="http://schemas.microsoft.com/office/drawing/2014/main" id="{B54A136B-E4D1-4D8B-BF4D-F6C0AEF6B649}"/>
                </a:ext>
              </a:extLst>
            </p:cNvPr>
            <p:cNvGrpSpPr/>
            <p:nvPr/>
          </p:nvGrpSpPr>
          <p:grpSpPr>
            <a:xfrm>
              <a:off x="3770732" y="3373330"/>
              <a:ext cx="1097280" cy="1097280"/>
              <a:chOff x="1952872" y="3413750"/>
              <a:chExt cx="1097280" cy="1097280"/>
            </a:xfrm>
          </p:grpSpPr>
          <p:sp>
            <p:nvSpPr>
              <p:cNvPr id="86" name="Oval 85">
                <a:extLst>
                  <a:ext uri="{FF2B5EF4-FFF2-40B4-BE49-F238E27FC236}">
                    <a16:creationId xmlns:a16="http://schemas.microsoft.com/office/drawing/2014/main" id="{F0BF00A2-393C-4933-A198-1DD9677A4726}"/>
                  </a:ext>
                </a:extLst>
              </p:cNvPr>
              <p:cNvSpPr/>
              <p:nvPr/>
            </p:nvSpPr>
            <p:spPr>
              <a:xfrm>
                <a:off x="1952872" y="3413750"/>
                <a:ext cx="1097280" cy="1097280"/>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cs typeface="+mn-cs"/>
                </a:endParaRPr>
              </a:p>
            </p:txBody>
          </p:sp>
          <p:sp>
            <p:nvSpPr>
              <p:cNvPr id="87" name="Rectangle 86">
                <a:extLst>
                  <a:ext uri="{FF2B5EF4-FFF2-40B4-BE49-F238E27FC236}">
                    <a16:creationId xmlns:a16="http://schemas.microsoft.com/office/drawing/2014/main" id="{7A542A73-6A78-4F28-AD21-34768E185E62}"/>
                  </a:ext>
                </a:extLst>
              </p:cNvPr>
              <p:cNvSpPr/>
              <p:nvPr/>
            </p:nvSpPr>
            <p:spPr>
              <a:xfrm>
                <a:off x="2008429" y="3708981"/>
                <a:ext cx="986167" cy="52322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800" b="1" i="0" u="none" strike="noStrike" kern="0" cap="none" spc="0" normalizeH="0" baseline="0" noProof="0" dirty="0">
                    <a:ln>
                      <a:noFill/>
                    </a:ln>
                    <a:solidFill>
                      <a:prstClr val="white"/>
                    </a:solidFill>
                    <a:effectLst/>
                    <a:uLnTx/>
                    <a:uFillTx/>
                    <a:latin typeface="Arial"/>
                  </a:rPr>
                  <a:t>2017</a:t>
                </a:r>
              </a:p>
            </p:txBody>
          </p:sp>
        </p:grpSp>
      </p:grpSp>
      <p:grpSp>
        <p:nvGrpSpPr>
          <p:cNvPr id="5" name="Group 4">
            <a:extLst>
              <a:ext uri="{FF2B5EF4-FFF2-40B4-BE49-F238E27FC236}">
                <a16:creationId xmlns:a16="http://schemas.microsoft.com/office/drawing/2014/main" id="{5E189C2A-CA16-411F-9DC5-7AA239B2731A}"/>
              </a:ext>
            </a:extLst>
          </p:cNvPr>
          <p:cNvGrpSpPr/>
          <p:nvPr/>
        </p:nvGrpSpPr>
        <p:grpSpPr>
          <a:xfrm>
            <a:off x="3234524" y="2290474"/>
            <a:ext cx="2881330" cy="1097352"/>
            <a:chOff x="3234524" y="2290474"/>
            <a:chExt cx="2881330" cy="1097352"/>
          </a:xfrm>
        </p:grpSpPr>
        <p:sp>
          <p:nvSpPr>
            <p:cNvPr id="95" name="TextBox 94">
              <a:extLst>
                <a:ext uri="{FF2B5EF4-FFF2-40B4-BE49-F238E27FC236}">
                  <a16:creationId xmlns:a16="http://schemas.microsoft.com/office/drawing/2014/main" id="{DA933C69-720E-4AD4-8A2D-175CD74AC772}"/>
                </a:ext>
              </a:extLst>
            </p:cNvPr>
            <p:cNvSpPr txBox="1"/>
            <p:nvPr/>
          </p:nvSpPr>
          <p:spPr>
            <a:xfrm>
              <a:off x="3234524" y="2290474"/>
              <a:ext cx="2004179" cy="830997"/>
            </a:xfrm>
            <a:prstGeom prst="rect">
              <a:avLst/>
            </a:prstGeom>
            <a:noFill/>
          </p:spPr>
          <p:txBody>
            <a:bodyPr wrap="square" rtlCol="0">
              <a:spAutoFit/>
            </a:bodyPr>
            <a:lstStyle/>
            <a:p>
              <a:pPr>
                <a:defRPr/>
              </a:pPr>
              <a:r>
                <a:rPr lang="en-US" sz="3200" b="1" kern="0" dirty="0">
                  <a:solidFill>
                    <a:prstClr val="black">
                      <a:lumMod val="75000"/>
                      <a:lumOff val="25000"/>
                    </a:prstClr>
                  </a:solidFill>
                  <a:latin typeface="Arial" panose="020B0604020202020204" pitchFamily="34" charset="0"/>
                  <a:cs typeface="Arial" panose="020B0604020202020204" pitchFamily="34" charset="0"/>
                </a:rPr>
                <a:t>22 </a:t>
              </a:r>
              <a:r>
                <a:rPr lang="en-US" sz="1600" b="1" kern="0" dirty="0">
                  <a:solidFill>
                    <a:prstClr val="black">
                      <a:lumMod val="75000"/>
                      <a:lumOff val="25000"/>
                    </a:prstClr>
                  </a:solidFill>
                  <a:latin typeface="Arial" panose="020B0604020202020204" pitchFamily="34" charset="0"/>
                  <a:cs typeface="Arial" panose="020B0604020202020204" pitchFamily="34" charset="0"/>
                </a:rPr>
                <a:t>Countries</a:t>
              </a:r>
            </a:p>
            <a:p>
              <a:pPr>
                <a:defRPr/>
              </a:pPr>
              <a:r>
                <a:rPr lang="en-US" sz="1600" kern="0" dirty="0">
                  <a:solidFill>
                    <a:prstClr val="black">
                      <a:lumMod val="75000"/>
                      <a:lumOff val="25000"/>
                    </a:prstClr>
                  </a:solidFill>
                  <a:latin typeface="Arial" panose="020B0604020202020204" pitchFamily="34" charset="0"/>
                  <a:cs typeface="Arial" panose="020B0604020202020204" pitchFamily="34" charset="0"/>
                </a:rPr>
                <a:t>21 Online Risks</a:t>
              </a:r>
              <a:endParaRPr lang="en-US" sz="1600" dirty="0">
                <a:solidFill>
                  <a:prstClr val="black">
                    <a:lumMod val="75000"/>
                    <a:lumOff val="25000"/>
                  </a:prstClr>
                </a:solidFill>
                <a:latin typeface="Arial"/>
              </a:endParaRPr>
            </a:p>
          </p:txBody>
        </p:sp>
        <p:grpSp>
          <p:nvGrpSpPr>
            <p:cNvPr id="88" name="Group 87">
              <a:extLst>
                <a:ext uri="{FF2B5EF4-FFF2-40B4-BE49-F238E27FC236}">
                  <a16:creationId xmlns:a16="http://schemas.microsoft.com/office/drawing/2014/main" id="{037D6084-5884-46CD-ADB1-909C3E7F5F6F}"/>
                </a:ext>
              </a:extLst>
            </p:cNvPr>
            <p:cNvGrpSpPr/>
            <p:nvPr/>
          </p:nvGrpSpPr>
          <p:grpSpPr>
            <a:xfrm>
              <a:off x="5018574" y="2290546"/>
              <a:ext cx="1097280" cy="1097280"/>
              <a:chOff x="1952872" y="3413750"/>
              <a:chExt cx="1097280" cy="1097280"/>
            </a:xfrm>
          </p:grpSpPr>
          <p:sp>
            <p:nvSpPr>
              <p:cNvPr id="89" name="Oval 88">
                <a:extLst>
                  <a:ext uri="{FF2B5EF4-FFF2-40B4-BE49-F238E27FC236}">
                    <a16:creationId xmlns:a16="http://schemas.microsoft.com/office/drawing/2014/main" id="{00A7F35F-46CA-4CDD-8F7F-FA561E1CC6AC}"/>
                  </a:ext>
                </a:extLst>
              </p:cNvPr>
              <p:cNvSpPr/>
              <p:nvPr/>
            </p:nvSpPr>
            <p:spPr>
              <a:xfrm>
                <a:off x="1952872" y="3413750"/>
                <a:ext cx="1097280" cy="1097280"/>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cs typeface="+mn-cs"/>
                </a:endParaRPr>
              </a:p>
            </p:txBody>
          </p:sp>
          <p:sp>
            <p:nvSpPr>
              <p:cNvPr id="90" name="Rectangle 89">
                <a:extLst>
                  <a:ext uri="{FF2B5EF4-FFF2-40B4-BE49-F238E27FC236}">
                    <a16:creationId xmlns:a16="http://schemas.microsoft.com/office/drawing/2014/main" id="{D5B6E805-ADF1-4B97-BA2A-AE29062997DA}"/>
                  </a:ext>
                </a:extLst>
              </p:cNvPr>
              <p:cNvSpPr/>
              <p:nvPr/>
            </p:nvSpPr>
            <p:spPr>
              <a:xfrm>
                <a:off x="2008429" y="3708981"/>
                <a:ext cx="986167" cy="52322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800" b="1" i="0" u="none" strike="noStrike" kern="0" cap="none" spc="0" normalizeH="0" baseline="0" noProof="0" dirty="0">
                    <a:ln>
                      <a:noFill/>
                    </a:ln>
                    <a:solidFill>
                      <a:prstClr val="white"/>
                    </a:solidFill>
                    <a:effectLst/>
                    <a:uLnTx/>
                    <a:uFillTx/>
                    <a:latin typeface="Arial"/>
                  </a:rPr>
                  <a:t>2018</a:t>
                </a:r>
              </a:p>
            </p:txBody>
          </p:sp>
        </p:grpSp>
      </p:grpSp>
      <p:grpSp>
        <p:nvGrpSpPr>
          <p:cNvPr id="6" name="Group 5">
            <a:extLst>
              <a:ext uri="{FF2B5EF4-FFF2-40B4-BE49-F238E27FC236}">
                <a16:creationId xmlns:a16="http://schemas.microsoft.com/office/drawing/2014/main" id="{B77AE0AE-EEEA-4A7A-8342-70BCDD8BDB95}"/>
              </a:ext>
            </a:extLst>
          </p:cNvPr>
          <p:cNvGrpSpPr/>
          <p:nvPr/>
        </p:nvGrpSpPr>
        <p:grpSpPr>
          <a:xfrm>
            <a:off x="4416814" y="1044689"/>
            <a:ext cx="2880641" cy="1238300"/>
            <a:chOff x="4685758" y="1227570"/>
            <a:chExt cx="2880641" cy="1238300"/>
          </a:xfrm>
        </p:grpSpPr>
        <p:sp>
          <p:nvSpPr>
            <p:cNvPr id="96" name="TextBox 95">
              <a:extLst>
                <a:ext uri="{FF2B5EF4-FFF2-40B4-BE49-F238E27FC236}">
                  <a16:creationId xmlns:a16="http://schemas.microsoft.com/office/drawing/2014/main" id="{27609923-DF38-494E-BD13-96FAB442320D}"/>
                </a:ext>
              </a:extLst>
            </p:cNvPr>
            <p:cNvSpPr txBox="1"/>
            <p:nvPr/>
          </p:nvSpPr>
          <p:spPr>
            <a:xfrm>
              <a:off x="4685758" y="1227570"/>
              <a:ext cx="2004179" cy="830997"/>
            </a:xfrm>
            <a:prstGeom prst="rect">
              <a:avLst/>
            </a:prstGeom>
            <a:noFill/>
          </p:spPr>
          <p:txBody>
            <a:bodyPr wrap="square" rtlCol="0">
              <a:spAutoFit/>
            </a:bodyPr>
            <a:lstStyle/>
            <a:p>
              <a:pPr>
                <a:defRPr/>
              </a:pPr>
              <a:r>
                <a:rPr lang="en-US" sz="3200" b="1" kern="0" dirty="0">
                  <a:solidFill>
                    <a:prstClr val="black">
                      <a:lumMod val="75000"/>
                      <a:lumOff val="25000"/>
                    </a:prstClr>
                  </a:solidFill>
                  <a:latin typeface="Arial" panose="020B0604020202020204" pitchFamily="34" charset="0"/>
                  <a:cs typeface="Arial" panose="020B0604020202020204" pitchFamily="34" charset="0"/>
                </a:rPr>
                <a:t>25 </a:t>
              </a:r>
              <a:r>
                <a:rPr lang="en-US" sz="1600" b="1" kern="0" dirty="0">
                  <a:solidFill>
                    <a:prstClr val="black">
                      <a:lumMod val="75000"/>
                      <a:lumOff val="25000"/>
                    </a:prstClr>
                  </a:solidFill>
                  <a:latin typeface="Arial" panose="020B0604020202020204" pitchFamily="34" charset="0"/>
                  <a:cs typeface="Arial" panose="020B0604020202020204" pitchFamily="34" charset="0"/>
                </a:rPr>
                <a:t>Countries</a:t>
              </a:r>
            </a:p>
            <a:p>
              <a:pPr>
                <a:defRPr/>
              </a:pPr>
              <a:r>
                <a:rPr lang="en-US" sz="1600" kern="0" dirty="0">
                  <a:solidFill>
                    <a:prstClr val="black">
                      <a:lumMod val="75000"/>
                      <a:lumOff val="25000"/>
                    </a:prstClr>
                  </a:solidFill>
                  <a:latin typeface="Arial" panose="020B0604020202020204" pitchFamily="34" charset="0"/>
                  <a:cs typeface="Arial" panose="020B0604020202020204" pitchFamily="34" charset="0"/>
                </a:rPr>
                <a:t>21 Online Risks</a:t>
              </a:r>
              <a:endParaRPr lang="en-US" sz="1600" dirty="0">
                <a:solidFill>
                  <a:prstClr val="black">
                    <a:lumMod val="75000"/>
                    <a:lumOff val="25000"/>
                  </a:prstClr>
                </a:solidFill>
                <a:latin typeface="Arial"/>
              </a:endParaRPr>
            </a:p>
          </p:txBody>
        </p:sp>
        <p:grpSp>
          <p:nvGrpSpPr>
            <p:cNvPr id="91" name="Group 90">
              <a:extLst>
                <a:ext uri="{FF2B5EF4-FFF2-40B4-BE49-F238E27FC236}">
                  <a16:creationId xmlns:a16="http://schemas.microsoft.com/office/drawing/2014/main" id="{EEF5C0FE-EA14-4701-8BEB-5F8A7CE7AC7D}"/>
                </a:ext>
              </a:extLst>
            </p:cNvPr>
            <p:cNvGrpSpPr/>
            <p:nvPr/>
          </p:nvGrpSpPr>
          <p:grpSpPr>
            <a:xfrm>
              <a:off x="6469119" y="1368590"/>
              <a:ext cx="1097280" cy="1097280"/>
              <a:chOff x="1952872" y="3413750"/>
              <a:chExt cx="1097280" cy="1097280"/>
            </a:xfrm>
          </p:grpSpPr>
          <p:sp>
            <p:nvSpPr>
              <p:cNvPr id="92" name="Oval 91">
                <a:extLst>
                  <a:ext uri="{FF2B5EF4-FFF2-40B4-BE49-F238E27FC236}">
                    <a16:creationId xmlns:a16="http://schemas.microsoft.com/office/drawing/2014/main" id="{E713BB42-C7A5-47E2-BFE4-2D26D8DFE731}"/>
                  </a:ext>
                </a:extLst>
              </p:cNvPr>
              <p:cNvSpPr/>
              <p:nvPr/>
            </p:nvSpPr>
            <p:spPr>
              <a:xfrm>
                <a:off x="1952872" y="3413750"/>
                <a:ext cx="1097280" cy="1097280"/>
              </a:xfrm>
              <a:prstGeom prst="ellipse">
                <a:avLst/>
              </a:prstGeom>
              <a:solidFill>
                <a:srgbClr val="3282BE"/>
              </a:solidFill>
              <a:ln w="12700" cap="flat" cmpd="sng" algn="ctr">
                <a:no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IN" sz="1800" b="0" i="0" u="none" strike="noStrike" kern="0" cap="none" spc="0" normalizeH="0" baseline="0" noProof="0" dirty="0">
                  <a:ln>
                    <a:noFill/>
                  </a:ln>
                  <a:solidFill>
                    <a:prstClr val="white"/>
                  </a:solidFill>
                  <a:effectLst/>
                  <a:uLnTx/>
                  <a:uFillTx/>
                  <a:latin typeface="Arial"/>
                  <a:cs typeface="+mn-cs"/>
                </a:endParaRPr>
              </a:p>
            </p:txBody>
          </p:sp>
          <p:sp>
            <p:nvSpPr>
              <p:cNvPr id="93" name="Rectangle 92">
                <a:extLst>
                  <a:ext uri="{FF2B5EF4-FFF2-40B4-BE49-F238E27FC236}">
                    <a16:creationId xmlns:a16="http://schemas.microsoft.com/office/drawing/2014/main" id="{8A190CDF-DC03-4F27-829E-2D24952392BB}"/>
                  </a:ext>
                </a:extLst>
              </p:cNvPr>
              <p:cNvSpPr/>
              <p:nvPr/>
            </p:nvSpPr>
            <p:spPr>
              <a:xfrm>
                <a:off x="2008429" y="3708981"/>
                <a:ext cx="986167" cy="523220"/>
              </a:xfrm>
              <a:prstGeom prst="rect">
                <a:avLst/>
              </a:prstGeom>
            </p:spPr>
            <p:txBody>
              <a:bodyPr wrap="none">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IN" sz="2800" b="1" i="0" u="none" strike="noStrike" kern="0" cap="none" spc="0" normalizeH="0" baseline="0" noProof="0" dirty="0">
                    <a:ln>
                      <a:noFill/>
                    </a:ln>
                    <a:solidFill>
                      <a:prstClr val="white"/>
                    </a:solidFill>
                    <a:effectLst/>
                    <a:uLnTx/>
                    <a:uFillTx/>
                    <a:latin typeface="Arial"/>
                  </a:rPr>
                  <a:t>2019</a:t>
                </a:r>
              </a:p>
            </p:txBody>
          </p:sp>
        </p:grpSp>
      </p:grpSp>
    </p:spTree>
    <p:extLst>
      <p:ext uri="{BB962C8B-B14F-4D97-AF65-F5344CB8AC3E}">
        <p14:creationId xmlns:p14="http://schemas.microsoft.com/office/powerpoint/2010/main" val="2614053518"/>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ppt_x"/>
                                          </p:val>
                                        </p:tav>
                                        <p:tav tm="100000">
                                          <p:val>
                                            <p:strVal val="#ppt_x"/>
                                          </p:val>
                                        </p:tav>
                                      </p:tavLst>
                                    </p:anim>
                                    <p:anim calcmode="lin" valueType="num">
                                      <p:cBhvr additive="base">
                                        <p:cTn id="8"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4"/>
                                        </p:tgtEl>
                                        <p:attrNameLst>
                                          <p:attrName>style.visibility</p:attrName>
                                        </p:attrNameLst>
                                      </p:cBhvr>
                                      <p:to>
                                        <p:strVal val="visible"/>
                                      </p:to>
                                    </p:set>
                                    <p:anim calcmode="lin" valueType="num">
                                      <p:cBhvr additive="base">
                                        <p:cTn id="13" dur="500" fill="hold"/>
                                        <p:tgtEl>
                                          <p:spTgt spid="4"/>
                                        </p:tgtEl>
                                        <p:attrNameLst>
                                          <p:attrName>ppt_x</p:attrName>
                                        </p:attrNameLst>
                                      </p:cBhvr>
                                      <p:tavLst>
                                        <p:tav tm="0">
                                          <p:val>
                                            <p:strVal val="#ppt_x"/>
                                          </p:val>
                                        </p:tav>
                                        <p:tav tm="100000">
                                          <p:val>
                                            <p:strVal val="#ppt_x"/>
                                          </p:val>
                                        </p:tav>
                                      </p:tavLst>
                                    </p:anim>
                                    <p:anim calcmode="lin" valueType="num">
                                      <p:cBhvr additive="base">
                                        <p:cTn id="14"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anim calcmode="lin" valueType="num">
                                      <p:cBhvr additive="base">
                                        <p:cTn id="19" dur="500" fill="hold"/>
                                        <p:tgtEl>
                                          <p:spTgt spid="5"/>
                                        </p:tgtEl>
                                        <p:attrNameLst>
                                          <p:attrName>ppt_x</p:attrName>
                                        </p:attrNameLst>
                                      </p:cBhvr>
                                      <p:tavLst>
                                        <p:tav tm="0">
                                          <p:val>
                                            <p:strVal val="#ppt_x"/>
                                          </p:val>
                                        </p:tav>
                                        <p:tav tm="100000">
                                          <p:val>
                                            <p:strVal val="#ppt_x"/>
                                          </p:val>
                                        </p:tav>
                                      </p:tavLst>
                                    </p:anim>
                                    <p:anim calcmode="lin" valueType="num">
                                      <p:cBhvr additive="base">
                                        <p:cTn id="20"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anim calcmode="lin" valueType="num">
                                      <p:cBhvr additive="base">
                                        <p:cTn id="25" dur="500" fill="hold"/>
                                        <p:tgtEl>
                                          <p:spTgt spid="6"/>
                                        </p:tgtEl>
                                        <p:attrNameLst>
                                          <p:attrName>ppt_x</p:attrName>
                                        </p:attrNameLst>
                                      </p:cBhvr>
                                      <p:tavLst>
                                        <p:tav tm="0">
                                          <p:val>
                                            <p:strVal val="#ppt_x"/>
                                          </p:val>
                                        </p:tav>
                                        <p:tav tm="100000">
                                          <p:val>
                                            <p:strVal val="#ppt_x"/>
                                          </p:val>
                                        </p:tav>
                                      </p:tavLst>
                                    </p:anim>
                                    <p:anim calcmode="lin" valueType="num">
                                      <p:cBhvr additive="base">
                                        <p:cTn id="26" dur="500" fill="hold"/>
                                        <p:tgtEl>
                                          <p:spTgt spid="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262626">
            <a:alpha val="92000"/>
          </a:srgbClr>
        </a:solidFill>
        <a:effectLst/>
      </p:bgPr>
    </p:bg>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17DADBCB-9F03-425E-9BD0-719601EE5E06}"/>
              </a:ext>
            </a:extLst>
          </p:cNvPr>
          <p:cNvSpPr txBox="1">
            <a:spLocks/>
          </p:cNvSpPr>
          <p:nvPr/>
        </p:nvSpPr>
        <p:spPr>
          <a:xfrm>
            <a:off x="224610" y="301523"/>
            <a:ext cx="12192000" cy="800219"/>
          </a:xfrm>
          <a:prstGeom prst="rect">
            <a:avLst/>
          </a:prstGeom>
        </p:spPr>
        <p:txBody>
          <a:bodyPr vert="horz" wrap="square" lIns="146304" tIns="91440" rIns="146304" bIns="91440" rtlCol="0" anchor="ctr">
            <a:spAutoFit/>
          </a:bodyPr>
          <a:lstStyle>
            <a:lvl1pPr marL="0" marR="0" indent="0" algn="ctr" defTabSz="914367" rtl="0" eaLnBrk="1" fontAlgn="auto" latinLnBrk="0" hangingPunct="1">
              <a:lnSpc>
                <a:spcPct val="90000"/>
              </a:lnSpc>
              <a:spcBef>
                <a:spcPct val="20000"/>
              </a:spcBef>
              <a:spcAft>
                <a:spcPts val="0"/>
              </a:spcAft>
              <a:buClrTx/>
              <a:buSzPct val="90000"/>
              <a:buFont typeface="Arial" pitchFamily="34" charset="0"/>
              <a:buNone/>
              <a:tabLst/>
              <a:defRPr sz="4400" b="0" kern="1200" spc="0" baseline="0">
                <a:solidFill>
                  <a:schemeClr val="bg1"/>
                </a:solidFill>
                <a:latin typeface="Arial" panose="020B0604020202020204" pitchFamily="34" charset="0"/>
                <a:ea typeface="+mn-ea"/>
                <a:cs typeface="Arial" pitchFamily="34" charset="0"/>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marR="0" lvl="0" indent="0" algn="l" defTabSz="914367" rtl="0" eaLnBrk="1" fontAlgn="auto" latinLnBrk="0" hangingPunct="1">
              <a:lnSpc>
                <a:spcPct val="100000"/>
              </a:lnSpc>
              <a:spcBef>
                <a:spcPts val="0"/>
              </a:spcBef>
              <a:spcAft>
                <a:spcPts val="0"/>
              </a:spcAft>
              <a:buClrTx/>
              <a:buSzPct val="90000"/>
              <a:buFont typeface="Arial" pitchFamily="34" charset="0"/>
              <a:buNone/>
              <a:tabLst/>
              <a:defRPr/>
            </a:pPr>
            <a:r>
              <a:rPr kumimoji="0" lang="en-US" sz="4000" b="0" i="0" u="none" strike="noStrike" kern="1200" cap="none" spc="0" normalizeH="0" baseline="0" noProof="0" dirty="0">
                <a:ln>
                  <a:noFill/>
                </a:ln>
                <a:effectLst/>
                <a:uLnTx/>
                <a:uFillTx/>
                <a:latin typeface="Arial" panose="020B0604020202020204" pitchFamily="34" charset="0"/>
                <a:ea typeface="+mn-ea"/>
                <a:cs typeface="Arial" pitchFamily="34" charset="0"/>
              </a:rPr>
              <a:t>Teens </a:t>
            </a:r>
            <a:r>
              <a:rPr lang="en-US" sz="4000" dirty="0"/>
              <a:t>asking </a:t>
            </a:r>
            <a:r>
              <a:rPr kumimoji="0" lang="en-US" sz="4000" b="0" i="0" u="none" strike="noStrike" kern="1200" cap="none" spc="0" normalizeH="0" baseline="0" noProof="0" dirty="0">
                <a:ln>
                  <a:noFill/>
                </a:ln>
                <a:effectLst/>
                <a:uLnTx/>
                <a:uFillTx/>
                <a:latin typeface="Arial" panose="020B0604020202020204" pitchFamily="34" charset="0"/>
                <a:ea typeface="+mn-ea"/>
                <a:cs typeface="Arial" pitchFamily="34" charset="0"/>
              </a:rPr>
              <a:t>parents for help continued to grow</a:t>
            </a:r>
          </a:p>
        </p:txBody>
      </p:sp>
      <p:grpSp>
        <p:nvGrpSpPr>
          <p:cNvPr id="49" name="Group 48">
            <a:extLst>
              <a:ext uri="{FF2B5EF4-FFF2-40B4-BE49-F238E27FC236}">
                <a16:creationId xmlns:a16="http://schemas.microsoft.com/office/drawing/2014/main" id="{9B2FF83F-79A3-4DC5-8EAE-DE239A566454}"/>
              </a:ext>
            </a:extLst>
          </p:cNvPr>
          <p:cNvGrpSpPr/>
          <p:nvPr/>
        </p:nvGrpSpPr>
        <p:grpSpPr>
          <a:xfrm>
            <a:off x="-10048" y="6279747"/>
            <a:ext cx="10099890" cy="581165"/>
            <a:chOff x="-10048" y="6398464"/>
            <a:chExt cx="10099890" cy="581165"/>
          </a:xfrm>
        </p:grpSpPr>
        <p:sp>
          <p:nvSpPr>
            <p:cNvPr id="50" name="Rectangle 49">
              <a:extLst>
                <a:ext uri="{FF2B5EF4-FFF2-40B4-BE49-F238E27FC236}">
                  <a16:creationId xmlns:a16="http://schemas.microsoft.com/office/drawing/2014/main" id="{87597BD9-D27A-4D06-8978-0F232F61B408}"/>
                </a:ext>
              </a:extLst>
            </p:cNvPr>
            <p:cNvSpPr/>
            <p:nvPr/>
          </p:nvSpPr>
          <p:spPr>
            <a:xfrm>
              <a:off x="-10048" y="6398464"/>
              <a:ext cx="10096542" cy="246221"/>
            </a:xfrm>
            <a:prstGeom prst="rect">
              <a:avLst/>
            </a:prstGeom>
          </p:spPr>
          <p:txBody>
            <a:bodyPr wrap="square">
              <a:spAutoFit/>
            </a:bodyPr>
            <a:lstStyle/>
            <a:p>
              <a:r>
                <a:rPr lang="en-US" sz="1000" i="1" dirty="0">
                  <a:solidFill>
                    <a:schemeClr val="bg1"/>
                  </a:solidFill>
                  <a:latin typeface="Arial" panose="020B0604020202020204" pitchFamily="34" charset="0"/>
                  <a:cs typeface="Arial" panose="020B0604020202020204" pitchFamily="34" charset="0"/>
                </a:rPr>
                <a:t>  Q10: How confident are you in your ability to manage uncivil behavior online?</a:t>
              </a:r>
            </a:p>
          </p:txBody>
        </p:sp>
        <p:sp>
          <p:nvSpPr>
            <p:cNvPr id="51" name="Rectangle 50">
              <a:extLst>
                <a:ext uri="{FF2B5EF4-FFF2-40B4-BE49-F238E27FC236}">
                  <a16:creationId xmlns:a16="http://schemas.microsoft.com/office/drawing/2014/main" id="{4AF63232-0806-4C90-838F-A89DD4A14A9D}"/>
                </a:ext>
              </a:extLst>
            </p:cNvPr>
            <p:cNvSpPr/>
            <p:nvPr/>
          </p:nvSpPr>
          <p:spPr>
            <a:xfrm>
              <a:off x="-8374" y="6570960"/>
              <a:ext cx="10096542" cy="246221"/>
            </a:xfrm>
            <a:prstGeom prst="rect">
              <a:avLst/>
            </a:prstGeom>
          </p:spPr>
          <p:txBody>
            <a:bodyPr wrap="square">
              <a:spAutoFit/>
            </a:bodyPr>
            <a:lstStyle/>
            <a:p>
              <a:r>
                <a:rPr lang="en-US" sz="1000" i="1" dirty="0">
                  <a:solidFill>
                    <a:schemeClr val="bg1"/>
                  </a:solidFill>
                  <a:latin typeface="Arial" panose="020B0604020202020204" pitchFamily="34" charset="0"/>
                  <a:cs typeface="Arial" panose="020B0604020202020204" pitchFamily="34" charset="0"/>
                </a:rPr>
                <a:t>  Q11: If you need help, do you know where to get help to manage online risks or uncivil behavior online?</a:t>
              </a:r>
            </a:p>
          </p:txBody>
        </p:sp>
        <p:sp>
          <p:nvSpPr>
            <p:cNvPr id="52" name="Rectangle 51">
              <a:extLst>
                <a:ext uri="{FF2B5EF4-FFF2-40B4-BE49-F238E27FC236}">
                  <a16:creationId xmlns:a16="http://schemas.microsoft.com/office/drawing/2014/main" id="{F36B1FF6-C06A-4C66-ADF0-313714D46C0D}"/>
                </a:ext>
              </a:extLst>
            </p:cNvPr>
            <p:cNvSpPr/>
            <p:nvPr/>
          </p:nvSpPr>
          <p:spPr>
            <a:xfrm>
              <a:off x="-6700" y="6733408"/>
              <a:ext cx="10096542" cy="246221"/>
            </a:xfrm>
            <a:prstGeom prst="rect">
              <a:avLst/>
            </a:prstGeom>
          </p:spPr>
          <p:txBody>
            <a:bodyPr wrap="square">
              <a:spAutoFit/>
            </a:bodyPr>
            <a:lstStyle/>
            <a:p>
              <a:r>
                <a:rPr lang="en-US" sz="1000" i="1" dirty="0">
                  <a:solidFill>
                    <a:schemeClr val="bg1"/>
                  </a:solidFill>
                  <a:latin typeface="Arial" panose="020B0604020202020204" pitchFamily="34" charset="0"/>
                  <a:cs typeface="Arial" panose="020B0604020202020204" pitchFamily="34" charset="0"/>
                </a:rPr>
                <a:t>  Q11a: How difficult was it to get help when you were treated in an unsafe or uncivil manner?</a:t>
              </a:r>
            </a:p>
          </p:txBody>
        </p:sp>
      </p:grpSp>
      <p:grpSp>
        <p:nvGrpSpPr>
          <p:cNvPr id="65" name="Group 64">
            <a:extLst>
              <a:ext uri="{FF2B5EF4-FFF2-40B4-BE49-F238E27FC236}">
                <a16:creationId xmlns:a16="http://schemas.microsoft.com/office/drawing/2014/main" id="{EBFD1721-FCE0-4E82-8D33-FA08CDF1ED16}"/>
              </a:ext>
            </a:extLst>
          </p:cNvPr>
          <p:cNvGrpSpPr/>
          <p:nvPr/>
        </p:nvGrpSpPr>
        <p:grpSpPr>
          <a:xfrm>
            <a:off x="402103" y="1323880"/>
            <a:ext cx="11407924" cy="4637316"/>
            <a:chOff x="492535" y="1514792"/>
            <a:chExt cx="11407924" cy="4637316"/>
          </a:xfrm>
        </p:grpSpPr>
        <p:graphicFrame>
          <p:nvGraphicFramePr>
            <p:cNvPr id="7" name="Chart 6">
              <a:extLst>
                <a:ext uri="{FF2B5EF4-FFF2-40B4-BE49-F238E27FC236}">
                  <a16:creationId xmlns:a16="http://schemas.microsoft.com/office/drawing/2014/main" id="{2498A6D4-15A2-4C72-A0FA-B71D5B779505}"/>
                </a:ext>
              </a:extLst>
            </p:cNvPr>
            <p:cNvGraphicFramePr/>
            <p:nvPr>
              <p:extLst>
                <p:ext uri="{D42A27DB-BD31-4B8C-83A1-F6EECF244321}">
                  <p14:modId xmlns:p14="http://schemas.microsoft.com/office/powerpoint/2010/main" val="4141530349"/>
                </p:ext>
              </p:extLst>
            </p:nvPr>
          </p:nvGraphicFramePr>
          <p:xfrm>
            <a:off x="492535" y="1514793"/>
            <a:ext cx="3661175" cy="4637315"/>
          </p:xfrm>
          <a:graphic>
            <a:graphicData uri="http://schemas.openxmlformats.org/drawingml/2006/chart">
              <c:chart xmlns:c="http://schemas.openxmlformats.org/drawingml/2006/chart" xmlns:r="http://schemas.openxmlformats.org/officeDocument/2006/relationships" r:id="rId3"/>
            </a:graphicData>
          </a:graphic>
        </p:graphicFrame>
        <p:sp>
          <p:nvSpPr>
            <p:cNvPr id="12" name="TextBox 11">
              <a:extLst>
                <a:ext uri="{FF2B5EF4-FFF2-40B4-BE49-F238E27FC236}">
                  <a16:creationId xmlns:a16="http://schemas.microsoft.com/office/drawing/2014/main" id="{37E7B913-2330-4B9C-8EA5-9579C15A171A}"/>
                </a:ext>
              </a:extLst>
            </p:cNvPr>
            <p:cNvSpPr txBox="1"/>
            <p:nvPr/>
          </p:nvSpPr>
          <p:spPr>
            <a:xfrm>
              <a:off x="2342650" y="4755610"/>
              <a:ext cx="1512958" cy="584775"/>
            </a:xfrm>
            <a:prstGeom prst="rect">
              <a:avLst/>
            </a:prstGeom>
            <a:noFill/>
          </p:spPr>
          <p:txBody>
            <a:bodyPr wrap="square" rtlCol="0">
              <a:spAutoFit/>
            </a:bodyPr>
            <a:lstStyle/>
            <a:p>
              <a:r>
                <a:rPr lang="en-US" sz="1600" b="1" dirty="0">
                  <a:solidFill>
                    <a:schemeClr val="bg1"/>
                  </a:solidFill>
                </a:rPr>
                <a:t>Asked an adult for help</a:t>
              </a:r>
            </a:p>
          </p:txBody>
        </p:sp>
        <p:sp>
          <p:nvSpPr>
            <p:cNvPr id="8" name="TextBox 7">
              <a:extLst>
                <a:ext uri="{FF2B5EF4-FFF2-40B4-BE49-F238E27FC236}">
                  <a16:creationId xmlns:a16="http://schemas.microsoft.com/office/drawing/2014/main" id="{6C013C4A-906D-4A37-99D9-D1DF329C3170}"/>
                </a:ext>
              </a:extLst>
            </p:cNvPr>
            <p:cNvSpPr txBox="1"/>
            <p:nvPr/>
          </p:nvSpPr>
          <p:spPr>
            <a:xfrm>
              <a:off x="929529" y="2600666"/>
              <a:ext cx="1777276" cy="584775"/>
            </a:xfrm>
            <a:prstGeom prst="rect">
              <a:avLst/>
            </a:prstGeom>
            <a:noFill/>
          </p:spPr>
          <p:txBody>
            <a:bodyPr wrap="square" rtlCol="0">
              <a:spAutoFit/>
            </a:bodyPr>
            <a:lstStyle/>
            <a:p>
              <a:r>
                <a:rPr lang="en-US" sz="1600" b="1" dirty="0">
                  <a:solidFill>
                    <a:schemeClr val="bg1"/>
                  </a:solidFill>
                </a:rPr>
                <a:t>Asked my parents for help</a:t>
              </a:r>
            </a:p>
          </p:txBody>
        </p:sp>
        <p:cxnSp>
          <p:nvCxnSpPr>
            <p:cNvPr id="36" name="Straight Connector 35">
              <a:extLst>
                <a:ext uri="{FF2B5EF4-FFF2-40B4-BE49-F238E27FC236}">
                  <a16:creationId xmlns:a16="http://schemas.microsoft.com/office/drawing/2014/main" id="{2617FC74-B4C1-4B96-84F4-D80AE5E44377}"/>
                </a:ext>
              </a:extLst>
            </p:cNvPr>
            <p:cNvCxnSpPr>
              <a:cxnSpLocks/>
            </p:cNvCxnSpPr>
            <p:nvPr/>
          </p:nvCxnSpPr>
          <p:spPr>
            <a:xfrm flipH="1">
              <a:off x="2615178" y="2762328"/>
              <a:ext cx="479078" cy="18219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2AA52BDE-4CE9-461D-80D4-FFD2D2B1A17B}"/>
                </a:ext>
              </a:extLst>
            </p:cNvPr>
            <p:cNvCxnSpPr>
              <a:cxnSpLocks/>
            </p:cNvCxnSpPr>
            <p:nvPr/>
          </p:nvCxnSpPr>
          <p:spPr>
            <a:xfrm flipH="1">
              <a:off x="2992412" y="4516915"/>
              <a:ext cx="253137" cy="25879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aphicFrame>
          <p:nvGraphicFramePr>
            <p:cNvPr id="20" name="Chart 19">
              <a:extLst>
                <a:ext uri="{FF2B5EF4-FFF2-40B4-BE49-F238E27FC236}">
                  <a16:creationId xmlns:a16="http://schemas.microsoft.com/office/drawing/2014/main" id="{BC4A5098-8B06-47AF-98A9-0E910BFD89BF}"/>
                </a:ext>
              </a:extLst>
            </p:cNvPr>
            <p:cNvGraphicFramePr/>
            <p:nvPr>
              <p:extLst>
                <p:ext uri="{D42A27DB-BD31-4B8C-83A1-F6EECF244321}">
                  <p14:modId xmlns:p14="http://schemas.microsoft.com/office/powerpoint/2010/main" val="2924311983"/>
                </p:ext>
              </p:extLst>
            </p:nvPr>
          </p:nvGraphicFramePr>
          <p:xfrm>
            <a:off x="4357910" y="1514793"/>
            <a:ext cx="3661175" cy="463731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5" name="Chart 24">
              <a:extLst>
                <a:ext uri="{FF2B5EF4-FFF2-40B4-BE49-F238E27FC236}">
                  <a16:creationId xmlns:a16="http://schemas.microsoft.com/office/drawing/2014/main" id="{BFA57667-E192-41EE-9DAF-1819B181E268}"/>
                </a:ext>
              </a:extLst>
            </p:cNvPr>
            <p:cNvGraphicFramePr/>
            <p:nvPr>
              <p:extLst>
                <p:ext uri="{D42A27DB-BD31-4B8C-83A1-F6EECF244321}">
                  <p14:modId xmlns:p14="http://schemas.microsoft.com/office/powerpoint/2010/main" val="4277882135"/>
                </p:ext>
              </p:extLst>
            </p:nvPr>
          </p:nvGraphicFramePr>
          <p:xfrm>
            <a:off x="8239284" y="1514792"/>
            <a:ext cx="3661175" cy="4637315"/>
          </p:xfrm>
          <a:graphic>
            <a:graphicData uri="http://schemas.openxmlformats.org/drawingml/2006/chart">
              <c:chart xmlns:c="http://schemas.openxmlformats.org/drawingml/2006/chart" xmlns:r="http://schemas.openxmlformats.org/officeDocument/2006/relationships" r:id="rId5"/>
            </a:graphicData>
          </a:graphic>
        </p:graphicFrame>
        <p:sp>
          <p:nvSpPr>
            <p:cNvPr id="26" name="TextBox 25">
              <a:extLst>
                <a:ext uri="{FF2B5EF4-FFF2-40B4-BE49-F238E27FC236}">
                  <a16:creationId xmlns:a16="http://schemas.microsoft.com/office/drawing/2014/main" id="{569E4F33-1157-4457-BF54-E5AEB4E4AD0B}"/>
                </a:ext>
              </a:extLst>
            </p:cNvPr>
            <p:cNvSpPr txBox="1"/>
            <p:nvPr/>
          </p:nvSpPr>
          <p:spPr>
            <a:xfrm>
              <a:off x="6055499" y="2936155"/>
              <a:ext cx="689954" cy="338554"/>
            </a:xfrm>
            <a:prstGeom prst="rect">
              <a:avLst/>
            </a:prstGeom>
            <a:noFill/>
          </p:spPr>
          <p:txBody>
            <a:bodyPr wrap="square" rtlCol="0">
              <a:spAutoFit/>
            </a:bodyPr>
            <a:lstStyle/>
            <a:p>
              <a:pPr algn="ctr"/>
              <a:r>
                <a:rPr lang="en-US" sz="1600" b="1" dirty="0">
                  <a:solidFill>
                    <a:schemeClr val="bg1"/>
                  </a:solidFill>
                </a:rPr>
                <a:t>Yes</a:t>
              </a:r>
            </a:p>
          </p:txBody>
        </p:sp>
        <p:sp>
          <p:nvSpPr>
            <p:cNvPr id="27" name="TextBox 26">
              <a:extLst>
                <a:ext uri="{FF2B5EF4-FFF2-40B4-BE49-F238E27FC236}">
                  <a16:creationId xmlns:a16="http://schemas.microsoft.com/office/drawing/2014/main" id="{F9E184B7-0EDF-437B-BB57-9F9DBBFB1C04}"/>
                </a:ext>
              </a:extLst>
            </p:cNvPr>
            <p:cNvSpPr txBox="1"/>
            <p:nvPr/>
          </p:nvSpPr>
          <p:spPr>
            <a:xfrm>
              <a:off x="7222782" y="4145979"/>
              <a:ext cx="689954" cy="338554"/>
            </a:xfrm>
            <a:prstGeom prst="rect">
              <a:avLst/>
            </a:prstGeom>
            <a:noFill/>
          </p:spPr>
          <p:txBody>
            <a:bodyPr wrap="square" rtlCol="0">
              <a:spAutoFit/>
            </a:bodyPr>
            <a:lstStyle/>
            <a:p>
              <a:pPr algn="ctr"/>
              <a:r>
                <a:rPr lang="en-US" sz="1600" b="1" dirty="0">
                  <a:solidFill>
                    <a:schemeClr val="bg1"/>
                  </a:solidFill>
                </a:rPr>
                <a:t>No</a:t>
              </a:r>
            </a:p>
          </p:txBody>
        </p:sp>
        <p:sp>
          <p:nvSpPr>
            <p:cNvPr id="28" name="TextBox 27">
              <a:extLst>
                <a:ext uri="{FF2B5EF4-FFF2-40B4-BE49-F238E27FC236}">
                  <a16:creationId xmlns:a16="http://schemas.microsoft.com/office/drawing/2014/main" id="{0FDF4BA6-18EF-4E6E-BB60-C498D4B0FEC2}"/>
                </a:ext>
              </a:extLst>
            </p:cNvPr>
            <p:cNvSpPr txBox="1"/>
            <p:nvPr/>
          </p:nvSpPr>
          <p:spPr>
            <a:xfrm>
              <a:off x="6015616" y="5495096"/>
              <a:ext cx="940830" cy="338554"/>
            </a:xfrm>
            <a:prstGeom prst="rect">
              <a:avLst/>
            </a:prstGeom>
            <a:noFill/>
          </p:spPr>
          <p:txBody>
            <a:bodyPr wrap="square" rtlCol="0">
              <a:spAutoFit/>
            </a:bodyPr>
            <a:lstStyle/>
            <a:p>
              <a:pPr algn="ctr"/>
              <a:r>
                <a:rPr lang="en-US" sz="1600" b="1" dirty="0">
                  <a:solidFill>
                    <a:schemeClr val="bg1"/>
                  </a:solidFill>
                </a:rPr>
                <a:t>Unsure</a:t>
              </a:r>
            </a:p>
          </p:txBody>
        </p:sp>
        <p:cxnSp>
          <p:nvCxnSpPr>
            <p:cNvPr id="32" name="Straight Connector 31">
              <a:extLst>
                <a:ext uri="{FF2B5EF4-FFF2-40B4-BE49-F238E27FC236}">
                  <a16:creationId xmlns:a16="http://schemas.microsoft.com/office/drawing/2014/main" id="{6714404B-C4AD-4FAB-938E-02FCDF885CA3}"/>
                </a:ext>
              </a:extLst>
            </p:cNvPr>
            <p:cNvCxnSpPr>
              <a:cxnSpLocks/>
            </p:cNvCxnSpPr>
            <p:nvPr/>
          </p:nvCxnSpPr>
          <p:spPr>
            <a:xfrm flipH="1">
              <a:off x="7341174" y="4539210"/>
              <a:ext cx="140678" cy="145924"/>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0EF0388D-EC0E-4355-9398-28D98683A044}"/>
                </a:ext>
              </a:extLst>
            </p:cNvPr>
            <p:cNvCxnSpPr>
              <a:cxnSpLocks/>
            </p:cNvCxnSpPr>
            <p:nvPr/>
          </p:nvCxnSpPr>
          <p:spPr>
            <a:xfrm flipH="1">
              <a:off x="6896158" y="5553098"/>
              <a:ext cx="110100" cy="11127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TextBox 38">
              <a:extLst>
                <a:ext uri="{FF2B5EF4-FFF2-40B4-BE49-F238E27FC236}">
                  <a16:creationId xmlns:a16="http://schemas.microsoft.com/office/drawing/2014/main" id="{332558D6-8FB4-4022-845F-CB0C07F19E58}"/>
                </a:ext>
              </a:extLst>
            </p:cNvPr>
            <p:cNvSpPr txBox="1"/>
            <p:nvPr/>
          </p:nvSpPr>
          <p:spPr>
            <a:xfrm>
              <a:off x="9970789" y="4583822"/>
              <a:ext cx="1008201" cy="338554"/>
            </a:xfrm>
            <a:prstGeom prst="rect">
              <a:avLst/>
            </a:prstGeom>
            <a:noFill/>
          </p:spPr>
          <p:txBody>
            <a:bodyPr wrap="square" rtlCol="0">
              <a:spAutoFit/>
            </a:bodyPr>
            <a:lstStyle/>
            <a:p>
              <a:r>
                <a:rPr lang="en-US" sz="1600" b="1" dirty="0">
                  <a:solidFill>
                    <a:schemeClr val="bg1"/>
                  </a:solidFill>
                </a:rPr>
                <a:t>Difficult</a:t>
              </a:r>
            </a:p>
          </p:txBody>
        </p:sp>
        <p:sp>
          <p:nvSpPr>
            <p:cNvPr id="41" name="TextBox 40">
              <a:extLst>
                <a:ext uri="{FF2B5EF4-FFF2-40B4-BE49-F238E27FC236}">
                  <a16:creationId xmlns:a16="http://schemas.microsoft.com/office/drawing/2014/main" id="{BC369EA6-AE93-47A0-A918-3DF58A5C0060}"/>
                </a:ext>
              </a:extLst>
            </p:cNvPr>
            <p:cNvSpPr txBox="1"/>
            <p:nvPr/>
          </p:nvSpPr>
          <p:spPr>
            <a:xfrm>
              <a:off x="10110062" y="3705904"/>
              <a:ext cx="901202" cy="338554"/>
            </a:xfrm>
            <a:prstGeom prst="rect">
              <a:avLst/>
            </a:prstGeom>
            <a:noFill/>
          </p:spPr>
          <p:txBody>
            <a:bodyPr wrap="square" rtlCol="0">
              <a:spAutoFit/>
            </a:bodyPr>
            <a:lstStyle/>
            <a:p>
              <a:r>
                <a:rPr lang="en-US" sz="1600" b="1" dirty="0">
                  <a:solidFill>
                    <a:schemeClr val="bg1"/>
                  </a:solidFill>
                </a:rPr>
                <a:t>Easy</a:t>
              </a:r>
            </a:p>
          </p:txBody>
        </p:sp>
        <p:sp>
          <p:nvSpPr>
            <p:cNvPr id="42" name="TextBox 41">
              <a:extLst>
                <a:ext uri="{FF2B5EF4-FFF2-40B4-BE49-F238E27FC236}">
                  <a16:creationId xmlns:a16="http://schemas.microsoft.com/office/drawing/2014/main" id="{38497834-562C-4A2A-951B-BE6CABB1CF3B}"/>
                </a:ext>
              </a:extLst>
            </p:cNvPr>
            <p:cNvSpPr txBox="1"/>
            <p:nvPr/>
          </p:nvSpPr>
          <p:spPr>
            <a:xfrm>
              <a:off x="9008527" y="5577965"/>
              <a:ext cx="2076226" cy="338554"/>
            </a:xfrm>
            <a:prstGeom prst="rect">
              <a:avLst/>
            </a:prstGeom>
            <a:noFill/>
          </p:spPr>
          <p:txBody>
            <a:bodyPr wrap="square" rtlCol="0">
              <a:spAutoFit/>
            </a:bodyPr>
            <a:lstStyle/>
            <a:p>
              <a:r>
                <a:rPr lang="en-US" sz="1600" b="1" dirty="0">
                  <a:solidFill>
                    <a:schemeClr val="bg1"/>
                  </a:solidFill>
                </a:rPr>
                <a:t>Didn’t seek help</a:t>
              </a:r>
            </a:p>
          </p:txBody>
        </p:sp>
        <p:cxnSp>
          <p:nvCxnSpPr>
            <p:cNvPr id="44" name="Straight Connector 43">
              <a:extLst>
                <a:ext uri="{FF2B5EF4-FFF2-40B4-BE49-F238E27FC236}">
                  <a16:creationId xmlns:a16="http://schemas.microsoft.com/office/drawing/2014/main" id="{65C83D64-2071-409B-87DA-953E3AD87EFF}"/>
                </a:ext>
              </a:extLst>
            </p:cNvPr>
            <p:cNvCxnSpPr>
              <a:cxnSpLocks/>
            </p:cNvCxnSpPr>
            <p:nvPr/>
          </p:nvCxnSpPr>
          <p:spPr>
            <a:xfrm>
              <a:off x="10714722" y="3943978"/>
              <a:ext cx="200195" cy="124062"/>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52C942CF-1A03-411F-ACE4-329A33DBE5C3}"/>
                </a:ext>
              </a:extLst>
            </p:cNvPr>
            <p:cNvCxnSpPr>
              <a:cxnSpLocks/>
            </p:cNvCxnSpPr>
            <p:nvPr/>
          </p:nvCxnSpPr>
          <p:spPr>
            <a:xfrm flipH="1">
              <a:off x="10713957" y="5664373"/>
              <a:ext cx="200960" cy="102965"/>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C7637EEA-3013-4D59-B32B-90DE4C2EDED2}"/>
                </a:ext>
              </a:extLst>
            </p:cNvPr>
            <p:cNvCxnSpPr>
              <a:cxnSpLocks/>
            </p:cNvCxnSpPr>
            <p:nvPr/>
          </p:nvCxnSpPr>
          <p:spPr>
            <a:xfrm>
              <a:off x="6695213" y="3195864"/>
              <a:ext cx="280901" cy="156889"/>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29" name="Slide Number Placeholder 2">
            <a:extLst>
              <a:ext uri="{FF2B5EF4-FFF2-40B4-BE49-F238E27FC236}">
                <a16:creationId xmlns:a16="http://schemas.microsoft.com/office/drawing/2014/main" id="{ED62E1EB-B665-4CD3-ACDA-16711F7AFBA0}"/>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schemeClr val="bg1"/>
                </a:solidFill>
                <a:latin typeface="Arial"/>
              </a:rPr>
              <a:pPr algn="r">
                <a:defRPr/>
              </a:pPr>
              <a:t>30</a:t>
            </a:fld>
            <a:endParaRPr lang="en-US" sz="1200" dirty="0">
              <a:solidFill>
                <a:schemeClr val="bg1"/>
              </a:solidFill>
              <a:latin typeface="Arial"/>
            </a:endParaRPr>
          </a:p>
        </p:txBody>
      </p:sp>
    </p:spTree>
    <p:extLst>
      <p:ext uri="{BB962C8B-B14F-4D97-AF65-F5344CB8AC3E}">
        <p14:creationId xmlns:p14="http://schemas.microsoft.com/office/powerpoint/2010/main" val="389083056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E6EDEF-0143-4EAE-8D32-BED49F1AD4E0}"/>
              </a:ext>
            </a:extLst>
          </p:cNvPr>
          <p:cNvSpPr>
            <a:spLocks noGrp="1"/>
          </p:cNvSpPr>
          <p:nvPr>
            <p:ph type="title"/>
          </p:nvPr>
        </p:nvSpPr>
        <p:spPr/>
        <p:txBody>
          <a:bodyPr/>
          <a:lstStyle/>
          <a:p>
            <a:r>
              <a:rPr lang="en-US" sz="4400" dirty="0">
                <a:latin typeface="Arial" panose="020B0604020202020204" pitchFamily="34" charset="0"/>
                <a:cs typeface="Arial" panose="020B0604020202020204" pitchFamily="34" charset="0"/>
              </a:rPr>
              <a:t>The best role models are Parents &amp; Teachers</a:t>
            </a:r>
          </a:p>
        </p:txBody>
      </p:sp>
      <p:grpSp>
        <p:nvGrpSpPr>
          <p:cNvPr id="70" name="Group 69">
            <a:extLst>
              <a:ext uri="{FF2B5EF4-FFF2-40B4-BE49-F238E27FC236}">
                <a16:creationId xmlns:a16="http://schemas.microsoft.com/office/drawing/2014/main" id="{CBCC9ED4-8C81-4799-947D-CC844D37EB37}"/>
              </a:ext>
            </a:extLst>
          </p:cNvPr>
          <p:cNvGrpSpPr/>
          <p:nvPr/>
        </p:nvGrpSpPr>
        <p:grpSpPr>
          <a:xfrm>
            <a:off x="158100" y="1235360"/>
            <a:ext cx="11931392" cy="2286000"/>
            <a:chOff x="198509" y="558610"/>
            <a:chExt cx="11931392" cy="2286000"/>
          </a:xfrm>
        </p:grpSpPr>
        <p:grpSp>
          <p:nvGrpSpPr>
            <p:cNvPr id="4" name="Group 3">
              <a:extLst>
                <a:ext uri="{FF2B5EF4-FFF2-40B4-BE49-F238E27FC236}">
                  <a16:creationId xmlns:a16="http://schemas.microsoft.com/office/drawing/2014/main" id="{96C08979-FF8A-4D27-8CAE-CC5B81F7EFD7}"/>
                </a:ext>
              </a:extLst>
            </p:cNvPr>
            <p:cNvGrpSpPr>
              <a:grpSpLocks noChangeAspect="1"/>
            </p:cNvGrpSpPr>
            <p:nvPr/>
          </p:nvGrpSpPr>
          <p:grpSpPr>
            <a:xfrm>
              <a:off x="198509" y="558610"/>
              <a:ext cx="2286000" cy="2286000"/>
              <a:chOff x="930509" y="1913683"/>
              <a:chExt cx="1828800" cy="1828800"/>
            </a:xfrm>
          </p:grpSpPr>
          <p:graphicFrame>
            <p:nvGraphicFramePr>
              <p:cNvPr id="5" name="Chart 4">
                <a:extLst>
                  <a:ext uri="{FF2B5EF4-FFF2-40B4-BE49-F238E27FC236}">
                    <a16:creationId xmlns:a16="http://schemas.microsoft.com/office/drawing/2014/main" id="{2C975936-00C7-4837-903C-AEE708361844}"/>
                  </a:ext>
                </a:extLst>
              </p:cNvPr>
              <p:cNvGraphicFramePr>
                <a:graphicFrameLocks noChangeAspect="1"/>
              </p:cNvGraphicFramePr>
              <p:nvPr>
                <p:extLst>
                  <p:ext uri="{D42A27DB-BD31-4B8C-83A1-F6EECF244321}">
                    <p14:modId xmlns:p14="http://schemas.microsoft.com/office/powerpoint/2010/main" val="752565201"/>
                  </p:ext>
                </p:extLst>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3"/>
              </a:graphicData>
            </a:graphic>
          </p:graphicFrame>
          <p:sp>
            <p:nvSpPr>
              <p:cNvPr id="6" name="TextBox 5">
                <a:extLst>
                  <a:ext uri="{FF2B5EF4-FFF2-40B4-BE49-F238E27FC236}">
                    <a16:creationId xmlns:a16="http://schemas.microsoft.com/office/drawing/2014/main" id="{2E689C2F-0D4F-4DFC-90E4-0A70703F9EFC}"/>
                  </a:ext>
                </a:extLst>
              </p:cNvPr>
              <p:cNvSpPr txBox="1"/>
              <p:nvPr/>
            </p:nvSpPr>
            <p:spPr>
              <a:xfrm>
                <a:off x="1499686" y="2562391"/>
                <a:ext cx="690446"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80</a:t>
                </a:r>
              </a:p>
            </p:txBody>
          </p:sp>
        </p:grpSp>
        <p:grpSp>
          <p:nvGrpSpPr>
            <p:cNvPr id="7" name="Group 6">
              <a:extLst>
                <a:ext uri="{FF2B5EF4-FFF2-40B4-BE49-F238E27FC236}">
                  <a16:creationId xmlns:a16="http://schemas.microsoft.com/office/drawing/2014/main" id="{F82E8A8E-5C12-470E-9B44-FFB82C0D65B2}"/>
                </a:ext>
              </a:extLst>
            </p:cNvPr>
            <p:cNvGrpSpPr>
              <a:grpSpLocks noChangeAspect="1"/>
            </p:cNvGrpSpPr>
            <p:nvPr/>
          </p:nvGrpSpPr>
          <p:grpSpPr>
            <a:xfrm>
              <a:off x="2556136" y="558610"/>
              <a:ext cx="2286000" cy="2286000"/>
              <a:chOff x="930509" y="1913683"/>
              <a:chExt cx="1828800" cy="1828800"/>
            </a:xfrm>
          </p:grpSpPr>
          <p:graphicFrame>
            <p:nvGraphicFramePr>
              <p:cNvPr id="8" name="Chart 7">
                <a:extLst>
                  <a:ext uri="{FF2B5EF4-FFF2-40B4-BE49-F238E27FC236}">
                    <a16:creationId xmlns:a16="http://schemas.microsoft.com/office/drawing/2014/main" id="{12B65854-D7EA-47CD-8C79-A51E24FD9057}"/>
                  </a:ext>
                </a:extLst>
              </p:cNvPr>
              <p:cNvGraphicFramePr>
                <a:graphicFrameLocks noChangeAspect="1"/>
              </p:cNvGraphicFramePr>
              <p:nvPr>
                <p:extLst>
                  <p:ext uri="{D42A27DB-BD31-4B8C-83A1-F6EECF244321}">
                    <p14:modId xmlns:p14="http://schemas.microsoft.com/office/powerpoint/2010/main" val="4100191525"/>
                  </p:ext>
                </p:extLst>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4"/>
              </a:graphicData>
            </a:graphic>
          </p:graphicFrame>
          <p:sp>
            <p:nvSpPr>
              <p:cNvPr id="9" name="TextBox 8">
                <a:extLst>
                  <a:ext uri="{FF2B5EF4-FFF2-40B4-BE49-F238E27FC236}">
                    <a16:creationId xmlns:a16="http://schemas.microsoft.com/office/drawing/2014/main" id="{437703DC-B3F0-43D7-9A9A-1B28C54DAF32}"/>
                  </a:ext>
                </a:extLst>
              </p:cNvPr>
              <p:cNvSpPr txBox="1"/>
              <p:nvPr/>
            </p:nvSpPr>
            <p:spPr>
              <a:xfrm>
                <a:off x="1504815" y="2562391"/>
                <a:ext cx="680186"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49</a:t>
                </a:r>
              </a:p>
            </p:txBody>
          </p:sp>
        </p:grpSp>
        <p:grpSp>
          <p:nvGrpSpPr>
            <p:cNvPr id="10" name="Group 9">
              <a:extLst>
                <a:ext uri="{FF2B5EF4-FFF2-40B4-BE49-F238E27FC236}">
                  <a16:creationId xmlns:a16="http://schemas.microsoft.com/office/drawing/2014/main" id="{93EC7EC7-643C-48FF-8932-D28B4574C7FB}"/>
                </a:ext>
              </a:extLst>
            </p:cNvPr>
            <p:cNvGrpSpPr>
              <a:grpSpLocks noChangeAspect="1"/>
            </p:cNvGrpSpPr>
            <p:nvPr/>
          </p:nvGrpSpPr>
          <p:grpSpPr>
            <a:xfrm>
              <a:off x="4985391" y="558610"/>
              <a:ext cx="2286000" cy="2286000"/>
              <a:chOff x="930509" y="1913683"/>
              <a:chExt cx="1828800" cy="1828800"/>
            </a:xfrm>
          </p:grpSpPr>
          <p:graphicFrame>
            <p:nvGraphicFramePr>
              <p:cNvPr id="11" name="Chart 10">
                <a:extLst>
                  <a:ext uri="{FF2B5EF4-FFF2-40B4-BE49-F238E27FC236}">
                    <a16:creationId xmlns:a16="http://schemas.microsoft.com/office/drawing/2014/main" id="{82616D3F-D641-4683-B71B-E51DB1115F68}"/>
                  </a:ext>
                </a:extLst>
              </p:cNvPr>
              <p:cNvGraphicFramePr>
                <a:graphicFrameLocks noChangeAspect="1"/>
              </p:cNvGraphicFramePr>
              <p:nvPr>
                <p:extLst>
                  <p:ext uri="{D42A27DB-BD31-4B8C-83A1-F6EECF244321}">
                    <p14:modId xmlns:p14="http://schemas.microsoft.com/office/powerpoint/2010/main" val="5492024"/>
                  </p:ext>
                </p:extLst>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5"/>
              </a:graphicData>
            </a:graphic>
          </p:graphicFrame>
          <p:sp>
            <p:nvSpPr>
              <p:cNvPr id="12" name="TextBox 11">
                <a:extLst>
                  <a:ext uri="{FF2B5EF4-FFF2-40B4-BE49-F238E27FC236}">
                    <a16:creationId xmlns:a16="http://schemas.microsoft.com/office/drawing/2014/main" id="{2FEED56D-6DAD-4ED6-B026-310F2BC13664}"/>
                  </a:ext>
                </a:extLst>
              </p:cNvPr>
              <p:cNvSpPr txBox="1"/>
              <p:nvPr/>
            </p:nvSpPr>
            <p:spPr>
              <a:xfrm>
                <a:off x="1536080" y="2562391"/>
                <a:ext cx="667362"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22</a:t>
                </a:r>
              </a:p>
            </p:txBody>
          </p:sp>
        </p:grpSp>
        <p:grpSp>
          <p:nvGrpSpPr>
            <p:cNvPr id="13" name="Group 12">
              <a:extLst>
                <a:ext uri="{FF2B5EF4-FFF2-40B4-BE49-F238E27FC236}">
                  <a16:creationId xmlns:a16="http://schemas.microsoft.com/office/drawing/2014/main" id="{7EC044CE-7498-4535-BD67-D573D0A7AC9F}"/>
                </a:ext>
              </a:extLst>
            </p:cNvPr>
            <p:cNvGrpSpPr>
              <a:grpSpLocks noChangeAspect="1"/>
            </p:cNvGrpSpPr>
            <p:nvPr/>
          </p:nvGrpSpPr>
          <p:grpSpPr>
            <a:xfrm>
              <a:off x="7414646" y="558610"/>
              <a:ext cx="2286000" cy="2286000"/>
              <a:chOff x="930509" y="1913683"/>
              <a:chExt cx="1828800" cy="1828800"/>
            </a:xfrm>
          </p:grpSpPr>
          <p:graphicFrame>
            <p:nvGraphicFramePr>
              <p:cNvPr id="14" name="Chart 13">
                <a:extLst>
                  <a:ext uri="{FF2B5EF4-FFF2-40B4-BE49-F238E27FC236}">
                    <a16:creationId xmlns:a16="http://schemas.microsoft.com/office/drawing/2014/main" id="{0BF4485D-7454-4360-9F74-64FA4BA9266C}"/>
                  </a:ext>
                </a:extLst>
              </p:cNvPr>
              <p:cNvGraphicFramePr>
                <a:graphicFrameLocks noChangeAspect="1"/>
              </p:cNvGraphicFramePr>
              <p:nvPr>
                <p:extLst>
                  <p:ext uri="{D42A27DB-BD31-4B8C-83A1-F6EECF244321}">
                    <p14:modId xmlns:p14="http://schemas.microsoft.com/office/powerpoint/2010/main" val="3270196931"/>
                  </p:ext>
                </p:extLst>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6"/>
              </a:graphicData>
            </a:graphic>
          </p:graphicFrame>
          <p:sp>
            <p:nvSpPr>
              <p:cNvPr id="15" name="TextBox 14">
                <a:extLst>
                  <a:ext uri="{FF2B5EF4-FFF2-40B4-BE49-F238E27FC236}">
                    <a16:creationId xmlns:a16="http://schemas.microsoft.com/office/drawing/2014/main" id="{B5AB7AD4-4827-49DE-BE74-BECD0C0229BE}"/>
                  </a:ext>
                </a:extLst>
              </p:cNvPr>
              <p:cNvSpPr txBox="1"/>
              <p:nvPr/>
            </p:nvSpPr>
            <p:spPr>
              <a:xfrm>
                <a:off x="1550135" y="2562391"/>
                <a:ext cx="581442"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17</a:t>
                </a:r>
              </a:p>
            </p:txBody>
          </p:sp>
        </p:grpSp>
        <p:grpSp>
          <p:nvGrpSpPr>
            <p:cNvPr id="16" name="Group 15">
              <a:extLst>
                <a:ext uri="{FF2B5EF4-FFF2-40B4-BE49-F238E27FC236}">
                  <a16:creationId xmlns:a16="http://schemas.microsoft.com/office/drawing/2014/main" id="{4231D2EE-04B2-45C4-8B5C-0D7C64C393AC}"/>
                </a:ext>
              </a:extLst>
            </p:cNvPr>
            <p:cNvGrpSpPr>
              <a:grpSpLocks noChangeAspect="1"/>
            </p:cNvGrpSpPr>
            <p:nvPr/>
          </p:nvGrpSpPr>
          <p:grpSpPr>
            <a:xfrm>
              <a:off x="9843901" y="558610"/>
              <a:ext cx="2286000" cy="2286000"/>
              <a:chOff x="930509" y="1913683"/>
              <a:chExt cx="1828800" cy="1828800"/>
            </a:xfrm>
          </p:grpSpPr>
          <p:graphicFrame>
            <p:nvGraphicFramePr>
              <p:cNvPr id="17" name="Chart 16">
                <a:extLst>
                  <a:ext uri="{FF2B5EF4-FFF2-40B4-BE49-F238E27FC236}">
                    <a16:creationId xmlns:a16="http://schemas.microsoft.com/office/drawing/2014/main" id="{643451CD-17C1-4A48-8737-3C52BDAAD04C}"/>
                  </a:ext>
                </a:extLst>
              </p:cNvPr>
              <p:cNvGraphicFramePr>
                <a:graphicFrameLocks noChangeAspect="1"/>
              </p:cNvGraphicFramePr>
              <p:nvPr>
                <p:extLst>
                  <p:ext uri="{D42A27DB-BD31-4B8C-83A1-F6EECF244321}">
                    <p14:modId xmlns:p14="http://schemas.microsoft.com/office/powerpoint/2010/main" val="1965917885"/>
                  </p:ext>
                </p:extLst>
              </p:nvPr>
            </p:nvGraphicFramePr>
            <p:xfrm>
              <a:off x="930509" y="1913683"/>
              <a:ext cx="1828800" cy="1828800"/>
            </p:xfrm>
            <a:graphic>
              <a:graphicData uri="http://schemas.openxmlformats.org/drawingml/2006/chart">
                <c:chart xmlns:c="http://schemas.openxmlformats.org/drawingml/2006/chart" xmlns:r="http://schemas.openxmlformats.org/officeDocument/2006/relationships" r:id="rId7"/>
              </a:graphicData>
            </a:graphic>
          </p:graphicFrame>
          <p:sp>
            <p:nvSpPr>
              <p:cNvPr id="18" name="TextBox 17">
                <a:extLst>
                  <a:ext uri="{FF2B5EF4-FFF2-40B4-BE49-F238E27FC236}">
                    <a16:creationId xmlns:a16="http://schemas.microsoft.com/office/drawing/2014/main" id="{EA314FF1-3407-4185-B274-F33BABF05042}"/>
                  </a:ext>
                </a:extLst>
              </p:cNvPr>
              <p:cNvSpPr txBox="1"/>
              <p:nvPr/>
            </p:nvSpPr>
            <p:spPr>
              <a:xfrm>
                <a:off x="1550135" y="2562391"/>
                <a:ext cx="635302" cy="635251"/>
              </a:xfrm>
              <a:prstGeom prst="rect">
                <a:avLst/>
              </a:prstGeom>
              <a:noFill/>
            </p:spPr>
            <p:txBody>
              <a:bodyPr wrap="none" lIns="182880" tIns="146304" rIns="182880" bIns="146304" rtlCol="0">
                <a:spAutoFit/>
              </a:bodyPr>
              <a:lstStyle/>
              <a:p>
                <a:pPr>
                  <a:lnSpc>
                    <a:spcPct val="90000"/>
                  </a:lnSpc>
                </a:pPr>
                <a:r>
                  <a:rPr lang="en-US" sz="3600" dirty="0">
                    <a:solidFill>
                      <a:schemeClr val="bg1">
                        <a:lumMod val="65000"/>
                        <a:lumOff val="35000"/>
                      </a:schemeClr>
                    </a:solidFill>
                    <a:latin typeface="Impact" panose="020B0806030902050204" pitchFamily="34" charset="0"/>
                  </a:rPr>
                  <a:t>15</a:t>
                </a:r>
              </a:p>
            </p:txBody>
          </p:sp>
        </p:grpSp>
      </p:grpSp>
      <p:grpSp>
        <p:nvGrpSpPr>
          <p:cNvPr id="68" name="Group 67">
            <a:extLst>
              <a:ext uri="{FF2B5EF4-FFF2-40B4-BE49-F238E27FC236}">
                <a16:creationId xmlns:a16="http://schemas.microsoft.com/office/drawing/2014/main" id="{5B2F6AD3-30BB-44F3-B193-8072A358F5D3}"/>
              </a:ext>
            </a:extLst>
          </p:cNvPr>
          <p:cNvGrpSpPr/>
          <p:nvPr/>
        </p:nvGrpSpPr>
        <p:grpSpPr>
          <a:xfrm>
            <a:off x="-100" y="3487954"/>
            <a:ext cx="12192000" cy="2691245"/>
            <a:chOff x="0" y="4166755"/>
            <a:chExt cx="12192000" cy="2691245"/>
          </a:xfrm>
        </p:grpSpPr>
        <p:sp>
          <p:nvSpPr>
            <p:cNvPr id="19" name="Rectangle 18">
              <a:extLst>
                <a:ext uri="{FF2B5EF4-FFF2-40B4-BE49-F238E27FC236}">
                  <a16:creationId xmlns:a16="http://schemas.microsoft.com/office/drawing/2014/main" id="{F38B6BC8-FFD9-4224-B19F-CBE6B9DE3C2C}"/>
                </a:ext>
              </a:extLst>
            </p:cNvPr>
            <p:cNvSpPr/>
            <p:nvPr/>
          </p:nvSpPr>
          <p:spPr bwMode="auto">
            <a:xfrm>
              <a:off x="0" y="4166755"/>
              <a:ext cx="12192000" cy="2691245"/>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3" name="TextBox 22">
              <a:extLst>
                <a:ext uri="{FF2B5EF4-FFF2-40B4-BE49-F238E27FC236}">
                  <a16:creationId xmlns:a16="http://schemas.microsoft.com/office/drawing/2014/main" id="{9970643D-44D9-4C34-B5D7-AABD9985475C}"/>
                </a:ext>
              </a:extLst>
            </p:cNvPr>
            <p:cNvSpPr txBox="1"/>
            <p:nvPr/>
          </p:nvSpPr>
          <p:spPr>
            <a:xfrm>
              <a:off x="565777" y="4263608"/>
              <a:ext cx="1957555" cy="627864"/>
            </a:xfrm>
            <a:prstGeom prst="rect">
              <a:avLst/>
            </a:prstGeom>
            <a:noFill/>
          </p:spPr>
          <p:txBody>
            <a:bodyPr wrap="squar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Parents</a:t>
              </a:r>
            </a:p>
          </p:txBody>
        </p:sp>
        <p:sp>
          <p:nvSpPr>
            <p:cNvPr id="24" name="TextBox 23">
              <a:extLst>
                <a:ext uri="{FF2B5EF4-FFF2-40B4-BE49-F238E27FC236}">
                  <a16:creationId xmlns:a16="http://schemas.microsoft.com/office/drawing/2014/main" id="{AF7C8B77-2D9D-4021-880F-D6C2588B4D64}"/>
                </a:ext>
              </a:extLst>
            </p:cNvPr>
            <p:cNvSpPr txBox="1"/>
            <p:nvPr/>
          </p:nvSpPr>
          <p:spPr>
            <a:xfrm>
              <a:off x="2825053" y="4319741"/>
              <a:ext cx="1914315" cy="627864"/>
            </a:xfrm>
            <a:prstGeom prst="rect">
              <a:avLst/>
            </a:prstGeom>
            <a:noFill/>
          </p:spPr>
          <p:txBody>
            <a:bodyPr wrap="squar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Teachers</a:t>
              </a:r>
            </a:p>
          </p:txBody>
        </p:sp>
        <p:sp>
          <p:nvSpPr>
            <p:cNvPr id="25" name="TextBox 24">
              <a:extLst>
                <a:ext uri="{FF2B5EF4-FFF2-40B4-BE49-F238E27FC236}">
                  <a16:creationId xmlns:a16="http://schemas.microsoft.com/office/drawing/2014/main" id="{38066D2A-2DC3-41DA-B10F-C116B8937558}"/>
                </a:ext>
              </a:extLst>
            </p:cNvPr>
            <p:cNvSpPr txBox="1"/>
            <p:nvPr/>
          </p:nvSpPr>
          <p:spPr>
            <a:xfrm>
              <a:off x="5048915" y="4333201"/>
              <a:ext cx="2046073" cy="627864"/>
            </a:xfrm>
            <a:prstGeom prst="rect">
              <a:avLst/>
            </a:prstGeom>
            <a:noFill/>
          </p:spPr>
          <p:txBody>
            <a:bodyPr wrap="non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Other adults</a:t>
              </a:r>
            </a:p>
          </p:txBody>
        </p:sp>
        <p:sp>
          <p:nvSpPr>
            <p:cNvPr id="26" name="TextBox 25">
              <a:extLst>
                <a:ext uri="{FF2B5EF4-FFF2-40B4-BE49-F238E27FC236}">
                  <a16:creationId xmlns:a16="http://schemas.microsoft.com/office/drawing/2014/main" id="{5A338573-6307-4D36-8189-003D783A0423}"/>
                </a:ext>
              </a:extLst>
            </p:cNvPr>
            <p:cNvSpPr txBox="1"/>
            <p:nvPr/>
          </p:nvSpPr>
          <p:spPr>
            <a:xfrm>
              <a:off x="7657556" y="4344938"/>
              <a:ext cx="1481816" cy="627864"/>
            </a:xfrm>
            <a:prstGeom prst="rect">
              <a:avLst/>
            </a:prstGeom>
            <a:noFill/>
          </p:spPr>
          <p:txBody>
            <a:bodyPr wrap="non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Athletes</a:t>
              </a:r>
            </a:p>
          </p:txBody>
        </p:sp>
        <p:sp>
          <p:nvSpPr>
            <p:cNvPr id="27" name="TextBox 26">
              <a:extLst>
                <a:ext uri="{FF2B5EF4-FFF2-40B4-BE49-F238E27FC236}">
                  <a16:creationId xmlns:a16="http://schemas.microsoft.com/office/drawing/2014/main" id="{5FB8BFBD-5DB0-42A4-B581-2E8ED6A1FCF6}"/>
                </a:ext>
              </a:extLst>
            </p:cNvPr>
            <p:cNvSpPr txBox="1"/>
            <p:nvPr/>
          </p:nvSpPr>
          <p:spPr>
            <a:xfrm>
              <a:off x="9636996" y="4319741"/>
              <a:ext cx="2484056" cy="627864"/>
            </a:xfrm>
            <a:prstGeom prst="rect">
              <a:avLst/>
            </a:prstGeom>
            <a:noFill/>
          </p:spPr>
          <p:txBody>
            <a:bodyPr wrap="square" lIns="182880" tIns="146304" rIns="182880" bIns="146304" rtlCol="0">
              <a:spAutoFit/>
            </a:bodyPr>
            <a:lstStyle/>
            <a:p>
              <a:pPr>
                <a:lnSpc>
                  <a:spcPct val="90000"/>
                </a:lnSpc>
              </a:pPr>
              <a:r>
                <a:rPr lang="en-US" sz="2400" dirty="0">
                  <a:latin typeface="Arial" panose="020B0604020202020204" pitchFamily="34" charset="0"/>
                  <a:cs typeface="Arial" panose="020B0604020202020204" pitchFamily="34" charset="0"/>
                </a:rPr>
                <a:t>Famous people</a:t>
              </a:r>
            </a:p>
          </p:txBody>
        </p:sp>
        <p:grpSp>
          <p:nvGrpSpPr>
            <p:cNvPr id="44" name="Group 43">
              <a:extLst>
                <a:ext uri="{FF2B5EF4-FFF2-40B4-BE49-F238E27FC236}">
                  <a16:creationId xmlns:a16="http://schemas.microsoft.com/office/drawing/2014/main" id="{63A50891-E338-47CD-9DB7-7BDC5CC9FF39}"/>
                </a:ext>
              </a:extLst>
            </p:cNvPr>
            <p:cNvGrpSpPr>
              <a:grpSpLocks noChangeAspect="1"/>
            </p:cNvGrpSpPr>
            <p:nvPr/>
          </p:nvGrpSpPr>
          <p:grpSpPr>
            <a:xfrm>
              <a:off x="7602210" y="5080248"/>
              <a:ext cx="1515130" cy="1463040"/>
              <a:chOff x="7602210" y="5019960"/>
              <a:chExt cx="1609826" cy="1554480"/>
            </a:xfrm>
          </p:grpSpPr>
          <p:pic>
            <p:nvPicPr>
              <p:cNvPr id="43" name="Picture 42">
                <a:extLst>
                  <a:ext uri="{FF2B5EF4-FFF2-40B4-BE49-F238E27FC236}">
                    <a16:creationId xmlns:a16="http://schemas.microsoft.com/office/drawing/2014/main" id="{08834F43-4DD6-441D-9B8F-52095915063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657556" y="5019960"/>
                <a:ext cx="1554480" cy="1554480"/>
              </a:xfrm>
              <a:prstGeom prst="rect">
                <a:avLst/>
              </a:prstGeom>
            </p:spPr>
          </p:pic>
          <p:sp>
            <p:nvSpPr>
              <p:cNvPr id="40" name="Rectangle 39">
                <a:extLst>
                  <a:ext uri="{FF2B5EF4-FFF2-40B4-BE49-F238E27FC236}">
                    <a16:creationId xmlns:a16="http://schemas.microsoft.com/office/drawing/2014/main" id="{92D5D3C0-2C8E-48A4-ABDE-8B1EBD85CC9D}"/>
                  </a:ext>
                </a:extLst>
              </p:cNvPr>
              <p:cNvSpPr/>
              <p:nvPr/>
            </p:nvSpPr>
            <p:spPr bwMode="auto">
              <a:xfrm>
                <a:off x="7602210" y="6357794"/>
                <a:ext cx="829196" cy="189012"/>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48" name="Group 47">
              <a:extLst>
                <a:ext uri="{FF2B5EF4-FFF2-40B4-BE49-F238E27FC236}">
                  <a16:creationId xmlns:a16="http://schemas.microsoft.com/office/drawing/2014/main" id="{5237E79B-FBBD-45A1-B46C-DAE15F5FAEDC}"/>
                </a:ext>
              </a:extLst>
            </p:cNvPr>
            <p:cNvGrpSpPr/>
            <p:nvPr/>
          </p:nvGrpSpPr>
          <p:grpSpPr>
            <a:xfrm>
              <a:off x="606753" y="5007689"/>
              <a:ext cx="1398070" cy="1371600"/>
              <a:chOff x="606753" y="5007689"/>
              <a:chExt cx="1398070" cy="1371600"/>
            </a:xfrm>
          </p:grpSpPr>
          <p:pic>
            <p:nvPicPr>
              <p:cNvPr id="46" name="Picture 45">
                <a:extLst>
                  <a:ext uri="{FF2B5EF4-FFF2-40B4-BE49-F238E27FC236}">
                    <a16:creationId xmlns:a16="http://schemas.microsoft.com/office/drawing/2014/main" id="{BCE20FFD-DF48-4B94-A86B-F4785162386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33223" y="5007689"/>
                <a:ext cx="1371600" cy="1371600"/>
              </a:xfrm>
              <a:prstGeom prst="rect">
                <a:avLst/>
              </a:prstGeom>
            </p:spPr>
          </p:pic>
          <p:sp>
            <p:nvSpPr>
              <p:cNvPr id="47" name="Rectangle 46">
                <a:extLst>
                  <a:ext uri="{FF2B5EF4-FFF2-40B4-BE49-F238E27FC236}">
                    <a16:creationId xmlns:a16="http://schemas.microsoft.com/office/drawing/2014/main" id="{7314D2C9-4610-459E-BD4C-B88C761360C3}"/>
                  </a:ext>
                </a:extLst>
              </p:cNvPr>
              <p:cNvSpPr/>
              <p:nvPr/>
            </p:nvSpPr>
            <p:spPr bwMode="auto">
              <a:xfrm>
                <a:off x="606753" y="6149591"/>
                <a:ext cx="800016" cy="207212"/>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2" name="Group 51">
              <a:extLst>
                <a:ext uri="{FF2B5EF4-FFF2-40B4-BE49-F238E27FC236}">
                  <a16:creationId xmlns:a16="http://schemas.microsoft.com/office/drawing/2014/main" id="{052B0D0F-C71D-4018-87A3-A0A859276792}"/>
                </a:ext>
              </a:extLst>
            </p:cNvPr>
            <p:cNvGrpSpPr/>
            <p:nvPr/>
          </p:nvGrpSpPr>
          <p:grpSpPr>
            <a:xfrm>
              <a:off x="2974316" y="4957525"/>
              <a:ext cx="1463040" cy="1463040"/>
              <a:chOff x="2974316" y="4957525"/>
              <a:chExt cx="1463040" cy="1463040"/>
            </a:xfrm>
          </p:grpSpPr>
          <p:pic>
            <p:nvPicPr>
              <p:cNvPr id="50" name="Picture 49">
                <a:extLst>
                  <a:ext uri="{FF2B5EF4-FFF2-40B4-BE49-F238E27FC236}">
                    <a16:creationId xmlns:a16="http://schemas.microsoft.com/office/drawing/2014/main" id="{D77A87BB-E14B-4FDC-A3F1-E71772F00710}"/>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974316" y="4957525"/>
                <a:ext cx="1463040" cy="1463040"/>
              </a:xfrm>
              <a:prstGeom prst="rect">
                <a:avLst/>
              </a:prstGeom>
            </p:spPr>
          </p:pic>
          <p:sp>
            <p:nvSpPr>
              <p:cNvPr id="51" name="Rectangle 50">
                <a:extLst>
                  <a:ext uri="{FF2B5EF4-FFF2-40B4-BE49-F238E27FC236}">
                    <a16:creationId xmlns:a16="http://schemas.microsoft.com/office/drawing/2014/main" id="{F1BEA6C8-2305-49CF-B7E0-E7925B760299}"/>
                  </a:ext>
                </a:extLst>
              </p:cNvPr>
              <p:cNvSpPr/>
              <p:nvPr/>
            </p:nvSpPr>
            <p:spPr bwMode="auto">
              <a:xfrm>
                <a:off x="3076025" y="6216314"/>
                <a:ext cx="792590" cy="154011"/>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56" name="Group 55">
              <a:extLst>
                <a:ext uri="{FF2B5EF4-FFF2-40B4-BE49-F238E27FC236}">
                  <a16:creationId xmlns:a16="http://schemas.microsoft.com/office/drawing/2014/main" id="{D7890DBA-B215-4BD0-88FD-E968F04EC2E7}"/>
                </a:ext>
              </a:extLst>
            </p:cNvPr>
            <p:cNvGrpSpPr/>
            <p:nvPr/>
          </p:nvGrpSpPr>
          <p:grpSpPr>
            <a:xfrm>
              <a:off x="5501640" y="5181605"/>
              <a:ext cx="1188720" cy="1188720"/>
              <a:chOff x="5501640" y="5181605"/>
              <a:chExt cx="1188720" cy="1188720"/>
            </a:xfrm>
          </p:grpSpPr>
          <p:pic>
            <p:nvPicPr>
              <p:cNvPr id="54" name="Picture 53">
                <a:extLst>
                  <a:ext uri="{FF2B5EF4-FFF2-40B4-BE49-F238E27FC236}">
                    <a16:creationId xmlns:a16="http://schemas.microsoft.com/office/drawing/2014/main" id="{B8E3AEDB-E62F-4E5D-9650-5255BCED68BB}"/>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5501640" y="5181605"/>
                <a:ext cx="1188720" cy="1188720"/>
              </a:xfrm>
              <a:prstGeom prst="rect">
                <a:avLst/>
              </a:prstGeom>
            </p:spPr>
          </p:pic>
          <p:sp>
            <p:nvSpPr>
              <p:cNvPr id="55" name="Rectangle 54">
                <a:extLst>
                  <a:ext uri="{FF2B5EF4-FFF2-40B4-BE49-F238E27FC236}">
                    <a16:creationId xmlns:a16="http://schemas.microsoft.com/office/drawing/2014/main" id="{C8FFCCA3-EF9F-4EBC-814D-1FFF4A4205BF}"/>
                  </a:ext>
                </a:extLst>
              </p:cNvPr>
              <p:cNvSpPr/>
              <p:nvPr/>
            </p:nvSpPr>
            <p:spPr bwMode="auto">
              <a:xfrm>
                <a:off x="5546690" y="6216314"/>
                <a:ext cx="442128" cy="140489"/>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pic>
          <p:nvPicPr>
            <p:cNvPr id="62" name="Picture 61">
              <a:extLst>
                <a:ext uri="{FF2B5EF4-FFF2-40B4-BE49-F238E27FC236}">
                  <a16:creationId xmlns:a16="http://schemas.microsoft.com/office/drawing/2014/main" id="{657DDB1F-E03A-4C72-8132-ABAEAADDBF73}"/>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125971" y="4916249"/>
              <a:ext cx="1554480" cy="1554480"/>
            </a:xfrm>
            <a:prstGeom prst="rect">
              <a:avLst/>
            </a:prstGeom>
          </p:spPr>
        </p:pic>
      </p:grpSp>
      <p:sp>
        <p:nvSpPr>
          <p:cNvPr id="67" name="Rectangle 66">
            <a:extLst>
              <a:ext uri="{FF2B5EF4-FFF2-40B4-BE49-F238E27FC236}">
                <a16:creationId xmlns:a16="http://schemas.microsoft.com/office/drawing/2014/main" id="{02B200B7-F6EB-420B-AD5B-0609493DCE01}"/>
              </a:ext>
            </a:extLst>
          </p:cNvPr>
          <p:cNvSpPr/>
          <p:nvPr/>
        </p:nvSpPr>
        <p:spPr>
          <a:xfrm>
            <a:off x="-6701" y="6443874"/>
            <a:ext cx="6542850" cy="400110"/>
          </a:xfrm>
          <a:prstGeom prst="rect">
            <a:avLst/>
          </a:prstGeom>
        </p:spPr>
        <p:txBody>
          <a:bodyPr wrap="square">
            <a:spAutoFit/>
          </a:bodyPr>
          <a:lstStyle/>
          <a:p>
            <a:r>
              <a:rPr lang="en-US" sz="1000" i="1" dirty="0">
                <a:solidFill>
                  <a:schemeClr val="bg1">
                    <a:lumMod val="65000"/>
                    <a:lumOff val="35000"/>
                  </a:schemeClr>
                </a:solidFill>
                <a:latin typeface="Arial" panose="020B0604020202020204" pitchFamily="34" charset="0"/>
                <a:cs typeface="Arial" panose="020B0604020202020204" pitchFamily="34" charset="0"/>
              </a:rPr>
              <a:t>Base: Teens. Q12.2: A role model is a person who serves as an example and influences others. Thinking about your own life, which of the following are good role models who display civil and respectful behavior online?</a:t>
            </a:r>
          </a:p>
        </p:txBody>
      </p:sp>
      <p:sp>
        <p:nvSpPr>
          <p:cNvPr id="41" name="Slide Number Placeholder 2">
            <a:extLst>
              <a:ext uri="{FF2B5EF4-FFF2-40B4-BE49-F238E27FC236}">
                <a16:creationId xmlns:a16="http://schemas.microsoft.com/office/drawing/2014/main" id="{4177E025-304E-4B55-AE72-641AEAA184EA}"/>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710585238"/>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1" y="0"/>
            <a:ext cx="5107900"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sp>
        <p:nvSpPr>
          <p:cNvPr id="6" name="Title 5"/>
          <p:cNvSpPr>
            <a:spLocks noGrp="1"/>
          </p:cNvSpPr>
          <p:nvPr>
            <p:ph type="title"/>
          </p:nvPr>
        </p:nvSpPr>
        <p:spPr>
          <a:xfrm>
            <a:off x="3243558" y="110752"/>
            <a:ext cx="8496267" cy="1179288"/>
          </a:xfrm>
        </p:spPr>
        <p:txBody>
          <a:bodyPr/>
          <a:lstStyle/>
          <a:p>
            <a:r>
              <a:rPr lang="en-US" altLang="ko-KR" sz="3600" b="0" dirty="0"/>
              <a:t>Many Teens are troubled when their parents post about them on social media</a:t>
            </a:r>
          </a:p>
        </p:txBody>
      </p:sp>
      <p:grpSp>
        <p:nvGrpSpPr>
          <p:cNvPr id="17" name="Group 16">
            <a:extLst>
              <a:ext uri="{FF2B5EF4-FFF2-40B4-BE49-F238E27FC236}">
                <a16:creationId xmlns:a16="http://schemas.microsoft.com/office/drawing/2014/main" id="{D0D06D6A-1876-4DAB-8E2E-48B997D9C837}"/>
              </a:ext>
            </a:extLst>
          </p:cNvPr>
          <p:cNvGrpSpPr/>
          <p:nvPr/>
        </p:nvGrpSpPr>
        <p:grpSpPr>
          <a:xfrm>
            <a:off x="338272" y="1734845"/>
            <a:ext cx="3201687" cy="3200400"/>
            <a:chOff x="664345" y="2188450"/>
            <a:chExt cx="3201687" cy="3200400"/>
          </a:xfrm>
        </p:grpSpPr>
        <p:graphicFrame>
          <p:nvGraphicFramePr>
            <p:cNvPr id="42" name="Chart 41">
              <a:extLst>
                <a:ext uri="{FF2B5EF4-FFF2-40B4-BE49-F238E27FC236}">
                  <a16:creationId xmlns:a16="http://schemas.microsoft.com/office/drawing/2014/main" id="{2E9E445C-F41E-4E82-A0A2-DA0C47903816}"/>
                </a:ext>
              </a:extLst>
            </p:cNvPr>
            <p:cNvGraphicFramePr>
              <a:graphicFrameLocks noChangeAspect="1"/>
            </p:cNvGraphicFramePr>
            <p:nvPr>
              <p:extLst>
                <p:ext uri="{D42A27DB-BD31-4B8C-83A1-F6EECF244321}">
                  <p14:modId xmlns:p14="http://schemas.microsoft.com/office/powerpoint/2010/main" val="731003103"/>
                </p:ext>
              </p:extLst>
            </p:nvPr>
          </p:nvGraphicFramePr>
          <p:xfrm>
            <a:off x="664345" y="2188450"/>
            <a:ext cx="3201687" cy="3200400"/>
          </p:xfrm>
          <a:graphic>
            <a:graphicData uri="http://schemas.openxmlformats.org/drawingml/2006/chart">
              <c:chart xmlns:c="http://schemas.openxmlformats.org/drawingml/2006/chart" xmlns:r="http://schemas.openxmlformats.org/officeDocument/2006/relationships" r:id="rId3"/>
            </a:graphicData>
          </a:graphic>
        </p:graphicFrame>
        <p:sp>
          <p:nvSpPr>
            <p:cNvPr id="16" name="Rectangle 15">
              <a:extLst>
                <a:ext uri="{FF2B5EF4-FFF2-40B4-BE49-F238E27FC236}">
                  <a16:creationId xmlns:a16="http://schemas.microsoft.com/office/drawing/2014/main" id="{EF655F99-9091-47B9-8C96-9C48C2003DBB}"/>
                </a:ext>
              </a:extLst>
            </p:cNvPr>
            <p:cNvSpPr/>
            <p:nvPr/>
          </p:nvSpPr>
          <p:spPr>
            <a:xfrm>
              <a:off x="1705581" y="3326985"/>
              <a:ext cx="1119217" cy="923330"/>
            </a:xfrm>
            <a:prstGeom prst="rect">
              <a:avLst/>
            </a:prstGeom>
          </p:spPr>
          <p:txBody>
            <a:bodyPr wrap="none">
              <a:spAutoFit/>
            </a:bodyPr>
            <a:lstStyle/>
            <a:p>
              <a:pPr algn="ctr"/>
              <a:r>
                <a:rPr lang="en-US" altLang="ko-KR" sz="5400" dirty="0">
                  <a:solidFill>
                    <a:schemeClr val="bg1"/>
                  </a:solidFill>
                  <a:latin typeface="Impact" panose="020B0806030902050204" pitchFamily="34" charset="0"/>
                </a:rPr>
                <a:t>42</a:t>
              </a:r>
              <a:r>
                <a:rPr lang="en-US" altLang="ko-KR" sz="2700" dirty="0">
                  <a:solidFill>
                    <a:schemeClr val="bg1"/>
                  </a:solidFill>
                  <a:latin typeface="Impact" panose="020B0806030902050204" pitchFamily="34" charset="0"/>
                </a:rPr>
                <a:t>%</a:t>
              </a:r>
              <a:endParaRPr lang="ko-KR" altLang="en-US" sz="2700" dirty="0">
                <a:solidFill>
                  <a:schemeClr val="bg1"/>
                </a:solidFill>
                <a:latin typeface="Impact" panose="020B0806030902050204" pitchFamily="34" charset="0"/>
              </a:endParaRPr>
            </a:p>
          </p:txBody>
        </p:sp>
      </p:grpSp>
      <p:sp>
        <p:nvSpPr>
          <p:cNvPr id="45" name="TextBox 44">
            <a:extLst>
              <a:ext uri="{FF2B5EF4-FFF2-40B4-BE49-F238E27FC236}">
                <a16:creationId xmlns:a16="http://schemas.microsoft.com/office/drawing/2014/main" id="{C862E79D-463E-4C6F-B0ED-587186E137E3}"/>
              </a:ext>
            </a:extLst>
          </p:cNvPr>
          <p:cNvSpPr txBox="1">
            <a:spLocks/>
          </p:cNvSpPr>
          <p:nvPr/>
        </p:nvSpPr>
        <p:spPr>
          <a:xfrm>
            <a:off x="306086" y="4998543"/>
            <a:ext cx="3812785" cy="830997"/>
          </a:xfrm>
          <a:prstGeom prst="rect">
            <a:avLst/>
          </a:prstGeom>
          <a:solidFill>
            <a:srgbClr val="28608C">
              <a:alpha val="85000"/>
            </a:srgbClr>
          </a:solidFill>
        </p:spPr>
        <p:txBody>
          <a:bodyPr wrap="square" rtlCol="0" anchor="t">
            <a:spAutoFit/>
          </a:bodyPr>
          <a:lstStyle/>
          <a:p>
            <a:pPr algn="ctr"/>
            <a:r>
              <a:rPr lang="en-US" altLang="ko-KR" sz="2400" dirty="0">
                <a:solidFill>
                  <a:schemeClr val="bg1"/>
                </a:solidFill>
                <a:latin typeface="Arial" panose="020B0604020202020204" pitchFamily="34" charset="0"/>
                <a:cs typeface="Arial" panose="020B0604020202020204" pitchFamily="34" charset="0"/>
              </a:rPr>
              <a:t>Teens who reported having a problem</a:t>
            </a:r>
            <a:endParaRPr lang="ko-KR" altLang="en-US" sz="2400" dirty="0">
              <a:solidFill>
                <a:schemeClr val="bg1"/>
              </a:solidFill>
              <a:latin typeface="Arial" panose="020B0604020202020204" pitchFamily="34" charset="0"/>
              <a:cs typeface="Arial" panose="020B0604020202020204" pitchFamily="34" charset="0"/>
            </a:endParaRPr>
          </a:p>
        </p:txBody>
      </p:sp>
      <p:sp>
        <p:nvSpPr>
          <p:cNvPr id="28" name="TextBox 27">
            <a:extLst>
              <a:ext uri="{FF2B5EF4-FFF2-40B4-BE49-F238E27FC236}">
                <a16:creationId xmlns:a16="http://schemas.microsoft.com/office/drawing/2014/main" id="{9A1C9E19-1C8A-4825-AEBD-02D04041D6E3}"/>
              </a:ext>
            </a:extLst>
          </p:cNvPr>
          <p:cNvSpPr txBox="1"/>
          <p:nvPr/>
        </p:nvSpPr>
        <p:spPr>
          <a:xfrm>
            <a:off x="6464428" y="6147036"/>
            <a:ext cx="4678158" cy="710964"/>
          </a:xfrm>
          <a:prstGeom prst="rect">
            <a:avLst/>
          </a:prstGeom>
          <a:noFill/>
        </p:spPr>
        <p:txBody>
          <a:bodyPr wrap="square" lIns="182880" tIns="146304" rIns="182880" bIns="146304" rtlCol="0">
            <a:spAutoFit/>
          </a:bodyPr>
          <a:lstStyle/>
          <a:p>
            <a:pPr>
              <a:lnSpc>
                <a:spcPct val="90000"/>
              </a:lnSpc>
            </a:pPr>
            <a:r>
              <a:rPr lang="en-US" sz="1000" i="1" dirty="0">
                <a:solidFill>
                  <a:schemeClr val="bg1">
                    <a:lumMod val="50000"/>
                  </a:schemeClr>
                </a:solidFill>
              </a:rPr>
              <a:t>Q12.3: Do you have any problems with your parents posting pictures, videos or news about you online without your knowledge or permission that other people might see</a:t>
            </a:r>
          </a:p>
        </p:txBody>
      </p:sp>
      <p:graphicFrame>
        <p:nvGraphicFramePr>
          <p:cNvPr id="30" name="Chart 29">
            <a:extLst>
              <a:ext uri="{FF2B5EF4-FFF2-40B4-BE49-F238E27FC236}">
                <a16:creationId xmlns:a16="http://schemas.microsoft.com/office/drawing/2014/main" id="{9C61739E-F139-4CC0-9C0F-EDEBDAE95F6F}"/>
              </a:ext>
            </a:extLst>
          </p:cNvPr>
          <p:cNvGraphicFramePr/>
          <p:nvPr>
            <p:extLst>
              <p:ext uri="{D42A27DB-BD31-4B8C-83A1-F6EECF244321}">
                <p14:modId xmlns:p14="http://schemas.microsoft.com/office/powerpoint/2010/main" val="2019064423"/>
              </p:ext>
            </p:extLst>
          </p:nvPr>
        </p:nvGraphicFramePr>
        <p:xfrm>
          <a:off x="7747278" y="1428186"/>
          <a:ext cx="2813539" cy="4718850"/>
        </p:xfrm>
        <a:graphic>
          <a:graphicData uri="http://schemas.openxmlformats.org/drawingml/2006/chart">
            <c:chart xmlns:c="http://schemas.openxmlformats.org/drawingml/2006/chart" xmlns:r="http://schemas.openxmlformats.org/officeDocument/2006/relationships" r:id="rId4"/>
          </a:graphicData>
        </a:graphic>
      </p:graphicFrame>
      <p:sp>
        <p:nvSpPr>
          <p:cNvPr id="3" name="TextBox 2">
            <a:extLst>
              <a:ext uri="{FF2B5EF4-FFF2-40B4-BE49-F238E27FC236}">
                <a16:creationId xmlns:a16="http://schemas.microsoft.com/office/drawing/2014/main" id="{4E654E69-8A07-4C7A-9308-02B9F1B4759E}"/>
              </a:ext>
            </a:extLst>
          </p:cNvPr>
          <p:cNvSpPr txBox="1"/>
          <p:nvPr/>
        </p:nvSpPr>
        <p:spPr>
          <a:xfrm>
            <a:off x="6414811" y="1939050"/>
            <a:ext cx="1415772" cy="369332"/>
          </a:xfrm>
          <a:prstGeom prst="rect">
            <a:avLst/>
          </a:prstGeom>
          <a:noFill/>
        </p:spPr>
        <p:txBody>
          <a:bodyPr wrap="none" rtlCol="0">
            <a:spAutoFit/>
          </a:bodyPr>
          <a:lstStyle/>
          <a:p>
            <a:r>
              <a:rPr lang="en-US" dirty="0">
                <a:solidFill>
                  <a:schemeClr val="tx1">
                    <a:lumMod val="65000"/>
                    <a:lumOff val="35000"/>
                  </a:schemeClr>
                </a:solidFill>
              </a:rPr>
              <a:t>Big problem</a:t>
            </a:r>
          </a:p>
        </p:txBody>
      </p:sp>
      <p:sp>
        <p:nvSpPr>
          <p:cNvPr id="32" name="TextBox 31">
            <a:extLst>
              <a:ext uri="{FF2B5EF4-FFF2-40B4-BE49-F238E27FC236}">
                <a16:creationId xmlns:a16="http://schemas.microsoft.com/office/drawing/2014/main" id="{8AF85343-B737-412C-BF46-065D8C570E2B}"/>
              </a:ext>
            </a:extLst>
          </p:cNvPr>
          <p:cNvSpPr txBox="1"/>
          <p:nvPr/>
        </p:nvSpPr>
        <p:spPr>
          <a:xfrm>
            <a:off x="5927498" y="2480645"/>
            <a:ext cx="1903085" cy="369332"/>
          </a:xfrm>
          <a:prstGeom prst="rect">
            <a:avLst/>
          </a:prstGeom>
          <a:noFill/>
        </p:spPr>
        <p:txBody>
          <a:bodyPr wrap="none" rtlCol="0">
            <a:spAutoFit/>
          </a:bodyPr>
          <a:lstStyle/>
          <a:p>
            <a:r>
              <a:rPr lang="en-US" dirty="0">
                <a:solidFill>
                  <a:schemeClr val="tx1">
                    <a:lumMod val="65000"/>
                    <a:lumOff val="35000"/>
                  </a:schemeClr>
                </a:solidFill>
              </a:rPr>
              <a:t>Medium problem</a:t>
            </a:r>
          </a:p>
        </p:txBody>
      </p:sp>
      <p:sp>
        <p:nvSpPr>
          <p:cNvPr id="34" name="TextBox 33">
            <a:extLst>
              <a:ext uri="{FF2B5EF4-FFF2-40B4-BE49-F238E27FC236}">
                <a16:creationId xmlns:a16="http://schemas.microsoft.com/office/drawing/2014/main" id="{154BFF11-6C0A-49DA-9AC8-5B2EC2C183AD}"/>
              </a:ext>
            </a:extLst>
          </p:cNvPr>
          <p:cNvSpPr txBox="1"/>
          <p:nvPr/>
        </p:nvSpPr>
        <p:spPr>
          <a:xfrm>
            <a:off x="6171154" y="3109227"/>
            <a:ext cx="1659429" cy="369332"/>
          </a:xfrm>
          <a:prstGeom prst="rect">
            <a:avLst/>
          </a:prstGeom>
          <a:noFill/>
        </p:spPr>
        <p:txBody>
          <a:bodyPr wrap="none" rtlCol="0">
            <a:spAutoFit/>
          </a:bodyPr>
          <a:lstStyle/>
          <a:p>
            <a:r>
              <a:rPr lang="en-US" dirty="0">
                <a:solidFill>
                  <a:schemeClr val="tx1">
                    <a:lumMod val="65000"/>
                    <a:lumOff val="35000"/>
                  </a:schemeClr>
                </a:solidFill>
              </a:rPr>
              <a:t>Small problem</a:t>
            </a:r>
          </a:p>
        </p:txBody>
      </p:sp>
      <p:sp>
        <p:nvSpPr>
          <p:cNvPr id="35" name="TextBox 34">
            <a:extLst>
              <a:ext uri="{FF2B5EF4-FFF2-40B4-BE49-F238E27FC236}">
                <a16:creationId xmlns:a16="http://schemas.microsoft.com/office/drawing/2014/main" id="{1942BE49-F40C-44E7-AB31-130D398BC54B}"/>
              </a:ext>
            </a:extLst>
          </p:cNvPr>
          <p:cNvSpPr txBox="1"/>
          <p:nvPr/>
        </p:nvSpPr>
        <p:spPr>
          <a:xfrm>
            <a:off x="6132682" y="4090490"/>
            <a:ext cx="1697901" cy="369332"/>
          </a:xfrm>
          <a:prstGeom prst="rect">
            <a:avLst/>
          </a:prstGeom>
          <a:noFill/>
        </p:spPr>
        <p:txBody>
          <a:bodyPr wrap="none" rtlCol="0">
            <a:spAutoFit/>
          </a:bodyPr>
          <a:lstStyle/>
          <a:p>
            <a:r>
              <a:rPr lang="en-US" dirty="0">
                <a:solidFill>
                  <a:schemeClr val="tx1">
                    <a:lumMod val="65000"/>
                    <a:lumOff val="35000"/>
                  </a:schemeClr>
                </a:solidFill>
              </a:rPr>
              <a:t>Not a problem</a:t>
            </a:r>
          </a:p>
        </p:txBody>
      </p:sp>
      <p:sp>
        <p:nvSpPr>
          <p:cNvPr id="36" name="TextBox 35">
            <a:extLst>
              <a:ext uri="{FF2B5EF4-FFF2-40B4-BE49-F238E27FC236}">
                <a16:creationId xmlns:a16="http://schemas.microsoft.com/office/drawing/2014/main" id="{9C010120-1A51-46EB-8BAF-4475158C4939}"/>
              </a:ext>
            </a:extLst>
          </p:cNvPr>
          <p:cNvSpPr txBox="1"/>
          <p:nvPr/>
        </p:nvSpPr>
        <p:spPr>
          <a:xfrm>
            <a:off x="4943790" y="5012580"/>
            <a:ext cx="2886794" cy="923330"/>
          </a:xfrm>
          <a:prstGeom prst="rect">
            <a:avLst/>
          </a:prstGeom>
          <a:noFill/>
        </p:spPr>
        <p:txBody>
          <a:bodyPr wrap="square" rtlCol="0">
            <a:spAutoFit/>
          </a:bodyPr>
          <a:lstStyle/>
          <a:p>
            <a:pPr algn="r"/>
            <a:r>
              <a:rPr lang="en-US" dirty="0">
                <a:solidFill>
                  <a:schemeClr val="tx1">
                    <a:lumMod val="65000"/>
                    <a:lumOff val="35000"/>
                  </a:schemeClr>
                </a:solidFill>
              </a:rPr>
              <a:t>Parents never posted about me without my knowledge or permission</a:t>
            </a:r>
          </a:p>
        </p:txBody>
      </p:sp>
      <p:sp>
        <p:nvSpPr>
          <p:cNvPr id="11" name="Left Brace 10">
            <a:extLst>
              <a:ext uri="{FF2B5EF4-FFF2-40B4-BE49-F238E27FC236}">
                <a16:creationId xmlns:a16="http://schemas.microsoft.com/office/drawing/2014/main" id="{0ED6387F-B395-42ED-802B-8FCAEC9B9884}"/>
              </a:ext>
            </a:extLst>
          </p:cNvPr>
          <p:cNvSpPr/>
          <p:nvPr/>
        </p:nvSpPr>
        <p:spPr>
          <a:xfrm>
            <a:off x="5617029" y="2110151"/>
            <a:ext cx="478971" cy="1286189"/>
          </a:xfrm>
          <a:prstGeom prst="lef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3" name="TextBox 12">
            <a:extLst>
              <a:ext uri="{FF2B5EF4-FFF2-40B4-BE49-F238E27FC236}">
                <a16:creationId xmlns:a16="http://schemas.microsoft.com/office/drawing/2014/main" id="{84A333D9-CFD9-4F21-B1C1-45A1EF0E74AC}"/>
              </a:ext>
            </a:extLst>
          </p:cNvPr>
          <p:cNvSpPr txBox="1"/>
          <p:nvPr/>
        </p:nvSpPr>
        <p:spPr>
          <a:xfrm>
            <a:off x="3962096" y="2469570"/>
            <a:ext cx="1571905" cy="461665"/>
          </a:xfrm>
          <a:prstGeom prst="rect">
            <a:avLst/>
          </a:prstGeom>
          <a:noFill/>
        </p:spPr>
        <p:txBody>
          <a:bodyPr wrap="none" rtlCol="0">
            <a:spAutoFit/>
          </a:bodyPr>
          <a:lstStyle/>
          <a:p>
            <a:r>
              <a:rPr lang="en-US" sz="2400" dirty="0"/>
              <a:t>A problem</a:t>
            </a:r>
          </a:p>
        </p:txBody>
      </p:sp>
      <p:sp>
        <p:nvSpPr>
          <p:cNvPr id="18" name="Slide Number Placeholder 2">
            <a:extLst>
              <a:ext uri="{FF2B5EF4-FFF2-40B4-BE49-F238E27FC236}">
                <a16:creationId xmlns:a16="http://schemas.microsoft.com/office/drawing/2014/main" id="{70440641-28ED-497C-862D-32F2E80A0650}"/>
              </a:ext>
            </a:extLst>
          </p:cNvPr>
          <p:cNvSpPr txBox="1">
            <a:spLocks/>
          </p:cNvSpPr>
          <p:nvPr/>
        </p:nvSpPr>
        <p:spPr>
          <a:xfrm>
            <a:off x="9280508" y="6520009"/>
            <a:ext cx="2901950" cy="371475"/>
          </a:xfrm>
          <a:prstGeom prst="rect">
            <a:avLst/>
          </a:prstGeom>
        </p:spPr>
        <p:txBody>
          <a:bodyPr/>
          <a:lstStyle>
            <a:defPPr>
              <a:defRPr lang="en-US"/>
            </a:defPPr>
            <a:lvl1pPr marL="0" algn="l" defTabSz="914286" rtl="0" eaLnBrk="1" latinLnBrk="0" hangingPunct="1">
              <a:defRPr sz="1800" kern="1200">
                <a:solidFill>
                  <a:schemeClr val="tx1"/>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lgn="r">
              <a:defRPr/>
            </a:pPr>
            <a:fld id="{7EFC24D6-DB8F-6B44-BA5A-9BEC68C15CAA}" type="slidenum">
              <a:rPr lang="en-US" sz="1200" smtClean="0">
                <a:solidFill>
                  <a:prstClr val="black">
                    <a:lumMod val="50000"/>
                    <a:lumOff val="50000"/>
                  </a:prstClr>
                </a:solidFill>
                <a:latin typeface="Arial"/>
              </a:rPr>
              <a:pPr algn="r">
                <a:defRPr/>
              </a:pPr>
              <a:t>32</a:t>
            </a:fld>
            <a:endParaRPr lang="en-US" sz="1200" dirty="0">
              <a:solidFill>
                <a:prstClr val="black">
                  <a:lumMod val="50000"/>
                  <a:lumOff val="50000"/>
                </a:prstClr>
              </a:solidFill>
              <a:latin typeface="Arial"/>
            </a:endParaRPr>
          </a:p>
        </p:txBody>
      </p:sp>
    </p:spTree>
    <p:extLst>
      <p:ext uri="{BB962C8B-B14F-4D97-AF65-F5344CB8AC3E}">
        <p14:creationId xmlns:p14="http://schemas.microsoft.com/office/powerpoint/2010/main" val="366924504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E2CF2F-A1EC-49A5-B0DC-BF876589CA99}"/>
              </a:ext>
            </a:extLst>
          </p:cNvPr>
          <p:cNvSpPr>
            <a:spLocks noGrp="1"/>
          </p:cNvSpPr>
          <p:nvPr>
            <p:ph type="sldNum" sz="quarter" idx="4"/>
          </p:nvPr>
        </p:nvSpPr>
        <p:spPr/>
        <p:txBody>
          <a:bodyPr/>
          <a:lstStyle/>
          <a:p>
            <a:fld id="{7EFC24D6-DB8F-6B44-BA5A-9BEC68C15CAA}" type="slidenum">
              <a:rPr lang="en-US" smtClean="0"/>
              <a:pPr/>
              <a:t>33</a:t>
            </a:fld>
            <a:endParaRPr lang="en-US" dirty="0"/>
          </a:p>
        </p:txBody>
      </p:sp>
      <p:sp>
        <p:nvSpPr>
          <p:cNvPr id="4" name="Title 1">
            <a:extLst>
              <a:ext uri="{FF2B5EF4-FFF2-40B4-BE49-F238E27FC236}">
                <a16:creationId xmlns:a16="http://schemas.microsoft.com/office/drawing/2014/main" id="{E5C50965-3A40-4565-9E47-E14AE81DF1F4}"/>
              </a:ext>
            </a:extLst>
          </p:cNvPr>
          <p:cNvSpPr txBox="1">
            <a:spLocks/>
          </p:cNvSpPr>
          <p:nvPr/>
        </p:nvSpPr>
        <p:spPr>
          <a:xfrm>
            <a:off x="0" y="279707"/>
            <a:ext cx="0" cy="0"/>
          </a:xfrm>
        </p:spPr>
        <p:txBody>
          <a:bodyPr/>
          <a:lstStyle>
            <a:lvl1pPr algn="l" defTabSz="914423" rtl="0" eaLnBrk="1" latinLnBrk="0" hangingPunct="1">
              <a:lnSpc>
                <a:spcPct val="90000"/>
              </a:lnSpc>
              <a:spcBef>
                <a:spcPct val="0"/>
              </a:spcBef>
              <a:buNone/>
              <a:defRPr sz="4400" kern="1200">
                <a:solidFill>
                  <a:schemeClr val="tx1"/>
                </a:solidFill>
                <a:latin typeface="+mj-lt"/>
                <a:ea typeface="+mj-ea"/>
                <a:cs typeface="+mj-cs"/>
              </a:defRPr>
            </a:lvl1pPr>
          </a:lstStyle>
          <a:p>
            <a:r>
              <a:rPr lang="en-US" dirty="0"/>
              <a:t>      </a:t>
            </a:r>
          </a:p>
        </p:txBody>
      </p:sp>
      <p:graphicFrame>
        <p:nvGraphicFramePr>
          <p:cNvPr id="5" name="Chart 4">
            <a:extLst>
              <a:ext uri="{FF2B5EF4-FFF2-40B4-BE49-F238E27FC236}">
                <a16:creationId xmlns:a16="http://schemas.microsoft.com/office/drawing/2014/main" id="{8A09AA7F-5116-4697-87AB-25A5F6D8907C}"/>
              </a:ext>
            </a:extLst>
          </p:cNvPr>
          <p:cNvGraphicFramePr/>
          <p:nvPr>
            <p:extLst>
              <p:ext uri="{D42A27DB-BD31-4B8C-83A1-F6EECF244321}">
                <p14:modId xmlns:p14="http://schemas.microsoft.com/office/powerpoint/2010/main" val="4107910985"/>
              </p:ext>
            </p:extLst>
          </p:nvPr>
        </p:nvGraphicFramePr>
        <p:xfrm>
          <a:off x="4023934" y="1605645"/>
          <a:ext cx="7948136" cy="4612275"/>
        </p:xfrm>
        <a:graphic>
          <a:graphicData uri="http://schemas.openxmlformats.org/drawingml/2006/chart">
            <c:chart xmlns:c="http://schemas.openxmlformats.org/drawingml/2006/chart" xmlns:r="http://schemas.openxmlformats.org/officeDocument/2006/relationships" r:id="rId2"/>
          </a:graphicData>
        </a:graphic>
      </p:graphicFrame>
      <p:grpSp>
        <p:nvGrpSpPr>
          <p:cNvPr id="6" name="Group 5">
            <a:extLst>
              <a:ext uri="{FF2B5EF4-FFF2-40B4-BE49-F238E27FC236}">
                <a16:creationId xmlns:a16="http://schemas.microsoft.com/office/drawing/2014/main" id="{1102D3D3-2A18-4915-8D90-34F7C5466A11}"/>
              </a:ext>
            </a:extLst>
          </p:cNvPr>
          <p:cNvGrpSpPr/>
          <p:nvPr/>
        </p:nvGrpSpPr>
        <p:grpSpPr>
          <a:xfrm>
            <a:off x="26222" y="1552800"/>
            <a:ext cx="4104590" cy="4199566"/>
            <a:chOff x="26747" y="1298124"/>
            <a:chExt cx="4186896" cy="4283776"/>
          </a:xfrm>
        </p:grpSpPr>
        <p:sp>
          <p:nvSpPr>
            <p:cNvPr id="7" name="TextBox 6">
              <a:extLst>
                <a:ext uri="{FF2B5EF4-FFF2-40B4-BE49-F238E27FC236}">
                  <a16:creationId xmlns:a16="http://schemas.microsoft.com/office/drawing/2014/main" id="{25F93347-1780-4463-BE73-2A9AEB011208}"/>
                </a:ext>
              </a:extLst>
            </p:cNvPr>
            <p:cNvSpPr txBox="1"/>
            <p:nvPr/>
          </p:nvSpPr>
          <p:spPr>
            <a:xfrm>
              <a:off x="1352580" y="1298124"/>
              <a:ext cx="2154912" cy="51699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Digital Civility Index</a:t>
              </a:r>
            </a:p>
          </p:txBody>
        </p:sp>
        <p:sp>
          <p:nvSpPr>
            <p:cNvPr id="8" name="TextBox 7">
              <a:extLst>
                <a:ext uri="{FF2B5EF4-FFF2-40B4-BE49-F238E27FC236}">
                  <a16:creationId xmlns:a16="http://schemas.microsoft.com/office/drawing/2014/main" id="{9D7080D4-E679-447B-856A-0EDD28E45A2D}"/>
                </a:ext>
              </a:extLst>
            </p:cNvPr>
            <p:cNvSpPr txBox="1"/>
            <p:nvPr/>
          </p:nvSpPr>
          <p:spPr>
            <a:xfrm>
              <a:off x="276226" y="1786443"/>
              <a:ext cx="352054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Access bank &amp; credit card accounts</a:t>
              </a:r>
            </a:p>
          </p:txBody>
        </p:sp>
        <p:sp>
          <p:nvSpPr>
            <p:cNvPr id="9" name="TextBox 8">
              <a:extLst>
                <a:ext uri="{FF2B5EF4-FFF2-40B4-BE49-F238E27FC236}">
                  <a16:creationId xmlns:a16="http://schemas.microsoft.com/office/drawing/2014/main" id="{A186D652-14B1-4155-B2BA-7019BF25BCB7}"/>
                </a:ext>
              </a:extLst>
            </p:cNvPr>
            <p:cNvSpPr txBox="1"/>
            <p:nvPr/>
          </p:nvSpPr>
          <p:spPr>
            <a:xfrm>
              <a:off x="1661828" y="2293983"/>
              <a:ext cx="2195798"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Buy products online</a:t>
              </a:r>
            </a:p>
          </p:txBody>
        </p:sp>
        <p:sp>
          <p:nvSpPr>
            <p:cNvPr id="10" name="TextBox 9">
              <a:extLst>
                <a:ext uri="{FF2B5EF4-FFF2-40B4-BE49-F238E27FC236}">
                  <a16:creationId xmlns:a16="http://schemas.microsoft.com/office/drawing/2014/main" id="{05157A7A-A470-40DB-97F0-D93D67CC3224}"/>
                </a:ext>
              </a:extLst>
            </p:cNvPr>
            <p:cNvSpPr txBox="1"/>
            <p:nvPr/>
          </p:nvSpPr>
          <p:spPr>
            <a:xfrm>
              <a:off x="26747" y="2835551"/>
              <a:ext cx="3914773"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Timely download of software updates* </a:t>
              </a:r>
            </a:p>
          </p:txBody>
        </p:sp>
        <p:sp>
          <p:nvSpPr>
            <p:cNvPr id="11" name="TextBox 10">
              <a:extLst>
                <a:ext uri="{FF2B5EF4-FFF2-40B4-BE49-F238E27FC236}">
                  <a16:creationId xmlns:a16="http://schemas.microsoft.com/office/drawing/2014/main" id="{446CC628-B11D-46E3-9735-D1DDD5EE75DB}"/>
                </a:ext>
              </a:extLst>
            </p:cNvPr>
            <p:cNvSpPr txBox="1"/>
            <p:nvPr/>
          </p:nvSpPr>
          <p:spPr>
            <a:xfrm>
              <a:off x="247650" y="3369181"/>
              <a:ext cx="3644372"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Share email in exchange for content</a:t>
              </a:r>
            </a:p>
          </p:txBody>
        </p:sp>
        <p:sp>
          <p:nvSpPr>
            <p:cNvPr id="12" name="TextBox 11">
              <a:extLst>
                <a:ext uri="{FF2B5EF4-FFF2-40B4-BE49-F238E27FC236}">
                  <a16:creationId xmlns:a16="http://schemas.microsoft.com/office/drawing/2014/main" id="{E21AB5BB-BACD-4B6E-86A0-645ABF8F1C59}"/>
                </a:ext>
              </a:extLst>
            </p:cNvPr>
            <p:cNvSpPr txBox="1"/>
            <p:nvPr/>
          </p:nvSpPr>
          <p:spPr>
            <a:xfrm>
              <a:off x="558272" y="3843517"/>
              <a:ext cx="333375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Download movies, music, videos</a:t>
              </a:r>
            </a:p>
          </p:txBody>
        </p:sp>
        <p:sp>
          <p:nvSpPr>
            <p:cNvPr id="13" name="TextBox 12">
              <a:extLst>
                <a:ext uri="{FF2B5EF4-FFF2-40B4-BE49-F238E27FC236}">
                  <a16:creationId xmlns:a16="http://schemas.microsoft.com/office/drawing/2014/main" id="{FC840D58-670E-4F1D-9E70-0C52113D5242}"/>
                </a:ext>
              </a:extLst>
            </p:cNvPr>
            <p:cNvSpPr txBox="1"/>
            <p:nvPr/>
          </p:nvSpPr>
          <p:spPr>
            <a:xfrm>
              <a:off x="841133" y="4343446"/>
              <a:ext cx="337251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Regularly change passwords*</a:t>
              </a:r>
            </a:p>
          </p:txBody>
        </p:sp>
        <p:sp>
          <p:nvSpPr>
            <p:cNvPr id="14" name="TextBox 13">
              <a:extLst>
                <a:ext uri="{FF2B5EF4-FFF2-40B4-BE49-F238E27FC236}">
                  <a16:creationId xmlns:a16="http://schemas.microsoft.com/office/drawing/2014/main" id="{E8CD66A9-17A3-476C-B515-235CCFAC33F7}"/>
                </a:ext>
              </a:extLst>
            </p:cNvPr>
            <p:cNvSpPr txBox="1"/>
            <p:nvPr/>
          </p:nvSpPr>
          <p:spPr>
            <a:xfrm>
              <a:off x="1948921" y="4843375"/>
              <a:ext cx="188179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Use Torrent sites</a:t>
              </a:r>
            </a:p>
          </p:txBody>
        </p:sp>
      </p:grpSp>
      <p:sp>
        <p:nvSpPr>
          <p:cNvPr id="15" name="TextBox 14">
            <a:extLst>
              <a:ext uri="{FF2B5EF4-FFF2-40B4-BE49-F238E27FC236}">
                <a16:creationId xmlns:a16="http://schemas.microsoft.com/office/drawing/2014/main" id="{4F102AA2-71D3-4FD1-88C9-81F4F3DD981E}"/>
              </a:ext>
            </a:extLst>
          </p:cNvPr>
          <p:cNvSpPr txBox="1"/>
          <p:nvPr/>
        </p:nvSpPr>
        <p:spPr>
          <a:xfrm>
            <a:off x="10847210" y="1675080"/>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7</a:t>
            </a:r>
          </a:p>
        </p:txBody>
      </p:sp>
      <p:sp>
        <p:nvSpPr>
          <p:cNvPr id="16" name="TextBox 15">
            <a:extLst>
              <a:ext uri="{FF2B5EF4-FFF2-40B4-BE49-F238E27FC236}">
                <a16:creationId xmlns:a16="http://schemas.microsoft.com/office/drawing/2014/main" id="{9D420A3F-C99F-44DB-8E71-927971BD7F69}"/>
              </a:ext>
            </a:extLst>
          </p:cNvPr>
          <p:cNvSpPr txBox="1"/>
          <p:nvPr/>
        </p:nvSpPr>
        <p:spPr>
          <a:xfrm>
            <a:off x="9139974" y="1681896"/>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17" name="TextBox 16">
            <a:extLst>
              <a:ext uri="{FF2B5EF4-FFF2-40B4-BE49-F238E27FC236}">
                <a16:creationId xmlns:a16="http://schemas.microsoft.com/office/drawing/2014/main" id="{BBC95593-3D4B-4AD7-A729-7760FD639C7C}"/>
              </a:ext>
            </a:extLst>
          </p:cNvPr>
          <p:cNvSpPr txBox="1"/>
          <p:nvPr/>
        </p:nvSpPr>
        <p:spPr>
          <a:xfrm>
            <a:off x="7222607" y="2164936"/>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44</a:t>
            </a:r>
          </a:p>
        </p:txBody>
      </p:sp>
      <p:sp>
        <p:nvSpPr>
          <p:cNvPr id="18" name="TextBox 17">
            <a:extLst>
              <a:ext uri="{FF2B5EF4-FFF2-40B4-BE49-F238E27FC236}">
                <a16:creationId xmlns:a16="http://schemas.microsoft.com/office/drawing/2014/main" id="{85CD41CF-D1B2-471E-A5B1-9229ADEB06BC}"/>
              </a:ext>
            </a:extLst>
          </p:cNvPr>
          <p:cNvSpPr txBox="1"/>
          <p:nvPr/>
        </p:nvSpPr>
        <p:spPr>
          <a:xfrm>
            <a:off x="9032394" y="216746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6</a:t>
            </a:r>
          </a:p>
        </p:txBody>
      </p:sp>
      <p:sp>
        <p:nvSpPr>
          <p:cNvPr id="19" name="TextBox 18">
            <a:extLst>
              <a:ext uri="{FF2B5EF4-FFF2-40B4-BE49-F238E27FC236}">
                <a16:creationId xmlns:a16="http://schemas.microsoft.com/office/drawing/2014/main" id="{DE6F0EE5-37B1-41D1-9892-18DF310FD29D}"/>
              </a:ext>
            </a:extLst>
          </p:cNvPr>
          <p:cNvSpPr txBox="1"/>
          <p:nvPr/>
        </p:nvSpPr>
        <p:spPr>
          <a:xfrm>
            <a:off x="7593363" y="463986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8</a:t>
            </a:r>
          </a:p>
        </p:txBody>
      </p:sp>
      <p:sp>
        <p:nvSpPr>
          <p:cNvPr id="20" name="TextBox 19">
            <a:extLst>
              <a:ext uri="{FF2B5EF4-FFF2-40B4-BE49-F238E27FC236}">
                <a16:creationId xmlns:a16="http://schemas.microsoft.com/office/drawing/2014/main" id="{0E821E5F-CD3C-4003-917D-F59EC35197FB}"/>
              </a:ext>
            </a:extLst>
          </p:cNvPr>
          <p:cNvSpPr txBox="1"/>
          <p:nvPr/>
        </p:nvSpPr>
        <p:spPr>
          <a:xfrm>
            <a:off x="9142449" y="26612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6</a:t>
            </a:r>
          </a:p>
        </p:txBody>
      </p:sp>
      <p:sp>
        <p:nvSpPr>
          <p:cNvPr id="21" name="TextBox 20">
            <a:extLst>
              <a:ext uri="{FF2B5EF4-FFF2-40B4-BE49-F238E27FC236}">
                <a16:creationId xmlns:a16="http://schemas.microsoft.com/office/drawing/2014/main" id="{0B612DD1-D2FD-41B5-A3D0-C987F29E4513}"/>
              </a:ext>
            </a:extLst>
          </p:cNvPr>
          <p:cNvSpPr txBox="1"/>
          <p:nvPr/>
        </p:nvSpPr>
        <p:spPr>
          <a:xfrm>
            <a:off x="10779822" y="2642590"/>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6</a:t>
            </a:r>
          </a:p>
        </p:txBody>
      </p:sp>
      <p:sp>
        <p:nvSpPr>
          <p:cNvPr id="22" name="TextBox 21">
            <a:extLst>
              <a:ext uri="{FF2B5EF4-FFF2-40B4-BE49-F238E27FC236}">
                <a16:creationId xmlns:a16="http://schemas.microsoft.com/office/drawing/2014/main" id="{0D59C0AC-7692-46EE-8C24-DC2CA53B1753}"/>
              </a:ext>
            </a:extLst>
          </p:cNvPr>
          <p:cNvSpPr txBox="1"/>
          <p:nvPr/>
        </p:nvSpPr>
        <p:spPr>
          <a:xfrm>
            <a:off x="7836729" y="314744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1</a:t>
            </a:r>
          </a:p>
        </p:txBody>
      </p:sp>
      <p:sp>
        <p:nvSpPr>
          <p:cNvPr id="23" name="TextBox 22">
            <a:extLst>
              <a:ext uri="{FF2B5EF4-FFF2-40B4-BE49-F238E27FC236}">
                <a16:creationId xmlns:a16="http://schemas.microsoft.com/office/drawing/2014/main" id="{1C89BC45-17C6-49E6-AFA4-6C6BA6F2BCE7}"/>
              </a:ext>
            </a:extLst>
          </p:cNvPr>
          <p:cNvSpPr txBox="1"/>
          <p:nvPr/>
        </p:nvSpPr>
        <p:spPr>
          <a:xfrm>
            <a:off x="10583974" y="315679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4</a:t>
            </a:r>
          </a:p>
        </p:txBody>
      </p:sp>
      <p:sp>
        <p:nvSpPr>
          <p:cNvPr id="25" name="TextBox 24">
            <a:extLst>
              <a:ext uri="{FF2B5EF4-FFF2-40B4-BE49-F238E27FC236}">
                <a16:creationId xmlns:a16="http://schemas.microsoft.com/office/drawing/2014/main" id="{72670CC4-BC7E-461A-9D6E-172A41F25B4F}"/>
              </a:ext>
            </a:extLst>
          </p:cNvPr>
          <p:cNvSpPr txBox="1"/>
          <p:nvPr/>
        </p:nvSpPr>
        <p:spPr>
          <a:xfrm>
            <a:off x="3881526" y="4048320"/>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a:t>
            </a:r>
          </a:p>
        </p:txBody>
      </p:sp>
      <p:sp>
        <p:nvSpPr>
          <p:cNvPr id="26" name="TextBox 25">
            <a:extLst>
              <a:ext uri="{FF2B5EF4-FFF2-40B4-BE49-F238E27FC236}">
                <a16:creationId xmlns:a16="http://schemas.microsoft.com/office/drawing/2014/main" id="{11F77F3C-13A4-4EC5-AFBD-0FB73793190C}"/>
              </a:ext>
            </a:extLst>
          </p:cNvPr>
          <p:cNvSpPr txBox="1"/>
          <p:nvPr/>
        </p:nvSpPr>
        <p:spPr>
          <a:xfrm>
            <a:off x="3508719" y="5042793"/>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3</a:t>
            </a:r>
          </a:p>
        </p:txBody>
      </p:sp>
      <p:sp>
        <p:nvSpPr>
          <p:cNvPr id="27" name="TextBox 26">
            <a:extLst>
              <a:ext uri="{FF2B5EF4-FFF2-40B4-BE49-F238E27FC236}">
                <a16:creationId xmlns:a16="http://schemas.microsoft.com/office/drawing/2014/main" id="{54015921-09AB-4701-ABB5-0D37F551532B}"/>
              </a:ext>
            </a:extLst>
          </p:cNvPr>
          <p:cNvSpPr txBox="1"/>
          <p:nvPr/>
        </p:nvSpPr>
        <p:spPr>
          <a:xfrm>
            <a:off x="9702104" y="41441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3</a:t>
            </a:r>
          </a:p>
        </p:txBody>
      </p:sp>
      <p:sp>
        <p:nvSpPr>
          <p:cNvPr id="28" name="TextBox 27">
            <a:extLst>
              <a:ext uri="{FF2B5EF4-FFF2-40B4-BE49-F238E27FC236}">
                <a16:creationId xmlns:a16="http://schemas.microsoft.com/office/drawing/2014/main" id="{61C94CC3-BC8E-4EF0-9EEA-CA9EFA3005F4}"/>
              </a:ext>
            </a:extLst>
          </p:cNvPr>
          <p:cNvSpPr txBox="1"/>
          <p:nvPr/>
        </p:nvSpPr>
        <p:spPr>
          <a:xfrm>
            <a:off x="11087043" y="4150478"/>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80</a:t>
            </a:r>
          </a:p>
        </p:txBody>
      </p:sp>
      <p:sp>
        <p:nvSpPr>
          <p:cNvPr id="29" name="TextBox 28">
            <a:extLst>
              <a:ext uri="{FF2B5EF4-FFF2-40B4-BE49-F238E27FC236}">
                <a16:creationId xmlns:a16="http://schemas.microsoft.com/office/drawing/2014/main" id="{A0775685-B905-49F6-925E-323EC42BA79D}"/>
              </a:ext>
            </a:extLst>
          </p:cNvPr>
          <p:cNvSpPr txBox="1"/>
          <p:nvPr/>
        </p:nvSpPr>
        <p:spPr>
          <a:xfrm>
            <a:off x="10068809" y="3647007"/>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8</a:t>
            </a:r>
          </a:p>
        </p:txBody>
      </p:sp>
      <p:sp>
        <p:nvSpPr>
          <p:cNvPr id="30" name="TextBox 29">
            <a:extLst>
              <a:ext uri="{FF2B5EF4-FFF2-40B4-BE49-F238E27FC236}">
                <a16:creationId xmlns:a16="http://schemas.microsoft.com/office/drawing/2014/main" id="{F2C26D1F-24E0-42BE-8743-4858FB0C0371}"/>
              </a:ext>
            </a:extLst>
          </p:cNvPr>
          <p:cNvSpPr txBox="1"/>
          <p:nvPr/>
        </p:nvSpPr>
        <p:spPr>
          <a:xfrm>
            <a:off x="6064312" y="5131883"/>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30</a:t>
            </a:r>
          </a:p>
        </p:txBody>
      </p:sp>
      <p:graphicFrame>
        <p:nvGraphicFramePr>
          <p:cNvPr id="31" name="Table 30">
            <a:extLst>
              <a:ext uri="{FF2B5EF4-FFF2-40B4-BE49-F238E27FC236}">
                <a16:creationId xmlns:a16="http://schemas.microsoft.com/office/drawing/2014/main" id="{FDAA199A-8961-4EB7-826B-7F3CBDDA5D80}"/>
              </a:ext>
            </a:extLst>
          </p:cNvPr>
          <p:cNvGraphicFramePr>
            <a:graphicFrameLocks noGrp="1"/>
          </p:cNvGraphicFramePr>
          <p:nvPr>
            <p:extLst>
              <p:ext uri="{D42A27DB-BD31-4B8C-83A1-F6EECF244321}">
                <p14:modId xmlns:p14="http://schemas.microsoft.com/office/powerpoint/2010/main" val="2536313509"/>
              </p:ext>
            </p:extLst>
          </p:nvPr>
        </p:nvGraphicFramePr>
        <p:xfrm>
          <a:off x="367728" y="1688832"/>
          <a:ext cx="3808017" cy="4468440"/>
        </p:xfrm>
        <a:graphic>
          <a:graphicData uri="http://schemas.openxmlformats.org/drawingml/2006/table">
            <a:tbl>
              <a:tblPr firstRow="1" bandRow="1">
                <a:tableStyleId>{5940675A-B579-460E-94D1-54222C63F5DA}</a:tableStyleId>
              </a:tblPr>
              <a:tblGrid>
                <a:gridCol w="3808017">
                  <a:extLst>
                    <a:ext uri="{9D8B030D-6E8A-4147-A177-3AD203B41FA5}">
                      <a16:colId xmlns:a16="http://schemas.microsoft.com/office/drawing/2014/main" val="1939421861"/>
                    </a:ext>
                  </a:extLst>
                </a:gridCol>
              </a:tblGrid>
              <a:tr h="489975">
                <a:tc>
                  <a:txBody>
                    <a:bodyPr/>
                    <a:lstStyle/>
                    <a:p>
                      <a:pPr algn="l"/>
                      <a:r>
                        <a:rPr lang="en-US" dirty="0">
                          <a:solidFill>
                            <a:schemeClr val="bg1"/>
                          </a:solidFill>
                        </a:rPr>
                        <a:t>Digital Civility Index </a:t>
                      </a:r>
                      <a:r>
                        <a:rPr lang="en-US" sz="1200" dirty="0">
                          <a:solidFill>
                            <a:schemeClr val="bg1"/>
                          </a:solidFill>
                        </a:rPr>
                        <a:t>(%)</a:t>
                      </a:r>
                      <a:endParaRPr lang="en-US" dirty="0">
                        <a:solidFill>
                          <a:schemeClr val="bg1"/>
                        </a:solidFill>
                      </a:endParaRPr>
                    </a:p>
                  </a:txBody>
                  <a:tcPr anchor="ctr">
                    <a:solidFill>
                      <a:srgbClr val="3282BE"/>
                    </a:solidFill>
                  </a:tcPr>
                </a:tc>
                <a:extLst>
                  <a:ext uri="{0D108BD9-81ED-4DB2-BD59-A6C34878D82A}">
                    <a16:rowId xmlns:a16="http://schemas.microsoft.com/office/drawing/2014/main" val="3860876448"/>
                  </a:ext>
                </a:extLst>
              </a:tr>
              <a:tr h="489975">
                <a:tc>
                  <a:txBody>
                    <a:bodyPr/>
                    <a:lstStyle/>
                    <a:p>
                      <a:pPr algn="l"/>
                      <a:r>
                        <a:rPr lang="en-US" sz="1800" dirty="0">
                          <a:solidFill>
                            <a:schemeClr val="bg1"/>
                          </a:solidFill>
                        </a:rPr>
                        <a:t>Current digital civility </a:t>
                      </a:r>
                      <a:r>
                        <a:rPr lang="en-US" sz="1200" dirty="0">
                          <a:solidFill>
                            <a:schemeClr val="bg1"/>
                          </a:solidFill>
                        </a:rPr>
                        <a:t>(Avg.% bad ) </a:t>
                      </a:r>
                    </a:p>
                  </a:txBody>
                  <a:tcPr anchor="ctr">
                    <a:solidFill>
                      <a:srgbClr val="3282BE"/>
                    </a:solidFill>
                  </a:tcPr>
                </a:tc>
                <a:extLst>
                  <a:ext uri="{0D108BD9-81ED-4DB2-BD59-A6C34878D82A}">
                    <a16:rowId xmlns:a16="http://schemas.microsoft.com/office/drawing/2014/main" val="1657407004"/>
                  </a:ext>
                </a:extLst>
              </a:tr>
              <a:tr h="489975">
                <a:tc>
                  <a:txBody>
                    <a:bodyPr/>
                    <a:lstStyle/>
                    <a:p>
                      <a:pPr algn="l"/>
                      <a:r>
                        <a:rPr lang="en-US" dirty="0">
                          <a:solidFill>
                            <a:schemeClr val="bg1"/>
                          </a:solidFill>
                        </a:rPr>
                        <a:t>Risks are a big problem </a:t>
                      </a:r>
                      <a:r>
                        <a:rPr lang="en-US" sz="1200" dirty="0">
                          <a:solidFill>
                            <a:schemeClr val="bg1"/>
                          </a:solidFill>
                        </a:rPr>
                        <a:t>(Avg. %)</a:t>
                      </a:r>
                    </a:p>
                  </a:txBody>
                  <a:tcPr anchor="ctr">
                    <a:solidFill>
                      <a:srgbClr val="3282BE"/>
                    </a:solidFill>
                  </a:tcPr>
                </a:tc>
                <a:extLst>
                  <a:ext uri="{0D108BD9-81ED-4DB2-BD59-A6C34878D82A}">
                    <a16:rowId xmlns:a16="http://schemas.microsoft.com/office/drawing/2014/main" val="122733020"/>
                  </a:ext>
                </a:extLst>
              </a:tr>
              <a:tr h="489975">
                <a:tc>
                  <a:txBody>
                    <a:bodyPr/>
                    <a:lstStyle/>
                    <a:p>
                      <a:pPr algn="l"/>
                      <a:r>
                        <a:rPr lang="en-US" dirty="0">
                          <a:solidFill>
                            <a:schemeClr val="bg1"/>
                          </a:solidFill>
                        </a:rPr>
                        <a:t>Pain </a:t>
                      </a:r>
                      <a:r>
                        <a:rPr lang="en-US" sz="1200" dirty="0">
                          <a:solidFill>
                            <a:schemeClr val="bg1"/>
                          </a:solidFill>
                        </a:rPr>
                        <a:t>(% moderate-unbearable)</a:t>
                      </a:r>
                    </a:p>
                  </a:txBody>
                  <a:tcPr anchor="ctr">
                    <a:solidFill>
                      <a:srgbClr val="3282BE"/>
                    </a:solidFill>
                  </a:tcPr>
                </a:tc>
                <a:extLst>
                  <a:ext uri="{0D108BD9-81ED-4DB2-BD59-A6C34878D82A}">
                    <a16:rowId xmlns:a16="http://schemas.microsoft.com/office/drawing/2014/main" val="1732853233"/>
                  </a:ext>
                </a:extLst>
              </a:tr>
              <a:tr h="489975">
                <a:tc>
                  <a:txBody>
                    <a:bodyPr/>
                    <a:lstStyle/>
                    <a:p>
                      <a:pPr algn="l"/>
                      <a:r>
                        <a:rPr lang="en-US" dirty="0">
                          <a:solidFill>
                            <a:schemeClr val="bg1"/>
                          </a:solidFill>
                        </a:rPr>
                        <a:t>Worry </a:t>
                      </a:r>
                      <a:r>
                        <a:rPr lang="en-US" sz="1200" dirty="0">
                          <a:solidFill>
                            <a:schemeClr val="bg1"/>
                          </a:solidFill>
                        </a:rPr>
                        <a:t>(% somewhat-extremely worried)</a:t>
                      </a:r>
                    </a:p>
                  </a:txBody>
                  <a:tcPr anchor="ctr">
                    <a:solidFill>
                      <a:srgbClr val="3282BE"/>
                    </a:solidFill>
                  </a:tcPr>
                </a:tc>
                <a:extLst>
                  <a:ext uri="{0D108BD9-81ED-4DB2-BD59-A6C34878D82A}">
                    <a16:rowId xmlns:a16="http://schemas.microsoft.com/office/drawing/2014/main" val="2838285918"/>
                  </a:ext>
                </a:extLst>
              </a:tr>
              <a:tr h="489975">
                <a:tc>
                  <a:txBody>
                    <a:bodyPr/>
                    <a:lstStyle/>
                    <a:p>
                      <a:pPr algn="l"/>
                      <a:r>
                        <a:rPr lang="en-US" dirty="0">
                          <a:solidFill>
                            <a:schemeClr val="bg1"/>
                          </a:solidFill>
                        </a:rPr>
                        <a:t>Consequences </a:t>
                      </a:r>
                      <a:r>
                        <a:rPr lang="en-US" sz="1200" dirty="0">
                          <a:solidFill>
                            <a:schemeClr val="bg1"/>
                          </a:solidFill>
                        </a:rPr>
                        <a:t>(% any)</a:t>
                      </a:r>
                    </a:p>
                  </a:txBody>
                  <a:tcPr anchor="ctr">
                    <a:solidFill>
                      <a:srgbClr val="3282BE"/>
                    </a:solidFill>
                  </a:tcPr>
                </a:tc>
                <a:extLst>
                  <a:ext uri="{0D108BD9-81ED-4DB2-BD59-A6C34878D82A}">
                    <a16:rowId xmlns:a16="http://schemas.microsoft.com/office/drawing/2014/main" val="4078659576"/>
                  </a:ext>
                </a:extLst>
              </a:tr>
              <a:tr h="489975">
                <a:tc>
                  <a:txBody>
                    <a:bodyPr/>
                    <a:lstStyle/>
                    <a:p>
                      <a:pPr algn="l"/>
                      <a:r>
                        <a:rPr lang="en-US" dirty="0">
                          <a:solidFill>
                            <a:schemeClr val="bg1"/>
                          </a:solidFill>
                        </a:rPr>
                        <a:t>Confidence in handling risks </a:t>
                      </a:r>
                      <a:r>
                        <a:rPr lang="en-US" sz="1200" dirty="0">
                          <a:solidFill>
                            <a:schemeClr val="bg1"/>
                          </a:solidFill>
                        </a:rPr>
                        <a:t>(% yes)</a:t>
                      </a:r>
                    </a:p>
                  </a:txBody>
                  <a:tcPr anchor="ctr">
                    <a:solidFill>
                      <a:srgbClr val="3282BE"/>
                    </a:solidFill>
                  </a:tcPr>
                </a:tc>
                <a:extLst>
                  <a:ext uri="{0D108BD9-81ED-4DB2-BD59-A6C34878D82A}">
                    <a16:rowId xmlns:a16="http://schemas.microsoft.com/office/drawing/2014/main" val="2207602048"/>
                  </a:ext>
                </a:extLst>
              </a:tr>
              <a:tr h="489975">
                <a:tc>
                  <a:txBody>
                    <a:bodyPr/>
                    <a:lstStyle/>
                    <a:p>
                      <a:pPr algn="l"/>
                      <a:r>
                        <a:rPr lang="en-US" dirty="0">
                          <a:solidFill>
                            <a:schemeClr val="bg1"/>
                          </a:solidFill>
                        </a:rPr>
                        <a:t>Finding help is hard </a:t>
                      </a:r>
                      <a:r>
                        <a:rPr lang="en-US" sz="1200" dirty="0">
                          <a:solidFill>
                            <a:schemeClr val="bg1"/>
                          </a:solidFill>
                        </a:rPr>
                        <a:t>(% somewhat-extremely difficult)</a:t>
                      </a:r>
                    </a:p>
                  </a:txBody>
                  <a:tcPr anchor="ctr">
                    <a:solidFill>
                      <a:srgbClr val="3282BE"/>
                    </a:solidFill>
                  </a:tcPr>
                </a:tc>
                <a:extLst>
                  <a:ext uri="{0D108BD9-81ED-4DB2-BD59-A6C34878D82A}">
                    <a16:rowId xmlns:a16="http://schemas.microsoft.com/office/drawing/2014/main" val="293699591"/>
                  </a:ext>
                </a:extLst>
              </a:tr>
              <a:tr h="489975">
                <a:tc>
                  <a:txBody>
                    <a:bodyPr/>
                    <a:lstStyle/>
                    <a:p>
                      <a:pPr algn="r"/>
                      <a:r>
                        <a:rPr lang="en-US" sz="1800" dirty="0">
                          <a:solidFill>
                            <a:schemeClr val="bg1"/>
                          </a:solidFill>
                        </a:rPr>
                        <a:t>KEY</a:t>
                      </a:r>
                    </a:p>
                  </a:txBody>
                  <a:tcPr anchor="ctr">
                    <a:solidFill>
                      <a:srgbClr val="3282BE"/>
                    </a:solidFill>
                  </a:tcPr>
                </a:tc>
                <a:extLst>
                  <a:ext uri="{0D108BD9-81ED-4DB2-BD59-A6C34878D82A}">
                    <a16:rowId xmlns:a16="http://schemas.microsoft.com/office/drawing/2014/main" val="3068553423"/>
                  </a:ext>
                </a:extLst>
              </a:tr>
            </a:tbl>
          </a:graphicData>
        </a:graphic>
      </p:graphicFrame>
      <p:sp>
        <p:nvSpPr>
          <p:cNvPr id="33" name="TextBox 32">
            <a:extLst>
              <a:ext uri="{FF2B5EF4-FFF2-40B4-BE49-F238E27FC236}">
                <a16:creationId xmlns:a16="http://schemas.microsoft.com/office/drawing/2014/main" id="{5D5B9B80-B01F-49CB-A24B-A43332BE337F}"/>
              </a:ext>
            </a:extLst>
          </p:cNvPr>
          <p:cNvSpPr txBox="1"/>
          <p:nvPr/>
        </p:nvSpPr>
        <p:spPr>
          <a:xfrm>
            <a:off x="7636159" y="364506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9</a:t>
            </a:r>
          </a:p>
        </p:txBody>
      </p:sp>
      <p:sp>
        <p:nvSpPr>
          <p:cNvPr id="34" name="TextBox 33">
            <a:extLst>
              <a:ext uri="{FF2B5EF4-FFF2-40B4-BE49-F238E27FC236}">
                <a16:creationId xmlns:a16="http://schemas.microsoft.com/office/drawing/2014/main" id="{9C8154CD-BFB4-412C-9631-E973A24962A0}"/>
              </a:ext>
            </a:extLst>
          </p:cNvPr>
          <p:cNvSpPr txBox="1"/>
          <p:nvPr/>
        </p:nvSpPr>
        <p:spPr>
          <a:xfrm>
            <a:off x="8872962" y="464037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4</a:t>
            </a:r>
          </a:p>
        </p:txBody>
      </p:sp>
      <p:sp>
        <p:nvSpPr>
          <p:cNvPr id="35" name="TextBox 34">
            <a:extLst>
              <a:ext uri="{FF2B5EF4-FFF2-40B4-BE49-F238E27FC236}">
                <a16:creationId xmlns:a16="http://schemas.microsoft.com/office/drawing/2014/main" id="{4EA938FC-7D40-466A-87DE-575CF3FAA45A}"/>
              </a:ext>
            </a:extLst>
          </p:cNvPr>
          <p:cNvSpPr txBox="1"/>
          <p:nvPr/>
        </p:nvSpPr>
        <p:spPr>
          <a:xfrm>
            <a:off x="8777594" y="513247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3</a:t>
            </a:r>
          </a:p>
        </p:txBody>
      </p:sp>
      <p:sp>
        <p:nvSpPr>
          <p:cNvPr id="36" name="Slide Number Placeholder 2">
            <a:extLst>
              <a:ext uri="{FF2B5EF4-FFF2-40B4-BE49-F238E27FC236}">
                <a16:creationId xmlns:a16="http://schemas.microsoft.com/office/drawing/2014/main" id="{ADED9F8F-7ED4-4772-A7FA-FA6ED8896912}"/>
              </a:ext>
            </a:extLst>
          </p:cNvPr>
          <p:cNvSpPr txBox="1">
            <a:spLocks/>
          </p:cNvSpPr>
          <p:nvPr/>
        </p:nvSpPr>
        <p:spPr>
          <a:xfrm>
            <a:off x="9280508" y="6520009"/>
            <a:ext cx="2901950" cy="371475"/>
          </a:xfrm>
          <a:prstGeom prst="rect">
            <a:avLst/>
          </a:prstGeom>
        </p:spPr>
        <p:txBody>
          <a:bodyPr/>
          <a:lstStyle>
            <a:defPPr>
              <a:defRPr lang="en-US"/>
            </a:defPPr>
            <a:lvl1pPr marL="0" algn="r" defTabSz="914286" rtl="0" eaLnBrk="1" latinLnBrk="0" hangingPunct="1">
              <a:defRPr sz="1200" kern="1200">
                <a:solidFill>
                  <a:schemeClr val="bg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33</a:t>
            </a:fld>
            <a:endParaRPr lang="en-US" dirty="0">
              <a:solidFill>
                <a:prstClr val="black">
                  <a:lumMod val="50000"/>
                  <a:lumOff val="50000"/>
                </a:prstClr>
              </a:solidFill>
              <a:latin typeface="Arial"/>
            </a:endParaRPr>
          </a:p>
        </p:txBody>
      </p:sp>
      <p:grpSp>
        <p:nvGrpSpPr>
          <p:cNvPr id="37" name="Group 36">
            <a:extLst>
              <a:ext uri="{FF2B5EF4-FFF2-40B4-BE49-F238E27FC236}">
                <a16:creationId xmlns:a16="http://schemas.microsoft.com/office/drawing/2014/main" id="{DD1A1BE0-4657-4337-9774-7E46DA87F6C9}"/>
              </a:ext>
            </a:extLst>
          </p:cNvPr>
          <p:cNvGrpSpPr/>
          <p:nvPr/>
        </p:nvGrpSpPr>
        <p:grpSpPr>
          <a:xfrm>
            <a:off x="5772519" y="5534110"/>
            <a:ext cx="5465130" cy="615516"/>
            <a:chOff x="4427282" y="5254403"/>
            <a:chExt cx="5747018" cy="615516"/>
          </a:xfrm>
        </p:grpSpPr>
        <p:sp>
          <p:nvSpPr>
            <p:cNvPr id="38" name="TextBox 37">
              <a:extLst>
                <a:ext uri="{FF2B5EF4-FFF2-40B4-BE49-F238E27FC236}">
                  <a16:creationId xmlns:a16="http://schemas.microsoft.com/office/drawing/2014/main" id="{DE1749B5-F634-4FD4-8B1B-640A5A805930}"/>
                </a:ext>
              </a:extLst>
            </p:cNvPr>
            <p:cNvSpPr txBox="1"/>
            <p:nvPr/>
          </p:nvSpPr>
          <p:spPr>
            <a:xfrm>
              <a:off x="8704553" y="5254403"/>
              <a:ext cx="1469747" cy="61551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Boomers</a:t>
              </a:r>
              <a:r>
                <a:rPr lang="en-US" sz="2353" dirty="0">
                  <a:solidFill>
                    <a:schemeClr val="bg1"/>
                  </a:solidFill>
                  <a:latin typeface="Wingdings" panose="05000000000000000000" pitchFamily="2" charset="2"/>
                </a:rPr>
                <a:t> </a:t>
              </a:r>
            </a:p>
          </p:txBody>
        </p:sp>
        <p:sp>
          <p:nvSpPr>
            <p:cNvPr id="39" name="TextBox 38">
              <a:extLst>
                <a:ext uri="{FF2B5EF4-FFF2-40B4-BE49-F238E27FC236}">
                  <a16:creationId xmlns:a16="http://schemas.microsoft.com/office/drawing/2014/main" id="{BE8B1156-6184-46C9-987E-BADAF1F198D0}"/>
                </a:ext>
              </a:extLst>
            </p:cNvPr>
            <p:cNvSpPr txBox="1"/>
            <p:nvPr/>
          </p:nvSpPr>
          <p:spPr>
            <a:xfrm>
              <a:off x="7464152" y="5254403"/>
              <a:ext cx="1235709" cy="61551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Gen X</a:t>
              </a:r>
              <a:r>
                <a:rPr lang="en-US" sz="2353" dirty="0">
                  <a:solidFill>
                    <a:schemeClr val="bg1"/>
                  </a:solidFill>
                  <a:latin typeface="Wingdings" panose="05000000000000000000" pitchFamily="2" charset="2"/>
                </a:rPr>
                <a:t> </a:t>
              </a:r>
            </a:p>
          </p:txBody>
        </p:sp>
        <p:sp>
          <p:nvSpPr>
            <p:cNvPr id="40" name="Oval 39">
              <a:extLst>
                <a:ext uri="{FF2B5EF4-FFF2-40B4-BE49-F238E27FC236}">
                  <a16:creationId xmlns:a16="http://schemas.microsoft.com/office/drawing/2014/main" id="{5F69350D-9F4A-4D2E-99C4-EB589875B7F8}"/>
                </a:ext>
              </a:extLst>
            </p:cNvPr>
            <p:cNvSpPr/>
            <p:nvPr/>
          </p:nvSpPr>
          <p:spPr>
            <a:xfrm>
              <a:off x="5623468" y="5457275"/>
              <a:ext cx="274319" cy="274320"/>
            </a:xfrm>
            <a:prstGeom prst="ellipse">
              <a:avLst/>
            </a:prstGeom>
            <a:solidFill>
              <a:srgbClr val="FFFF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1" name="Oval 40">
              <a:extLst>
                <a:ext uri="{FF2B5EF4-FFF2-40B4-BE49-F238E27FC236}">
                  <a16:creationId xmlns:a16="http://schemas.microsoft.com/office/drawing/2014/main" id="{930D963C-68C0-428F-A2B0-F2DD7726E68D}"/>
                </a:ext>
              </a:extLst>
            </p:cNvPr>
            <p:cNvSpPr/>
            <p:nvPr/>
          </p:nvSpPr>
          <p:spPr>
            <a:xfrm>
              <a:off x="4427282" y="5457275"/>
              <a:ext cx="274319" cy="274320"/>
            </a:xfrm>
            <a:prstGeom prst="ellipse">
              <a:avLst/>
            </a:prstGeom>
            <a:solidFill>
              <a:srgbClr val="00205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2" name="Oval 41">
              <a:extLst>
                <a:ext uri="{FF2B5EF4-FFF2-40B4-BE49-F238E27FC236}">
                  <a16:creationId xmlns:a16="http://schemas.microsoft.com/office/drawing/2014/main" id="{55D39715-9B4F-4EDC-966D-3D2FEF825FF3}"/>
                </a:ext>
              </a:extLst>
            </p:cNvPr>
            <p:cNvSpPr/>
            <p:nvPr/>
          </p:nvSpPr>
          <p:spPr>
            <a:xfrm>
              <a:off x="8470091" y="5457275"/>
              <a:ext cx="274320" cy="274320"/>
            </a:xfrm>
            <a:prstGeom prst="ellipse">
              <a:avLst/>
            </a:prstGeom>
            <a:solidFill>
              <a:srgbClr val="FF8C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3" name="Oval 42">
              <a:extLst>
                <a:ext uri="{FF2B5EF4-FFF2-40B4-BE49-F238E27FC236}">
                  <a16:creationId xmlns:a16="http://schemas.microsoft.com/office/drawing/2014/main" id="{61080123-595A-4E5C-8DAE-F06A94DA0B62}"/>
                </a:ext>
              </a:extLst>
            </p:cNvPr>
            <p:cNvSpPr/>
            <p:nvPr/>
          </p:nvSpPr>
          <p:spPr>
            <a:xfrm>
              <a:off x="7239356" y="5457275"/>
              <a:ext cx="274319" cy="274320"/>
            </a:xfrm>
            <a:prstGeom prst="ellipse">
              <a:avLst/>
            </a:prstGeom>
            <a:solidFill>
              <a:srgbClr val="3282B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4" name="TextBox 43">
              <a:extLst>
                <a:ext uri="{FF2B5EF4-FFF2-40B4-BE49-F238E27FC236}">
                  <a16:creationId xmlns:a16="http://schemas.microsoft.com/office/drawing/2014/main" id="{F485F407-B0E8-4E66-8713-A52912705B9E}"/>
                </a:ext>
              </a:extLst>
            </p:cNvPr>
            <p:cNvSpPr txBox="1"/>
            <p:nvPr/>
          </p:nvSpPr>
          <p:spPr>
            <a:xfrm>
              <a:off x="5847697" y="5363086"/>
              <a:ext cx="1303035"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Millennials</a:t>
              </a:r>
              <a:endParaRPr lang="en-US" sz="2353" dirty="0">
                <a:solidFill>
                  <a:schemeClr val="bg1"/>
                </a:solidFill>
                <a:latin typeface="Wingdings" panose="05000000000000000000" pitchFamily="2" charset="2"/>
              </a:endParaRPr>
            </a:p>
          </p:txBody>
        </p:sp>
        <p:sp>
          <p:nvSpPr>
            <p:cNvPr id="45" name="TextBox 44">
              <a:extLst>
                <a:ext uri="{FF2B5EF4-FFF2-40B4-BE49-F238E27FC236}">
                  <a16:creationId xmlns:a16="http://schemas.microsoft.com/office/drawing/2014/main" id="{81F7BBB0-2FB9-4AF9-B116-5771396467B9}"/>
                </a:ext>
              </a:extLst>
            </p:cNvPr>
            <p:cNvSpPr txBox="1"/>
            <p:nvPr/>
          </p:nvSpPr>
          <p:spPr>
            <a:xfrm>
              <a:off x="4634169" y="5363086"/>
              <a:ext cx="923123"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Gen Z</a:t>
              </a:r>
              <a:endParaRPr lang="en-US" sz="2353" dirty="0">
                <a:solidFill>
                  <a:schemeClr val="bg1"/>
                </a:solidFill>
                <a:latin typeface="Wingdings" panose="05000000000000000000" pitchFamily="2" charset="2"/>
              </a:endParaRPr>
            </a:p>
          </p:txBody>
        </p:sp>
      </p:grpSp>
      <p:sp>
        <p:nvSpPr>
          <p:cNvPr id="46" name="Text Placeholder 1">
            <a:extLst>
              <a:ext uri="{FF2B5EF4-FFF2-40B4-BE49-F238E27FC236}">
                <a16:creationId xmlns:a16="http://schemas.microsoft.com/office/drawing/2014/main" id="{CA3F2B22-BBA6-4BD3-BC68-9ABFCEF5961A}"/>
              </a:ext>
            </a:extLst>
          </p:cNvPr>
          <p:cNvSpPr txBox="1">
            <a:spLocks/>
          </p:cNvSpPr>
          <p:nvPr/>
        </p:nvSpPr>
        <p:spPr>
          <a:xfrm>
            <a:off x="323529" y="304601"/>
            <a:ext cx="11573197" cy="794064"/>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dirty="0"/>
              <a:t>Millennials are the most at risk adult group</a:t>
            </a:r>
          </a:p>
        </p:txBody>
      </p:sp>
    </p:spTree>
    <p:extLst>
      <p:ext uri="{BB962C8B-B14F-4D97-AF65-F5344CB8AC3E}">
        <p14:creationId xmlns:p14="http://schemas.microsoft.com/office/powerpoint/2010/main" val="39374651"/>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DE2CF2F-A1EC-49A5-B0DC-BF876589CA99}"/>
              </a:ext>
            </a:extLst>
          </p:cNvPr>
          <p:cNvSpPr>
            <a:spLocks noGrp="1"/>
          </p:cNvSpPr>
          <p:nvPr>
            <p:ph type="sldNum" sz="quarter" idx="4"/>
          </p:nvPr>
        </p:nvSpPr>
        <p:spPr/>
        <p:txBody>
          <a:bodyPr/>
          <a:lstStyle/>
          <a:p>
            <a:fld id="{7EFC24D6-DB8F-6B44-BA5A-9BEC68C15CAA}" type="slidenum">
              <a:rPr lang="en-US" smtClean="0"/>
              <a:pPr/>
              <a:t>34</a:t>
            </a:fld>
            <a:endParaRPr lang="en-US" dirty="0"/>
          </a:p>
        </p:txBody>
      </p:sp>
      <p:sp>
        <p:nvSpPr>
          <p:cNvPr id="41" name="Title 1">
            <a:extLst>
              <a:ext uri="{FF2B5EF4-FFF2-40B4-BE49-F238E27FC236}">
                <a16:creationId xmlns:a16="http://schemas.microsoft.com/office/drawing/2014/main" id="{5C84AEE8-7AC3-4D3D-B54A-7F6383473665}"/>
              </a:ext>
            </a:extLst>
          </p:cNvPr>
          <p:cNvSpPr txBox="1">
            <a:spLocks/>
          </p:cNvSpPr>
          <p:nvPr/>
        </p:nvSpPr>
        <p:spPr>
          <a:xfrm>
            <a:off x="0" y="279707"/>
            <a:ext cx="0" cy="0"/>
          </a:xfrm>
        </p:spPr>
        <p:txBody>
          <a:bodyPr/>
          <a:lstStyle>
            <a:lvl1pPr algn="l" defTabSz="914423" rtl="0" eaLnBrk="1" latinLnBrk="0" hangingPunct="1">
              <a:lnSpc>
                <a:spcPct val="90000"/>
              </a:lnSpc>
              <a:spcBef>
                <a:spcPct val="0"/>
              </a:spcBef>
              <a:buNone/>
              <a:defRPr sz="4400" kern="1200">
                <a:solidFill>
                  <a:schemeClr val="tx1"/>
                </a:solidFill>
                <a:latin typeface="+mj-lt"/>
                <a:ea typeface="+mj-ea"/>
                <a:cs typeface="+mj-cs"/>
              </a:defRPr>
            </a:lvl1pPr>
          </a:lstStyle>
          <a:p>
            <a:endParaRPr lang="en-US" dirty="0"/>
          </a:p>
        </p:txBody>
      </p:sp>
      <p:graphicFrame>
        <p:nvGraphicFramePr>
          <p:cNvPr id="42" name="Chart 41">
            <a:extLst>
              <a:ext uri="{FF2B5EF4-FFF2-40B4-BE49-F238E27FC236}">
                <a16:creationId xmlns:a16="http://schemas.microsoft.com/office/drawing/2014/main" id="{FD05E52E-B74C-4745-B374-98033695D0A1}"/>
              </a:ext>
            </a:extLst>
          </p:cNvPr>
          <p:cNvGraphicFramePr/>
          <p:nvPr>
            <p:extLst>
              <p:ext uri="{D42A27DB-BD31-4B8C-83A1-F6EECF244321}">
                <p14:modId xmlns:p14="http://schemas.microsoft.com/office/powerpoint/2010/main" val="2513341406"/>
              </p:ext>
            </p:extLst>
          </p:nvPr>
        </p:nvGraphicFramePr>
        <p:xfrm>
          <a:off x="4023934" y="1605646"/>
          <a:ext cx="7948136" cy="4551626"/>
        </p:xfrm>
        <a:graphic>
          <a:graphicData uri="http://schemas.openxmlformats.org/drawingml/2006/chart">
            <c:chart xmlns:c="http://schemas.openxmlformats.org/drawingml/2006/chart" xmlns:r="http://schemas.openxmlformats.org/officeDocument/2006/relationships" r:id="rId2"/>
          </a:graphicData>
        </a:graphic>
      </p:graphicFrame>
      <p:grpSp>
        <p:nvGrpSpPr>
          <p:cNvPr id="43" name="Group 42">
            <a:extLst>
              <a:ext uri="{FF2B5EF4-FFF2-40B4-BE49-F238E27FC236}">
                <a16:creationId xmlns:a16="http://schemas.microsoft.com/office/drawing/2014/main" id="{61C5D3C9-2068-4BED-BA65-DD5F7EE25313}"/>
              </a:ext>
            </a:extLst>
          </p:cNvPr>
          <p:cNvGrpSpPr/>
          <p:nvPr/>
        </p:nvGrpSpPr>
        <p:grpSpPr>
          <a:xfrm>
            <a:off x="26222" y="1552800"/>
            <a:ext cx="4104590" cy="4199566"/>
            <a:chOff x="26747" y="1298124"/>
            <a:chExt cx="4186896" cy="4283776"/>
          </a:xfrm>
        </p:grpSpPr>
        <p:sp>
          <p:nvSpPr>
            <p:cNvPr id="44" name="TextBox 43">
              <a:extLst>
                <a:ext uri="{FF2B5EF4-FFF2-40B4-BE49-F238E27FC236}">
                  <a16:creationId xmlns:a16="http://schemas.microsoft.com/office/drawing/2014/main" id="{6F64ACCC-25B4-4AB8-821F-1A77CCBACB9D}"/>
                </a:ext>
              </a:extLst>
            </p:cNvPr>
            <p:cNvSpPr txBox="1"/>
            <p:nvPr/>
          </p:nvSpPr>
          <p:spPr>
            <a:xfrm>
              <a:off x="1352580" y="1298124"/>
              <a:ext cx="2154912" cy="516996"/>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Digital Civility Index</a:t>
              </a:r>
            </a:p>
          </p:txBody>
        </p:sp>
        <p:sp>
          <p:nvSpPr>
            <p:cNvPr id="45" name="TextBox 44">
              <a:extLst>
                <a:ext uri="{FF2B5EF4-FFF2-40B4-BE49-F238E27FC236}">
                  <a16:creationId xmlns:a16="http://schemas.microsoft.com/office/drawing/2014/main" id="{0CDB7E26-145E-4A0C-B9B4-BF4307029E40}"/>
                </a:ext>
              </a:extLst>
            </p:cNvPr>
            <p:cNvSpPr txBox="1"/>
            <p:nvPr/>
          </p:nvSpPr>
          <p:spPr>
            <a:xfrm>
              <a:off x="276226" y="1786443"/>
              <a:ext cx="352054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Access bank &amp; credit card accounts</a:t>
              </a:r>
            </a:p>
          </p:txBody>
        </p:sp>
        <p:sp>
          <p:nvSpPr>
            <p:cNvPr id="46" name="TextBox 45">
              <a:extLst>
                <a:ext uri="{FF2B5EF4-FFF2-40B4-BE49-F238E27FC236}">
                  <a16:creationId xmlns:a16="http://schemas.microsoft.com/office/drawing/2014/main" id="{CF6A90C1-D1D8-4F4C-B888-9D3BB4B4783F}"/>
                </a:ext>
              </a:extLst>
            </p:cNvPr>
            <p:cNvSpPr txBox="1"/>
            <p:nvPr/>
          </p:nvSpPr>
          <p:spPr>
            <a:xfrm>
              <a:off x="1661828" y="2293983"/>
              <a:ext cx="2195798"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Buy products online</a:t>
              </a:r>
            </a:p>
          </p:txBody>
        </p:sp>
        <p:sp>
          <p:nvSpPr>
            <p:cNvPr id="47" name="TextBox 46">
              <a:extLst>
                <a:ext uri="{FF2B5EF4-FFF2-40B4-BE49-F238E27FC236}">
                  <a16:creationId xmlns:a16="http://schemas.microsoft.com/office/drawing/2014/main" id="{F6CDDCD4-0741-4DBE-8DAC-B4F1BC7A6F81}"/>
                </a:ext>
              </a:extLst>
            </p:cNvPr>
            <p:cNvSpPr txBox="1"/>
            <p:nvPr/>
          </p:nvSpPr>
          <p:spPr>
            <a:xfrm>
              <a:off x="26747" y="2835551"/>
              <a:ext cx="3914773"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Timely download of software updates* </a:t>
              </a:r>
            </a:p>
          </p:txBody>
        </p:sp>
        <p:sp>
          <p:nvSpPr>
            <p:cNvPr id="48" name="TextBox 47">
              <a:extLst>
                <a:ext uri="{FF2B5EF4-FFF2-40B4-BE49-F238E27FC236}">
                  <a16:creationId xmlns:a16="http://schemas.microsoft.com/office/drawing/2014/main" id="{C0E891ED-D19B-4696-BA93-F9DE74756303}"/>
                </a:ext>
              </a:extLst>
            </p:cNvPr>
            <p:cNvSpPr txBox="1"/>
            <p:nvPr/>
          </p:nvSpPr>
          <p:spPr>
            <a:xfrm>
              <a:off x="247650" y="3369181"/>
              <a:ext cx="3644372"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Share email in exchange for content</a:t>
              </a:r>
            </a:p>
          </p:txBody>
        </p:sp>
        <p:sp>
          <p:nvSpPr>
            <p:cNvPr id="49" name="TextBox 48">
              <a:extLst>
                <a:ext uri="{FF2B5EF4-FFF2-40B4-BE49-F238E27FC236}">
                  <a16:creationId xmlns:a16="http://schemas.microsoft.com/office/drawing/2014/main" id="{4A75BB50-817D-48E3-8CD9-E673EC941355}"/>
                </a:ext>
              </a:extLst>
            </p:cNvPr>
            <p:cNvSpPr txBox="1"/>
            <p:nvPr/>
          </p:nvSpPr>
          <p:spPr>
            <a:xfrm>
              <a:off x="558272" y="3843517"/>
              <a:ext cx="333375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Download movies, music, videos</a:t>
              </a:r>
            </a:p>
          </p:txBody>
        </p:sp>
        <p:sp>
          <p:nvSpPr>
            <p:cNvPr id="50" name="TextBox 49">
              <a:extLst>
                <a:ext uri="{FF2B5EF4-FFF2-40B4-BE49-F238E27FC236}">
                  <a16:creationId xmlns:a16="http://schemas.microsoft.com/office/drawing/2014/main" id="{4DAB5068-60D6-49F7-BA02-BAB3C0822FB5}"/>
                </a:ext>
              </a:extLst>
            </p:cNvPr>
            <p:cNvSpPr txBox="1"/>
            <p:nvPr/>
          </p:nvSpPr>
          <p:spPr>
            <a:xfrm>
              <a:off x="841133" y="4343446"/>
              <a:ext cx="3372510" cy="51706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Regularly change passwords*</a:t>
              </a:r>
            </a:p>
          </p:txBody>
        </p:sp>
        <p:sp>
          <p:nvSpPr>
            <p:cNvPr id="51" name="TextBox 50">
              <a:extLst>
                <a:ext uri="{FF2B5EF4-FFF2-40B4-BE49-F238E27FC236}">
                  <a16:creationId xmlns:a16="http://schemas.microsoft.com/office/drawing/2014/main" id="{182A235F-2F43-49C5-995A-433BC8894571}"/>
                </a:ext>
              </a:extLst>
            </p:cNvPr>
            <p:cNvSpPr txBox="1"/>
            <p:nvPr/>
          </p:nvSpPr>
          <p:spPr>
            <a:xfrm>
              <a:off x="1948921" y="4843375"/>
              <a:ext cx="1881795" cy="738525"/>
            </a:xfrm>
            <a:prstGeom prst="rect">
              <a:avLst/>
            </a:prstGeom>
            <a:noFill/>
          </p:spPr>
          <p:txBody>
            <a:bodyPr wrap="square" lIns="179285" tIns="143428" rIns="179285" bIns="143428" rtlCol="0">
              <a:spAutoFit/>
            </a:bodyPr>
            <a:lstStyle/>
            <a:p>
              <a:pPr>
                <a:lnSpc>
                  <a:spcPct val="90000"/>
                </a:lnSpc>
              </a:pPr>
              <a:r>
                <a:rPr lang="en-US" sz="1568" dirty="0">
                  <a:solidFill>
                    <a:schemeClr val="bg1"/>
                  </a:solidFill>
                </a:rPr>
                <a:t>Use Torrent sites</a:t>
              </a:r>
            </a:p>
          </p:txBody>
        </p:sp>
      </p:grpSp>
      <p:sp>
        <p:nvSpPr>
          <p:cNvPr id="52" name="TextBox 51">
            <a:extLst>
              <a:ext uri="{FF2B5EF4-FFF2-40B4-BE49-F238E27FC236}">
                <a16:creationId xmlns:a16="http://schemas.microsoft.com/office/drawing/2014/main" id="{526B610B-C56A-429F-AF59-1CE39BE0C710}"/>
              </a:ext>
            </a:extLst>
          </p:cNvPr>
          <p:cNvSpPr txBox="1"/>
          <p:nvPr/>
        </p:nvSpPr>
        <p:spPr>
          <a:xfrm>
            <a:off x="10315521" y="168893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0</a:t>
            </a:r>
          </a:p>
        </p:txBody>
      </p:sp>
      <p:sp>
        <p:nvSpPr>
          <p:cNvPr id="53" name="TextBox 52">
            <a:extLst>
              <a:ext uri="{FF2B5EF4-FFF2-40B4-BE49-F238E27FC236}">
                <a16:creationId xmlns:a16="http://schemas.microsoft.com/office/drawing/2014/main" id="{9DE8FD1F-CD04-44B5-8DB8-86BE5EF390EF}"/>
              </a:ext>
            </a:extLst>
          </p:cNvPr>
          <p:cNvSpPr txBox="1"/>
          <p:nvPr/>
        </p:nvSpPr>
        <p:spPr>
          <a:xfrm>
            <a:off x="9444784" y="1681896"/>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0</a:t>
            </a:r>
          </a:p>
        </p:txBody>
      </p:sp>
      <p:sp>
        <p:nvSpPr>
          <p:cNvPr id="54" name="TextBox 53">
            <a:extLst>
              <a:ext uri="{FF2B5EF4-FFF2-40B4-BE49-F238E27FC236}">
                <a16:creationId xmlns:a16="http://schemas.microsoft.com/office/drawing/2014/main" id="{B87B1CD4-CAE9-44EF-961A-E3BAB09FB3C8}"/>
              </a:ext>
            </a:extLst>
          </p:cNvPr>
          <p:cNvSpPr txBox="1"/>
          <p:nvPr/>
        </p:nvSpPr>
        <p:spPr>
          <a:xfrm>
            <a:off x="7624394" y="2164936"/>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49</a:t>
            </a:r>
          </a:p>
        </p:txBody>
      </p:sp>
      <p:sp>
        <p:nvSpPr>
          <p:cNvPr id="55" name="TextBox 54">
            <a:extLst>
              <a:ext uri="{FF2B5EF4-FFF2-40B4-BE49-F238E27FC236}">
                <a16:creationId xmlns:a16="http://schemas.microsoft.com/office/drawing/2014/main" id="{86293C88-11FA-46D4-9167-2EB6ED96CB03}"/>
              </a:ext>
            </a:extLst>
          </p:cNvPr>
          <p:cNvSpPr txBox="1"/>
          <p:nvPr/>
        </p:nvSpPr>
        <p:spPr>
          <a:xfrm>
            <a:off x="8963119" y="216746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5</a:t>
            </a:r>
          </a:p>
        </p:txBody>
      </p:sp>
      <p:sp>
        <p:nvSpPr>
          <p:cNvPr id="56" name="TextBox 55">
            <a:extLst>
              <a:ext uri="{FF2B5EF4-FFF2-40B4-BE49-F238E27FC236}">
                <a16:creationId xmlns:a16="http://schemas.microsoft.com/office/drawing/2014/main" id="{C726F0AD-4C26-4E03-804B-614D317AEE4E}"/>
              </a:ext>
            </a:extLst>
          </p:cNvPr>
          <p:cNvSpPr txBox="1"/>
          <p:nvPr/>
        </p:nvSpPr>
        <p:spPr>
          <a:xfrm>
            <a:off x="7356694" y="463986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5</a:t>
            </a:r>
          </a:p>
        </p:txBody>
      </p:sp>
      <p:sp>
        <p:nvSpPr>
          <p:cNvPr id="57" name="TextBox 56">
            <a:extLst>
              <a:ext uri="{FF2B5EF4-FFF2-40B4-BE49-F238E27FC236}">
                <a16:creationId xmlns:a16="http://schemas.microsoft.com/office/drawing/2014/main" id="{E0640F3D-943B-4FFB-BEDC-E79459EDC741}"/>
              </a:ext>
            </a:extLst>
          </p:cNvPr>
          <p:cNvSpPr txBox="1"/>
          <p:nvPr/>
        </p:nvSpPr>
        <p:spPr>
          <a:xfrm>
            <a:off x="9405694" y="26612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9</a:t>
            </a:r>
          </a:p>
        </p:txBody>
      </p:sp>
      <p:sp>
        <p:nvSpPr>
          <p:cNvPr id="58" name="TextBox 57">
            <a:extLst>
              <a:ext uri="{FF2B5EF4-FFF2-40B4-BE49-F238E27FC236}">
                <a16:creationId xmlns:a16="http://schemas.microsoft.com/office/drawing/2014/main" id="{3D94527F-1504-4220-BDCF-1383612E4563}"/>
              </a:ext>
            </a:extLst>
          </p:cNvPr>
          <p:cNvSpPr txBox="1"/>
          <p:nvPr/>
        </p:nvSpPr>
        <p:spPr>
          <a:xfrm>
            <a:off x="10807532" y="2642590"/>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7</a:t>
            </a:r>
          </a:p>
        </p:txBody>
      </p:sp>
      <p:sp>
        <p:nvSpPr>
          <p:cNvPr id="59" name="TextBox 58">
            <a:extLst>
              <a:ext uri="{FF2B5EF4-FFF2-40B4-BE49-F238E27FC236}">
                <a16:creationId xmlns:a16="http://schemas.microsoft.com/office/drawing/2014/main" id="{D219CBEB-EC2F-485F-95E0-5656C39E7BBA}"/>
              </a:ext>
            </a:extLst>
          </p:cNvPr>
          <p:cNvSpPr txBox="1"/>
          <p:nvPr/>
        </p:nvSpPr>
        <p:spPr>
          <a:xfrm>
            <a:off x="8945096" y="314744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5</a:t>
            </a:r>
          </a:p>
        </p:txBody>
      </p:sp>
      <p:sp>
        <p:nvSpPr>
          <p:cNvPr id="60" name="TextBox 59">
            <a:extLst>
              <a:ext uri="{FF2B5EF4-FFF2-40B4-BE49-F238E27FC236}">
                <a16:creationId xmlns:a16="http://schemas.microsoft.com/office/drawing/2014/main" id="{7DC673A8-727F-4289-B9E6-63B14AE46E2E}"/>
              </a:ext>
            </a:extLst>
          </p:cNvPr>
          <p:cNvSpPr txBox="1"/>
          <p:nvPr/>
        </p:nvSpPr>
        <p:spPr>
          <a:xfrm>
            <a:off x="10320733" y="3156792"/>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1</a:t>
            </a:r>
          </a:p>
        </p:txBody>
      </p:sp>
      <p:sp>
        <p:nvSpPr>
          <p:cNvPr id="61" name="TextBox 60">
            <a:extLst>
              <a:ext uri="{FF2B5EF4-FFF2-40B4-BE49-F238E27FC236}">
                <a16:creationId xmlns:a16="http://schemas.microsoft.com/office/drawing/2014/main" id="{05DE1CD7-6B1A-4531-A9F5-0AA32EE2F59C}"/>
              </a:ext>
            </a:extLst>
          </p:cNvPr>
          <p:cNvSpPr txBox="1"/>
          <p:nvPr/>
        </p:nvSpPr>
        <p:spPr>
          <a:xfrm>
            <a:off x="3881526" y="4048320"/>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a:t>
            </a:r>
          </a:p>
        </p:txBody>
      </p:sp>
      <p:sp>
        <p:nvSpPr>
          <p:cNvPr id="62" name="TextBox 61">
            <a:extLst>
              <a:ext uri="{FF2B5EF4-FFF2-40B4-BE49-F238E27FC236}">
                <a16:creationId xmlns:a16="http://schemas.microsoft.com/office/drawing/2014/main" id="{CCF0DFA3-7DB7-4CA4-B65F-DD805CA353B7}"/>
              </a:ext>
            </a:extLst>
          </p:cNvPr>
          <p:cNvSpPr txBox="1"/>
          <p:nvPr/>
        </p:nvSpPr>
        <p:spPr>
          <a:xfrm>
            <a:off x="3508719" y="5042793"/>
            <a:ext cx="470505" cy="506901"/>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3</a:t>
            </a:r>
          </a:p>
        </p:txBody>
      </p:sp>
      <p:sp>
        <p:nvSpPr>
          <p:cNvPr id="63" name="TextBox 62">
            <a:extLst>
              <a:ext uri="{FF2B5EF4-FFF2-40B4-BE49-F238E27FC236}">
                <a16:creationId xmlns:a16="http://schemas.microsoft.com/office/drawing/2014/main" id="{1B4DC185-B5A2-4C08-B32C-B5739A41DE75}"/>
              </a:ext>
            </a:extLst>
          </p:cNvPr>
          <p:cNvSpPr txBox="1"/>
          <p:nvPr/>
        </p:nvSpPr>
        <p:spPr>
          <a:xfrm>
            <a:off x="9895744" y="414415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5</a:t>
            </a:r>
          </a:p>
        </p:txBody>
      </p:sp>
      <p:sp>
        <p:nvSpPr>
          <p:cNvPr id="64" name="TextBox 63">
            <a:extLst>
              <a:ext uri="{FF2B5EF4-FFF2-40B4-BE49-F238E27FC236}">
                <a16:creationId xmlns:a16="http://schemas.microsoft.com/office/drawing/2014/main" id="{8736F066-F521-4B50-BE4C-5DEF624A3D76}"/>
              </a:ext>
            </a:extLst>
          </p:cNvPr>
          <p:cNvSpPr txBox="1"/>
          <p:nvPr/>
        </p:nvSpPr>
        <p:spPr>
          <a:xfrm>
            <a:off x="10828854" y="4150478"/>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77</a:t>
            </a:r>
          </a:p>
        </p:txBody>
      </p:sp>
      <p:sp>
        <p:nvSpPr>
          <p:cNvPr id="65" name="TextBox 64">
            <a:extLst>
              <a:ext uri="{FF2B5EF4-FFF2-40B4-BE49-F238E27FC236}">
                <a16:creationId xmlns:a16="http://schemas.microsoft.com/office/drawing/2014/main" id="{AB97D512-0944-441E-A044-D07DC92BDE36}"/>
              </a:ext>
            </a:extLst>
          </p:cNvPr>
          <p:cNvSpPr txBox="1"/>
          <p:nvPr/>
        </p:nvSpPr>
        <p:spPr>
          <a:xfrm>
            <a:off x="9993503" y="3647007"/>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7</a:t>
            </a:r>
          </a:p>
        </p:txBody>
      </p:sp>
      <p:sp>
        <p:nvSpPr>
          <p:cNvPr id="66" name="TextBox 65">
            <a:extLst>
              <a:ext uri="{FF2B5EF4-FFF2-40B4-BE49-F238E27FC236}">
                <a16:creationId xmlns:a16="http://schemas.microsoft.com/office/drawing/2014/main" id="{D80C19FE-F968-4A49-88DF-E42F33E6BE0B}"/>
              </a:ext>
            </a:extLst>
          </p:cNvPr>
          <p:cNvSpPr txBox="1"/>
          <p:nvPr/>
        </p:nvSpPr>
        <p:spPr>
          <a:xfrm>
            <a:off x="7064781" y="5131883"/>
            <a:ext cx="586492" cy="506833"/>
          </a:xfrm>
          <a:prstGeom prst="rect">
            <a:avLst/>
          </a:prstGeom>
          <a:noFill/>
        </p:spPr>
        <p:txBody>
          <a:bodyPr wrap="square" lIns="179285" tIns="143428" rIns="179285" bIns="143428" rtlCol="0">
            <a:spAutoFit/>
          </a:bodyPr>
          <a:lstStyle/>
          <a:p>
            <a:pPr>
              <a:lnSpc>
                <a:spcPct val="90000"/>
              </a:lnSpc>
            </a:pPr>
            <a:r>
              <a:rPr lang="en-US" sz="1568" dirty="0">
                <a:solidFill>
                  <a:schemeClr val="bg1">
                    <a:lumMod val="50000"/>
                    <a:lumOff val="50000"/>
                  </a:schemeClr>
                </a:solidFill>
              </a:rPr>
              <a:t>42</a:t>
            </a:r>
          </a:p>
        </p:txBody>
      </p:sp>
      <p:graphicFrame>
        <p:nvGraphicFramePr>
          <p:cNvPr id="67" name="Table 66">
            <a:extLst>
              <a:ext uri="{FF2B5EF4-FFF2-40B4-BE49-F238E27FC236}">
                <a16:creationId xmlns:a16="http://schemas.microsoft.com/office/drawing/2014/main" id="{3C5D531B-8E78-420A-9D5B-ACE2F86B7C2C}"/>
              </a:ext>
            </a:extLst>
          </p:cNvPr>
          <p:cNvGraphicFramePr>
            <a:graphicFrameLocks noGrp="1"/>
          </p:cNvGraphicFramePr>
          <p:nvPr>
            <p:extLst>
              <p:ext uri="{D42A27DB-BD31-4B8C-83A1-F6EECF244321}">
                <p14:modId xmlns:p14="http://schemas.microsoft.com/office/powerpoint/2010/main" val="1470517101"/>
              </p:ext>
            </p:extLst>
          </p:nvPr>
        </p:nvGraphicFramePr>
        <p:xfrm>
          <a:off x="367728" y="1688832"/>
          <a:ext cx="3808017" cy="4468440"/>
        </p:xfrm>
        <a:graphic>
          <a:graphicData uri="http://schemas.openxmlformats.org/drawingml/2006/table">
            <a:tbl>
              <a:tblPr firstRow="1" bandRow="1">
                <a:tableStyleId>{5940675A-B579-460E-94D1-54222C63F5DA}</a:tableStyleId>
              </a:tblPr>
              <a:tblGrid>
                <a:gridCol w="3808017">
                  <a:extLst>
                    <a:ext uri="{9D8B030D-6E8A-4147-A177-3AD203B41FA5}">
                      <a16:colId xmlns:a16="http://schemas.microsoft.com/office/drawing/2014/main" val="1939421861"/>
                    </a:ext>
                  </a:extLst>
                </a:gridCol>
              </a:tblGrid>
              <a:tr h="489975">
                <a:tc>
                  <a:txBody>
                    <a:bodyPr/>
                    <a:lstStyle/>
                    <a:p>
                      <a:pPr algn="l"/>
                      <a:r>
                        <a:rPr lang="en-US" dirty="0">
                          <a:solidFill>
                            <a:schemeClr val="bg1"/>
                          </a:solidFill>
                        </a:rPr>
                        <a:t>Digital Civility Index </a:t>
                      </a:r>
                      <a:r>
                        <a:rPr lang="en-US" sz="1200" dirty="0">
                          <a:solidFill>
                            <a:schemeClr val="bg1"/>
                          </a:solidFill>
                        </a:rPr>
                        <a:t>(%)</a:t>
                      </a:r>
                      <a:endParaRPr lang="en-US" dirty="0">
                        <a:solidFill>
                          <a:schemeClr val="bg1"/>
                        </a:solidFill>
                      </a:endParaRPr>
                    </a:p>
                  </a:txBody>
                  <a:tcPr anchor="ctr">
                    <a:solidFill>
                      <a:srgbClr val="3282BE"/>
                    </a:solidFill>
                  </a:tcPr>
                </a:tc>
                <a:extLst>
                  <a:ext uri="{0D108BD9-81ED-4DB2-BD59-A6C34878D82A}">
                    <a16:rowId xmlns:a16="http://schemas.microsoft.com/office/drawing/2014/main" val="3860876448"/>
                  </a:ext>
                </a:extLst>
              </a:tr>
              <a:tr h="489975">
                <a:tc>
                  <a:txBody>
                    <a:bodyPr/>
                    <a:lstStyle/>
                    <a:p>
                      <a:pPr algn="l"/>
                      <a:r>
                        <a:rPr lang="en-US" sz="1800" dirty="0">
                          <a:solidFill>
                            <a:schemeClr val="bg1"/>
                          </a:solidFill>
                        </a:rPr>
                        <a:t>Current digital civility </a:t>
                      </a:r>
                      <a:r>
                        <a:rPr lang="en-US" sz="1200" dirty="0">
                          <a:solidFill>
                            <a:schemeClr val="bg1"/>
                          </a:solidFill>
                        </a:rPr>
                        <a:t>(Avg.% bad ) </a:t>
                      </a:r>
                    </a:p>
                  </a:txBody>
                  <a:tcPr anchor="ctr">
                    <a:solidFill>
                      <a:srgbClr val="3282BE"/>
                    </a:solidFill>
                  </a:tcPr>
                </a:tc>
                <a:extLst>
                  <a:ext uri="{0D108BD9-81ED-4DB2-BD59-A6C34878D82A}">
                    <a16:rowId xmlns:a16="http://schemas.microsoft.com/office/drawing/2014/main" val="1657407004"/>
                  </a:ext>
                </a:extLst>
              </a:tr>
              <a:tr h="489975">
                <a:tc>
                  <a:txBody>
                    <a:bodyPr/>
                    <a:lstStyle/>
                    <a:p>
                      <a:pPr algn="l"/>
                      <a:r>
                        <a:rPr lang="en-US" dirty="0">
                          <a:solidFill>
                            <a:schemeClr val="bg1"/>
                          </a:solidFill>
                        </a:rPr>
                        <a:t>Risks are a big problem </a:t>
                      </a:r>
                      <a:r>
                        <a:rPr lang="en-US" sz="1200" dirty="0">
                          <a:solidFill>
                            <a:schemeClr val="bg1"/>
                          </a:solidFill>
                        </a:rPr>
                        <a:t>(Avg. %)</a:t>
                      </a:r>
                    </a:p>
                  </a:txBody>
                  <a:tcPr anchor="ctr">
                    <a:solidFill>
                      <a:srgbClr val="3282BE"/>
                    </a:solidFill>
                  </a:tcPr>
                </a:tc>
                <a:extLst>
                  <a:ext uri="{0D108BD9-81ED-4DB2-BD59-A6C34878D82A}">
                    <a16:rowId xmlns:a16="http://schemas.microsoft.com/office/drawing/2014/main" val="122733020"/>
                  </a:ext>
                </a:extLst>
              </a:tr>
              <a:tr h="489975">
                <a:tc>
                  <a:txBody>
                    <a:bodyPr/>
                    <a:lstStyle/>
                    <a:p>
                      <a:pPr algn="l"/>
                      <a:r>
                        <a:rPr lang="en-US" dirty="0">
                          <a:solidFill>
                            <a:schemeClr val="bg1"/>
                          </a:solidFill>
                        </a:rPr>
                        <a:t>Pain </a:t>
                      </a:r>
                      <a:r>
                        <a:rPr lang="en-US" sz="1200" dirty="0">
                          <a:solidFill>
                            <a:schemeClr val="bg1"/>
                          </a:solidFill>
                        </a:rPr>
                        <a:t>(% moderate-unbearable)</a:t>
                      </a:r>
                    </a:p>
                  </a:txBody>
                  <a:tcPr anchor="ctr">
                    <a:solidFill>
                      <a:srgbClr val="3282BE"/>
                    </a:solidFill>
                  </a:tcPr>
                </a:tc>
                <a:extLst>
                  <a:ext uri="{0D108BD9-81ED-4DB2-BD59-A6C34878D82A}">
                    <a16:rowId xmlns:a16="http://schemas.microsoft.com/office/drawing/2014/main" val="1732853233"/>
                  </a:ext>
                </a:extLst>
              </a:tr>
              <a:tr h="489975">
                <a:tc>
                  <a:txBody>
                    <a:bodyPr/>
                    <a:lstStyle/>
                    <a:p>
                      <a:pPr algn="l"/>
                      <a:r>
                        <a:rPr lang="en-US" dirty="0">
                          <a:solidFill>
                            <a:schemeClr val="bg1"/>
                          </a:solidFill>
                        </a:rPr>
                        <a:t>Worry </a:t>
                      </a:r>
                      <a:r>
                        <a:rPr lang="en-US" sz="1200" dirty="0">
                          <a:solidFill>
                            <a:schemeClr val="bg1"/>
                          </a:solidFill>
                        </a:rPr>
                        <a:t>(% somewhat-extremely worried)</a:t>
                      </a:r>
                    </a:p>
                  </a:txBody>
                  <a:tcPr anchor="ctr">
                    <a:solidFill>
                      <a:srgbClr val="3282BE"/>
                    </a:solidFill>
                  </a:tcPr>
                </a:tc>
                <a:extLst>
                  <a:ext uri="{0D108BD9-81ED-4DB2-BD59-A6C34878D82A}">
                    <a16:rowId xmlns:a16="http://schemas.microsoft.com/office/drawing/2014/main" val="2838285918"/>
                  </a:ext>
                </a:extLst>
              </a:tr>
              <a:tr h="489975">
                <a:tc>
                  <a:txBody>
                    <a:bodyPr/>
                    <a:lstStyle/>
                    <a:p>
                      <a:pPr algn="l"/>
                      <a:r>
                        <a:rPr lang="en-US" dirty="0">
                          <a:solidFill>
                            <a:schemeClr val="bg1"/>
                          </a:solidFill>
                        </a:rPr>
                        <a:t>Consequences </a:t>
                      </a:r>
                      <a:r>
                        <a:rPr lang="en-US" sz="1200" dirty="0">
                          <a:solidFill>
                            <a:schemeClr val="bg1"/>
                          </a:solidFill>
                        </a:rPr>
                        <a:t>(% any)</a:t>
                      </a:r>
                    </a:p>
                  </a:txBody>
                  <a:tcPr anchor="ctr">
                    <a:solidFill>
                      <a:srgbClr val="3282BE"/>
                    </a:solidFill>
                  </a:tcPr>
                </a:tc>
                <a:extLst>
                  <a:ext uri="{0D108BD9-81ED-4DB2-BD59-A6C34878D82A}">
                    <a16:rowId xmlns:a16="http://schemas.microsoft.com/office/drawing/2014/main" val="4078659576"/>
                  </a:ext>
                </a:extLst>
              </a:tr>
              <a:tr h="489975">
                <a:tc>
                  <a:txBody>
                    <a:bodyPr/>
                    <a:lstStyle/>
                    <a:p>
                      <a:pPr algn="l"/>
                      <a:r>
                        <a:rPr lang="en-US" dirty="0">
                          <a:solidFill>
                            <a:schemeClr val="bg1"/>
                          </a:solidFill>
                        </a:rPr>
                        <a:t>Confidence in handling risks </a:t>
                      </a:r>
                      <a:r>
                        <a:rPr lang="en-US" sz="1200" dirty="0">
                          <a:solidFill>
                            <a:schemeClr val="bg1"/>
                          </a:solidFill>
                        </a:rPr>
                        <a:t>(% yes)</a:t>
                      </a:r>
                    </a:p>
                  </a:txBody>
                  <a:tcPr anchor="ctr">
                    <a:solidFill>
                      <a:srgbClr val="3282BE"/>
                    </a:solidFill>
                  </a:tcPr>
                </a:tc>
                <a:extLst>
                  <a:ext uri="{0D108BD9-81ED-4DB2-BD59-A6C34878D82A}">
                    <a16:rowId xmlns:a16="http://schemas.microsoft.com/office/drawing/2014/main" val="2207602048"/>
                  </a:ext>
                </a:extLst>
              </a:tr>
              <a:tr h="489975">
                <a:tc>
                  <a:txBody>
                    <a:bodyPr/>
                    <a:lstStyle/>
                    <a:p>
                      <a:pPr algn="l"/>
                      <a:r>
                        <a:rPr lang="en-US" dirty="0">
                          <a:solidFill>
                            <a:schemeClr val="bg1"/>
                          </a:solidFill>
                        </a:rPr>
                        <a:t>Finding help is hard </a:t>
                      </a:r>
                      <a:r>
                        <a:rPr lang="en-US" sz="1200" dirty="0">
                          <a:solidFill>
                            <a:schemeClr val="bg1"/>
                          </a:solidFill>
                        </a:rPr>
                        <a:t>(% somewhat-extremely difficult)</a:t>
                      </a:r>
                    </a:p>
                  </a:txBody>
                  <a:tcPr anchor="ctr">
                    <a:solidFill>
                      <a:srgbClr val="3282BE"/>
                    </a:solidFill>
                  </a:tcPr>
                </a:tc>
                <a:extLst>
                  <a:ext uri="{0D108BD9-81ED-4DB2-BD59-A6C34878D82A}">
                    <a16:rowId xmlns:a16="http://schemas.microsoft.com/office/drawing/2014/main" val="293699591"/>
                  </a:ext>
                </a:extLst>
              </a:tr>
              <a:tr h="489975">
                <a:tc>
                  <a:txBody>
                    <a:bodyPr/>
                    <a:lstStyle/>
                    <a:p>
                      <a:pPr algn="r"/>
                      <a:r>
                        <a:rPr lang="en-US" sz="1800" dirty="0">
                          <a:solidFill>
                            <a:schemeClr val="bg1"/>
                          </a:solidFill>
                        </a:rPr>
                        <a:t>KEY</a:t>
                      </a:r>
                    </a:p>
                  </a:txBody>
                  <a:tcPr anchor="ctr">
                    <a:solidFill>
                      <a:srgbClr val="3282BE"/>
                    </a:solidFill>
                  </a:tcPr>
                </a:tc>
                <a:extLst>
                  <a:ext uri="{0D108BD9-81ED-4DB2-BD59-A6C34878D82A}">
                    <a16:rowId xmlns:a16="http://schemas.microsoft.com/office/drawing/2014/main" val="3068553423"/>
                  </a:ext>
                </a:extLst>
              </a:tr>
            </a:tbl>
          </a:graphicData>
        </a:graphic>
      </p:graphicFrame>
      <p:sp>
        <p:nvSpPr>
          <p:cNvPr id="68" name="TextBox 67">
            <a:extLst>
              <a:ext uri="{FF2B5EF4-FFF2-40B4-BE49-F238E27FC236}">
                <a16:creationId xmlns:a16="http://schemas.microsoft.com/office/drawing/2014/main" id="{C0AA208C-2975-46CA-A0C9-411291D1BA3D}"/>
              </a:ext>
            </a:extLst>
          </p:cNvPr>
          <p:cNvSpPr txBox="1"/>
          <p:nvPr/>
        </p:nvSpPr>
        <p:spPr>
          <a:xfrm>
            <a:off x="8733439" y="3645061"/>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61</a:t>
            </a:r>
          </a:p>
        </p:txBody>
      </p:sp>
      <p:sp>
        <p:nvSpPr>
          <p:cNvPr id="69" name="TextBox 68">
            <a:extLst>
              <a:ext uri="{FF2B5EF4-FFF2-40B4-BE49-F238E27FC236}">
                <a16:creationId xmlns:a16="http://schemas.microsoft.com/office/drawing/2014/main" id="{AB6B5A76-08A8-41AE-AC8B-FEB4D39F219F}"/>
              </a:ext>
            </a:extLst>
          </p:cNvPr>
          <p:cNvSpPr txBox="1"/>
          <p:nvPr/>
        </p:nvSpPr>
        <p:spPr>
          <a:xfrm>
            <a:off x="8872962" y="4640375"/>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54</a:t>
            </a:r>
          </a:p>
        </p:txBody>
      </p:sp>
      <p:sp>
        <p:nvSpPr>
          <p:cNvPr id="70" name="TextBox 69">
            <a:extLst>
              <a:ext uri="{FF2B5EF4-FFF2-40B4-BE49-F238E27FC236}">
                <a16:creationId xmlns:a16="http://schemas.microsoft.com/office/drawing/2014/main" id="{ECD54846-9E72-4F52-A8B5-3B94FC42A0E8}"/>
              </a:ext>
            </a:extLst>
          </p:cNvPr>
          <p:cNvSpPr txBox="1"/>
          <p:nvPr/>
        </p:nvSpPr>
        <p:spPr>
          <a:xfrm>
            <a:off x="8035313" y="5132479"/>
            <a:ext cx="586492" cy="506833"/>
          </a:xfrm>
          <a:prstGeom prst="rect">
            <a:avLst/>
          </a:prstGeom>
          <a:noFill/>
        </p:spPr>
        <p:txBody>
          <a:bodyPr wrap="none" lIns="179285" tIns="143428" rIns="179285" bIns="143428" rtlCol="0">
            <a:spAutoFit/>
          </a:bodyPr>
          <a:lstStyle/>
          <a:p>
            <a:pPr>
              <a:lnSpc>
                <a:spcPct val="90000"/>
              </a:lnSpc>
            </a:pPr>
            <a:r>
              <a:rPr lang="en-US" sz="1568" dirty="0">
                <a:solidFill>
                  <a:schemeClr val="bg1">
                    <a:lumMod val="50000"/>
                    <a:lumOff val="50000"/>
                  </a:schemeClr>
                </a:solidFill>
              </a:rPr>
              <a:t>44</a:t>
            </a:r>
          </a:p>
        </p:txBody>
      </p:sp>
      <p:sp>
        <p:nvSpPr>
          <p:cNvPr id="71" name="Slide Number Placeholder 2">
            <a:extLst>
              <a:ext uri="{FF2B5EF4-FFF2-40B4-BE49-F238E27FC236}">
                <a16:creationId xmlns:a16="http://schemas.microsoft.com/office/drawing/2014/main" id="{A149036E-3B1F-4411-A7A4-7BA460995D1A}"/>
              </a:ext>
            </a:extLst>
          </p:cNvPr>
          <p:cNvSpPr txBox="1">
            <a:spLocks/>
          </p:cNvSpPr>
          <p:nvPr/>
        </p:nvSpPr>
        <p:spPr>
          <a:xfrm>
            <a:off x="9280508" y="6520009"/>
            <a:ext cx="2901950" cy="371475"/>
          </a:xfrm>
          <a:prstGeom prst="rect">
            <a:avLst/>
          </a:prstGeom>
        </p:spPr>
        <p:txBody>
          <a:bodyPr/>
          <a:lstStyle>
            <a:defPPr>
              <a:defRPr lang="en-US"/>
            </a:defPPr>
            <a:lvl1pPr marL="0" algn="r" defTabSz="914286" rtl="0" eaLnBrk="1" latinLnBrk="0" hangingPunct="1">
              <a:defRPr sz="1200" kern="1200">
                <a:solidFill>
                  <a:schemeClr val="bg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34</a:t>
            </a:fld>
            <a:endParaRPr lang="en-US" dirty="0">
              <a:solidFill>
                <a:prstClr val="black">
                  <a:lumMod val="50000"/>
                  <a:lumOff val="50000"/>
                </a:prstClr>
              </a:solidFill>
              <a:latin typeface="Arial"/>
            </a:endParaRPr>
          </a:p>
        </p:txBody>
      </p:sp>
      <p:grpSp>
        <p:nvGrpSpPr>
          <p:cNvPr id="72" name="Group 71">
            <a:extLst>
              <a:ext uri="{FF2B5EF4-FFF2-40B4-BE49-F238E27FC236}">
                <a16:creationId xmlns:a16="http://schemas.microsoft.com/office/drawing/2014/main" id="{BF3F5AE3-5FD4-433E-A01A-8141129467E1}"/>
              </a:ext>
            </a:extLst>
          </p:cNvPr>
          <p:cNvGrpSpPr/>
          <p:nvPr/>
        </p:nvGrpSpPr>
        <p:grpSpPr>
          <a:xfrm>
            <a:off x="7171007" y="5620174"/>
            <a:ext cx="2337559" cy="517591"/>
            <a:chOff x="7497542" y="5351225"/>
            <a:chExt cx="2337559" cy="517591"/>
          </a:xfrm>
        </p:grpSpPr>
        <p:sp>
          <p:nvSpPr>
            <p:cNvPr id="73" name="TextBox 72">
              <a:extLst>
                <a:ext uri="{FF2B5EF4-FFF2-40B4-BE49-F238E27FC236}">
                  <a16:creationId xmlns:a16="http://schemas.microsoft.com/office/drawing/2014/main" id="{2701DE32-3137-4EC4-B600-AB7FBD7B9871}"/>
                </a:ext>
              </a:extLst>
            </p:cNvPr>
            <p:cNvSpPr txBox="1"/>
            <p:nvPr/>
          </p:nvSpPr>
          <p:spPr>
            <a:xfrm>
              <a:off x="8801371" y="5361983"/>
              <a:ext cx="1033730"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Female</a:t>
              </a:r>
              <a:endParaRPr lang="en-US" sz="2353" dirty="0">
                <a:solidFill>
                  <a:schemeClr val="bg1"/>
                </a:solidFill>
                <a:latin typeface="Wingdings" panose="05000000000000000000" pitchFamily="2" charset="2"/>
              </a:endParaRPr>
            </a:p>
          </p:txBody>
        </p:sp>
        <p:sp>
          <p:nvSpPr>
            <p:cNvPr id="74" name="TextBox 73">
              <a:extLst>
                <a:ext uri="{FF2B5EF4-FFF2-40B4-BE49-F238E27FC236}">
                  <a16:creationId xmlns:a16="http://schemas.microsoft.com/office/drawing/2014/main" id="{B55229FE-350A-4DBA-9F3F-2F8759883937}"/>
                </a:ext>
              </a:extLst>
            </p:cNvPr>
            <p:cNvSpPr txBox="1"/>
            <p:nvPr/>
          </p:nvSpPr>
          <p:spPr>
            <a:xfrm>
              <a:off x="7754613" y="5351225"/>
              <a:ext cx="798088" cy="506833"/>
            </a:xfrm>
            <a:prstGeom prst="rect">
              <a:avLst/>
            </a:prstGeom>
            <a:noFill/>
          </p:spPr>
          <p:txBody>
            <a:bodyPr wrap="none" lIns="179285" tIns="143428" rIns="179285" bIns="143428" rtlCol="0">
              <a:spAutoFit/>
            </a:bodyPr>
            <a:lstStyle/>
            <a:p>
              <a:pPr>
                <a:lnSpc>
                  <a:spcPct val="90000"/>
                </a:lnSpc>
              </a:pPr>
              <a:r>
                <a:rPr lang="en-US" sz="1568" dirty="0">
                  <a:solidFill>
                    <a:schemeClr val="bg1"/>
                  </a:solidFill>
                </a:rPr>
                <a:t>Male</a:t>
              </a:r>
              <a:endParaRPr lang="en-US" sz="2353" dirty="0">
                <a:solidFill>
                  <a:schemeClr val="bg1"/>
                </a:solidFill>
                <a:latin typeface="Wingdings" panose="05000000000000000000" pitchFamily="2" charset="2"/>
              </a:endParaRPr>
            </a:p>
          </p:txBody>
        </p:sp>
        <p:sp>
          <p:nvSpPr>
            <p:cNvPr id="75" name="Oval 74">
              <a:extLst>
                <a:ext uri="{FF2B5EF4-FFF2-40B4-BE49-F238E27FC236}">
                  <a16:creationId xmlns:a16="http://schemas.microsoft.com/office/drawing/2014/main" id="{F7A409FB-B988-4B0E-A111-969606E76200}"/>
                </a:ext>
              </a:extLst>
            </p:cNvPr>
            <p:cNvSpPr/>
            <p:nvPr/>
          </p:nvSpPr>
          <p:spPr>
            <a:xfrm>
              <a:off x="8588421" y="5457275"/>
              <a:ext cx="274320" cy="274320"/>
            </a:xfrm>
            <a:prstGeom prst="ellipse">
              <a:avLst/>
            </a:prstGeom>
            <a:solidFill>
              <a:srgbClr val="FFFF00"/>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6" name="Oval 75">
              <a:extLst>
                <a:ext uri="{FF2B5EF4-FFF2-40B4-BE49-F238E27FC236}">
                  <a16:creationId xmlns:a16="http://schemas.microsoft.com/office/drawing/2014/main" id="{CCA31B6F-6573-4F3F-A3BE-36BCDDCFF82D}"/>
                </a:ext>
              </a:extLst>
            </p:cNvPr>
            <p:cNvSpPr/>
            <p:nvPr/>
          </p:nvSpPr>
          <p:spPr>
            <a:xfrm>
              <a:off x="7497542" y="5457275"/>
              <a:ext cx="274319" cy="274320"/>
            </a:xfrm>
            <a:prstGeom prst="ellipse">
              <a:avLst/>
            </a:prstGeom>
            <a:solidFill>
              <a:srgbClr val="3282BE"/>
            </a:solidFill>
            <a:ln w="254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77" name="Text Placeholder 1">
            <a:extLst>
              <a:ext uri="{FF2B5EF4-FFF2-40B4-BE49-F238E27FC236}">
                <a16:creationId xmlns:a16="http://schemas.microsoft.com/office/drawing/2014/main" id="{D05D5CE5-5E32-41FF-A890-C029AB5D0637}"/>
              </a:ext>
            </a:extLst>
          </p:cNvPr>
          <p:cNvSpPr txBox="1">
            <a:spLocks/>
          </p:cNvSpPr>
          <p:nvPr/>
        </p:nvSpPr>
        <p:spPr>
          <a:xfrm>
            <a:off x="323529" y="304601"/>
            <a:ext cx="11573197" cy="794064"/>
          </a:xfrm>
          <a:prstGeom prst="rect">
            <a:avLst/>
          </a:prstGeom>
        </p:spPr>
        <p:txBody>
          <a:bodyPr/>
          <a:lstStyle>
            <a:lvl1pPr marL="228605" indent="-228605" algn="l" defTabSz="914423"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18" indent="-228605" algn="l" defTabSz="914423"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28" indent="-228605" algn="l" defTabSz="914423"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40"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52"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63"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7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85"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98" indent="-228605" algn="l" defTabSz="914423"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4400" dirty="0"/>
              <a:t>Women feel more at risk than Men</a:t>
            </a:r>
          </a:p>
        </p:txBody>
      </p:sp>
    </p:spTree>
    <p:extLst>
      <p:ext uri="{BB962C8B-B14F-4D97-AF65-F5344CB8AC3E}">
        <p14:creationId xmlns:p14="http://schemas.microsoft.com/office/powerpoint/2010/main" val="1919858497"/>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showMasterSp="0">
  <p:cSld>
    <p:bg>
      <p:bgPr>
        <a:blipFill dpi="0" rotWithShape="1">
          <a:blip r:embed="rId2">
            <a:lum/>
          </a:blip>
          <a:srcRect/>
          <a:stretch>
            <a:fillRect t="-22000" b="-22000"/>
          </a:stretch>
        </a:blipFill>
        <a:effectLst/>
      </p:bgPr>
    </p:bg>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62FE0F4D-55AD-48D9-A961-794E18C17741}"/>
              </a:ext>
            </a:extLst>
          </p:cNvPr>
          <p:cNvSpPr/>
          <p:nvPr/>
        </p:nvSpPr>
        <p:spPr>
          <a:xfrm>
            <a:off x="1" y="0"/>
            <a:ext cx="8551146" cy="6858000"/>
          </a:xfrm>
          <a:custGeom>
            <a:avLst/>
            <a:gdLst>
              <a:gd name="connsiteX0" fmla="*/ 0 w 4571206"/>
              <a:gd name="connsiteY0" fmla="*/ 0 h 5143500"/>
              <a:gd name="connsiteX1" fmla="*/ 4571206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1758994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 name="connsiteX0" fmla="*/ 0 w 4571206"/>
              <a:gd name="connsiteY0" fmla="*/ 0 h 5143500"/>
              <a:gd name="connsiteX1" fmla="*/ 2319711 w 4571206"/>
              <a:gd name="connsiteY1" fmla="*/ 0 h 5143500"/>
              <a:gd name="connsiteX2" fmla="*/ 4571206 w 4571206"/>
              <a:gd name="connsiteY2" fmla="*/ 5143500 h 5143500"/>
              <a:gd name="connsiteX3" fmla="*/ 0 w 4571206"/>
              <a:gd name="connsiteY3" fmla="*/ 5143500 h 5143500"/>
              <a:gd name="connsiteX4" fmla="*/ 0 w 4571206"/>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206" h="5143500">
                <a:moveTo>
                  <a:pt x="0" y="0"/>
                </a:moveTo>
                <a:lnTo>
                  <a:pt x="2319711" y="0"/>
                </a:lnTo>
                <a:lnTo>
                  <a:pt x="4571206" y="5143500"/>
                </a:lnTo>
                <a:lnTo>
                  <a:pt x="0" y="5143500"/>
                </a:lnTo>
                <a:lnTo>
                  <a:pt x="0" y="0"/>
                </a:lnTo>
                <a:close/>
              </a:path>
            </a:pathLst>
          </a:custGeom>
          <a:solidFill>
            <a:srgbClr val="28608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1219170" latinLnBrk="1"/>
            <a:endParaRPr lang="ko-KR" altLang="en-US" sz="2400" dirty="0">
              <a:solidFill>
                <a:prstClr val="white"/>
              </a:solidFill>
              <a:latin typeface="Arial"/>
            </a:endParaRPr>
          </a:p>
        </p:txBody>
      </p:sp>
      <p:grpSp>
        <p:nvGrpSpPr>
          <p:cNvPr id="2" name="Group 1">
            <a:extLst>
              <a:ext uri="{FF2B5EF4-FFF2-40B4-BE49-F238E27FC236}">
                <a16:creationId xmlns:a16="http://schemas.microsoft.com/office/drawing/2014/main" id="{F6BA781F-D3B1-4C66-9608-ABC27427EA5F}"/>
              </a:ext>
            </a:extLst>
          </p:cNvPr>
          <p:cNvGrpSpPr/>
          <p:nvPr/>
        </p:nvGrpSpPr>
        <p:grpSpPr>
          <a:xfrm>
            <a:off x="-226202" y="2050576"/>
            <a:ext cx="6905829" cy="2756848"/>
            <a:chOff x="-60" y="2050576"/>
            <a:chExt cx="6905829" cy="2756848"/>
          </a:xfrm>
        </p:grpSpPr>
        <p:sp>
          <p:nvSpPr>
            <p:cNvPr id="4" name="TextBox 3">
              <a:extLst>
                <a:ext uri="{FF2B5EF4-FFF2-40B4-BE49-F238E27FC236}">
                  <a16:creationId xmlns:a16="http://schemas.microsoft.com/office/drawing/2014/main" id="{948A2979-A456-4286-B8FC-8FF4C0C58EFD}"/>
                </a:ext>
              </a:extLst>
            </p:cNvPr>
            <p:cNvSpPr txBox="1"/>
            <p:nvPr/>
          </p:nvSpPr>
          <p:spPr>
            <a:xfrm>
              <a:off x="1" y="2480642"/>
              <a:ext cx="6096000" cy="923330"/>
            </a:xfrm>
            <a:prstGeom prst="rect">
              <a:avLst/>
            </a:prstGeom>
            <a:noFill/>
          </p:spPr>
          <p:txBody>
            <a:bodyPr wrap="square" rtlCol="0" anchor="ctr">
              <a:spAutoFit/>
            </a:bodyPr>
            <a:lstStyle/>
            <a:p>
              <a:pPr algn="r"/>
              <a:r>
                <a:rPr lang="en-US" altLang="ko-KR" sz="5400" dirty="0">
                  <a:solidFill>
                    <a:schemeClr val="bg1"/>
                  </a:solidFill>
                  <a:cs typeface="Arial" pitchFamily="34" charset="0"/>
                </a:rPr>
                <a:t>Geography</a:t>
              </a:r>
              <a:endParaRPr lang="ko-KR" altLang="en-US" sz="5400" dirty="0">
                <a:solidFill>
                  <a:schemeClr val="bg1"/>
                </a:solidFill>
                <a:cs typeface="Arial" pitchFamily="34" charset="0"/>
              </a:endParaRPr>
            </a:p>
          </p:txBody>
        </p:sp>
        <p:sp>
          <p:nvSpPr>
            <p:cNvPr id="5" name="TextBox 4">
              <a:extLst>
                <a:ext uri="{FF2B5EF4-FFF2-40B4-BE49-F238E27FC236}">
                  <a16:creationId xmlns:a16="http://schemas.microsoft.com/office/drawing/2014/main" id="{35784B83-6120-4373-9C1F-DC8EEE6D58B3}"/>
                </a:ext>
              </a:extLst>
            </p:cNvPr>
            <p:cNvSpPr txBox="1"/>
            <p:nvPr/>
          </p:nvSpPr>
          <p:spPr>
            <a:xfrm>
              <a:off x="-60" y="3504752"/>
              <a:ext cx="6095927" cy="461665"/>
            </a:xfrm>
            <a:prstGeom prst="rect">
              <a:avLst/>
            </a:prstGeom>
            <a:noFill/>
          </p:spPr>
          <p:txBody>
            <a:bodyPr wrap="square" rtlCol="0" anchor="ctr">
              <a:spAutoFit/>
            </a:bodyPr>
            <a:lstStyle/>
            <a:p>
              <a:pPr algn="r"/>
              <a:endParaRPr lang="en-US" altLang="ko-KR" sz="2400" dirty="0">
                <a:solidFill>
                  <a:schemeClr val="bg1"/>
                </a:solidFill>
                <a:cs typeface="Arial" pitchFamily="34" charset="0"/>
              </a:endParaRPr>
            </a:p>
          </p:txBody>
        </p:sp>
        <p:sp>
          <p:nvSpPr>
            <p:cNvPr id="6" name="Freeform: Shape 5">
              <a:extLst>
                <a:ext uri="{FF2B5EF4-FFF2-40B4-BE49-F238E27FC236}">
                  <a16:creationId xmlns:a16="http://schemas.microsoft.com/office/drawing/2014/main" id="{6E2E9094-67D8-4A7C-B3AF-095F1FFF635E}"/>
                </a:ext>
              </a:extLst>
            </p:cNvPr>
            <p:cNvSpPr/>
            <p:nvPr/>
          </p:nvSpPr>
          <p:spPr>
            <a:xfrm>
              <a:off x="5377220" y="2050576"/>
              <a:ext cx="1528549" cy="2756848"/>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Tree>
    <p:extLst>
      <p:ext uri="{BB962C8B-B14F-4D97-AF65-F5344CB8AC3E}">
        <p14:creationId xmlns:p14="http://schemas.microsoft.com/office/powerpoint/2010/main" val="999900973"/>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AB1DA856-3E2E-417F-AB14-FB21FF0ACB56}"/>
              </a:ext>
            </a:extLst>
          </p:cNvPr>
          <p:cNvSpPr>
            <a:spLocks noGrp="1"/>
          </p:cNvSpPr>
          <p:nvPr>
            <p:ph type="body" sz="quarter" idx="10"/>
          </p:nvPr>
        </p:nvSpPr>
        <p:spPr/>
        <p:txBody>
          <a:bodyPr/>
          <a:lstStyle/>
          <a:p>
            <a:pPr algn="l"/>
            <a:r>
              <a:rPr lang="en-US" dirty="0"/>
              <a:t>2019 DCI by Country</a:t>
            </a:r>
          </a:p>
        </p:txBody>
      </p:sp>
      <p:sp>
        <p:nvSpPr>
          <p:cNvPr id="3" name="Slide Number Placeholder 2">
            <a:extLst>
              <a:ext uri="{FF2B5EF4-FFF2-40B4-BE49-F238E27FC236}">
                <a16:creationId xmlns:a16="http://schemas.microsoft.com/office/drawing/2014/main" id="{CDD6E009-6EEF-433C-9551-8487D0E545FC}"/>
              </a:ext>
            </a:extLst>
          </p:cNvPr>
          <p:cNvSpPr>
            <a:spLocks noGrp="1"/>
          </p:cNvSpPr>
          <p:nvPr>
            <p:ph type="sldNum" sz="quarter" idx="4"/>
          </p:nvPr>
        </p:nvSpPr>
        <p:spPr/>
        <p:txBody>
          <a:bodyPr/>
          <a:lstStyle/>
          <a:p>
            <a:fld id="{7EFC24D6-DB8F-6B44-BA5A-9BEC68C15CAA}" type="slidenum">
              <a:rPr lang="en-US" smtClean="0"/>
              <a:pPr/>
              <a:t>36</a:t>
            </a:fld>
            <a:endParaRPr lang="en-US" dirty="0"/>
          </a:p>
        </p:txBody>
      </p:sp>
      <p:graphicFrame>
        <p:nvGraphicFramePr>
          <p:cNvPr id="6" name="Chart 5">
            <a:extLst>
              <a:ext uri="{FF2B5EF4-FFF2-40B4-BE49-F238E27FC236}">
                <a16:creationId xmlns:a16="http://schemas.microsoft.com/office/drawing/2014/main" id="{5A1CE542-E1AA-4A69-A534-CCB123A0A843}"/>
              </a:ext>
            </a:extLst>
          </p:cNvPr>
          <p:cNvGraphicFramePr/>
          <p:nvPr>
            <p:extLst>
              <p:ext uri="{D42A27DB-BD31-4B8C-83A1-F6EECF244321}">
                <p14:modId xmlns:p14="http://schemas.microsoft.com/office/powerpoint/2010/main" val="60557751"/>
              </p:ext>
            </p:extLst>
          </p:nvPr>
        </p:nvGraphicFramePr>
        <p:xfrm>
          <a:off x="266370" y="1157788"/>
          <a:ext cx="11573196" cy="4470307"/>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3">
            <a:extLst>
              <a:ext uri="{FF2B5EF4-FFF2-40B4-BE49-F238E27FC236}">
                <a16:creationId xmlns:a16="http://schemas.microsoft.com/office/drawing/2014/main" id="{068D9CC1-8166-44BF-9F69-15B6A53D07F0}"/>
              </a:ext>
            </a:extLst>
          </p:cNvPr>
          <p:cNvSpPr txBox="1"/>
          <p:nvPr/>
        </p:nvSpPr>
        <p:spPr>
          <a:xfrm>
            <a:off x="4833655" y="5722127"/>
            <a:ext cx="2552943" cy="369332"/>
          </a:xfrm>
          <a:prstGeom prst="rect">
            <a:avLst/>
          </a:prstGeom>
          <a:solidFill>
            <a:schemeClr val="bg1"/>
          </a:solidFill>
        </p:spPr>
        <p:txBody>
          <a:bodyPr wrap="none" rtlCol="0">
            <a:spAutoFit/>
          </a:bodyPr>
          <a:lstStyle/>
          <a:p>
            <a:r>
              <a:rPr lang="en-US" dirty="0"/>
              <a:t>Largest increases YOY</a:t>
            </a:r>
          </a:p>
        </p:txBody>
      </p:sp>
      <p:cxnSp>
        <p:nvCxnSpPr>
          <p:cNvPr id="34" name="Straight Arrow Connector 33">
            <a:extLst>
              <a:ext uri="{FF2B5EF4-FFF2-40B4-BE49-F238E27FC236}">
                <a16:creationId xmlns:a16="http://schemas.microsoft.com/office/drawing/2014/main" id="{C2A299DC-8C42-4675-BB0D-9F04F3DE0F05}"/>
              </a:ext>
            </a:extLst>
          </p:cNvPr>
          <p:cNvCxnSpPr>
            <a:stCxn id="4" idx="1"/>
          </p:cNvCxnSpPr>
          <p:nvPr/>
        </p:nvCxnSpPr>
        <p:spPr>
          <a:xfrm flipH="1" flipV="1">
            <a:off x="2420471" y="5249732"/>
            <a:ext cx="2413184" cy="6570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8C7AD5E4-F591-4FC4-BD5F-65C49A1BCD14}"/>
              </a:ext>
            </a:extLst>
          </p:cNvPr>
          <p:cNvCxnSpPr>
            <a:stCxn id="4" idx="1"/>
          </p:cNvCxnSpPr>
          <p:nvPr/>
        </p:nvCxnSpPr>
        <p:spPr>
          <a:xfrm flipH="1" flipV="1">
            <a:off x="3420932" y="5260489"/>
            <a:ext cx="1412723" cy="646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A30BC384-8155-4475-A870-FE59BF16A53A}"/>
              </a:ext>
            </a:extLst>
          </p:cNvPr>
          <p:cNvCxnSpPr>
            <a:stCxn id="4" idx="1"/>
          </p:cNvCxnSpPr>
          <p:nvPr/>
        </p:nvCxnSpPr>
        <p:spPr>
          <a:xfrm flipH="1" flipV="1">
            <a:off x="4378362" y="5351959"/>
            <a:ext cx="455293" cy="55483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5AF252D8-FF20-4B75-9BF4-52F28701861B}"/>
              </a:ext>
            </a:extLst>
          </p:cNvPr>
          <p:cNvCxnSpPr>
            <a:cxnSpLocks/>
            <a:stCxn id="4" idx="3"/>
          </p:cNvCxnSpPr>
          <p:nvPr/>
        </p:nvCxnSpPr>
        <p:spPr>
          <a:xfrm flipV="1">
            <a:off x="7386598" y="5249732"/>
            <a:ext cx="3037562" cy="65706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48DE52B4-D538-4701-A632-E66F2DCADCEC}"/>
              </a:ext>
            </a:extLst>
          </p:cNvPr>
          <p:cNvCxnSpPr>
            <a:cxnSpLocks/>
            <a:stCxn id="4" idx="3"/>
          </p:cNvCxnSpPr>
          <p:nvPr/>
        </p:nvCxnSpPr>
        <p:spPr>
          <a:xfrm flipV="1">
            <a:off x="7386598" y="5163671"/>
            <a:ext cx="2090889" cy="743122"/>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E7B84DF9-9109-4C0A-A9C8-85A214B5837F}"/>
              </a:ext>
            </a:extLst>
          </p:cNvPr>
          <p:cNvCxnSpPr>
            <a:cxnSpLocks/>
          </p:cNvCxnSpPr>
          <p:nvPr/>
        </p:nvCxnSpPr>
        <p:spPr>
          <a:xfrm flipV="1">
            <a:off x="7404756" y="5249731"/>
            <a:ext cx="265446" cy="64630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 name="Straight Arrow Connector 6">
            <a:extLst>
              <a:ext uri="{FF2B5EF4-FFF2-40B4-BE49-F238E27FC236}">
                <a16:creationId xmlns:a16="http://schemas.microsoft.com/office/drawing/2014/main" id="{25F82CAB-198D-41AD-9925-2FEE0CC27982}"/>
              </a:ext>
            </a:extLst>
          </p:cNvPr>
          <p:cNvCxnSpPr>
            <a:cxnSpLocks/>
          </p:cNvCxnSpPr>
          <p:nvPr/>
        </p:nvCxnSpPr>
        <p:spPr>
          <a:xfrm flipV="1">
            <a:off x="6045796" y="5249733"/>
            <a:ext cx="0" cy="472394"/>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83499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4F3FEB0-E808-4DDB-AEBA-9E59261507C2}"/>
              </a:ext>
            </a:extLst>
          </p:cNvPr>
          <p:cNvSpPr/>
          <p:nvPr/>
        </p:nvSpPr>
        <p:spPr>
          <a:xfrm>
            <a:off x="-9542" y="1830947"/>
            <a:ext cx="12201542" cy="5018847"/>
          </a:xfrm>
          <a:prstGeom prst="rect">
            <a:avLst/>
          </a:prstGeom>
          <a:blipFill>
            <a:blip r:embed="rId2">
              <a:alphaModFix amt="20000"/>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4451D8-7C28-4E5C-9ED2-3B19E53118AB}"/>
              </a:ext>
            </a:extLst>
          </p:cNvPr>
          <p:cNvSpPr>
            <a:spLocks noGrp="1"/>
          </p:cNvSpPr>
          <p:nvPr>
            <p:ph type="title"/>
          </p:nvPr>
        </p:nvSpPr>
        <p:spPr/>
        <p:txBody>
          <a:bodyPr/>
          <a:lstStyle/>
          <a:p>
            <a:endParaRPr lang="en-US" dirty="0"/>
          </a:p>
        </p:txBody>
      </p:sp>
      <p:sp>
        <p:nvSpPr>
          <p:cNvPr id="6" name="Rectangle 5">
            <a:extLst>
              <a:ext uri="{FF2B5EF4-FFF2-40B4-BE49-F238E27FC236}">
                <a16:creationId xmlns:a16="http://schemas.microsoft.com/office/drawing/2014/main" id="{C6EA905D-D271-4B10-93F7-4D85E7722AAF}"/>
              </a:ext>
            </a:extLst>
          </p:cNvPr>
          <p:cNvSpPr/>
          <p:nvPr/>
        </p:nvSpPr>
        <p:spPr>
          <a:xfrm>
            <a:off x="-9542"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Isosceles Triangle 6">
            <a:extLst>
              <a:ext uri="{FF2B5EF4-FFF2-40B4-BE49-F238E27FC236}">
                <a16:creationId xmlns:a16="http://schemas.microsoft.com/office/drawing/2014/main" id="{F492716B-1FED-4EFD-BAF6-32446B99F4F3}"/>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D78D3AB5-8E1F-4B9A-8DF8-449F52D55C96}"/>
              </a:ext>
            </a:extLst>
          </p:cNvPr>
          <p:cNvSpPr txBox="1"/>
          <p:nvPr/>
        </p:nvSpPr>
        <p:spPr>
          <a:xfrm>
            <a:off x="833434" y="311769"/>
            <a:ext cx="9967243" cy="1077218"/>
          </a:xfrm>
          <a:prstGeom prst="rect">
            <a:avLst/>
          </a:prstGeom>
          <a:noFill/>
        </p:spPr>
        <p:txBody>
          <a:bodyPr wrap="square" rtlCol="0" anchor="ctr">
            <a:spAutoFit/>
          </a:bodyPr>
          <a:lstStyle/>
          <a:p>
            <a:r>
              <a:rPr lang="en-US" altLang="ko-KR" sz="4400" dirty="0">
                <a:solidFill>
                  <a:schemeClr val="bg1"/>
                </a:solidFill>
                <a:latin typeface="+mj-lt"/>
                <a:cs typeface="Arial" pitchFamily="34" charset="0"/>
              </a:rPr>
              <a:t>Global hot spots for Intrusive risks</a:t>
            </a:r>
          </a:p>
          <a:p>
            <a:r>
              <a:rPr lang="en-US" altLang="ko-KR" sz="2000" dirty="0">
                <a:solidFill>
                  <a:schemeClr val="bg1"/>
                </a:solidFill>
                <a:latin typeface="+mj-lt"/>
                <a:cs typeface="Arial" pitchFamily="34" charset="0"/>
              </a:rPr>
              <a:t>Global Intrusive risk </a:t>
            </a:r>
            <a:r>
              <a:rPr lang="en-US" altLang="ko-KR" sz="2000" dirty="0">
                <a:solidFill>
                  <a:schemeClr val="bg1"/>
                </a:solidFill>
                <a:cs typeface="Arial" pitchFamily="34" charset="0"/>
              </a:rPr>
              <a:t>average</a:t>
            </a:r>
            <a:r>
              <a:rPr lang="en-US" altLang="ko-KR" sz="2000" dirty="0">
                <a:solidFill>
                  <a:schemeClr val="bg1"/>
                </a:solidFill>
                <a:latin typeface="+mj-lt"/>
                <a:cs typeface="Arial" pitchFamily="34" charset="0"/>
              </a:rPr>
              <a:t> = 58%</a:t>
            </a:r>
            <a:endParaRPr lang="ko-KR" altLang="en-US" sz="2000" dirty="0">
              <a:solidFill>
                <a:schemeClr val="bg1"/>
              </a:solidFill>
              <a:latin typeface="+mj-lt"/>
              <a:cs typeface="Arial" pitchFamily="34" charset="0"/>
            </a:endParaRPr>
          </a:p>
        </p:txBody>
      </p:sp>
      <p:sp>
        <p:nvSpPr>
          <p:cNvPr id="44" name="TextBox 43">
            <a:extLst>
              <a:ext uri="{FF2B5EF4-FFF2-40B4-BE49-F238E27FC236}">
                <a16:creationId xmlns:a16="http://schemas.microsoft.com/office/drawing/2014/main" id="{FEAF56A8-8C6D-430D-BF2A-37B3933CE066}"/>
              </a:ext>
            </a:extLst>
          </p:cNvPr>
          <p:cNvSpPr txBox="1"/>
          <p:nvPr/>
        </p:nvSpPr>
        <p:spPr>
          <a:xfrm>
            <a:off x="4967759" y="3165675"/>
            <a:ext cx="2006566" cy="503215"/>
          </a:xfrm>
          <a:prstGeom prst="rect">
            <a:avLst/>
          </a:prstGeom>
          <a:noFill/>
        </p:spPr>
        <p:txBody>
          <a:bodyPr wrap="square" lIns="182880" tIns="146304" rIns="182880" bIns="146304" rtlCol="0">
            <a:spAutoFit/>
          </a:bodyPr>
          <a:lstStyle/>
          <a:p>
            <a:pPr>
              <a:lnSpc>
                <a:spcPct val="90000"/>
              </a:lnSpc>
            </a:pPr>
            <a:r>
              <a:rPr lang="en-US" sz="1500" b="1" dirty="0"/>
              <a:t>4. Hungary – 69%</a:t>
            </a:r>
          </a:p>
        </p:txBody>
      </p:sp>
      <p:sp>
        <p:nvSpPr>
          <p:cNvPr id="35" name="Slide Number Placeholder 2">
            <a:extLst>
              <a:ext uri="{FF2B5EF4-FFF2-40B4-BE49-F238E27FC236}">
                <a16:creationId xmlns:a16="http://schemas.microsoft.com/office/drawing/2014/main" id="{FB9A635F-69FB-4DA2-8DC0-DC90A681C464}"/>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pPr/>
              <a:t>37</a:t>
            </a:fld>
            <a:endParaRPr lang="en-US" sz="1200" dirty="0"/>
          </a:p>
        </p:txBody>
      </p:sp>
      <p:grpSp>
        <p:nvGrpSpPr>
          <p:cNvPr id="9" name="Group 8">
            <a:extLst>
              <a:ext uri="{FF2B5EF4-FFF2-40B4-BE49-F238E27FC236}">
                <a16:creationId xmlns:a16="http://schemas.microsoft.com/office/drawing/2014/main" id="{E0147848-3938-4840-9E30-E410EB75E0AC}"/>
              </a:ext>
            </a:extLst>
          </p:cNvPr>
          <p:cNvGrpSpPr/>
          <p:nvPr/>
        </p:nvGrpSpPr>
        <p:grpSpPr>
          <a:xfrm>
            <a:off x="1595747" y="4773098"/>
            <a:ext cx="1934047" cy="503215"/>
            <a:chOff x="1595747" y="4773098"/>
            <a:chExt cx="1934047" cy="503215"/>
          </a:xfrm>
        </p:grpSpPr>
        <p:sp>
          <p:nvSpPr>
            <p:cNvPr id="46" name="TextBox 45">
              <a:extLst>
                <a:ext uri="{FF2B5EF4-FFF2-40B4-BE49-F238E27FC236}">
                  <a16:creationId xmlns:a16="http://schemas.microsoft.com/office/drawing/2014/main" id="{DC137D66-E23E-4570-ABA6-3F386986FFF6}"/>
                </a:ext>
              </a:extLst>
            </p:cNvPr>
            <p:cNvSpPr txBox="1"/>
            <p:nvPr/>
          </p:nvSpPr>
          <p:spPr>
            <a:xfrm>
              <a:off x="1595747" y="4773098"/>
              <a:ext cx="1934047" cy="503215"/>
            </a:xfrm>
            <a:prstGeom prst="rect">
              <a:avLst/>
            </a:prstGeom>
            <a:noFill/>
          </p:spPr>
          <p:txBody>
            <a:bodyPr wrap="square" lIns="182880" tIns="146304" rIns="182880" bIns="146304" rtlCol="0">
              <a:spAutoFit/>
            </a:bodyPr>
            <a:lstStyle/>
            <a:p>
              <a:pPr>
                <a:lnSpc>
                  <a:spcPct val="90000"/>
                </a:lnSpc>
              </a:pPr>
              <a:r>
                <a:rPr lang="en-US" sz="1500" b="1" dirty="0"/>
                <a:t>2. Peru – 71%</a:t>
              </a:r>
            </a:p>
          </p:txBody>
        </p:sp>
        <p:grpSp>
          <p:nvGrpSpPr>
            <p:cNvPr id="53" name="Group 52">
              <a:extLst>
                <a:ext uri="{FF2B5EF4-FFF2-40B4-BE49-F238E27FC236}">
                  <a16:creationId xmlns:a16="http://schemas.microsoft.com/office/drawing/2014/main" id="{E31A7082-3C1B-44E4-BD76-FED64522A85F}"/>
                </a:ext>
              </a:extLst>
            </p:cNvPr>
            <p:cNvGrpSpPr/>
            <p:nvPr/>
          </p:nvGrpSpPr>
          <p:grpSpPr>
            <a:xfrm>
              <a:off x="3077967" y="4870808"/>
              <a:ext cx="296082" cy="296082"/>
              <a:chOff x="1521430" y="3233225"/>
              <a:chExt cx="296082" cy="296082"/>
            </a:xfrm>
          </p:grpSpPr>
          <p:sp>
            <p:nvSpPr>
              <p:cNvPr id="54" name="Teardrop 53">
                <a:extLst>
                  <a:ext uri="{FF2B5EF4-FFF2-40B4-BE49-F238E27FC236}">
                    <a16:creationId xmlns:a16="http://schemas.microsoft.com/office/drawing/2014/main" id="{4D596437-8283-4780-9DE0-A6B182159E7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61D510A8-BE1A-4872-B525-27B2892E6174}"/>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73DF3233-DA72-4064-9094-F442D1914F4F}"/>
              </a:ext>
            </a:extLst>
          </p:cNvPr>
          <p:cNvGrpSpPr/>
          <p:nvPr/>
        </p:nvGrpSpPr>
        <p:grpSpPr>
          <a:xfrm>
            <a:off x="6298852" y="2776123"/>
            <a:ext cx="296082" cy="296082"/>
            <a:chOff x="1521430" y="3233225"/>
            <a:chExt cx="296082" cy="296082"/>
          </a:xfrm>
        </p:grpSpPr>
        <p:sp>
          <p:nvSpPr>
            <p:cNvPr id="57" name="Teardrop 56">
              <a:extLst>
                <a:ext uri="{FF2B5EF4-FFF2-40B4-BE49-F238E27FC236}">
                  <a16:creationId xmlns:a16="http://schemas.microsoft.com/office/drawing/2014/main" id="{B335009B-9BEC-439E-8380-2BB91706525F}"/>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CBAFE6D0-B706-429B-B017-53DF0ED552B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DEBD82CB-35D5-4D1E-9E5D-1B3268EF6E6B}"/>
              </a:ext>
            </a:extLst>
          </p:cNvPr>
          <p:cNvGrpSpPr/>
          <p:nvPr/>
        </p:nvGrpSpPr>
        <p:grpSpPr>
          <a:xfrm>
            <a:off x="6645565" y="2664540"/>
            <a:ext cx="2569701" cy="503215"/>
            <a:chOff x="3128606" y="4213633"/>
            <a:chExt cx="2569701" cy="503215"/>
          </a:xfrm>
        </p:grpSpPr>
        <p:sp>
          <p:nvSpPr>
            <p:cNvPr id="43" name="TextBox 42">
              <a:extLst>
                <a:ext uri="{FF2B5EF4-FFF2-40B4-BE49-F238E27FC236}">
                  <a16:creationId xmlns:a16="http://schemas.microsoft.com/office/drawing/2014/main" id="{BF074E03-5F06-40FD-8F48-79E250620AF9}"/>
                </a:ext>
              </a:extLst>
            </p:cNvPr>
            <p:cNvSpPr txBox="1"/>
            <p:nvPr/>
          </p:nvSpPr>
          <p:spPr>
            <a:xfrm>
              <a:off x="3335347" y="4213633"/>
              <a:ext cx="2362960" cy="503215"/>
            </a:xfrm>
            <a:prstGeom prst="rect">
              <a:avLst/>
            </a:prstGeom>
            <a:noFill/>
          </p:spPr>
          <p:txBody>
            <a:bodyPr wrap="square" lIns="182880" tIns="146304" rIns="182880" bIns="146304" rtlCol="0">
              <a:spAutoFit/>
            </a:bodyPr>
            <a:lstStyle/>
            <a:p>
              <a:pPr>
                <a:lnSpc>
                  <a:spcPct val="90000"/>
                </a:lnSpc>
              </a:pPr>
              <a:r>
                <a:rPr lang="en-US" sz="1500" b="1" dirty="0"/>
                <a:t>3. Russia – 70%</a:t>
              </a:r>
              <a:endParaRPr lang="en-US" sz="1200" dirty="0"/>
            </a:p>
          </p:txBody>
        </p:sp>
        <p:grpSp>
          <p:nvGrpSpPr>
            <p:cNvPr id="59" name="Group 58">
              <a:extLst>
                <a:ext uri="{FF2B5EF4-FFF2-40B4-BE49-F238E27FC236}">
                  <a16:creationId xmlns:a16="http://schemas.microsoft.com/office/drawing/2014/main" id="{D267FCC9-8725-481E-98B5-2065B4502D65}"/>
                </a:ext>
              </a:extLst>
            </p:cNvPr>
            <p:cNvGrpSpPr/>
            <p:nvPr/>
          </p:nvGrpSpPr>
          <p:grpSpPr>
            <a:xfrm>
              <a:off x="3128606" y="4284866"/>
              <a:ext cx="296082" cy="296082"/>
              <a:chOff x="1521430" y="3233225"/>
              <a:chExt cx="296082" cy="296082"/>
            </a:xfrm>
          </p:grpSpPr>
          <p:sp>
            <p:nvSpPr>
              <p:cNvPr id="60" name="Teardrop 59">
                <a:extLst>
                  <a:ext uri="{FF2B5EF4-FFF2-40B4-BE49-F238E27FC236}">
                    <a16:creationId xmlns:a16="http://schemas.microsoft.com/office/drawing/2014/main" id="{50588862-70CB-4401-8A93-C55865DD2116}"/>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35895B2-3805-49AF-A448-14EB81287FC2}"/>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4" name="Group 3">
            <a:extLst>
              <a:ext uri="{FF2B5EF4-FFF2-40B4-BE49-F238E27FC236}">
                <a16:creationId xmlns:a16="http://schemas.microsoft.com/office/drawing/2014/main" id="{45CA2D72-FF05-4892-94F6-C852ADB1BCE9}"/>
              </a:ext>
            </a:extLst>
          </p:cNvPr>
          <p:cNvGrpSpPr/>
          <p:nvPr/>
        </p:nvGrpSpPr>
        <p:grpSpPr>
          <a:xfrm>
            <a:off x="6603141" y="5408162"/>
            <a:ext cx="2654709" cy="503215"/>
            <a:chOff x="9427487" y="4378577"/>
            <a:chExt cx="2654709" cy="503215"/>
          </a:xfrm>
        </p:grpSpPr>
        <p:sp>
          <p:nvSpPr>
            <p:cNvPr id="45" name="TextBox 44">
              <a:extLst>
                <a:ext uri="{FF2B5EF4-FFF2-40B4-BE49-F238E27FC236}">
                  <a16:creationId xmlns:a16="http://schemas.microsoft.com/office/drawing/2014/main" id="{8BB86ABB-0C2E-4746-9D28-C49BA7370021}"/>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1. South Africa – 72%</a:t>
              </a:r>
            </a:p>
          </p:txBody>
        </p:sp>
        <p:grpSp>
          <p:nvGrpSpPr>
            <p:cNvPr id="62" name="Group 61">
              <a:extLst>
                <a:ext uri="{FF2B5EF4-FFF2-40B4-BE49-F238E27FC236}">
                  <a16:creationId xmlns:a16="http://schemas.microsoft.com/office/drawing/2014/main" id="{3307D8DE-7BD8-4D45-9D42-8F852B1BA059}"/>
                </a:ext>
              </a:extLst>
            </p:cNvPr>
            <p:cNvGrpSpPr/>
            <p:nvPr/>
          </p:nvGrpSpPr>
          <p:grpSpPr>
            <a:xfrm>
              <a:off x="9427487" y="4463949"/>
              <a:ext cx="296082" cy="296082"/>
              <a:chOff x="1521430" y="3233225"/>
              <a:chExt cx="296082" cy="296082"/>
            </a:xfrm>
          </p:grpSpPr>
          <p:sp>
            <p:nvSpPr>
              <p:cNvPr id="63" name="Teardrop 62">
                <a:extLst>
                  <a:ext uri="{FF2B5EF4-FFF2-40B4-BE49-F238E27FC236}">
                    <a16:creationId xmlns:a16="http://schemas.microsoft.com/office/drawing/2014/main" id="{46FFD871-F2B9-4485-8DD1-0F7738C495ED}"/>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9A4F9B0-8F83-4AB4-ADD9-253D1FD89363}"/>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39" name="Group 38">
            <a:extLst>
              <a:ext uri="{FF2B5EF4-FFF2-40B4-BE49-F238E27FC236}">
                <a16:creationId xmlns:a16="http://schemas.microsoft.com/office/drawing/2014/main" id="{683369FC-E885-43F5-B37E-9330209549E3}"/>
              </a:ext>
            </a:extLst>
          </p:cNvPr>
          <p:cNvGrpSpPr/>
          <p:nvPr/>
        </p:nvGrpSpPr>
        <p:grpSpPr>
          <a:xfrm>
            <a:off x="3128769" y="4201868"/>
            <a:ext cx="2654709" cy="503215"/>
            <a:chOff x="9427487" y="4378577"/>
            <a:chExt cx="2654709" cy="503215"/>
          </a:xfrm>
        </p:grpSpPr>
        <p:sp>
          <p:nvSpPr>
            <p:cNvPr id="40" name="TextBox 39">
              <a:extLst>
                <a:ext uri="{FF2B5EF4-FFF2-40B4-BE49-F238E27FC236}">
                  <a16:creationId xmlns:a16="http://schemas.microsoft.com/office/drawing/2014/main" id="{C08DF6F5-9295-4D89-9564-E0E3F9A8999E}"/>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5. Colombia – 68%</a:t>
              </a:r>
            </a:p>
          </p:txBody>
        </p:sp>
        <p:grpSp>
          <p:nvGrpSpPr>
            <p:cNvPr id="65" name="Group 64">
              <a:extLst>
                <a:ext uri="{FF2B5EF4-FFF2-40B4-BE49-F238E27FC236}">
                  <a16:creationId xmlns:a16="http://schemas.microsoft.com/office/drawing/2014/main" id="{729C6C53-2150-4408-82D7-936E9286C226}"/>
                </a:ext>
              </a:extLst>
            </p:cNvPr>
            <p:cNvGrpSpPr/>
            <p:nvPr/>
          </p:nvGrpSpPr>
          <p:grpSpPr>
            <a:xfrm>
              <a:off x="9427487" y="4463949"/>
              <a:ext cx="296082" cy="296082"/>
              <a:chOff x="1521430" y="3233225"/>
              <a:chExt cx="296082" cy="296082"/>
            </a:xfrm>
          </p:grpSpPr>
          <p:sp>
            <p:nvSpPr>
              <p:cNvPr id="66" name="Teardrop 65">
                <a:extLst>
                  <a:ext uri="{FF2B5EF4-FFF2-40B4-BE49-F238E27FC236}">
                    <a16:creationId xmlns:a16="http://schemas.microsoft.com/office/drawing/2014/main" id="{C0DD9B3E-B384-4A5A-BF55-455D9C3D5BD5}"/>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6FA77EE8-6073-4CCE-AB1A-EBF186A961E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68" name="Group 67">
            <a:extLst>
              <a:ext uri="{FF2B5EF4-FFF2-40B4-BE49-F238E27FC236}">
                <a16:creationId xmlns:a16="http://schemas.microsoft.com/office/drawing/2014/main" id="{2DF5DF9A-D5AB-48FB-96BB-0893642F424A}"/>
              </a:ext>
            </a:extLst>
          </p:cNvPr>
          <p:cNvGrpSpPr/>
          <p:nvPr/>
        </p:nvGrpSpPr>
        <p:grpSpPr>
          <a:xfrm>
            <a:off x="9537291" y="4021388"/>
            <a:ext cx="2654709" cy="503215"/>
            <a:chOff x="9427487" y="4378577"/>
            <a:chExt cx="2654709" cy="503215"/>
          </a:xfrm>
        </p:grpSpPr>
        <p:sp>
          <p:nvSpPr>
            <p:cNvPr id="69" name="TextBox 68">
              <a:extLst>
                <a:ext uri="{FF2B5EF4-FFF2-40B4-BE49-F238E27FC236}">
                  <a16:creationId xmlns:a16="http://schemas.microsoft.com/office/drawing/2014/main" id="{F0098894-E4A1-47AE-A37A-3D53C3A8B208}"/>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6. Vietnam – 68%</a:t>
              </a:r>
            </a:p>
          </p:txBody>
        </p:sp>
        <p:grpSp>
          <p:nvGrpSpPr>
            <p:cNvPr id="70" name="Group 69">
              <a:extLst>
                <a:ext uri="{FF2B5EF4-FFF2-40B4-BE49-F238E27FC236}">
                  <a16:creationId xmlns:a16="http://schemas.microsoft.com/office/drawing/2014/main" id="{F7A3F523-5DB5-45BD-82EC-9A006407B677}"/>
                </a:ext>
              </a:extLst>
            </p:cNvPr>
            <p:cNvGrpSpPr/>
            <p:nvPr/>
          </p:nvGrpSpPr>
          <p:grpSpPr>
            <a:xfrm>
              <a:off x="9427487" y="4463949"/>
              <a:ext cx="296082" cy="296082"/>
              <a:chOff x="1521430" y="3233225"/>
              <a:chExt cx="296082" cy="296082"/>
            </a:xfrm>
          </p:grpSpPr>
          <p:sp>
            <p:nvSpPr>
              <p:cNvPr id="71" name="Teardrop 70">
                <a:extLst>
                  <a:ext uri="{FF2B5EF4-FFF2-40B4-BE49-F238E27FC236}">
                    <a16:creationId xmlns:a16="http://schemas.microsoft.com/office/drawing/2014/main" id="{7219CB97-9C93-4151-AD32-EC7C34DC9DFC}"/>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9273EB83-534F-41B8-9172-847370E09201}"/>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3" name="Group 72">
            <a:extLst>
              <a:ext uri="{FF2B5EF4-FFF2-40B4-BE49-F238E27FC236}">
                <a16:creationId xmlns:a16="http://schemas.microsoft.com/office/drawing/2014/main" id="{5889D03B-312F-4E2E-AF54-8D52EE99B566}"/>
              </a:ext>
            </a:extLst>
          </p:cNvPr>
          <p:cNvGrpSpPr/>
          <p:nvPr/>
        </p:nvGrpSpPr>
        <p:grpSpPr>
          <a:xfrm>
            <a:off x="3276810" y="5332615"/>
            <a:ext cx="2654709" cy="503215"/>
            <a:chOff x="9427487" y="4378577"/>
            <a:chExt cx="2654709" cy="503215"/>
          </a:xfrm>
        </p:grpSpPr>
        <p:sp>
          <p:nvSpPr>
            <p:cNvPr id="74" name="TextBox 73">
              <a:extLst>
                <a:ext uri="{FF2B5EF4-FFF2-40B4-BE49-F238E27FC236}">
                  <a16:creationId xmlns:a16="http://schemas.microsoft.com/office/drawing/2014/main" id="{EF587B3E-BBC9-4B66-AB17-A5D06E78594C}"/>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7. Chile – 67%</a:t>
              </a:r>
            </a:p>
          </p:txBody>
        </p:sp>
        <p:grpSp>
          <p:nvGrpSpPr>
            <p:cNvPr id="75" name="Group 74">
              <a:extLst>
                <a:ext uri="{FF2B5EF4-FFF2-40B4-BE49-F238E27FC236}">
                  <a16:creationId xmlns:a16="http://schemas.microsoft.com/office/drawing/2014/main" id="{65EA3B28-F94B-4747-9864-58FB745A093D}"/>
                </a:ext>
              </a:extLst>
            </p:cNvPr>
            <p:cNvGrpSpPr/>
            <p:nvPr/>
          </p:nvGrpSpPr>
          <p:grpSpPr>
            <a:xfrm>
              <a:off x="9427487" y="4463949"/>
              <a:ext cx="296082" cy="296082"/>
              <a:chOff x="1521430" y="3233225"/>
              <a:chExt cx="296082" cy="296082"/>
            </a:xfrm>
          </p:grpSpPr>
          <p:sp>
            <p:nvSpPr>
              <p:cNvPr id="76" name="Teardrop 75">
                <a:extLst>
                  <a:ext uri="{FF2B5EF4-FFF2-40B4-BE49-F238E27FC236}">
                    <a16:creationId xmlns:a16="http://schemas.microsoft.com/office/drawing/2014/main" id="{3778448D-4D10-46D8-B31D-FB85BE37978E}"/>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AAB70117-0359-4B48-BE85-C221FBF67166}"/>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8" name="Group 77">
            <a:extLst>
              <a:ext uri="{FF2B5EF4-FFF2-40B4-BE49-F238E27FC236}">
                <a16:creationId xmlns:a16="http://schemas.microsoft.com/office/drawing/2014/main" id="{FB47BE69-BD6E-484B-95DE-2CE44FB358E2}"/>
              </a:ext>
            </a:extLst>
          </p:cNvPr>
          <p:cNvGrpSpPr/>
          <p:nvPr/>
        </p:nvGrpSpPr>
        <p:grpSpPr>
          <a:xfrm>
            <a:off x="3556183" y="5793312"/>
            <a:ext cx="2654709" cy="503215"/>
            <a:chOff x="9427487" y="4378577"/>
            <a:chExt cx="2654709" cy="503215"/>
          </a:xfrm>
        </p:grpSpPr>
        <p:sp>
          <p:nvSpPr>
            <p:cNvPr id="79" name="TextBox 78">
              <a:extLst>
                <a:ext uri="{FF2B5EF4-FFF2-40B4-BE49-F238E27FC236}">
                  <a16:creationId xmlns:a16="http://schemas.microsoft.com/office/drawing/2014/main" id="{F6376BF3-B57C-4A6F-A42B-64B44CEB7340}"/>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8. Argentina – 65%</a:t>
              </a:r>
            </a:p>
          </p:txBody>
        </p:sp>
        <p:grpSp>
          <p:nvGrpSpPr>
            <p:cNvPr id="80" name="Group 79">
              <a:extLst>
                <a:ext uri="{FF2B5EF4-FFF2-40B4-BE49-F238E27FC236}">
                  <a16:creationId xmlns:a16="http://schemas.microsoft.com/office/drawing/2014/main" id="{7652E201-2505-4C23-8B0B-F48E20D688C8}"/>
                </a:ext>
              </a:extLst>
            </p:cNvPr>
            <p:cNvGrpSpPr/>
            <p:nvPr/>
          </p:nvGrpSpPr>
          <p:grpSpPr>
            <a:xfrm>
              <a:off x="9427487" y="4463949"/>
              <a:ext cx="296082" cy="296082"/>
              <a:chOff x="1521430" y="3233225"/>
              <a:chExt cx="296082" cy="296082"/>
            </a:xfrm>
          </p:grpSpPr>
          <p:sp>
            <p:nvSpPr>
              <p:cNvPr id="81" name="Teardrop 80">
                <a:extLst>
                  <a:ext uri="{FF2B5EF4-FFF2-40B4-BE49-F238E27FC236}">
                    <a16:creationId xmlns:a16="http://schemas.microsoft.com/office/drawing/2014/main" id="{FF68F134-A9EF-45F0-ACE7-962332E9BFE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3E63D45C-15E6-4CEE-B49F-96515E3DBA3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3" name="Group 82">
            <a:extLst>
              <a:ext uri="{FF2B5EF4-FFF2-40B4-BE49-F238E27FC236}">
                <a16:creationId xmlns:a16="http://schemas.microsoft.com/office/drawing/2014/main" id="{C64D041D-E5C4-43C4-98CD-A1CD1611C31C}"/>
              </a:ext>
            </a:extLst>
          </p:cNvPr>
          <p:cNvGrpSpPr/>
          <p:nvPr/>
        </p:nvGrpSpPr>
        <p:grpSpPr>
          <a:xfrm>
            <a:off x="3866610" y="4718908"/>
            <a:ext cx="2654709" cy="503215"/>
            <a:chOff x="9427487" y="4378577"/>
            <a:chExt cx="2654709" cy="503215"/>
          </a:xfrm>
        </p:grpSpPr>
        <p:sp>
          <p:nvSpPr>
            <p:cNvPr id="84" name="TextBox 83">
              <a:extLst>
                <a:ext uri="{FF2B5EF4-FFF2-40B4-BE49-F238E27FC236}">
                  <a16:creationId xmlns:a16="http://schemas.microsoft.com/office/drawing/2014/main" id="{FF8E0CA0-10D5-4657-8246-862EFC9ACDEB}"/>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9. Brazil – 59%</a:t>
              </a:r>
            </a:p>
          </p:txBody>
        </p:sp>
        <p:grpSp>
          <p:nvGrpSpPr>
            <p:cNvPr id="85" name="Group 84">
              <a:extLst>
                <a:ext uri="{FF2B5EF4-FFF2-40B4-BE49-F238E27FC236}">
                  <a16:creationId xmlns:a16="http://schemas.microsoft.com/office/drawing/2014/main" id="{8365478F-96A2-4492-97A3-F3CE12541589}"/>
                </a:ext>
              </a:extLst>
            </p:cNvPr>
            <p:cNvGrpSpPr/>
            <p:nvPr/>
          </p:nvGrpSpPr>
          <p:grpSpPr>
            <a:xfrm>
              <a:off x="9427487" y="4463949"/>
              <a:ext cx="296082" cy="296082"/>
              <a:chOff x="1521430" y="3233225"/>
              <a:chExt cx="296082" cy="296082"/>
            </a:xfrm>
          </p:grpSpPr>
          <p:sp>
            <p:nvSpPr>
              <p:cNvPr id="86" name="Teardrop 85">
                <a:extLst>
                  <a:ext uri="{FF2B5EF4-FFF2-40B4-BE49-F238E27FC236}">
                    <a16:creationId xmlns:a16="http://schemas.microsoft.com/office/drawing/2014/main" id="{33C79FD1-EBF4-431D-8FDD-55BCA3E4A3A4}"/>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7002A887-4988-4349-8025-3FBB3350B5DD}"/>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8" name="Group 87">
            <a:extLst>
              <a:ext uri="{FF2B5EF4-FFF2-40B4-BE49-F238E27FC236}">
                <a16:creationId xmlns:a16="http://schemas.microsoft.com/office/drawing/2014/main" id="{C44D284E-7845-4CB9-AFF6-5479339FBF45}"/>
              </a:ext>
            </a:extLst>
          </p:cNvPr>
          <p:cNvGrpSpPr/>
          <p:nvPr/>
        </p:nvGrpSpPr>
        <p:grpSpPr>
          <a:xfrm>
            <a:off x="4336297" y="2566019"/>
            <a:ext cx="2436657" cy="503215"/>
            <a:chOff x="7607957" y="4378577"/>
            <a:chExt cx="2436657" cy="503215"/>
          </a:xfrm>
        </p:grpSpPr>
        <p:sp>
          <p:nvSpPr>
            <p:cNvPr id="89" name="TextBox 88">
              <a:extLst>
                <a:ext uri="{FF2B5EF4-FFF2-40B4-BE49-F238E27FC236}">
                  <a16:creationId xmlns:a16="http://schemas.microsoft.com/office/drawing/2014/main" id="{0CFE19B7-67E9-41DC-912A-291A2C62E5C6}"/>
                </a:ext>
              </a:extLst>
            </p:cNvPr>
            <p:cNvSpPr txBox="1"/>
            <p:nvPr/>
          </p:nvSpPr>
          <p:spPr>
            <a:xfrm>
              <a:off x="7607957" y="4378577"/>
              <a:ext cx="2436657" cy="503215"/>
            </a:xfrm>
            <a:prstGeom prst="rect">
              <a:avLst/>
            </a:prstGeom>
            <a:noFill/>
          </p:spPr>
          <p:txBody>
            <a:bodyPr wrap="square" lIns="182880" tIns="146304" rIns="182880" bIns="146304" rtlCol="0">
              <a:spAutoFit/>
            </a:bodyPr>
            <a:lstStyle/>
            <a:p>
              <a:pPr>
                <a:lnSpc>
                  <a:spcPct val="90000"/>
                </a:lnSpc>
              </a:pPr>
              <a:r>
                <a:rPr lang="en-US" sz="1500" b="1" dirty="0"/>
                <a:t>10. Poland – 59%</a:t>
              </a:r>
            </a:p>
          </p:txBody>
        </p:sp>
        <p:grpSp>
          <p:nvGrpSpPr>
            <p:cNvPr id="90" name="Group 89">
              <a:extLst>
                <a:ext uri="{FF2B5EF4-FFF2-40B4-BE49-F238E27FC236}">
                  <a16:creationId xmlns:a16="http://schemas.microsoft.com/office/drawing/2014/main" id="{328C9B4E-1547-432D-A33D-A584401801FC}"/>
                </a:ext>
              </a:extLst>
            </p:cNvPr>
            <p:cNvGrpSpPr/>
            <p:nvPr/>
          </p:nvGrpSpPr>
          <p:grpSpPr>
            <a:xfrm>
              <a:off x="9427487" y="4463949"/>
              <a:ext cx="296082" cy="296082"/>
              <a:chOff x="1521430" y="3233225"/>
              <a:chExt cx="296082" cy="296082"/>
            </a:xfrm>
          </p:grpSpPr>
          <p:sp>
            <p:nvSpPr>
              <p:cNvPr id="91" name="Teardrop 90">
                <a:extLst>
                  <a:ext uri="{FF2B5EF4-FFF2-40B4-BE49-F238E27FC236}">
                    <a16:creationId xmlns:a16="http://schemas.microsoft.com/office/drawing/2014/main" id="{50D9F472-09D2-4B7B-8A33-C6BBDDE5519A}"/>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E1C84DF5-89E3-41A8-B2FF-421D1F7A3BF9}"/>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023892170"/>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4F3FEB0-E808-4DDB-AEBA-9E59261507C2}"/>
              </a:ext>
            </a:extLst>
          </p:cNvPr>
          <p:cNvSpPr/>
          <p:nvPr/>
        </p:nvSpPr>
        <p:spPr>
          <a:xfrm>
            <a:off x="-9542" y="1830947"/>
            <a:ext cx="12201542" cy="5018847"/>
          </a:xfrm>
          <a:prstGeom prst="rect">
            <a:avLst/>
          </a:prstGeom>
          <a:blipFill>
            <a:blip r:embed="rId2">
              <a:alphaModFix amt="20000"/>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4451D8-7C28-4E5C-9ED2-3B19E53118AB}"/>
              </a:ext>
            </a:extLst>
          </p:cNvPr>
          <p:cNvSpPr>
            <a:spLocks noGrp="1"/>
          </p:cNvSpPr>
          <p:nvPr>
            <p:ph type="title"/>
          </p:nvPr>
        </p:nvSpPr>
        <p:spPr/>
        <p:txBody>
          <a:bodyPr/>
          <a:lstStyle/>
          <a:p>
            <a:endParaRPr lang="en-US" dirty="0"/>
          </a:p>
        </p:txBody>
      </p:sp>
      <p:sp>
        <p:nvSpPr>
          <p:cNvPr id="6" name="Rectangle 5">
            <a:extLst>
              <a:ext uri="{FF2B5EF4-FFF2-40B4-BE49-F238E27FC236}">
                <a16:creationId xmlns:a16="http://schemas.microsoft.com/office/drawing/2014/main" id="{C6EA905D-D271-4B10-93F7-4D85E7722AAF}"/>
              </a:ext>
            </a:extLst>
          </p:cNvPr>
          <p:cNvSpPr/>
          <p:nvPr/>
        </p:nvSpPr>
        <p:spPr>
          <a:xfrm>
            <a:off x="-20300"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Isosceles Triangle 6">
            <a:extLst>
              <a:ext uri="{FF2B5EF4-FFF2-40B4-BE49-F238E27FC236}">
                <a16:creationId xmlns:a16="http://schemas.microsoft.com/office/drawing/2014/main" id="{F492716B-1FED-4EFD-BAF6-32446B99F4F3}"/>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D78D3AB5-8E1F-4B9A-8DF8-449F52D55C96}"/>
              </a:ext>
            </a:extLst>
          </p:cNvPr>
          <p:cNvSpPr txBox="1"/>
          <p:nvPr/>
        </p:nvSpPr>
        <p:spPr>
          <a:xfrm>
            <a:off x="833434" y="311769"/>
            <a:ext cx="9967243" cy="1077218"/>
          </a:xfrm>
          <a:prstGeom prst="rect">
            <a:avLst/>
          </a:prstGeom>
          <a:noFill/>
        </p:spPr>
        <p:txBody>
          <a:bodyPr wrap="square" rtlCol="0" anchor="ctr">
            <a:spAutoFit/>
          </a:bodyPr>
          <a:lstStyle/>
          <a:p>
            <a:r>
              <a:rPr lang="en-US" altLang="ko-KR" sz="4400" dirty="0">
                <a:solidFill>
                  <a:schemeClr val="bg1"/>
                </a:solidFill>
                <a:latin typeface="+mj-lt"/>
                <a:cs typeface="Arial" pitchFamily="34" charset="0"/>
              </a:rPr>
              <a:t>Global hot spots for Behavioral risks</a:t>
            </a:r>
          </a:p>
          <a:p>
            <a:r>
              <a:rPr lang="en-US" altLang="ko-KR" sz="2000" dirty="0">
                <a:solidFill>
                  <a:schemeClr val="bg1"/>
                </a:solidFill>
                <a:latin typeface="+mj-lt"/>
                <a:cs typeface="Arial" pitchFamily="34" charset="0"/>
              </a:rPr>
              <a:t>Global Behavioral risk </a:t>
            </a:r>
            <a:r>
              <a:rPr lang="en-US" altLang="ko-KR" sz="2000" dirty="0">
                <a:solidFill>
                  <a:schemeClr val="bg1"/>
                </a:solidFill>
                <a:cs typeface="Arial" pitchFamily="34" charset="0"/>
              </a:rPr>
              <a:t>average </a:t>
            </a:r>
            <a:r>
              <a:rPr lang="en-US" altLang="ko-KR" sz="2000" dirty="0">
                <a:solidFill>
                  <a:schemeClr val="bg1"/>
                </a:solidFill>
                <a:latin typeface="+mj-lt"/>
                <a:cs typeface="Arial" pitchFamily="34" charset="0"/>
              </a:rPr>
              <a:t>= 45%</a:t>
            </a:r>
            <a:endParaRPr lang="ko-KR" altLang="en-US" sz="2000" dirty="0">
              <a:solidFill>
                <a:schemeClr val="bg1"/>
              </a:solidFill>
              <a:latin typeface="+mj-lt"/>
              <a:cs typeface="Arial" pitchFamily="34" charset="0"/>
            </a:endParaRPr>
          </a:p>
        </p:txBody>
      </p:sp>
      <p:sp>
        <p:nvSpPr>
          <p:cNvPr id="44" name="TextBox 43">
            <a:extLst>
              <a:ext uri="{FF2B5EF4-FFF2-40B4-BE49-F238E27FC236}">
                <a16:creationId xmlns:a16="http://schemas.microsoft.com/office/drawing/2014/main" id="{FEAF56A8-8C6D-430D-BF2A-37B3933CE066}"/>
              </a:ext>
            </a:extLst>
          </p:cNvPr>
          <p:cNvSpPr txBox="1"/>
          <p:nvPr/>
        </p:nvSpPr>
        <p:spPr>
          <a:xfrm>
            <a:off x="4967759" y="3165675"/>
            <a:ext cx="2006566" cy="503215"/>
          </a:xfrm>
          <a:prstGeom prst="rect">
            <a:avLst/>
          </a:prstGeom>
          <a:noFill/>
        </p:spPr>
        <p:txBody>
          <a:bodyPr wrap="square" lIns="182880" tIns="146304" rIns="182880" bIns="146304" rtlCol="0">
            <a:spAutoFit/>
          </a:bodyPr>
          <a:lstStyle/>
          <a:p>
            <a:pPr>
              <a:lnSpc>
                <a:spcPct val="90000"/>
              </a:lnSpc>
            </a:pPr>
            <a:r>
              <a:rPr lang="en-US" sz="1500" b="1" dirty="0"/>
              <a:t>3. Hungary – 57%</a:t>
            </a:r>
          </a:p>
        </p:txBody>
      </p:sp>
      <p:sp>
        <p:nvSpPr>
          <p:cNvPr id="35" name="Slide Number Placeholder 2">
            <a:extLst>
              <a:ext uri="{FF2B5EF4-FFF2-40B4-BE49-F238E27FC236}">
                <a16:creationId xmlns:a16="http://schemas.microsoft.com/office/drawing/2014/main" id="{FB9A635F-69FB-4DA2-8DC0-DC90A681C464}"/>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pPr/>
              <a:t>38</a:t>
            </a:fld>
            <a:endParaRPr lang="en-US" sz="1200" dirty="0"/>
          </a:p>
        </p:txBody>
      </p:sp>
      <p:grpSp>
        <p:nvGrpSpPr>
          <p:cNvPr id="9" name="Group 8">
            <a:extLst>
              <a:ext uri="{FF2B5EF4-FFF2-40B4-BE49-F238E27FC236}">
                <a16:creationId xmlns:a16="http://schemas.microsoft.com/office/drawing/2014/main" id="{E0147848-3938-4840-9E30-E410EB75E0AC}"/>
              </a:ext>
            </a:extLst>
          </p:cNvPr>
          <p:cNvGrpSpPr/>
          <p:nvPr/>
        </p:nvGrpSpPr>
        <p:grpSpPr>
          <a:xfrm>
            <a:off x="1595747" y="4773098"/>
            <a:ext cx="1934047" cy="503215"/>
            <a:chOff x="1595747" y="4773098"/>
            <a:chExt cx="1934047" cy="503215"/>
          </a:xfrm>
        </p:grpSpPr>
        <p:sp>
          <p:nvSpPr>
            <p:cNvPr id="46" name="TextBox 45">
              <a:extLst>
                <a:ext uri="{FF2B5EF4-FFF2-40B4-BE49-F238E27FC236}">
                  <a16:creationId xmlns:a16="http://schemas.microsoft.com/office/drawing/2014/main" id="{DC137D66-E23E-4570-ABA6-3F386986FFF6}"/>
                </a:ext>
              </a:extLst>
            </p:cNvPr>
            <p:cNvSpPr txBox="1"/>
            <p:nvPr/>
          </p:nvSpPr>
          <p:spPr>
            <a:xfrm>
              <a:off x="1595747" y="4773098"/>
              <a:ext cx="1934047" cy="503215"/>
            </a:xfrm>
            <a:prstGeom prst="rect">
              <a:avLst/>
            </a:prstGeom>
            <a:noFill/>
          </p:spPr>
          <p:txBody>
            <a:bodyPr wrap="square" lIns="182880" tIns="146304" rIns="182880" bIns="146304" rtlCol="0">
              <a:spAutoFit/>
            </a:bodyPr>
            <a:lstStyle/>
            <a:p>
              <a:pPr>
                <a:lnSpc>
                  <a:spcPct val="90000"/>
                </a:lnSpc>
              </a:pPr>
              <a:r>
                <a:rPr lang="en-US" sz="1500" b="1" dirty="0"/>
                <a:t>7. Peru – 47%</a:t>
              </a:r>
            </a:p>
          </p:txBody>
        </p:sp>
        <p:grpSp>
          <p:nvGrpSpPr>
            <p:cNvPr id="53" name="Group 52">
              <a:extLst>
                <a:ext uri="{FF2B5EF4-FFF2-40B4-BE49-F238E27FC236}">
                  <a16:creationId xmlns:a16="http://schemas.microsoft.com/office/drawing/2014/main" id="{E31A7082-3C1B-44E4-BD76-FED64522A85F}"/>
                </a:ext>
              </a:extLst>
            </p:cNvPr>
            <p:cNvGrpSpPr/>
            <p:nvPr/>
          </p:nvGrpSpPr>
          <p:grpSpPr>
            <a:xfrm>
              <a:off x="3077967" y="4870808"/>
              <a:ext cx="296082" cy="296082"/>
              <a:chOff x="1521430" y="3233225"/>
              <a:chExt cx="296082" cy="296082"/>
            </a:xfrm>
          </p:grpSpPr>
          <p:sp>
            <p:nvSpPr>
              <p:cNvPr id="54" name="Teardrop 53">
                <a:extLst>
                  <a:ext uri="{FF2B5EF4-FFF2-40B4-BE49-F238E27FC236}">
                    <a16:creationId xmlns:a16="http://schemas.microsoft.com/office/drawing/2014/main" id="{4D596437-8283-4780-9DE0-A6B182159E7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61D510A8-BE1A-4872-B525-27B2892E6174}"/>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73DF3233-DA72-4064-9094-F442D1914F4F}"/>
              </a:ext>
            </a:extLst>
          </p:cNvPr>
          <p:cNvGrpSpPr/>
          <p:nvPr/>
        </p:nvGrpSpPr>
        <p:grpSpPr>
          <a:xfrm>
            <a:off x="6298852" y="2776123"/>
            <a:ext cx="296082" cy="296082"/>
            <a:chOff x="1521430" y="3233225"/>
            <a:chExt cx="296082" cy="296082"/>
          </a:xfrm>
        </p:grpSpPr>
        <p:sp>
          <p:nvSpPr>
            <p:cNvPr id="57" name="Teardrop 56">
              <a:extLst>
                <a:ext uri="{FF2B5EF4-FFF2-40B4-BE49-F238E27FC236}">
                  <a16:creationId xmlns:a16="http://schemas.microsoft.com/office/drawing/2014/main" id="{B335009B-9BEC-439E-8380-2BB91706525F}"/>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CBAFE6D0-B706-429B-B017-53DF0ED552B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DEBD82CB-35D5-4D1E-9E5D-1B3268EF6E6B}"/>
              </a:ext>
            </a:extLst>
          </p:cNvPr>
          <p:cNvGrpSpPr/>
          <p:nvPr/>
        </p:nvGrpSpPr>
        <p:grpSpPr>
          <a:xfrm>
            <a:off x="6645565" y="2664540"/>
            <a:ext cx="2569701" cy="503215"/>
            <a:chOff x="3128606" y="4213633"/>
            <a:chExt cx="2569701" cy="503215"/>
          </a:xfrm>
        </p:grpSpPr>
        <p:sp>
          <p:nvSpPr>
            <p:cNvPr id="43" name="TextBox 42">
              <a:extLst>
                <a:ext uri="{FF2B5EF4-FFF2-40B4-BE49-F238E27FC236}">
                  <a16:creationId xmlns:a16="http://schemas.microsoft.com/office/drawing/2014/main" id="{BF074E03-5F06-40FD-8F48-79E250620AF9}"/>
                </a:ext>
              </a:extLst>
            </p:cNvPr>
            <p:cNvSpPr txBox="1"/>
            <p:nvPr/>
          </p:nvSpPr>
          <p:spPr>
            <a:xfrm>
              <a:off x="3335347" y="4213633"/>
              <a:ext cx="2362960" cy="503215"/>
            </a:xfrm>
            <a:prstGeom prst="rect">
              <a:avLst/>
            </a:prstGeom>
            <a:noFill/>
          </p:spPr>
          <p:txBody>
            <a:bodyPr wrap="square" lIns="182880" tIns="146304" rIns="182880" bIns="146304" rtlCol="0">
              <a:spAutoFit/>
            </a:bodyPr>
            <a:lstStyle/>
            <a:p>
              <a:pPr>
                <a:lnSpc>
                  <a:spcPct val="90000"/>
                </a:lnSpc>
              </a:pPr>
              <a:r>
                <a:rPr lang="en-US" sz="1500" b="1" dirty="0"/>
                <a:t>1. Russia – 61%</a:t>
              </a:r>
              <a:endParaRPr lang="en-US" sz="1200" dirty="0"/>
            </a:p>
          </p:txBody>
        </p:sp>
        <p:grpSp>
          <p:nvGrpSpPr>
            <p:cNvPr id="59" name="Group 58">
              <a:extLst>
                <a:ext uri="{FF2B5EF4-FFF2-40B4-BE49-F238E27FC236}">
                  <a16:creationId xmlns:a16="http://schemas.microsoft.com/office/drawing/2014/main" id="{D267FCC9-8725-481E-98B5-2065B4502D65}"/>
                </a:ext>
              </a:extLst>
            </p:cNvPr>
            <p:cNvGrpSpPr/>
            <p:nvPr/>
          </p:nvGrpSpPr>
          <p:grpSpPr>
            <a:xfrm>
              <a:off x="3128606" y="4284866"/>
              <a:ext cx="296082" cy="296082"/>
              <a:chOff x="1521430" y="3233225"/>
              <a:chExt cx="296082" cy="296082"/>
            </a:xfrm>
          </p:grpSpPr>
          <p:sp>
            <p:nvSpPr>
              <p:cNvPr id="60" name="Teardrop 59">
                <a:extLst>
                  <a:ext uri="{FF2B5EF4-FFF2-40B4-BE49-F238E27FC236}">
                    <a16:creationId xmlns:a16="http://schemas.microsoft.com/office/drawing/2014/main" id="{50588862-70CB-4401-8A93-C55865DD2116}"/>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35895B2-3805-49AF-A448-14EB81287FC2}"/>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4" name="Group 3">
            <a:extLst>
              <a:ext uri="{FF2B5EF4-FFF2-40B4-BE49-F238E27FC236}">
                <a16:creationId xmlns:a16="http://schemas.microsoft.com/office/drawing/2014/main" id="{45CA2D72-FF05-4892-94F6-C852ADB1BCE9}"/>
              </a:ext>
            </a:extLst>
          </p:cNvPr>
          <p:cNvGrpSpPr/>
          <p:nvPr/>
        </p:nvGrpSpPr>
        <p:grpSpPr>
          <a:xfrm>
            <a:off x="6603141" y="5408162"/>
            <a:ext cx="2654709" cy="503215"/>
            <a:chOff x="9427487" y="4378577"/>
            <a:chExt cx="2654709" cy="503215"/>
          </a:xfrm>
        </p:grpSpPr>
        <p:sp>
          <p:nvSpPr>
            <p:cNvPr id="45" name="TextBox 44">
              <a:extLst>
                <a:ext uri="{FF2B5EF4-FFF2-40B4-BE49-F238E27FC236}">
                  <a16:creationId xmlns:a16="http://schemas.microsoft.com/office/drawing/2014/main" id="{8BB86ABB-0C2E-4746-9D28-C49BA7370021}"/>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2. South Africa – 58%</a:t>
              </a:r>
            </a:p>
          </p:txBody>
        </p:sp>
        <p:grpSp>
          <p:nvGrpSpPr>
            <p:cNvPr id="62" name="Group 61">
              <a:extLst>
                <a:ext uri="{FF2B5EF4-FFF2-40B4-BE49-F238E27FC236}">
                  <a16:creationId xmlns:a16="http://schemas.microsoft.com/office/drawing/2014/main" id="{3307D8DE-7BD8-4D45-9D42-8F852B1BA059}"/>
                </a:ext>
              </a:extLst>
            </p:cNvPr>
            <p:cNvGrpSpPr/>
            <p:nvPr/>
          </p:nvGrpSpPr>
          <p:grpSpPr>
            <a:xfrm>
              <a:off x="9427487" y="4463949"/>
              <a:ext cx="296082" cy="296082"/>
              <a:chOff x="1521430" y="3233225"/>
              <a:chExt cx="296082" cy="296082"/>
            </a:xfrm>
          </p:grpSpPr>
          <p:sp>
            <p:nvSpPr>
              <p:cNvPr id="63" name="Teardrop 62">
                <a:extLst>
                  <a:ext uri="{FF2B5EF4-FFF2-40B4-BE49-F238E27FC236}">
                    <a16:creationId xmlns:a16="http://schemas.microsoft.com/office/drawing/2014/main" id="{46FFD871-F2B9-4485-8DD1-0F7738C495ED}"/>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9A4F9B0-8F83-4AB4-ADD9-253D1FD89363}"/>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68" name="Group 67">
            <a:extLst>
              <a:ext uri="{FF2B5EF4-FFF2-40B4-BE49-F238E27FC236}">
                <a16:creationId xmlns:a16="http://schemas.microsoft.com/office/drawing/2014/main" id="{2DF5DF9A-D5AB-48FB-96BB-0893642F424A}"/>
              </a:ext>
            </a:extLst>
          </p:cNvPr>
          <p:cNvGrpSpPr/>
          <p:nvPr/>
        </p:nvGrpSpPr>
        <p:grpSpPr>
          <a:xfrm>
            <a:off x="9537291" y="4021388"/>
            <a:ext cx="2654709" cy="503215"/>
            <a:chOff x="9427487" y="4378577"/>
            <a:chExt cx="2654709" cy="503215"/>
          </a:xfrm>
        </p:grpSpPr>
        <p:sp>
          <p:nvSpPr>
            <p:cNvPr id="69" name="TextBox 68">
              <a:extLst>
                <a:ext uri="{FF2B5EF4-FFF2-40B4-BE49-F238E27FC236}">
                  <a16:creationId xmlns:a16="http://schemas.microsoft.com/office/drawing/2014/main" id="{F0098894-E4A1-47AE-A37A-3D53C3A8B208}"/>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4. Vietnam – 56%</a:t>
              </a:r>
            </a:p>
          </p:txBody>
        </p:sp>
        <p:grpSp>
          <p:nvGrpSpPr>
            <p:cNvPr id="70" name="Group 69">
              <a:extLst>
                <a:ext uri="{FF2B5EF4-FFF2-40B4-BE49-F238E27FC236}">
                  <a16:creationId xmlns:a16="http://schemas.microsoft.com/office/drawing/2014/main" id="{F7A3F523-5DB5-45BD-82EC-9A006407B677}"/>
                </a:ext>
              </a:extLst>
            </p:cNvPr>
            <p:cNvGrpSpPr/>
            <p:nvPr/>
          </p:nvGrpSpPr>
          <p:grpSpPr>
            <a:xfrm>
              <a:off x="9427487" y="4463949"/>
              <a:ext cx="296082" cy="296082"/>
              <a:chOff x="1521430" y="3233225"/>
              <a:chExt cx="296082" cy="296082"/>
            </a:xfrm>
          </p:grpSpPr>
          <p:sp>
            <p:nvSpPr>
              <p:cNvPr id="71" name="Teardrop 70">
                <a:extLst>
                  <a:ext uri="{FF2B5EF4-FFF2-40B4-BE49-F238E27FC236}">
                    <a16:creationId xmlns:a16="http://schemas.microsoft.com/office/drawing/2014/main" id="{7219CB97-9C93-4151-AD32-EC7C34DC9DFC}"/>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9273EB83-534F-41B8-9172-847370E09201}"/>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3" name="Group 72">
            <a:extLst>
              <a:ext uri="{FF2B5EF4-FFF2-40B4-BE49-F238E27FC236}">
                <a16:creationId xmlns:a16="http://schemas.microsoft.com/office/drawing/2014/main" id="{5889D03B-312F-4E2E-AF54-8D52EE99B566}"/>
              </a:ext>
            </a:extLst>
          </p:cNvPr>
          <p:cNvGrpSpPr/>
          <p:nvPr/>
        </p:nvGrpSpPr>
        <p:grpSpPr>
          <a:xfrm>
            <a:off x="6821193" y="3137295"/>
            <a:ext cx="2654709" cy="503215"/>
            <a:chOff x="9427487" y="4378577"/>
            <a:chExt cx="2654709" cy="503215"/>
          </a:xfrm>
        </p:grpSpPr>
        <p:sp>
          <p:nvSpPr>
            <p:cNvPr id="74" name="TextBox 73">
              <a:extLst>
                <a:ext uri="{FF2B5EF4-FFF2-40B4-BE49-F238E27FC236}">
                  <a16:creationId xmlns:a16="http://schemas.microsoft.com/office/drawing/2014/main" id="{EF587B3E-BBC9-4B66-AB17-A5D06E78594C}"/>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5. Turkey – 55%</a:t>
              </a:r>
            </a:p>
          </p:txBody>
        </p:sp>
        <p:grpSp>
          <p:nvGrpSpPr>
            <p:cNvPr id="75" name="Group 74">
              <a:extLst>
                <a:ext uri="{FF2B5EF4-FFF2-40B4-BE49-F238E27FC236}">
                  <a16:creationId xmlns:a16="http://schemas.microsoft.com/office/drawing/2014/main" id="{65EA3B28-F94B-4747-9864-58FB745A093D}"/>
                </a:ext>
              </a:extLst>
            </p:cNvPr>
            <p:cNvGrpSpPr/>
            <p:nvPr/>
          </p:nvGrpSpPr>
          <p:grpSpPr>
            <a:xfrm>
              <a:off x="9427487" y="4463949"/>
              <a:ext cx="296082" cy="296082"/>
              <a:chOff x="1521430" y="3233225"/>
              <a:chExt cx="296082" cy="296082"/>
            </a:xfrm>
          </p:grpSpPr>
          <p:sp>
            <p:nvSpPr>
              <p:cNvPr id="76" name="Teardrop 75">
                <a:extLst>
                  <a:ext uri="{FF2B5EF4-FFF2-40B4-BE49-F238E27FC236}">
                    <a16:creationId xmlns:a16="http://schemas.microsoft.com/office/drawing/2014/main" id="{3778448D-4D10-46D8-B31D-FB85BE37978E}"/>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AAB70117-0359-4B48-BE85-C221FBF67166}"/>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8" name="Group 77">
            <a:extLst>
              <a:ext uri="{FF2B5EF4-FFF2-40B4-BE49-F238E27FC236}">
                <a16:creationId xmlns:a16="http://schemas.microsoft.com/office/drawing/2014/main" id="{FB47BE69-BD6E-484B-95DE-2CE44FB358E2}"/>
              </a:ext>
            </a:extLst>
          </p:cNvPr>
          <p:cNvGrpSpPr/>
          <p:nvPr/>
        </p:nvGrpSpPr>
        <p:grpSpPr>
          <a:xfrm>
            <a:off x="3730315" y="2588022"/>
            <a:ext cx="2436657" cy="503215"/>
            <a:chOff x="7732951" y="4356663"/>
            <a:chExt cx="2436657" cy="503215"/>
          </a:xfrm>
        </p:grpSpPr>
        <p:sp>
          <p:nvSpPr>
            <p:cNvPr id="79" name="TextBox 78">
              <a:extLst>
                <a:ext uri="{FF2B5EF4-FFF2-40B4-BE49-F238E27FC236}">
                  <a16:creationId xmlns:a16="http://schemas.microsoft.com/office/drawing/2014/main" id="{F6376BF3-B57C-4A6F-A42B-64B44CEB7340}"/>
                </a:ext>
              </a:extLst>
            </p:cNvPr>
            <p:cNvSpPr txBox="1"/>
            <p:nvPr/>
          </p:nvSpPr>
          <p:spPr>
            <a:xfrm>
              <a:off x="7732951" y="4356663"/>
              <a:ext cx="2436657" cy="503215"/>
            </a:xfrm>
            <a:prstGeom prst="rect">
              <a:avLst/>
            </a:prstGeom>
            <a:noFill/>
          </p:spPr>
          <p:txBody>
            <a:bodyPr wrap="square" lIns="182880" tIns="146304" rIns="182880" bIns="146304" rtlCol="0">
              <a:spAutoFit/>
            </a:bodyPr>
            <a:lstStyle/>
            <a:p>
              <a:pPr>
                <a:lnSpc>
                  <a:spcPct val="90000"/>
                </a:lnSpc>
              </a:pPr>
              <a:r>
                <a:rPr lang="en-US" sz="1500" b="1" dirty="0"/>
                <a:t>8. Ireland – 46%</a:t>
              </a:r>
            </a:p>
          </p:txBody>
        </p:sp>
        <p:grpSp>
          <p:nvGrpSpPr>
            <p:cNvPr id="80" name="Group 79">
              <a:extLst>
                <a:ext uri="{FF2B5EF4-FFF2-40B4-BE49-F238E27FC236}">
                  <a16:creationId xmlns:a16="http://schemas.microsoft.com/office/drawing/2014/main" id="{7652E201-2505-4C23-8B0B-F48E20D688C8}"/>
                </a:ext>
              </a:extLst>
            </p:cNvPr>
            <p:cNvGrpSpPr/>
            <p:nvPr/>
          </p:nvGrpSpPr>
          <p:grpSpPr>
            <a:xfrm>
              <a:off x="9427487" y="4463949"/>
              <a:ext cx="296082" cy="296082"/>
              <a:chOff x="1521430" y="3233225"/>
              <a:chExt cx="296082" cy="296082"/>
            </a:xfrm>
          </p:grpSpPr>
          <p:sp>
            <p:nvSpPr>
              <p:cNvPr id="81" name="Teardrop 80">
                <a:extLst>
                  <a:ext uri="{FF2B5EF4-FFF2-40B4-BE49-F238E27FC236}">
                    <a16:creationId xmlns:a16="http://schemas.microsoft.com/office/drawing/2014/main" id="{FF68F134-A9EF-45F0-ACE7-962332E9BFE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3E63D45C-15E6-4CEE-B49F-96515E3DBA3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3" name="Group 82">
            <a:extLst>
              <a:ext uri="{FF2B5EF4-FFF2-40B4-BE49-F238E27FC236}">
                <a16:creationId xmlns:a16="http://schemas.microsoft.com/office/drawing/2014/main" id="{C64D041D-E5C4-43C4-98CD-A1CD1611C31C}"/>
              </a:ext>
            </a:extLst>
          </p:cNvPr>
          <p:cNvGrpSpPr/>
          <p:nvPr/>
        </p:nvGrpSpPr>
        <p:grpSpPr>
          <a:xfrm>
            <a:off x="3077067" y="4182233"/>
            <a:ext cx="2654709" cy="503215"/>
            <a:chOff x="9427487" y="4378577"/>
            <a:chExt cx="2654709" cy="503215"/>
          </a:xfrm>
        </p:grpSpPr>
        <p:sp>
          <p:nvSpPr>
            <p:cNvPr id="84" name="TextBox 83">
              <a:extLst>
                <a:ext uri="{FF2B5EF4-FFF2-40B4-BE49-F238E27FC236}">
                  <a16:creationId xmlns:a16="http://schemas.microsoft.com/office/drawing/2014/main" id="{FF8E0CA0-10D5-4657-8246-862EFC9ACDEB}"/>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10. Colombia – 59%</a:t>
              </a:r>
            </a:p>
          </p:txBody>
        </p:sp>
        <p:grpSp>
          <p:nvGrpSpPr>
            <p:cNvPr id="85" name="Group 84">
              <a:extLst>
                <a:ext uri="{FF2B5EF4-FFF2-40B4-BE49-F238E27FC236}">
                  <a16:creationId xmlns:a16="http://schemas.microsoft.com/office/drawing/2014/main" id="{8365478F-96A2-4492-97A3-F3CE12541589}"/>
                </a:ext>
              </a:extLst>
            </p:cNvPr>
            <p:cNvGrpSpPr/>
            <p:nvPr/>
          </p:nvGrpSpPr>
          <p:grpSpPr>
            <a:xfrm>
              <a:off x="9427487" y="4463949"/>
              <a:ext cx="296082" cy="296082"/>
              <a:chOff x="1521430" y="3233225"/>
              <a:chExt cx="296082" cy="296082"/>
            </a:xfrm>
          </p:grpSpPr>
          <p:sp>
            <p:nvSpPr>
              <p:cNvPr id="86" name="Teardrop 85">
                <a:extLst>
                  <a:ext uri="{FF2B5EF4-FFF2-40B4-BE49-F238E27FC236}">
                    <a16:creationId xmlns:a16="http://schemas.microsoft.com/office/drawing/2014/main" id="{33C79FD1-EBF4-431D-8FDD-55BCA3E4A3A4}"/>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7002A887-4988-4349-8025-3FBB3350B5DD}"/>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8" name="Group 87">
            <a:extLst>
              <a:ext uri="{FF2B5EF4-FFF2-40B4-BE49-F238E27FC236}">
                <a16:creationId xmlns:a16="http://schemas.microsoft.com/office/drawing/2014/main" id="{C44D284E-7845-4CB9-AFF6-5479339FBF45}"/>
              </a:ext>
            </a:extLst>
          </p:cNvPr>
          <p:cNvGrpSpPr/>
          <p:nvPr/>
        </p:nvGrpSpPr>
        <p:grpSpPr>
          <a:xfrm>
            <a:off x="4770827" y="2244190"/>
            <a:ext cx="2436657" cy="703283"/>
            <a:chOff x="8042487" y="4056748"/>
            <a:chExt cx="2436657" cy="703283"/>
          </a:xfrm>
        </p:grpSpPr>
        <p:sp>
          <p:nvSpPr>
            <p:cNvPr id="89" name="TextBox 88">
              <a:extLst>
                <a:ext uri="{FF2B5EF4-FFF2-40B4-BE49-F238E27FC236}">
                  <a16:creationId xmlns:a16="http://schemas.microsoft.com/office/drawing/2014/main" id="{0CFE19B7-67E9-41DC-912A-291A2C62E5C6}"/>
                </a:ext>
              </a:extLst>
            </p:cNvPr>
            <p:cNvSpPr txBox="1"/>
            <p:nvPr/>
          </p:nvSpPr>
          <p:spPr>
            <a:xfrm>
              <a:off x="8042487" y="4056748"/>
              <a:ext cx="2436657" cy="503215"/>
            </a:xfrm>
            <a:prstGeom prst="rect">
              <a:avLst/>
            </a:prstGeom>
            <a:noFill/>
          </p:spPr>
          <p:txBody>
            <a:bodyPr wrap="square" lIns="182880" tIns="146304" rIns="182880" bIns="146304" rtlCol="0">
              <a:spAutoFit/>
            </a:bodyPr>
            <a:lstStyle/>
            <a:p>
              <a:pPr>
                <a:lnSpc>
                  <a:spcPct val="90000"/>
                </a:lnSpc>
              </a:pPr>
              <a:r>
                <a:rPr lang="en-US" sz="1500" b="1" dirty="0"/>
                <a:t>6. Poland – 49%</a:t>
              </a:r>
            </a:p>
          </p:txBody>
        </p:sp>
        <p:grpSp>
          <p:nvGrpSpPr>
            <p:cNvPr id="90" name="Group 89">
              <a:extLst>
                <a:ext uri="{FF2B5EF4-FFF2-40B4-BE49-F238E27FC236}">
                  <a16:creationId xmlns:a16="http://schemas.microsoft.com/office/drawing/2014/main" id="{328C9B4E-1547-432D-A33D-A584401801FC}"/>
                </a:ext>
              </a:extLst>
            </p:cNvPr>
            <p:cNvGrpSpPr/>
            <p:nvPr/>
          </p:nvGrpSpPr>
          <p:grpSpPr>
            <a:xfrm>
              <a:off x="9427487" y="4463949"/>
              <a:ext cx="296082" cy="296082"/>
              <a:chOff x="1521430" y="3233225"/>
              <a:chExt cx="296082" cy="296082"/>
            </a:xfrm>
          </p:grpSpPr>
          <p:sp>
            <p:nvSpPr>
              <p:cNvPr id="91" name="Teardrop 90">
                <a:extLst>
                  <a:ext uri="{FF2B5EF4-FFF2-40B4-BE49-F238E27FC236}">
                    <a16:creationId xmlns:a16="http://schemas.microsoft.com/office/drawing/2014/main" id="{50D9F472-09D2-4B7B-8A33-C6BBDDE5519A}"/>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E1C84DF5-89E3-41A8-B2FF-421D1F7A3BF9}"/>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93" name="Group 92">
            <a:extLst>
              <a:ext uri="{FF2B5EF4-FFF2-40B4-BE49-F238E27FC236}">
                <a16:creationId xmlns:a16="http://schemas.microsoft.com/office/drawing/2014/main" id="{F0482028-BDE0-4601-8BCD-343F5C89B10E}"/>
              </a:ext>
            </a:extLst>
          </p:cNvPr>
          <p:cNvGrpSpPr/>
          <p:nvPr/>
        </p:nvGrpSpPr>
        <p:grpSpPr>
          <a:xfrm>
            <a:off x="6787310" y="3974311"/>
            <a:ext cx="2436657" cy="503215"/>
            <a:chOff x="7732951" y="4356663"/>
            <a:chExt cx="2436657" cy="503215"/>
          </a:xfrm>
        </p:grpSpPr>
        <p:sp>
          <p:nvSpPr>
            <p:cNvPr id="94" name="TextBox 93">
              <a:extLst>
                <a:ext uri="{FF2B5EF4-FFF2-40B4-BE49-F238E27FC236}">
                  <a16:creationId xmlns:a16="http://schemas.microsoft.com/office/drawing/2014/main" id="{143B356B-51D0-4234-9E8B-61CCDA079B25}"/>
                </a:ext>
              </a:extLst>
            </p:cNvPr>
            <p:cNvSpPr txBox="1"/>
            <p:nvPr/>
          </p:nvSpPr>
          <p:spPr>
            <a:xfrm>
              <a:off x="7732951" y="4356663"/>
              <a:ext cx="2436657" cy="503215"/>
            </a:xfrm>
            <a:prstGeom prst="rect">
              <a:avLst/>
            </a:prstGeom>
            <a:noFill/>
          </p:spPr>
          <p:txBody>
            <a:bodyPr wrap="square" lIns="182880" tIns="146304" rIns="182880" bIns="146304" rtlCol="0">
              <a:spAutoFit/>
            </a:bodyPr>
            <a:lstStyle/>
            <a:p>
              <a:pPr>
                <a:lnSpc>
                  <a:spcPct val="90000"/>
                </a:lnSpc>
              </a:pPr>
              <a:r>
                <a:rPr lang="en-US" sz="1500" b="1" dirty="0"/>
                <a:t>9. India – 45%</a:t>
              </a:r>
            </a:p>
          </p:txBody>
        </p:sp>
        <p:grpSp>
          <p:nvGrpSpPr>
            <p:cNvPr id="95" name="Group 94">
              <a:extLst>
                <a:ext uri="{FF2B5EF4-FFF2-40B4-BE49-F238E27FC236}">
                  <a16:creationId xmlns:a16="http://schemas.microsoft.com/office/drawing/2014/main" id="{DCA689DB-D212-454D-96DE-1BFC98C1B1EC}"/>
                </a:ext>
              </a:extLst>
            </p:cNvPr>
            <p:cNvGrpSpPr/>
            <p:nvPr/>
          </p:nvGrpSpPr>
          <p:grpSpPr>
            <a:xfrm>
              <a:off x="9427487" y="4463949"/>
              <a:ext cx="296082" cy="296082"/>
              <a:chOff x="1521430" y="3233225"/>
              <a:chExt cx="296082" cy="296082"/>
            </a:xfrm>
          </p:grpSpPr>
          <p:sp>
            <p:nvSpPr>
              <p:cNvPr id="96" name="Teardrop 95">
                <a:extLst>
                  <a:ext uri="{FF2B5EF4-FFF2-40B4-BE49-F238E27FC236}">
                    <a16:creationId xmlns:a16="http://schemas.microsoft.com/office/drawing/2014/main" id="{DB90638F-CD2B-44C1-B142-D33584BD2DC7}"/>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4BF65128-2D7B-4476-B424-7C2FD499BA0E}"/>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1840693516"/>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4F3FEB0-E808-4DDB-AEBA-9E59261507C2}"/>
              </a:ext>
            </a:extLst>
          </p:cNvPr>
          <p:cNvSpPr/>
          <p:nvPr/>
        </p:nvSpPr>
        <p:spPr>
          <a:xfrm>
            <a:off x="-9542" y="1830947"/>
            <a:ext cx="12201542" cy="5018847"/>
          </a:xfrm>
          <a:prstGeom prst="rect">
            <a:avLst/>
          </a:prstGeom>
          <a:blipFill>
            <a:blip r:embed="rId3">
              <a:alphaModFix amt="20000"/>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4451D8-7C28-4E5C-9ED2-3B19E53118AB}"/>
              </a:ext>
            </a:extLst>
          </p:cNvPr>
          <p:cNvSpPr>
            <a:spLocks noGrp="1"/>
          </p:cNvSpPr>
          <p:nvPr>
            <p:ph type="title"/>
          </p:nvPr>
        </p:nvSpPr>
        <p:spPr/>
        <p:txBody>
          <a:bodyPr/>
          <a:lstStyle/>
          <a:p>
            <a:endParaRPr lang="en-US" dirty="0"/>
          </a:p>
        </p:txBody>
      </p:sp>
      <p:sp>
        <p:nvSpPr>
          <p:cNvPr id="6" name="Rectangle 5">
            <a:extLst>
              <a:ext uri="{FF2B5EF4-FFF2-40B4-BE49-F238E27FC236}">
                <a16:creationId xmlns:a16="http://schemas.microsoft.com/office/drawing/2014/main" id="{C6EA905D-D271-4B10-93F7-4D85E7722AAF}"/>
              </a:ext>
            </a:extLst>
          </p:cNvPr>
          <p:cNvSpPr/>
          <p:nvPr/>
        </p:nvSpPr>
        <p:spPr>
          <a:xfrm>
            <a:off x="-9542"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Isosceles Triangle 6">
            <a:extLst>
              <a:ext uri="{FF2B5EF4-FFF2-40B4-BE49-F238E27FC236}">
                <a16:creationId xmlns:a16="http://schemas.microsoft.com/office/drawing/2014/main" id="{F492716B-1FED-4EFD-BAF6-32446B99F4F3}"/>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D78D3AB5-8E1F-4B9A-8DF8-449F52D55C96}"/>
              </a:ext>
            </a:extLst>
          </p:cNvPr>
          <p:cNvSpPr txBox="1"/>
          <p:nvPr/>
        </p:nvSpPr>
        <p:spPr>
          <a:xfrm>
            <a:off x="833434" y="311769"/>
            <a:ext cx="9967243" cy="1077218"/>
          </a:xfrm>
          <a:prstGeom prst="rect">
            <a:avLst/>
          </a:prstGeom>
          <a:noFill/>
        </p:spPr>
        <p:txBody>
          <a:bodyPr wrap="square" rtlCol="0" anchor="ctr">
            <a:spAutoFit/>
          </a:bodyPr>
          <a:lstStyle/>
          <a:p>
            <a:r>
              <a:rPr lang="en-US" altLang="ko-KR" sz="4400" dirty="0">
                <a:solidFill>
                  <a:schemeClr val="bg1"/>
                </a:solidFill>
                <a:latin typeface="+mj-lt"/>
                <a:cs typeface="Arial" pitchFamily="34" charset="0"/>
              </a:rPr>
              <a:t>Global hot spots for Sexual risks</a:t>
            </a:r>
          </a:p>
          <a:p>
            <a:r>
              <a:rPr lang="en-US" altLang="ko-KR" sz="2000" dirty="0">
                <a:solidFill>
                  <a:schemeClr val="bg1"/>
                </a:solidFill>
                <a:latin typeface="+mj-lt"/>
                <a:cs typeface="Arial" pitchFamily="34" charset="0"/>
              </a:rPr>
              <a:t>Global Sexual risk </a:t>
            </a:r>
            <a:r>
              <a:rPr lang="en-US" altLang="ko-KR" sz="2000" dirty="0">
                <a:solidFill>
                  <a:schemeClr val="bg1"/>
                </a:solidFill>
                <a:cs typeface="Arial" pitchFamily="34" charset="0"/>
              </a:rPr>
              <a:t>average</a:t>
            </a:r>
            <a:r>
              <a:rPr lang="en-US" altLang="ko-KR" sz="2000" dirty="0">
                <a:solidFill>
                  <a:schemeClr val="bg1"/>
                </a:solidFill>
                <a:latin typeface="+mj-lt"/>
                <a:cs typeface="Arial" pitchFamily="34" charset="0"/>
              </a:rPr>
              <a:t> = 37%</a:t>
            </a:r>
            <a:endParaRPr lang="ko-KR" altLang="en-US" sz="2000" dirty="0">
              <a:solidFill>
                <a:schemeClr val="bg1"/>
              </a:solidFill>
              <a:latin typeface="+mj-lt"/>
              <a:cs typeface="Arial" pitchFamily="34" charset="0"/>
            </a:endParaRPr>
          </a:p>
        </p:txBody>
      </p:sp>
      <p:sp>
        <p:nvSpPr>
          <p:cNvPr id="44" name="TextBox 43">
            <a:extLst>
              <a:ext uri="{FF2B5EF4-FFF2-40B4-BE49-F238E27FC236}">
                <a16:creationId xmlns:a16="http://schemas.microsoft.com/office/drawing/2014/main" id="{FEAF56A8-8C6D-430D-BF2A-37B3933CE066}"/>
              </a:ext>
            </a:extLst>
          </p:cNvPr>
          <p:cNvSpPr txBox="1"/>
          <p:nvPr/>
        </p:nvSpPr>
        <p:spPr>
          <a:xfrm>
            <a:off x="4326171" y="2681222"/>
            <a:ext cx="2292591" cy="503215"/>
          </a:xfrm>
          <a:prstGeom prst="rect">
            <a:avLst/>
          </a:prstGeom>
          <a:noFill/>
        </p:spPr>
        <p:txBody>
          <a:bodyPr wrap="square" lIns="182880" tIns="146304" rIns="182880" bIns="146304" rtlCol="0">
            <a:spAutoFit/>
          </a:bodyPr>
          <a:lstStyle/>
          <a:p>
            <a:pPr>
              <a:lnSpc>
                <a:spcPct val="90000"/>
              </a:lnSpc>
            </a:pPr>
            <a:r>
              <a:rPr lang="en-US" sz="1500" b="1" dirty="0"/>
              <a:t>10. Hungary – 40%</a:t>
            </a:r>
          </a:p>
        </p:txBody>
      </p:sp>
      <p:sp>
        <p:nvSpPr>
          <p:cNvPr id="35" name="Slide Number Placeholder 2">
            <a:extLst>
              <a:ext uri="{FF2B5EF4-FFF2-40B4-BE49-F238E27FC236}">
                <a16:creationId xmlns:a16="http://schemas.microsoft.com/office/drawing/2014/main" id="{FB9A635F-69FB-4DA2-8DC0-DC90A681C464}"/>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pPr/>
              <a:t>39</a:t>
            </a:fld>
            <a:endParaRPr lang="en-US" sz="1200" dirty="0"/>
          </a:p>
        </p:txBody>
      </p:sp>
      <p:grpSp>
        <p:nvGrpSpPr>
          <p:cNvPr id="9" name="Group 8">
            <a:extLst>
              <a:ext uri="{FF2B5EF4-FFF2-40B4-BE49-F238E27FC236}">
                <a16:creationId xmlns:a16="http://schemas.microsoft.com/office/drawing/2014/main" id="{E0147848-3938-4840-9E30-E410EB75E0AC}"/>
              </a:ext>
            </a:extLst>
          </p:cNvPr>
          <p:cNvGrpSpPr/>
          <p:nvPr/>
        </p:nvGrpSpPr>
        <p:grpSpPr>
          <a:xfrm>
            <a:off x="1595747" y="4773098"/>
            <a:ext cx="1934047" cy="503215"/>
            <a:chOff x="1595747" y="4773098"/>
            <a:chExt cx="1934047" cy="503215"/>
          </a:xfrm>
        </p:grpSpPr>
        <p:sp>
          <p:nvSpPr>
            <p:cNvPr id="46" name="TextBox 45">
              <a:extLst>
                <a:ext uri="{FF2B5EF4-FFF2-40B4-BE49-F238E27FC236}">
                  <a16:creationId xmlns:a16="http://schemas.microsoft.com/office/drawing/2014/main" id="{DC137D66-E23E-4570-ABA6-3F386986FFF6}"/>
                </a:ext>
              </a:extLst>
            </p:cNvPr>
            <p:cNvSpPr txBox="1"/>
            <p:nvPr/>
          </p:nvSpPr>
          <p:spPr>
            <a:xfrm>
              <a:off x="1595747" y="4773098"/>
              <a:ext cx="1934047" cy="503215"/>
            </a:xfrm>
            <a:prstGeom prst="rect">
              <a:avLst/>
            </a:prstGeom>
            <a:noFill/>
          </p:spPr>
          <p:txBody>
            <a:bodyPr wrap="square" lIns="182880" tIns="146304" rIns="182880" bIns="146304" rtlCol="0">
              <a:spAutoFit/>
            </a:bodyPr>
            <a:lstStyle/>
            <a:p>
              <a:pPr>
                <a:lnSpc>
                  <a:spcPct val="90000"/>
                </a:lnSpc>
              </a:pPr>
              <a:r>
                <a:rPr lang="en-US" sz="1500" b="1" dirty="0"/>
                <a:t>1. Peru – 56%</a:t>
              </a:r>
            </a:p>
          </p:txBody>
        </p:sp>
        <p:grpSp>
          <p:nvGrpSpPr>
            <p:cNvPr id="53" name="Group 52">
              <a:extLst>
                <a:ext uri="{FF2B5EF4-FFF2-40B4-BE49-F238E27FC236}">
                  <a16:creationId xmlns:a16="http://schemas.microsoft.com/office/drawing/2014/main" id="{E31A7082-3C1B-44E4-BD76-FED64522A85F}"/>
                </a:ext>
              </a:extLst>
            </p:cNvPr>
            <p:cNvGrpSpPr/>
            <p:nvPr/>
          </p:nvGrpSpPr>
          <p:grpSpPr>
            <a:xfrm>
              <a:off x="3077967" y="4870808"/>
              <a:ext cx="296082" cy="296082"/>
              <a:chOff x="1521430" y="3233225"/>
              <a:chExt cx="296082" cy="296082"/>
            </a:xfrm>
          </p:grpSpPr>
          <p:sp>
            <p:nvSpPr>
              <p:cNvPr id="54" name="Teardrop 53">
                <a:extLst>
                  <a:ext uri="{FF2B5EF4-FFF2-40B4-BE49-F238E27FC236}">
                    <a16:creationId xmlns:a16="http://schemas.microsoft.com/office/drawing/2014/main" id="{4D596437-8283-4780-9DE0-A6B182159E7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61D510A8-BE1A-4872-B525-27B2892E6174}"/>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73DF3233-DA72-4064-9094-F442D1914F4F}"/>
              </a:ext>
            </a:extLst>
          </p:cNvPr>
          <p:cNvGrpSpPr/>
          <p:nvPr/>
        </p:nvGrpSpPr>
        <p:grpSpPr>
          <a:xfrm>
            <a:off x="6266578" y="2776123"/>
            <a:ext cx="296082" cy="296082"/>
            <a:chOff x="1521430" y="3233225"/>
            <a:chExt cx="296082" cy="296082"/>
          </a:xfrm>
        </p:grpSpPr>
        <p:sp>
          <p:nvSpPr>
            <p:cNvPr id="57" name="Teardrop 56">
              <a:extLst>
                <a:ext uri="{FF2B5EF4-FFF2-40B4-BE49-F238E27FC236}">
                  <a16:creationId xmlns:a16="http://schemas.microsoft.com/office/drawing/2014/main" id="{B335009B-9BEC-439E-8380-2BB91706525F}"/>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CBAFE6D0-B706-429B-B017-53DF0ED552B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4" name="Group 3">
            <a:extLst>
              <a:ext uri="{FF2B5EF4-FFF2-40B4-BE49-F238E27FC236}">
                <a16:creationId xmlns:a16="http://schemas.microsoft.com/office/drawing/2014/main" id="{45CA2D72-FF05-4892-94F6-C852ADB1BCE9}"/>
              </a:ext>
            </a:extLst>
          </p:cNvPr>
          <p:cNvGrpSpPr/>
          <p:nvPr/>
        </p:nvGrpSpPr>
        <p:grpSpPr>
          <a:xfrm>
            <a:off x="6603141" y="5408162"/>
            <a:ext cx="2654709" cy="503215"/>
            <a:chOff x="9427487" y="4378577"/>
            <a:chExt cx="2654709" cy="503215"/>
          </a:xfrm>
        </p:grpSpPr>
        <p:sp>
          <p:nvSpPr>
            <p:cNvPr id="45" name="TextBox 44">
              <a:extLst>
                <a:ext uri="{FF2B5EF4-FFF2-40B4-BE49-F238E27FC236}">
                  <a16:creationId xmlns:a16="http://schemas.microsoft.com/office/drawing/2014/main" id="{8BB86ABB-0C2E-4746-9D28-C49BA7370021}"/>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4. South Africa – 47%</a:t>
              </a:r>
            </a:p>
          </p:txBody>
        </p:sp>
        <p:grpSp>
          <p:nvGrpSpPr>
            <p:cNvPr id="62" name="Group 61">
              <a:extLst>
                <a:ext uri="{FF2B5EF4-FFF2-40B4-BE49-F238E27FC236}">
                  <a16:creationId xmlns:a16="http://schemas.microsoft.com/office/drawing/2014/main" id="{3307D8DE-7BD8-4D45-9D42-8F852B1BA059}"/>
                </a:ext>
              </a:extLst>
            </p:cNvPr>
            <p:cNvGrpSpPr/>
            <p:nvPr/>
          </p:nvGrpSpPr>
          <p:grpSpPr>
            <a:xfrm>
              <a:off x="9427487" y="4463949"/>
              <a:ext cx="296082" cy="296082"/>
              <a:chOff x="1521430" y="3233225"/>
              <a:chExt cx="296082" cy="296082"/>
            </a:xfrm>
          </p:grpSpPr>
          <p:sp>
            <p:nvSpPr>
              <p:cNvPr id="63" name="Teardrop 62">
                <a:extLst>
                  <a:ext uri="{FF2B5EF4-FFF2-40B4-BE49-F238E27FC236}">
                    <a16:creationId xmlns:a16="http://schemas.microsoft.com/office/drawing/2014/main" id="{46FFD871-F2B9-4485-8DD1-0F7738C495ED}"/>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9A4F9B0-8F83-4AB4-ADD9-253D1FD89363}"/>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39" name="Group 38">
            <a:extLst>
              <a:ext uri="{FF2B5EF4-FFF2-40B4-BE49-F238E27FC236}">
                <a16:creationId xmlns:a16="http://schemas.microsoft.com/office/drawing/2014/main" id="{683369FC-E885-43F5-B37E-9330209549E3}"/>
              </a:ext>
            </a:extLst>
          </p:cNvPr>
          <p:cNvGrpSpPr/>
          <p:nvPr/>
        </p:nvGrpSpPr>
        <p:grpSpPr>
          <a:xfrm>
            <a:off x="3128769" y="4201868"/>
            <a:ext cx="2654709" cy="503215"/>
            <a:chOff x="9427487" y="4378577"/>
            <a:chExt cx="2654709" cy="503215"/>
          </a:xfrm>
        </p:grpSpPr>
        <p:sp>
          <p:nvSpPr>
            <p:cNvPr id="40" name="TextBox 39">
              <a:extLst>
                <a:ext uri="{FF2B5EF4-FFF2-40B4-BE49-F238E27FC236}">
                  <a16:creationId xmlns:a16="http://schemas.microsoft.com/office/drawing/2014/main" id="{C08DF6F5-9295-4D89-9564-E0E3F9A8999E}"/>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3. Colombia – 52%</a:t>
              </a:r>
            </a:p>
          </p:txBody>
        </p:sp>
        <p:grpSp>
          <p:nvGrpSpPr>
            <p:cNvPr id="65" name="Group 64">
              <a:extLst>
                <a:ext uri="{FF2B5EF4-FFF2-40B4-BE49-F238E27FC236}">
                  <a16:creationId xmlns:a16="http://schemas.microsoft.com/office/drawing/2014/main" id="{729C6C53-2150-4408-82D7-936E9286C226}"/>
                </a:ext>
              </a:extLst>
            </p:cNvPr>
            <p:cNvGrpSpPr/>
            <p:nvPr/>
          </p:nvGrpSpPr>
          <p:grpSpPr>
            <a:xfrm>
              <a:off x="9427487" y="4463949"/>
              <a:ext cx="296082" cy="296082"/>
              <a:chOff x="1521430" y="3233225"/>
              <a:chExt cx="296082" cy="296082"/>
            </a:xfrm>
          </p:grpSpPr>
          <p:sp>
            <p:nvSpPr>
              <p:cNvPr id="66" name="Teardrop 65">
                <a:extLst>
                  <a:ext uri="{FF2B5EF4-FFF2-40B4-BE49-F238E27FC236}">
                    <a16:creationId xmlns:a16="http://schemas.microsoft.com/office/drawing/2014/main" id="{C0DD9B3E-B384-4A5A-BF55-455D9C3D5BD5}"/>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6FA77EE8-6073-4CCE-AB1A-EBF186A961E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68" name="Group 67">
            <a:extLst>
              <a:ext uri="{FF2B5EF4-FFF2-40B4-BE49-F238E27FC236}">
                <a16:creationId xmlns:a16="http://schemas.microsoft.com/office/drawing/2014/main" id="{2DF5DF9A-D5AB-48FB-96BB-0893642F424A}"/>
              </a:ext>
            </a:extLst>
          </p:cNvPr>
          <p:cNvGrpSpPr/>
          <p:nvPr/>
        </p:nvGrpSpPr>
        <p:grpSpPr>
          <a:xfrm>
            <a:off x="9537291" y="4021388"/>
            <a:ext cx="2654709" cy="503215"/>
            <a:chOff x="9427487" y="4378577"/>
            <a:chExt cx="2654709" cy="503215"/>
          </a:xfrm>
        </p:grpSpPr>
        <p:sp>
          <p:nvSpPr>
            <p:cNvPr id="69" name="TextBox 68">
              <a:extLst>
                <a:ext uri="{FF2B5EF4-FFF2-40B4-BE49-F238E27FC236}">
                  <a16:creationId xmlns:a16="http://schemas.microsoft.com/office/drawing/2014/main" id="{F0098894-E4A1-47AE-A37A-3D53C3A8B208}"/>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2. Vietnam – 53%</a:t>
              </a:r>
            </a:p>
          </p:txBody>
        </p:sp>
        <p:grpSp>
          <p:nvGrpSpPr>
            <p:cNvPr id="70" name="Group 69">
              <a:extLst>
                <a:ext uri="{FF2B5EF4-FFF2-40B4-BE49-F238E27FC236}">
                  <a16:creationId xmlns:a16="http://schemas.microsoft.com/office/drawing/2014/main" id="{F7A3F523-5DB5-45BD-82EC-9A006407B677}"/>
                </a:ext>
              </a:extLst>
            </p:cNvPr>
            <p:cNvGrpSpPr/>
            <p:nvPr/>
          </p:nvGrpSpPr>
          <p:grpSpPr>
            <a:xfrm>
              <a:off x="9427487" y="4463949"/>
              <a:ext cx="296082" cy="296082"/>
              <a:chOff x="1521430" y="3233225"/>
              <a:chExt cx="296082" cy="296082"/>
            </a:xfrm>
          </p:grpSpPr>
          <p:sp>
            <p:nvSpPr>
              <p:cNvPr id="71" name="Teardrop 70">
                <a:extLst>
                  <a:ext uri="{FF2B5EF4-FFF2-40B4-BE49-F238E27FC236}">
                    <a16:creationId xmlns:a16="http://schemas.microsoft.com/office/drawing/2014/main" id="{7219CB97-9C93-4151-AD32-EC7C34DC9DFC}"/>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9273EB83-534F-41B8-9172-847370E09201}"/>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3" name="Group 72">
            <a:extLst>
              <a:ext uri="{FF2B5EF4-FFF2-40B4-BE49-F238E27FC236}">
                <a16:creationId xmlns:a16="http://schemas.microsoft.com/office/drawing/2014/main" id="{5889D03B-312F-4E2E-AF54-8D52EE99B566}"/>
              </a:ext>
            </a:extLst>
          </p:cNvPr>
          <p:cNvGrpSpPr/>
          <p:nvPr/>
        </p:nvGrpSpPr>
        <p:grpSpPr>
          <a:xfrm>
            <a:off x="3276810" y="5332615"/>
            <a:ext cx="2654709" cy="503215"/>
            <a:chOff x="9427487" y="4378577"/>
            <a:chExt cx="2654709" cy="503215"/>
          </a:xfrm>
        </p:grpSpPr>
        <p:sp>
          <p:nvSpPr>
            <p:cNvPr id="74" name="TextBox 73">
              <a:extLst>
                <a:ext uri="{FF2B5EF4-FFF2-40B4-BE49-F238E27FC236}">
                  <a16:creationId xmlns:a16="http://schemas.microsoft.com/office/drawing/2014/main" id="{EF587B3E-BBC9-4B66-AB17-A5D06E78594C}"/>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6. Chile – 45%</a:t>
              </a:r>
            </a:p>
          </p:txBody>
        </p:sp>
        <p:grpSp>
          <p:nvGrpSpPr>
            <p:cNvPr id="75" name="Group 74">
              <a:extLst>
                <a:ext uri="{FF2B5EF4-FFF2-40B4-BE49-F238E27FC236}">
                  <a16:creationId xmlns:a16="http://schemas.microsoft.com/office/drawing/2014/main" id="{65EA3B28-F94B-4747-9864-58FB745A093D}"/>
                </a:ext>
              </a:extLst>
            </p:cNvPr>
            <p:cNvGrpSpPr/>
            <p:nvPr/>
          </p:nvGrpSpPr>
          <p:grpSpPr>
            <a:xfrm>
              <a:off x="9427487" y="4463949"/>
              <a:ext cx="296082" cy="296082"/>
              <a:chOff x="1521430" y="3233225"/>
              <a:chExt cx="296082" cy="296082"/>
            </a:xfrm>
          </p:grpSpPr>
          <p:sp>
            <p:nvSpPr>
              <p:cNvPr id="76" name="Teardrop 75">
                <a:extLst>
                  <a:ext uri="{FF2B5EF4-FFF2-40B4-BE49-F238E27FC236}">
                    <a16:creationId xmlns:a16="http://schemas.microsoft.com/office/drawing/2014/main" id="{3778448D-4D10-46D8-B31D-FB85BE37978E}"/>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AAB70117-0359-4B48-BE85-C221FBF67166}"/>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8" name="Group 77">
            <a:extLst>
              <a:ext uri="{FF2B5EF4-FFF2-40B4-BE49-F238E27FC236}">
                <a16:creationId xmlns:a16="http://schemas.microsoft.com/office/drawing/2014/main" id="{FB47BE69-BD6E-484B-95DE-2CE44FB358E2}"/>
              </a:ext>
            </a:extLst>
          </p:cNvPr>
          <p:cNvGrpSpPr/>
          <p:nvPr/>
        </p:nvGrpSpPr>
        <p:grpSpPr>
          <a:xfrm>
            <a:off x="3556183" y="5793312"/>
            <a:ext cx="2654709" cy="503215"/>
            <a:chOff x="9427487" y="4378577"/>
            <a:chExt cx="2654709" cy="503215"/>
          </a:xfrm>
        </p:grpSpPr>
        <p:sp>
          <p:nvSpPr>
            <p:cNvPr id="79" name="TextBox 78">
              <a:extLst>
                <a:ext uri="{FF2B5EF4-FFF2-40B4-BE49-F238E27FC236}">
                  <a16:creationId xmlns:a16="http://schemas.microsoft.com/office/drawing/2014/main" id="{F6376BF3-B57C-4A6F-A42B-64B44CEB7340}"/>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7. Argentina – 44%</a:t>
              </a:r>
            </a:p>
          </p:txBody>
        </p:sp>
        <p:grpSp>
          <p:nvGrpSpPr>
            <p:cNvPr id="80" name="Group 79">
              <a:extLst>
                <a:ext uri="{FF2B5EF4-FFF2-40B4-BE49-F238E27FC236}">
                  <a16:creationId xmlns:a16="http://schemas.microsoft.com/office/drawing/2014/main" id="{7652E201-2505-4C23-8B0B-F48E20D688C8}"/>
                </a:ext>
              </a:extLst>
            </p:cNvPr>
            <p:cNvGrpSpPr/>
            <p:nvPr/>
          </p:nvGrpSpPr>
          <p:grpSpPr>
            <a:xfrm>
              <a:off x="9427487" y="4463949"/>
              <a:ext cx="296082" cy="296082"/>
              <a:chOff x="1521430" y="3233225"/>
              <a:chExt cx="296082" cy="296082"/>
            </a:xfrm>
          </p:grpSpPr>
          <p:sp>
            <p:nvSpPr>
              <p:cNvPr id="81" name="Teardrop 80">
                <a:extLst>
                  <a:ext uri="{FF2B5EF4-FFF2-40B4-BE49-F238E27FC236}">
                    <a16:creationId xmlns:a16="http://schemas.microsoft.com/office/drawing/2014/main" id="{FF68F134-A9EF-45F0-ACE7-962332E9BFE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3E63D45C-15E6-4CEE-B49F-96515E3DBA3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3" name="Group 82">
            <a:extLst>
              <a:ext uri="{FF2B5EF4-FFF2-40B4-BE49-F238E27FC236}">
                <a16:creationId xmlns:a16="http://schemas.microsoft.com/office/drawing/2014/main" id="{C64D041D-E5C4-43C4-98CD-A1CD1611C31C}"/>
              </a:ext>
            </a:extLst>
          </p:cNvPr>
          <p:cNvGrpSpPr/>
          <p:nvPr/>
        </p:nvGrpSpPr>
        <p:grpSpPr>
          <a:xfrm>
            <a:off x="2189023" y="3675322"/>
            <a:ext cx="2654709" cy="503215"/>
            <a:chOff x="9427487" y="4378577"/>
            <a:chExt cx="2654709" cy="503215"/>
          </a:xfrm>
        </p:grpSpPr>
        <p:sp>
          <p:nvSpPr>
            <p:cNvPr id="84" name="TextBox 83">
              <a:extLst>
                <a:ext uri="{FF2B5EF4-FFF2-40B4-BE49-F238E27FC236}">
                  <a16:creationId xmlns:a16="http://schemas.microsoft.com/office/drawing/2014/main" id="{FF8E0CA0-10D5-4657-8246-862EFC9ACDEB}"/>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5. Mexico – 46%</a:t>
              </a:r>
            </a:p>
          </p:txBody>
        </p:sp>
        <p:grpSp>
          <p:nvGrpSpPr>
            <p:cNvPr id="85" name="Group 84">
              <a:extLst>
                <a:ext uri="{FF2B5EF4-FFF2-40B4-BE49-F238E27FC236}">
                  <a16:creationId xmlns:a16="http://schemas.microsoft.com/office/drawing/2014/main" id="{8365478F-96A2-4492-97A3-F3CE12541589}"/>
                </a:ext>
              </a:extLst>
            </p:cNvPr>
            <p:cNvGrpSpPr/>
            <p:nvPr/>
          </p:nvGrpSpPr>
          <p:grpSpPr>
            <a:xfrm>
              <a:off x="9427487" y="4463949"/>
              <a:ext cx="296082" cy="296082"/>
              <a:chOff x="1521430" y="3233225"/>
              <a:chExt cx="296082" cy="296082"/>
            </a:xfrm>
          </p:grpSpPr>
          <p:sp>
            <p:nvSpPr>
              <p:cNvPr id="86" name="Teardrop 85">
                <a:extLst>
                  <a:ext uri="{FF2B5EF4-FFF2-40B4-BE49-F238E27FC236}">
                    <a16:creationId xmlns:a16="http://schemas.microsoft.com/office/drawing/2014/main" id="{33C79FD1-EBF4-431D-8FDD-55BCA3E4A3A4}"/>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7" name="Oval 86">
                <a:extLst>
                  <a:ext uri="{FF2B5EF4-FFF2-40B4-BE49-F238E27FC236}">
                    <a16:creationId xmlns:a16="http://schemas.microsoft.com/office/drawing/2014/main" id="{7002A887-4988-4349-8025-3FBB3350B5DD}"/>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93" name="Group 92">
            <a:extLst>
              <a:ext uri="{FF2B5EF4-FFF2-40B4-BE49-F238E27FC236}">
                <a16:creationId xmlns:a16="http://schemas.microsoft.com/office/drawing/2014/main" id="{FCDB69ED-860B-4EC3-ACF1-1DC0386AE423}"/>
              </a:ext>
            </a:extLst>
          </p:cNvPr>
          <p:cNvGrpSpPr/>
          <p:nvPr/>
        </p:nvGrpSpPr>
        <p:grpSpPr>
          <a:xfrm>
            <a:off x="9404128" y="4580764"/>
            <a:ext cx="2654709" cy="503215"/>
            <a:chOff x="9427487" y="4378577"/>
            <a:chExt cx="2654709" cy="503215"/>
          </a:xfrm>
        </p:grpSpPr>
        <p:sp>
          <p:nvSpPr>
            <p:cNvPr id="94" name="TextBox 93">
              <a:extLst>
                <a:ext uri="{FF2B5EF4-FFF2-40B4-BE49-F238E27FC236}">
                  <a16:creationId xmlns:a16="http://schemas.microsoft.com/office/drawing/2014/main" id="{2E9043AD-C1AD-4121-89B7-2D4D7C22AED7}"/>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8. Indonesia – 42%</a:t>
              </a:r>
            </a:p>
          </p:txBody>
        </p:sp>
        <p:grpSp>
          <p:nvGrpSpPr>
            <p:cNvPr id="95" name="Group 94">
              <a:extLst>
                <a:ext uri="{FF2B5EF4-FFF2-40B4-BE49-F238E27FC236}">
                  <a16:creationId xmlns:a16="http://schemas.microsoft.com/office/drawing/2014/main" id="{C34B61A3-4421-418E-B259-04D703583CC5}"/>
                </a:ext>
              </a:extLst>
            </p:cNvPr>
            <p:cNvGrpSpPr/>
            <p:nvPr/>
          </p:nvGrpSpPr>
          <p:grpSpPr>
            <a:xfrm>
              <a:off x="9427487" y="4463949"/>
              <a:ext cx="296082" cy="296082"/>
              <a:chOff x="1521430" y="3233225"/>
              <a:chExt cx="296082" cy="296082"/>
            </a:xfrm>
          </p:grpSpPr>
          <p:sp>
            <p:nvSpPr>
              <p:cNvPr id="96" name="Teardrop 95">
                <a:extLst>
                  <a:ext uri="{FF2B5EF4-FFF2-40B4-BE49-F238E27FC236}">
                    <a16:creationId xmlns:a16="http://schemas.microsoft.com/office/drawing/2014/main" id="{A83D478A-3D44-42F4-BFE9-BF99F06EBB15}"/>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4DB9BCCF-4138-43AE-8B29-20D18DCBC81E}"/>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98" name="Group 97">
            <a:extLst>
              <a:ext uri="{FF2B5EF4-FFF2-40B4-BE49-F238E27FC236}">
                <a16:creationId xmlns:a16="http://schemas.microsoft.com/office/drawing/2014/main" id="{8286A0B0-F9BB-4E0E-972F-FE41122F1224}"/>
              </a:ext>
            </a:extLst>
          </p:cNvPr>
          <p:cNvGrpSpPr/>
          <p:nvPr/>
        </p:nvGrpSpPr>
        <p:grpSpPr>
          <a:xfrm>
            <a:off x="3836426" y="4710601"/>
            <a:ext cx="2654709" cy="503215"/>
            <a:chOff x="9427487" y="4378577"/>
            <a:chExt cx="2654709" cy="503215"/>
          </a:xfrm>
        </p:grpSpPr>
        <p:sp>
          <p:nvSpPr>
            <p:cNvPr id="99" name="TextBox 98">
              <a:extLst>
                <a:ext uri="{FF2B5EF4-FFF2-40B4-BE49-F238E27FC236}">
                  <a16:creationId xmlns:a16="http://schemas.microsoft.com/office/drawing/2014/main" id="{62BE81E1-57F8-4445-B30A-6407EBE4A45B}"/>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9. Brazil – 41%</a:t>
              </a:r>
            </a:p>
          </p:txBody>
        </p:sp>
        <p:grpSp>
          <p:nvGrpSpPr>
            <p:cNvPr id="100" name="Group 99">
              <a:extLst>
                <a:ext uri="{FF2B5EF4-FFF2-40B4-BE49-F238E27FC236}">
                  <a16:creationId xmlns:a16="http://schemas.microsoft.com/office/drawing/2014/main" id="{CEF30D2C-25BB-47D4-A8B2-27B28DED7173}"/>
                </a:ext>
              </a:extLst>
            </p:cNvPr>
            <p:cNvGrpSpPr/>
            <p:nvPr/>
          </p:nvGrpSpPr>
          <p:grpSpPr>
            <a:xfrm>
              <a:off x="9427487" y="4463949"/>
              <a:ext cx="296082" cy="296082"/>
              <a:chOff x="1521430" y="3233225"/>
              <a:chExt cx="296082" cy="296082"/>
            </a:xfrm>
          </p:grpSpPr>
          <p:sp>
            <p:nvSpPr>
              <p:cNvPr id="101" name="Teardrop 100">
                <a:extLst>
                  <a:ext uri="{FF2B5EF4-FFF2-40B4-BE49-F238E27FC236}">
                    <a16:creationId xmlns:a16="http://schemas.microsoft.com/office/drawing/2014/main" id="{E942C22E-95E7-48CE-A277-B4B33CE7FF48}"/>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102" name="Oval 101">
                <a:extLst>
                  <a:ext uri="{FF2B5EF4-FFF2-40B4-BE49-F238E27FC236}">
                    <a16:creationId xmlns:a16="http://schemas.microsoft.com/office/drawing/2014/main" id="{5D2C94CE-0712-44FE-9330-1BD902D2624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7010307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7F0CB92E-090F-4193-8458-2C8CA6472370}"/>
              </a:ext>
            </a:extLst>
          </p:cNvPr>
          <p:cNvSpPr>
            <a:spLocks noGrp="1"/>
          </p:cNvSpPr>
          <p:nvPr>
            <p:ph type="body" sz="quarter" idx="10"/>
          </p:nvPr>
        </p:nvSpPr>
        <p:spPr/>
        <p:txBody>
          <a:bodyPr/>
          <a:lstStyle/>
          <a:p>
            <a:pPr algn="l"/>
            <a:r>
              <a:rPr lang="en-US" dirty="0">
                <a:solidFill>
                  <a:schemeClr val="tx1"/>
                </a:solidFill>
              </a:rPr>
              <a:t>Key Research Questions</a:t>
            </a:r>
          </a:p>
        </p:txBody>
      </p:sp>
      <p:sp>
        <p:nvSpPr>
          <p:cNvPr id="3" name="Rectangle 2">
            <a:extLst>
              <a:ext uri="{FF2B5EF4-FFF2-40B4-BE49-F238E27FC236}">
                <a16:creationId xmlns:a16="http://schemas.microsoft.com/office/drawing/2014/main" id="{E96C0B40-C6B1-4980-8297-4C474DBD5109}"/>
              </a:ext>
            </a:extLst>
          </p:cNvPr>
          <p:cNvSpPr/>
          <p:nvPr/>
        </p:nvSpPr>
        <p:spPr>
          <a:xfrm>
            <a:off x="0" y="-2911"/>
            <a:ext cx="12192000" cy="914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4" name="Rectangle 3">
            <a:extLst>
              <a:ext uri="{FF2B5EF4-FFF2-40B4-BE49-F238E27FC236}">
                <a16:creationId xmlns:a16="http://schemas.microsoft.com/office/drawing/2014/main" id="{640C1EB2-1F5A-4DFB-B8BA-244F735BF287}"/>
              </a:ext>
            </a:extLst>
          </p:cNvPr>
          <p:cNvSpPr/>
          <p:nvPr/>
        </p:nvSpPr>
        <p:spPr>
          <a:xfrm>
            <a:off x="4796" y="6788502"/>
            <a:ext cx="12192000" cy="653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cs typeface="+mn-cs"/>
            </a:endParaRPr>
          </a:p>
        </p:txBody>
      </p:sp>
      <p:sp>
        <p:nvSpPr>
          <p:cNvPr id="39" name="Slide Number Placeholder 38">
            <a:extLst>
              <a:ext uri="{FF2B5EF4-FFF2-40B4-BE49-F238E27FC236}">
                <a16:creationId xmlns:a16="http://schemas.microsoft.com/office/drawing/2014/main" id="{497B7504-3890-49E7-B904-114702CA3B17}"/>
              </a:ext>
            </a:extLst>
          </p:cNvPr>
          <p:cNvSpPr>
            <a:spLocks noGrp="1"/>
          </p:cNvSpPr>
          <p:nvPr>
            <p:ph type="sldNum" sz="quarter" idx="4"/>
          </p:nvPr>
        </p:nvSpPr>
        <p:spPr>
          <a:xfrm>
            <a:off x="9280508" y="6520009"/>
            <a:ext cx="2901950" cy="371475"/>
          </a:xfrm>
          <a:prstGeom prst="rect">
            <a:avLst/>
          </a:prstGeom>
        </p:spPr>
        <p:txBody>
          <a:bodyPr/>
          <a:lstStyle>
            <a:defPPr>
              <a:defRPr lang="en-US"/>
            </a:defPPr>
            <a:lvl1pPr marL="0" algn="r" defTabSz="914286" rtl="0" eaLnBrk="1" latinLnBrk="0" hangingPunct="1">
              <a:defRPr sz="1200" kern="1200">
                <a:solidFill>
                  <a:schemeClr val="tx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grpSp>
        <p:nvGrpSpPr>
          <p:cNvPr id="50" name="Group 49">
            <a:extLst>
              <a:ext uri="{FF2B5EF4-FFF2-40B4-BE49-F238E27FC236}">
                <a16:creationId xmlns:a16="http://schemas.microsoft.com/office/drawing/2014/main" id="{3097A9D0-8310-4C08-88F5-429C60BEE751}"/>
              </a:ext>
            </a:extLst>
          </p:cNvPr>
          <p:cNvGrpSpPr/>
          <p:nvPr/>
        </p:nvGrpSpPr>
        <p:grpSpPr>
          <a:xfrm>
            <a:off x="1359558" y="1951928"/>
            <a:ext cx="4477439" cy="3968357"/>
            <a:chOff x="2057649" y="1951928"/>
            <a:chExt cx="4477439" cy="3968357"/>
          </a:xfrm>
        </p:grpSpPr>
        <p:sp>
          <p:nvSpPr>
            <p:cNvPr id="6" name="Oval 5">
              <a:extLst>
                <a:ext uri="{FF2B5EF4-FFF2-40B4-BE49-F238E27FC236}">
                  <a16:creationId xmlns:a16="http://schemas.microsoft.com/office/drawing/2014/main" id="{D39CD409-8A7E-41F6-886E-FCCA0522E3E0}"/>
                </a:ext>
              </a:extLst>
            </p:cNvPr>
            <p:cNvSpPr>
              <a:spLocks/>
            </p:cNvSpPr>
            <p:nvPr/>
          </p:nvSpPr>
          <p:spPr>
            <a:xfrm>
              <a:off x="2057649" y="1951928"/>
              <a:ext cx="3941064" cy="3941064"/>
            </a:xfrm>
            <a:prstGeom prst="ellipse">
              <a:avLst/>
            </a:prstGeom>
            <a:solidFill>
              <a:schemeClr val="accent1"/>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7" name="Oval 6">
              <a:extLst>
                <a:ext uri="{FF2B5EF4-FFF2-40B4-BE49-F238E27FC236}">
                  <a16:creationId xmlns:a16="http://schemas.microsoft.com/office/drawing/2014/main" id="{1F4F9F51-9312-4502-916C-98043C87DA09}"/>
                </a:ext>
              </a:extLst>
            </p:cNvPr>
            <p:cNvSpPr>
              <a:spLocks noChangeAspect="1"/>
            </p:cNvSpPr>
            <p:nvPr/>
          </p:nvSpPr>
          <p:spPr>
            <a:xfrm>
              <a:off x="2601068" y="1988365"/>
              <a:ext cx="3934020" cy="3931920"/>
            </a:xfrm>
            <a:prstGeom prst="ellipse">
              <a:avLst/>
            </a:prstGeom>
            <a:gradFill flip="none" rotWithShape="1">
              <a:gsLst>
                <a:gs pos="0">
                  <a:schemeClr val="bg1">
                    <a:lumMod val="87000"/>
                  </a:schemeClr>
                </a:gs>
                <a:gs pos="100000">
                  <a:schemeClr val="bg1"/>
                </a:gs>
              </a:gsLst>
              <a:lin ang="810000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800" b="0" i="0" u="none" strike="noStrike" kern="1200" cap="none" spc="0" normalizeH="0" baseline="0" noProof="0" dirty="0">
                <a:ln>
                  <a:noFill/>
                </a:ln>
                <a:solidFill>
                  <a:prstClr val="black">
                    <a:lumMod val="65000"/>
                    <a:lumOff val="35000"/>
                  </a:prstClr>
                </a:solidFill>
                <a:effectLst/>
                <a:uLnTx/>
                <a:uFillTx/>
                <a:latin typeface="Arial"/>
                <a:cs typeface="+mn-cs"/>
              </a:endParaRPr>
            </a:p>
          </p:txBody>
        </p:sp>
        <p:sp>
          <p:nvSpPr>
            <p:cNvPr id="9" name="TextBox 8">
              <a:extLst>
                <a:ext uri="{FF2B5EF4-FFF2-40B4-BE49-F238E27FC236}">
                  <a16:creationId xmlns:a16="http://schemas.microsoft.com/office/drawing/2014/main" id="{6F43A867-4B28-4092-B6AC-597D789633CE}"/>
                </a:ext>
              </a:extLst>
            </p:cNvPr>
            <p:cNvSpPr txBox="1"/>
            <p:nvPr/>
          </p:nvSpPr>
          <p:spPr>
            <a:xfrm>
              <a:off x="3171767" y="3659072"/>
              <a:ext cx="2792621" cy="507831"/>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Core Trends</a:t>
              </a:r>
              <a:endParaRPr kumimoji="0" lang="ko-KR" altLang="en-US" sz="2700" b="1"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p:txBody>
        </p:sp>
        <p:sp>
          <p:nvSpPr>
            <p:cNvPr id="14" name="TextBox 13">
              <a:extLst>
                <a:ext uri="{FF2B5EF4-FFF2-40B4-BE49-F238E27FC236}">
                  <a16:creationId xmlns:a16="http://schemas.microsoft.com/office/drawing/2014/main" id="{B94EAE74-355E-44D9-99F1-FED1313CCEBD}"/>
                </a:ext>
              </a:extLst>
            </p:cNvPr>
            <p:cNvSpPr txBox="1"/>
            <p:nvPr/>
          </p:nvSpPr>
          <p:spPr>
            <a:xfrm>
              <a:off x="3245302" y="4185122"/>
              <a:ext cx="2792621" cy="116955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Digital Civility Index</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Sources of online risk</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Pain caused by online risks</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Consequences &amp; Actions taken</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Know where to find help</a:t>
              </a:r>
            </a:p>
          </p:txBody>
        </p:sp>
      </p:grpSp>
      <p:grpSp>
        <p:nvGrpSpPr>
          <p:cNvPr id="51" name="Group 50">
            <a:extLst>
              <a:ext uri="{FF2B5EF4-FFF2-40B4-BE49-F238E27FC236}">
                <a16:creationId xmlns:a16="http://schemas.microsoft.com/office/drawing/2014/main" id="{AA2831EF-FD3D-4156-A195-72ED1BBF24D4}"/>
              </a:ext>
            </a:extLst>
          </p:cNvPr>
          <p:cNvGrpSpPr/>
          <p:nvPr/>
        </p:nvGrpSpPr>
        <p:grpSpPr>
          <a:xfrm>
            <a:off x="6569412" y="1951928"/>
            <a:ext cx="4673479" cy="3968357"/>
            <a:chOff x="6569412" y="1720611"/>
            <a:chExt cx="4673479" cy="3968357"/>
          </a:xfrm>
        </p:grpSpPr>
        <p:grpSp>
          <p:nvGrpSpPr>
            <p:cNvPr id="49" name="Group 48">
              <a:extLst>
                <a:ext uri="{FF2B5EF4-FFF2-40B4-BE49-F238E27FC236}">
                  <a16:creationId xmlns:a16="http://schemas.microsoft.com/office/drawing/2014/main" id="{F5674CF1-35CD-46A4-95B0-461B9BBEB2A1}"/>
                </a:ext>
              </a:extLst>
            </p:cNvPr>
            <p:cNvGrpSpPr/>
            <p:nvPr/>
          </p:nvGrpSpPr>
          <p:grpSpPr>
            <a:xfrm>
              <a:off x="6569412" y="1720611"/>
              <a:ext cx="4477439" cy="3968357"/>
              <a:chOff x="6569412" y="1720611"/>
              <a:chExt cx="4477439" cy="3968357"/>
            </a:xfrm>
          </p:grpSpPr>
          <p:sp>
            <p:nvSpPr>
              <p:cNvPr id="47" name="Oval 46">
                <a:extLst>
                  <a:ext uri="{FF2B5EF4-FFF2-40B4-BE49-F238E27FC236}">
                    <a16:creationId xmlns:a16="http://schemas.microsoft.com/office/drawing/2014/main" id="{C2C073CB-6FD2-4336-98AB-9695B0B4C2AB}"/>
                  </a:ext>
                </a:extLst>
              </p:cNvPr>
              <p:cNvSpPr>
                <a:spLocks/>
              </p:cNvSpPr>
              <p:nvPr/>
            </p:nvSpPr>
            <p:spPr>
              <a:xfrm>
                <a:off x="6569412" y="1720611"/>
                <a:ext cx="3941064" cy="3941064"/>
              </a:xfrm>
              <a:prstGeom prst="ellipse">
                <a:avLst/>
              </a:prstGeom>
              <a:solidFill>
                <a:srgbClr val="3282BE"/>
              </a:solidFill>
              <a:ln w="31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48" name="Oval 47">
                <a:extLst>
                  <a:ext uri="{FF2B5EF4-FFF2-40B4-BE49-F238E27FC236}">
                    <a16:creationId xmlns:a16="http://schemas.microsoft.com/office/drawing/2014/main" id="{6D9DBA60-0628-4985-B609-03FFE92D3EE3}"/>
                  </a:ext>
                </a:extLst>
              </p:cNvPr>
              <p:cNvSpPr>
                <a:spLocks noChangeAspect="1"/>
              </p:cNvSpPr>
              <p:nvPr/>
            </p:nvSpPr>
            <p:spPr>
              <a:xfrm>
                <a:off x="7112831" y="1757048"/>
                <a:ext cx="3934020" cy="3931920"/>
              </a:xfrm>
              <a:prstGeom prst="ellipse">
                <a:avLst/>
              </a:prstGeom>
              <a:gradFill flip="none" rotWithShape="1">
                <a:gsLst>
                  <a:gs pos="0">
                    <a:schemeClr val="bg1">
                      <a:lumMod val="87000"/>
                    </a:schemeClr>
                  </a:gs>
                  <a:gs pos="100000">
                    <a:schemeClr val="bg1"/>
                  </a:gs>
                </a:gsLst>
                <a:lin ang="8100000" scaled="1"/>
                <a:tileRect/>
              </a:grad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800" b="0" i="0" u="none" strike="noStrike" kern="1200" cap="none" spc="0" normalizeH="0" baseline="0" noProof="0" dirty="0">
                  <a:ln>
                    <a:noFill/>
                  </a:ln>
                  <a:solidFill>
                    <a:prstClr val="black">
                      <a:lumMod val="65000"/>
                      <a:lumOff val="35000"/>
                    </a:prstClr>
                  </a:solidFill>
                  <a:effectLst/>
                  <a:uLnTx/>
                  <a:uFillTx/>
                  <a:latin typeface="Arial"/>
                  <a:cs typeface="+mn-cs"/>
                </a:endParaRPr>
              </a:p>
            </p:txBody>
          </p:sp>
        </p:grpSp>
        <p:sp>
          <p:nvSpPr>
            <p:cNvPr id="41" name="TextBox 40">
              <a:extLst>
                <a:ext uri="{FF2B5EF4-FFF2-40B4-BE49-F238E27FC236}">
                  <a16:creationId xmlns:a16="http://schemas.microsoft.com/office/drawing/2014/main" id="{F2FC615B-9902-491F-82F0-E0859B798DA3}"/>
                </a:ext>
              </a:extLst>
            </p:cNvPr>
            <p:cNvSpPr txBox="1"/>
            <p:nvPr/>
          </p:nvSpPr>
          <p:spPr>
            <a:xfrm>
              <a:off x="7717855" y="3457039"/>
              <a:ext cx="2792621" cy="507831"/>
            </a:xfrm>
            <a:prstGeom prst="rect">
              <a:avLst/>
            </a:prstGeom>
            <a:noFill/>
          </p:spPr>
          <p:txBody>
            <a:bodyPr wrap="square" rtlCol="0">
              <a:sp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r>
                <a:rPr kumimoji="0" lang="en-US" altLang="ko-KR" sz="2700" b="1" i="0" u="none" strike="noStrike" kern="1200" cap="none" spc="0" normalizeH="0" baseline="0" noProof="0" dirty="0">
                  <a:ln>
                    <a:noFill/>
                  </a:ln>
                  <a:solidFill>
                    <a:prstClr val="black">
                      <a:lumMod val="75000"/>
                      <a:lumOff val="25000"/>
                    </a:prstClr>
                  </a:solidFill>
                  <a:effectLst/>
                  <a:uLnTx/>
                  <a:uFillTx/>
                  <a:latin typeface="Arial"/>
                  <a:cs typeface="Arial" pitchFamily="34" charset="0"/>
                </a:rPr>
                <a:t>New questions</a:t>
              </a:r>
              <a:endParaRPr kumimoji="0" lang="ko-KR" altLang="en-US" sz="2700" b="1" i="0" u="none" strike="noStrike" kern="1200" cap="none" spc="0" normalizeH="0" baseline="0" noProof="0" dirty="0">
                <a:ln>
                  <a:noFill/>
                </a:ln>
                <a:solidFill>
                  <a:prstClr val="black">
                    <a:lumMod val="75000"/>
                    <a:lumOff val="25000"/>
                  </a:prstClr>
                </a:solidFill>
                <a:effectLst/>
                <a:uLnTx/>
                <a:uFillTx/>
                <a:latin typeface="Arial"/>
                <a:cs typeface="Arial" pitchFamily="34" charset="0"/>
              </a:endParaRPr>
            </a:p>
          </p:txBody>
        </p:sp>
        <p:sp>
          <p:nvSpPr>
            <p:cNvPr id="43" name="Rounded Rectangle 51">
              <a:extLst>
                <a:ext uri="{FF2B5EF4-FFF2-40B4-BE49-F238E27FC236}">
                  <a16:creationId xmlns:a16="http://schemas.microsoft.com/office/drawing/2014/main" id="{C63B6464-42B5-44D4-A447-48F217A802D0}"/>
                </a:ext>
              </a:extLst>
            </p:cNvPr>
            <p:cNvSpPr>
              <a:spLocks noChangeAspect="1"/>
            </p:cNvSpPr>
            <p:nvPr/>
          </p:nvSpPr>
          <p:spPr>
            <a:xfrm rot="16200000" flipH="1">
              <a:off x="8400179" y="2019070"/>
              <a:ext cx="1359325" cy="1280160"/>
            </a:xfrm>
            <a:custGeom>
              <a:avLst/>
              <a:gdLst/>
              <a:ahLst/>
              <a:cxnLst/>
              <a:rect l="l" t="t" r="r" b="b"/>
              <a:pathLst>
                <a:path w="2928608" h="2758049">
                  <a:moveTo>
                    <a:pt x="2797052" y="1199936"/>
                  </a:moveTo>
                  <a:lnTo>
                    <a:pt x="2797052" y="1541978"/>
                  </a:lnTo>
                  <a:cubicBezTo>
                    <a:pt x="2797052" y="1578306"/>
                    <a:pt x="2826502" y="1607756"/>
                    <a:pt x="2862830" y="1607756"/>
                  </a:cubicBezTo>
                  <a:lnTo>
                    <a:pt x="2862830" y="1607755"/>
                  </a:lnTo>
                  <a:cubicBezTo>
                    <a:pt x="2899158" y="1607755"/>
                    <a:pt x="2928608" y="1578305"/>
                    <a:pt x="2928608" y="1541977"/>
                  </a:cubicBezTo>
                  <a:lnTo>
                    <a:pt x="2928607" y="1199936"/>
                  </a:lnTo>
                  <a:cubicBezTo>
                    <a:pt x="2928607" y="1163608"/>
                    <a:pt x="2899158" y="1134159"/>
                    <a:pt x="2862830" y="1134158"/>
                  </a:cubicBezTo>
                  <a:cubicBezTo>
                    <a:pt x="2826502" y="1134159"/>
                    <a:pt x="2797052" y="1163608"/>
                    <a:pt x="2797052" y="1199936"/>
                  </a:cubicBezTo>
                  <a:close/>
                  <a:moveTo>
                    <a:pt x="2593193" y="1147315"/>
                  </a:moveTo>
                  <a:lnTo>
                    <a:pt x="2593193" y="1594601"/>
                  </a:lnTo>
                  <a:cubicBezTo>
                    <a:pt x="2593193" y="1630929"/>
                    <a:pt x="2622643" y="1660379"/>
                    <a:pt x="2658971" y="1660379"/>
                  </a:cubicBezTo>
                  <a:lnTo>
                    <a:pt x="2658971" y="1660378"/>
                  </a:lnTo>
                  <a:cubicBezTo>
                    <a:pt x="2695299" y="1660378"/>
                    <a:pt x="2724749" y="1630928"/>
                    <a:pt x="2724749" y="1594600"/>
                  </a:cubicBezTo>
                  <a:lnTo>
                    <a:pt x="2724748" y="1147315"/>
                  </a:lnTo>
                  <a:cubicBezTo>
                    <a:pt x="2724748" y="1110987"/>
                    <a:pt x="2695299" y="1081538"/>
                    <a:pt x="2658971" y="1081537"/>
                  </a:cubicBezTo>
                  <a:cubicBezTo>
                    <a:pt x="2622643" y="1081538"/>
                    <a:pt x="2593193" y="1110987"/>
                    <a:pt x="2593193" y="1147315"/>
                  </a:cubicBezTo>
                  <a:close/>
                  <a:moveTo>
                    <a:pt x="2389334" y="1121004"/>
                  </a:moveTo>
                  <a:lnTo>
                    <a:pt x="2389334" y="1620912"/>
                  </a:lnTo>
                  <a:cubicBezTo>
                    <a:pt x="2389334" y="1657240"/>
                    <a:pt x="2418784" y="1686690"/>
                    <a:pt x="2455112" y="1686690"/>
                  </a:cubicBezTo>
                  <a:lnTo>
                    <a:pt x="2455112" y="1686689"/>
                  </a:lnTo>
                  <a:cubicBezTo>
                    <a:pt x="2491440" y="1686689"/>
                    <a:pt x="2520890" y="1657239"/>
                    <a:pt x="2520890" y="1620911"/>
                  </a:cubicBezTo>
                  <a:lnTo>
                    <a:pt x="2520889" y="1121004"/>
                  </a:lnTo>
                  <a:cubicBezTo>
                    <a:pt x="2520889" y="1084676"/>
                    <a:pt x="2491440" y="1055227"/>
                    <a:pt x="2455112" y="1055226"/>
                  </a:cubicBezTo>
                  <a:cubicBezTo>
                    <a:pt x="2418784" y="1055227"/>
                    <a:pt x="2389334" y="1084676"/>
                    <a:pt x="2389334" y="1121004"/>
                  </a:cubicBezTo>
                  <a:close/>
                  <a:moveTo>
                    <a:pt x="1314382" y="1247024"/>
                  </a:moveTo>
                  <a:cubicBezTo>
                    <a:pt x="1314381" y="1225915"/>
                    <a:pt x="1331494" y="1208803"/>
                    <a:pt x="1352603" y="1208803"/>
                  </a:cubicBezTo>
                  <a:lnTo>
                    <a:pt x="1410313" y="1208803"/>
                  </a:lnTo>
                  <a:lnTo>
                    <a:pt x="1410313" y="1146778"/>
                  </a:lnTo>
                  <a:cubicBezTo>
                    <a:pt x="1410313" y="1145599"/>
                    <a:pt x="1410393" y="1144438"/>
                    <a:pt x="1411688" y="1143457"/>
                  </a:cubicBezTo>
                  <a:lnTo>
                    <a:pt x="1408531" y="1133444"/>
                  </a:lnTo>
                  <a:cubicBezTo>
                    <a:pt x="1410371" y="1112415"/>
                    <a:pt x="1428909" y="1096860"/>
                    <a:pt x="1449938" y="1098699"/>
                  </a:cubicBezTo>
                  <a:lnTo>
                    <a:pt x="2236821" y="1167543"/>
                  </a:lnTo>
                  <a:cubicBezTo>
                    <a:pt x="2257849" y="1169383"/>
                    <a:pt x="2273405" y="1187920"/>
                    <a:pt x="2271565" y="1208950"/>
                  </a:cubicBezTo>
                  <a:cubicBezTo>
                    <a:pt x="2269725" y="1229978"/>
                    <a:pt x="2251187" y="1245533"/>
                    <a:pt x="2230159" y="1243693"/>
                  </a:cubicBezTo>
                  <a:cubicBezTo>
                    <a:pt x="1973864" y="1221271"/>
                    <a:pt x="1717570" y="1198849"/>
                    <a:pt x="1461275" y="1176426"/>
                  </a:cubicBezTo>
                  <a:lnTo>
                    <a:pt x="1461274" y="1208803"/>
                  </a:lnTo>
                  <a:lnTo>
                    <a:pt x="1518985" y="1208803"/>
                  </a:lnTo>
                  <a:cubicBezTo>
                    <a:pt x="1540095" y="1208802"/>
                    <a:pt x="1557205" y="1225915"/>
                    <a:pt x="1557206" y="1247025"/>
                  </a:cubicBezTo>
                  <a:lnTo>
                    <a:pt x="1557207" y="1247023"/>
                  </a:lnTo>
                  <a:cubicBezTo>
                    <a:pt x="1557207" y="1268132"/>
                    <a:pt x="1540095" y="1285244"/>
                    <a:pt x="1518986" y="1285244"/>
                  </a:cubicBezTo>
                  <a:cubicBezTo>
                    <a:pt x="1499749" y="1285244"/>
                    <a:pt x="1480511" y="1285243"/>
                    <a:pt x="1461275" y="1285244"/>
                  </a:cubicBezTo>
                  <a:lnTo>
                    <a:pt x="1461275" y="1337600"/>
                  </a:lnTo>
                  <a:lnTo>
                    <a:pt x="1518985" y="1337600"/>
                  </a:lnTo>
                  <a:cubicBezTo>
                    <a:pt x="1540095" y="1337600"/>
                    <a:pt x="1557206" y="1354713"/>
                    <a:pt x="1557206" y="1375821"/>
                  </a:cubicBezTo>
                  <a:lnTo>
                    <a:pt x="1557207" y="1375820"/>
                  </a:lnTo>
                  <a:cubicBezTo>
                    <a:pt x="1557206" y="1396928"/>
                    <a:pt x="1540095" y="1414041"/>
                    <a:pt x="1518986" y="1414041"/>
                  </a:cubicBezTo>
                  <a:cubicBezTo>
                    <a:pt x="1499750" y="1414041"/>
                    <a:pt x="1480511" y="1414041"/>
                    <a:pt x="1461275" y="1414042"/>
                  </a:cubicBezTo>
                  <a:lnTo>
                    <a:pt x="1461275" y="1466398"/>
                  </a:lnTo>
                  <a:lnTo>
                    <a:pt x="1518985" y="1466398"/>
                  </a:lnTo>
                  <a:cubicBezTo>
                    <a:pt x="1540095" y="1466398"/>
                    <a:pt x="1557206" y="1483509"/>
                    <a:pt x="1557206" y="1504618"/>
                  </a:cubicBezTo>
                  <a:lnTo>
                    <a:pt x="1557207" y="1504619"/>
                  </a:lnTo>
                  <a:cubicBezTo>
                    <a:pt x="1557207" y="1525727"/>
                    <a:pt x="1540094" y="1542838"/>
                    <a:pt x="1518986" y="1542839"/>
                  </a:cubicBezTo>
                  <a:cubicBezTo>
                    <a:pt x="1499749" y="1542839"/>
                    <a:pt x="1480511" y="1542838"/>
                    <a:pt x="1461275" y="1542839"/>
                  </a:cubicBezTo>
                  <a:lnTo>
                    <a:pt x="1461274" y="1575412"/>
                  </a:lnTo>
                  <a:lnTo>
                    <a:pt x="2226550" y="1494978"/>
                  </a:lnTo>
                  <a:cubicBezTo>
                    <a:pt x="2247542" y="1492772"/>
                    <a:pt x="2266350" y="1508001"/>
                    <a:pt x="2268556" y="1528995"/>
                  </a:cubicBezTo>
                  <a:cubicBezTo>
                    <a:pt x="2270763" y="1549988"/>
                    <a:pt x="2255534" y="1568794"/>
                    <a:pt x="2234542" y="1571000"/>
                  </a:cubicBezTo>
                  <a:cubicBezTo>
                    <a:pt x="1972686" y="1598522"/>
                    <a:pt x="1710833" y="1626046"/>
                    <a:pt x="1448978" y="1653567"/>
                  </a:cubicBezTo>
                  <a:cubicBezTo>
                    <a:pt x="1427984" y="1655774"/>
                    <a:pt x="1409178" y="1640544"/>
                    <a:pt x="1406971" y="1619551"/>
                  </a:cubicBezTo>
                  <a:cubicBezTo>
                    <a:pt x="1406474" y="1614827"/>
                    <a:pt x="1406862" y="1610214"/>
                    <a:pt x="1410805" y="1606610"/>
                  </a:cubicBezTo>
                  <a:lnTo>
                    <a:pt x="1410312" y="1605422"/>
                  </a:lnTo>
                  <a:lnTo>
                    <a:pt x="1410312" y="1542839"/>
                  </a:lnTo>
                  <a:lnTo>
                    <a:pt x="1352603" y="1542841"/>
                  </a:lnTo>
                  <a:cubicBezTo>
                    <a:pt x="1331494" y="1542841"/>
                    <a:pt x="1314382" y="1525729"/>
                    <a:pt x="1314382" y="1504619"/>
                  </a:cubicBezTo>
                  <a:cubicBezTo>
                    <a:pt x="1314382" y="1483510"/>
                    <a:pt x="1331493" y="1466397"/>
                    <a:pt x="1352603" y="1466398"/>
                  </a:cubicBezTo>
                  <a:lnTo>
                    <a:pt x="1410312" y="1466398"/>
                  </a:lnTo>
                  <a:lnTo>
                    <a:pt x="1410313" y="1414042"/>
                  </a:lnTo>
                  <a:lnTo>
                    <a:pt x="1352603" y="1414042"/>
                  </a:lnTo>
                  <a:cubicBezTo>
                    <a:pt x="1331494" y="1414041"/>
                    <a:pt x="1314383" y="1396930"/>
                    <a:pt x="1314382" y="1375820"/>
                  </a:cubicBezTo>
                  <a:cubicBezTo>
                    <a:pt x="1314383" y="1354713"/>
                    <a:pt x="1331494" y="1337600"/>
                    <a:pt x="1352603" y="1337601"/>
                  </a:cubicBezTo>
                  <a:lnTo>
                    <a:pt x="1410312" y="1337600"/>
                  </a:lnTo>
                  <a:lnTo>
                    <a:pt x="1410312" y="1285244"/>
                  </a:lnTo>
                  <a:lnTo>
                    <a:pt x="1352603" y="1285244"/>
                  </a:lnTo>
                  <a:cubicBezTo>
                    <a:pt x="1331494" y="1285244"/>
                    <a:pt x="1314381" y="1268133"/>
                    <a:pt x="1314382" y="1247024"/>
                  </a:cubicBezTo>
                  <a:close/>
                  <a:moveTo>
                    <a:pt x="1171967" y="72000"/>
                  </a:moveTo>
                  <a:lnTo>
                    <a:pt x="1171967" y="288000"/>
                  </a:lnTo>
                  <a:cubicBezTo>
                    <a:pt x="1171967" y="327765"/>
                    <a:pt x="1204202" y="360000"/>
                    <a:pt x="1243967" y="360000"/>
                  </a:cubicBezTo>
                  <a:cubicBezTo>
                    <a:pt x="1283732" y="360000"/>
                    <a:pt x="1315967" y="327765"/>
                    <a:pt x="1315967" y="288000"/>
                  </a:cubicBezTo>
                  <a:lnTo>
                    <a:pt x="1315967" y="72000"/>
                  </a:lnTo>
                  <a:cubicBezTo>
                    <a:pt x="1315967" y="32235"/>
                    <a:pt x="1283732" y="0"/>
                    <a:pt x="1243967" y="0"/>
                  </a:cubicBezTo>
                  <a:cubicBezTo>
                    <a:pt x="1204202" y="0"/>
                    <a:pt x="1171967" y="32235"/>
                    <a:pt x="1171967" y="72000"/>
                  </a:cubicBezTo>
                  <a:close/>
                  <a:moveTo>
                    <a:pt x="1171966" y="2470049"/>
                  </a:moveTo>
                  <a:lnTo>
                    <a:pt x="1171966" y="2686049"/>
                  </a:lnTo>
                  <a:cubicBezTo>
                    <a:pt x="1171966" y="2725814"/>
                    <a:pt x="1204201" y="2758049"/>
                    <a:pt x="1243966" y="2758049"/>
                  </a:cubicBezTo>
                  <a:cubicBezTo>
                    <a:pt x="1283731" y="2758049"/>
                    <a:pt x="1315966" y="2725814"/>
                    <a:pt x="1315966" y="2686049"/>
                  </a:cubicBezTo>
                  <a:lnTo>
                    <a:pt x="1315966" y="2470049"/>
                  </a:lnTo>
                  <a:cubicBezTo>
                    <a:pt x="1315966" y="2430284"/>
                    <a:pt x="1283731" y="2398049"/>
                    <a:pt x="1243966" y="2398049"/>
                  </a:cubicBezTo>
                  <a:cubicBezTo>
                    <a:pt x="1204201" y="2398049"/>
                    <a:pt x="1171966" y="2430284"/>
                    <a:pt x="1171966" y="2470049"/>
                  </a:cubicBezTo>
                  <a:close/>
                  <a:moveTo>
                    <a:pt x="515345" y="1370958"/>
                  </a:moveTo>
                  <a:cubicBezTo>
                    <a:pt x="515344" y="1558300"/>
                    <a:pt x="586814" y="1745642"/>
                    <a:pt x="729750" y="1888579"/>
                  </a:cubicBezTo>
                  <a:cubicBezTo>
                    <a:pt x="1015625" y="2174454"/>
                    <a:pt x="1479119" y="2174454"/>
                    <a:pt x="1764994" y="1888580"/>
                  </a:cubicBezTo>
                  <a:lnTo>
                    <a:pt x="1940572" y="1713001"/>
                  </a:lnTo>
                  <a:lnTo>
                    <a:pt x="2136413" y="1713002"/>
                  </a:lnTo>
                  <a:cubicBezTo>
                    <a:pt x="2215124" y="1713001"/>
                    <a:pt x="2278929" y="1649195"/>
                    <a:pt x="2278929" y="1570486"/>
                  </a:cubicBezTo>
                  <a:lnTo>
                    <a:pt x="2278929" y="1374645"/>
                  </a:lnTo>
                  <a:lnTo>
                    <a:pt x="2282614" y="1370959"/>
                  </a:lnTo>
                  <a:lnTo>
                    <a:pt x="2278929" y="1367272"/>
                  </a:lnTo>
                  <a:lnTo>
                    <a:pt x="2278929" y="1171432"/>
                  </a:lnTo>
                  <a:cubicBezTo>
                    <a:pt x="2278929" y="1092722"/>
                    <a:pt x="2215123" y="1028916"/>
                    <a:pt x="2136413" y="1028916"/>
                  </a:cubicBezTo>
                  <a:lnTo>
                    <a:pt x="1940571" y="1028916"/>
                  </a:lnTo>
                  <a:cubicBezTo>
                    <a:pt x="1882045" y="970390"/>
                    <a:pt x="1823519" y="911862"/>
                    <a:pt x="1764993" y="853336"/>
                  </a:cubicBezTo>
                  <a:cubicBezTo>
                    <a:pt x="1479118" y="567461"/>
                    <a:pt x="1015625" y="567462"/>
                    <a:pt x="729750" y="853336"/>
                  </a:cubicBezTo>
                  <a:cubicBezTo>
                    <a:pt x="586813" y="996273"/>
                    <a:pt x="515344" y="1183616"/>
                    <a:pt x="515345" y="1370958"/>
                  </a:cubicBezTo>
                  <a:close/>
                  <a:moveTo>
                    <a:pt x="388776" y="2386770"/>
                  </a:moveTo>
                  <a:cubicBezTo>
                    <a:pt x="388776" y="2405196"/>
                    <a:pt x="395805" y="2423622"/>
                    <a:pt x="409865" y="2437681"/>
                  </a:cubicBezTo>
                  <a:cubicBezTo>
                    <a:pt x="437983" y="2465800"/>
                    <a:pt x="483570" y="2465800"/>
                    <a:pt x="511688" y="2437681"/>
                  </a:cubicBezTo>
                  <a:lnTo>
                    <a:pt x="664423" y="2284946"/>
                  </a:lnTo>
                  <a:cubicBezTo>
                    <a:pt x="692541" y="2256828"/>
                    <a:pt x="692541" y="2211241"/>
                    <a:pt x="664423" y="2183123"/>
                  </a:cubicBezTo>
                  <a:cubicBezTo>
                    <a:pt x="636305" y="2155005"/>
                    <a:pt x="590718" y="2155005"/>
                    <a:pt x="562599" y="2183123"/>
                  </a:cubicBezTo>
                  <a:lnTo>
                    <a:pt x="409865" y="2335858"/>
                  </a:lnTo>
                  <a:cubicBezTo>
                    <a:pt x="395805" y="2349917"/>
                    <a:pt x="388776" y="2368343"/>
                    <a:pt x="388776" y="2386770"/>
                  </a:cubicBezTo>
                  <a:close/>
                  <a:moveTo>
                    <a:pt x="388776" y="365689"/>
                  </a:moveTo>
                  <a:cubicBezTo>
                    <a:pt x="388776" y="384115"/>
                    <a:pt x="395805" y="402541"/>
                    <a:pt x="409865" y="416600"/>
                  </a:cubicBezTo>
                  <a:lnTo>
                    <a:pt x="562599" y="569335"/>
                  </a:lnTo>
                  <a:cubicBezTo>
                    <a:pt x="590718" y="597454"/>
                    <a:pt x="636305" y="597454"/>
                    <a:pt x="664423" y="569335"/>
                  </a:cubicBezTo>
                  <a:cubicBezTo>
                    <a:pt x="692541" y="541217"/>
                    <a:pt x="692541" y="495630"/>
                    <a:pt x="664423" y="467512"/>
                  </a:cubicBezTo>
                  <a:lnTo>
                    <a:pt x="511688" y="314777"/>
                  </a:lnTo>
                  <a:cubicBezTo>
                    <a:pt x="483570" y="286659"/>
                    <a:pt x="437983" y="286659"/>
                    <a:pt x="409865" y="314777"/>
                  </a:cubicBezTo>
                  <a:cubicBezTo>
                    <a:pt x="395805" y="328836"/>
                    <a:pt x="388776" y="347262"/>
                    <a:pt x="388776" y="365689"/>
                  </a:cubicBezTo>
                  <a:close/>
                  <a:moveTo>
                    <a:pt x="0" y="1379024"/>
                  </a:moveTo>
                  <a:cubicBezTo>
                    <a:pt x="0" y="1418789"/>
                    <a:pt x="32235" y="1451024"/>
                    <a:pt x="72000" y="1451024"/>
                  </a:cubicBezTo>
                  <a:lnTo>
                    <a:pt x="288000" y="1451024"/>
                  </a:lnTo>
                  <a:cubicBezTo>
                    <a:pt x="327765" y="1451024"/>
                    <a:pt x="360000" y="1418789"/>
                    <a:pt x="360000" y="1379024"/>
                  </a:cubicBezTo>
                  <a:cubicBezTo>
                    <a:pt x="360000" y="1339259"/>
                    <a:pt x="327765" y="1307024"/>
                    <a:pt x="288000" y="1307024"/>
                  </a:cubicBezTo>
                  <a:lnTo>
                    <a:pt x="72000" y="1307024"/>
                  </a:lnTo>
                  <a:cubicBezTo>
                    <a:pt x="32235" y="1307024"/>
                    <a:pt x="0" y="1339259"/>
                    <a:pt x="0" y="1379024"/>
                  </a:cubicBezTo>
                  <a:close/>
                </a:path>
              </a:pathLst>
            </a:cu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black"/>
                </a:solidFill>
                <a:effectLst/>
                <a:uLnTx/>
                <a:uFillTx/>
                <a:latin typeface="Arial"/>
                <a:cs typeface="+mn-cs"/>
              </a:endParaRPr>
            </a:p>
          </p:txBody>
        </p:sp>
        <p:sp>
          <p:nvSpPr>
            <p:cNvPr id="44" name="TextBox 43">
              <a:extLst>
                <a:ext uri="{FF2B5EF4-FFF2-40B4-BE49-F238E27FC236}">
                  <a16:creationId xmlns:a16="http://schemas.microsoft.com/office/drawing/2014/main" id="{41BA1D99-F84E-41FB-9CE0-69FE3BE06993}"/>
                </a:ext>
              </a:extLst>
            </p:cNvPr>
            <p:cNvSpPr txBox="1"/>
            <p:nvPr/>
          </p:nvSpPr>
          <p:spPr>
            <a:xfrm>
              <a:off x="7432286" y="3972093"/>
              <a:ext cx="3810605" cy="1169551"/>
            </a:xfrm>
            <a:prstGeom prst="rect">
              <a:avLst/>
            </a:prstGeom>
            <a:noFill/>
          </p:spPr>
          <p:txBody>
            <a:bodyPr wrap="square" rtlCol="0">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Current &amp; future state of digital civility</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Consumer’s aspirations for digital civility</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Topics that generate uncivil behavior</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rPr>
                <a:t>The number of times a risk has occurred</a:t>
              </a:r>
            </a:p>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en-US" altLang="ko-KR" sz="1400" b="0" i="0" u="none" strike="noStrike" kern="1200" cap="none" spc="0" normalizeH="0" baseline="0" noProof="0" dirty="0">
                <a:ln>
                  <a:noFill/>
                </a:ln>
                <a:solidFill>
                  <a:prstClr val="black">
                    <a:lumMod val="65000"/>
                    <a:lumOff val="35000"/>
                  </a:prstClr>
                </a:solidFill>
                <a:effectLst/>
                <a:uLnTx/>
                <a:uFillTx/>
                <a:latin typeface="Arial"/>
                <a:cs typeface="Arial" pitchFamily="34" charset="0"/>
              </a:endParaRPr>
            </a:p>
          </p:txBody>
        </p:sp>
      </p:grpSp>
      <p:sp>
        <p:nvSpPr>
          <p:cNvPr id="52" name="Parallelogram 30">
            <a:extLst>
              <a:ext uri="{FF2B5EF4-FFF2-40B4-BE49-F238E27FC236}">
                <a16:creationId xmlns:a16="http://schemas.microsoft.com/office/drawing/2014/main" id="{C9977842-7E1A-46DA-8D37-93E9E869A91D}"/>
              </a:ext>
            </a:extLst>
          </p:cNvPr>
          <p:cNvSpPr>
            <a:spLocks noChangeAspect="1"/>
          </p:cNvSpPr>
          <p:nvPr/>
        </p:nvSpPr>
        <p:spPr>
          <a:xfrm flipH="1">
            <a:off x="3216534" y="2328301"/>
            <a:ext cx="1276998" cy="1280160"/>
          </a:xfrm>
          <a:custGeom>
            <a:avLst/>
            <a:gdLst/>
            <a:ahLst/>
            <a:cxnLst/>
            <a:rect l="l" t="t" r="r" b="b"/>
            <a:pathLst>
              <a:path w="3240000" h="3248012">
                <a:moveTo>
                  <a:pt x="712553" y="858820"/>
                </a:moveTo>
                <a:cubicBezTo>
                  <a:pt x="727950" y="858820"/>
                  <a:pt x="743348" y="864694"/>
                  <a:pt x="755096" y="876443"/>
                </a:cubicBezTo>
                <a:lnTo>
                  <a:pt x="1193671" y="1315016"/>
                </a:lnTo>
                <a:lnTo>
                  <a:pt x="1509169" y="999517"/>
                </a:lnTo>
                <a:cubicBezTo>
                  <a:pt x="1509517" y="999169"/>
                  <a:pt x="1509868" y="998827"/>
                  <a:pt x="1510414" y="998691"/>
                </a:cubicBezTo>
                <a:lnTo>
                  <a:pt x="1518932" y="988592"/>
                </a:lnTo>
                <a:cubicBezTo>
                  <a:pt x="1531945" y="978263"/>
                  <a:pt x="1547912" y="974188"/>
                  <a:pt x="1563209" y="975946"/>
                </a:cubicBezTo>
                <a:cubicBezTo>
                  <a:pt x="1578505" y="977705"/>
                  <a:pt x="1593131" y="985299"/>
                  <a:pt x="1603459" y="998313"/>
                </a:cubicBezTo>
                <a:lnTo>
                  <a:pt x="1892346" y="1362277"/>
                </a:lnTo>
                <a:lnTo>
                  <a:pt x="2149759" y="1177067"/>
                </a:lnTo>
                <a:lnTo>
                  <a:pt x="2151621" y="1174867"/>
                </a:lnTo>
                <a:cubicBezTo>
                  <a:pt x="2159033" y="1169006"/>
                  <a:pt x="2167397" y="1165168"/>
                  <a:pt x="2176160" y="1163802"/>
                </a:cubicBezTo>
                <a:cubicBezTo>
                  <a:pt x="2177188" y="1163485"/>
                  <a:pt x="2178237" y="1163269"/>
                  <a:pt x="2179375" y="1163558"/>
                </a:cubicBezTo>
                <a:cubicBezTo>
                  <a:pt x="2184768" y="1161771"/>
                  <a:pt x="2190389" y="1161654"/>
                  <a:pt x="2195921" y="1162300"/>
                </a:cubicBezTo>
                <a:cubicBezTo>
                  <a:pt x="2196662" y="1162386"/>
                  <a:pt x="2197402" y="1162487"/>
                  <a:pt x="2198081" y="1162987"/>
                </a:cubicBezTo>
                <a:cubicBezTo>
                  <a:pt x="2202197" y="1163290"/>
                  <a:pt x="2206218" y="1164270"/>
                  <a:pt x="2209739" y="1166702"/>
                </a:cubicBezTo>
                <a:cubicBezTo>
                  <a:pt x="2213116" y="1166857"/>
                  <a:pt x="2216051" y="1168231"/>
                  <a:pt x="2218766" y="1170038"/>
                </a:cubicBezTo>
                <a:cubicBezTo>
                  <a:pt x="2225342" y="1173160"/>
                  <a:pt x="2231151" y="1177875"/>
                  <a:pt x="2235489" y="1184194"/>
                </a:cubicBezTo>
                <a:lnTo>
                  <a:pt x="2236132" y="1184737"/>
                </a:lnTo>
                <a:lnTo>
                  <a:pt x="2236287" y="1184934"/>
                </a:lnTo>
                <a:lnTo>
                  <a:pt x="2238712" y="1187183"/>
                </a:lnTo>
                <a:cubicBezTo>
                  <a:pt x="2239115" y="1187744"/>
                  <a:pt x="2239507" y="1188310"/>
                  <a:pt x="2239574" y="1189090"/>
                </a:cubicBezTo>
                <a:lnTo>
                  <a:pt x="2540580" y="1569705"/>
                </a:lnTo>
                <a:cubicBezTo>
                  <a:pt x="2561191" y="1595768"/>
                  <a:pt x="2556772" y="1633604"/>
                  <a:pt x="2530710" y="1654215"/>
                </a:cubicBezTo>
                <a:cubicBezTo>
                  <a:pt x="2504647" y="1674827"/>
                  <a:pt x="2466811" y="1670408"/>
                  <a:pt x="2446199" y="1644345"/>
                </a:cubicBezTo>
                <a:lnTo>
                  <a:pt x="2177884" y="1305067"/>
                </a:lnTo>
                <a:lnTo>
                  <a:pt x="1934804" y="1479967"/>
                </a:lnTo>
                <a:cubicBezTo>
                  <a:pt x="1927367" y="1485317"/>
                  <a:pt x="1919123" y="1488726"/>
                  <a:pt x="1910598" y="1489881"/>
                </a:cubicBezTo>
                <a:cubicBezTo>
                  <a:pt x="1885257" y="1507791"/>
                  <a:pt x="1850121" y="1502627"/>
                  <a:pt x="1830495" y="1477903"/>
                </a:cubicBezTo>
                <a:lnTo>
                  <a:pt x="1551924" y="1126933"/>
                </a:lnTo>
                <a:lnTo>
                  <a:pt x="1239041" y="1439816"/>
                </a:lnTo>
                <a:cubicBezTo>
                  <a:pt x="1226569" y="1452288"/>
                  <a:pt x="1209983" y="1458139"/>
                  <a:pt x="1193674" y="1456888"/>
                </a:cubicBezTo>
                <a:cubicBezTo>
                  <a:pt x="1177363" y="1458142"/>
                  <a:pt x="1160774" y="1452290"/>
                  <a:pt x="1148301" y="1439816"/>
                </a:cubicBezTo>
                <a:lnTo>
                  <a:pt x="670011" y="961527"/>
                </a:lnTo>
                <a:cubicBezTo>
                  <a:pt x="646515" y="938031"/>
                  <a:pt x="646515" y="899938"/>
                  <a:pt x="670011" y="876442"/>
                </a:cubicBezTo>
                <a:cubicBezTo>
                  <a:pt x="681760" y="864694"/>
                  <a:pt x="697157" y="858820"/>
                  <a:pt x="712553" y="858820"/>
                </a:cubicBezTo>
                <a:close/>
                <a:moveTo>
                  <a:pt x="2790000" y="699581"/>
                </a:moveTo>
                <a:lnTo>
                  <a:pt x="450000" y="699581"/>
                </a:lnTo>
                <a:lnTo>
                  <a:pt x="450000" y="1851581"/>
                </a:lnTo>
                <a:lnTo>
                  <a:pt x="2790000" y="1851581"/>
                </a:lnTo>
                <a:close/>
                <a:moveTo>
                  <a:pt x="2987972" y="519497"/>
                </a:moveTo>
                <a:lnTo>
                  <a:pt x="2987972" y="2031665"/>
                </a:lnTo>
                <a:lnTo>
                  <a:pt x="252028" y="2031665"/>
                </a:lnTo>
                <a:lnTo>
                  <a:pt x="252028" y="519497"/>
                </a:lnTo>
                <a:close/>
                <a:moveTo>
                  <a:pt x="1620000" y="0"/>
                </a:moveTo>
                <a:cubicBezTo>
                  <a:pt x="1540462" y="0"/>
                  <a:pt x="1475984" y="64478"/>
                  <a:pt x="1475984" y="144016"/>
                </a:cubicBezTo>
                <a:lnTo>
                  <a:pt x="1475984" y="267469"/>
                </a:lnTo>
                <a:lnTo>
                  <a:pt x="0" y="267469"/>
                </a:lnTo>
                <a:lnTo>
                  <a:pt x="0" y="2283693"/>
                </a:lnTo>
                <a:lnTo>
                  <a:pt x="852101" y="2283693"/>
                </a:lnTo>
                <a:lnTo>
                  <a:pt x="323771" y="3248012"/>
                </a:lnTo>
                <a:lnTo>
                  <a:pt x="621526" y="3248012"/>
                </a:lnTo>
                <a:lnTo>
                  <a:pt x="1149856" y="2283693"/>
                </a:lnTo>
                <a:lnTo>
                  <a:pt x="2090146" y="2283693"/>
                </a:lnTo>
                <a:lnTo>
                  <a:pt x="2618476" y="3248012"/>
                </a:lnTo>
                <a:lnTo>
                  <a:pt x="2916231" y="3248012"/>
                </a:lnTo>
                <a:lnTo>
                  <a:pt x="2387901" y="2283693"/>
                </a:lnTo>
                <a:lnTo>
                  <a:pt x="3240000" y="2283693"/>
                </a:lnTo>
                <a:lnTo>
                  <a:pt x="3240000" y="267469"/>
                </a:lnTo>
                <a:lnTo>
                  <a:pt x="1764016" y="267469"/>
                </a:lnTo>
                <a:lnTo>
                  <a:pt x="1764016" y="144016"/>
                </a:lnTo>
                <a:cubicBezTo>
                  <a:pt x="1764016" y="64478"/>
                  <a:pt x="1699538" y="0"/>
                  <a:pt x="1620000" y="0"/>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2700" b="0" i="0" u="none" strike="noStrike" kern="1200" cap="none" spc="0" normalizeH="0" baseline="0" noProof="0">
              <a:ln>
                <a:noFill/>
              </a:ln>
              <a:solidFill>
                <a:prstClr val="white"/>
              </a:solidFill>
              <a:effectLst/>
              <a:uLnTx/>
              <a:uFillTx/>
              <a:latin typeface="Arial"/>
              <a:cs typeface="+mn-cs"/>
            </a:endParaRPr>
          </a:p>
        </p:txBody>
      </p:sp>
    </p:spTree>
    <p:extLst>
      <p:ext uri="{BB962C8B-B14F-4D97-AF65-F5344CB8AC3E}">
        <p14:creationId xmlns:p14="http://schemas.microsoft.com/office/powerpoint/2010/main" val="1482457199"/>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B4F3FEB0-E808-4DDB-AEBA-9E59261507C2}"/>
              </a:ext>
            </a:extLst>
          </p:cNvPr>
          <p:cNvSpPr/>
          <p:nvPr/>
        </p:nvSpPr>
        <p:spPr>
          <a:xfrm>
            <a:off x="1216" y="1830947"/>
            <a:ext cx="12201542" cy="5018847"/>
          </a:xfrm>
          <a:prstGeom prst="rect">
            <a:avLst/>
          </a:prstGeom>
          <a:blipFill>
            <a:blip r:embed="rId2">
              <a:alphaModFix amt="20000"/>
            </a:blip>
            <a:stretch>
              <a:fillRect/>
            </a:stretch>
          </a:blip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C4451D8-7C28-4E5C-9ED2-3B19E53118AB}"/>
              </a:ext>
            </a:extLst>
          </p:cNvPr>
          <p:cNvSpPr>
            <a:spLocks noGrp="1"/>
          </p:cNvSpPr>
          <p:nvPr>
            <p:ph type="title"/>
          </p:nvPr>
        </p:nvSpPr>
        <p:spPr/>
        <p:txBody>
          <a:bodyPr/>
          <a:lstStyle/>
          <a:p>
            <a:endParaRPr lang="en-US" dirty="0"/>
          </a:p>
        </p:txBody>
      </p:sp>
      <p:sp>
        <p:nvSpPr>
          <p:cNvPr id="6" name="Rectangle 5">
            <a:extLst>
              <a:ext uri="{FF2B5EF4-FFF2-40B4-BE49-F238E27FC236}">
                <a16:creationId xmlns:a16="http://schemas.microsoft.com/office/drawing/2014/main" id="{C6EA905D-D271-4B10-93F7-4D85E7722AAF}"/>
              </a:ext>
            </a:extLst>
          </p:cNvPr>
          <p:cNvSpPr/>
          <p:nvPr/>
        </p:nvSpPr>
        <p:spPr>
          <a:xfrm>
            <a:off x="-9542"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7" name="Isosceles Triangle 6">
            <a:extLst>
              <a:ext uri="{FF2B5EF4-FFF2-40B4-BE49-F238E27FC236}">
                <a16:creationId xmlns:a16="http://schemas.microsoft.com/office/drawing/2014/main" id="{F492716B-1FED-4EFD-BAF6-32446B99F4F3}"/>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6" name="TextBox 35">
            <a:extLst>
              <a:ext uri="{FF2B5EF4-FFF2-40B4-BE49-F238E27FC236}">
                <a16:creationId xmlns:a16="http://schemas.microsoft.com/office/drawing/2014/main" id="{D78D3AB5-8E1F-4B9A-8DF8-449F52D55C96}"/>
              </a:ext>
            </a:extLst>
          </p:cNvPr>
          <p:cNvSpPr txBox="1"/>
          <p:nvPr/>
        </p:nvSpPr>
        <p:spPr>
          <a:xfrm>
            <a:off x="833434" y="311769"/>
            <a:ext cx="9967243" cy="1077218"/>
          </a:xfrm>
          <a:prstGeom prst="rect">
            <a:avLst/>
          </a:prstGeom>
          <a:noFill/>
        </p:spPr>
        <p:txBody>
          <a:bodyPr wrap="square" rtlCol="0" anchor="ctr">
            <a:spAutoFit/>
          </a:bodyPr>
          <a:lstStyle/>
          <a:p>
            <a:r>
              <a:rPr lang="en-US" altLang="ko-KR" sz="4400" dirty="0">
                <a:solidFill>
                  <a:schemeClr val="bg1"/>
                </a:solidFill>
                <a:latin typeface="+mj-lt"/>
                <a:cs typeface="Arial" pitchFamily="34" charset="0"/>
              </a:rPr>
              <a:t>Global hot spots for Reputational risks</a:t>
            </a:r>
          </a:p>
          <a:p>
            <a:r>
              <a:rPr lang="en-US" altLang="ko-KR" sz="2000" dirty="0">
                <a:solidFill>
                  <a:schemeClr val="bg1"/>
                </a:solidFill>
                <a:latin typeface="+mj-lt"/>
                <a:cs typeface="Arial" pitchFamily="34" charset="0"/>
              </a:rPr>
              <a:t>Global Reputational risk average = 21%</a:t>
            </a:r>
            <a:endParaRPr lang="ko-KR" altLang="en-US" sz="2000" dirty="0">
              <a:solidFill>
                <a:schemeClr val="bg1"/>
              </a:solidFill>
              <a:latin typeface="+mj-lt"/>
              <a:cs typeface="Arial" pitchFamily="34" charset="0"/>
            </a:endParaRPr>
          </a:p>
        </p:txBody>
      </p:sp>
      <p:sp>
        <p:nvSpPr>
          <p:cNvPr id="44" name="TextBox 43">
            <a:extLst>
              <a:ext uri="{FF2B5EF4-FFF2-40B4-BE49-F238E27FC236}">
                <a16:creationId xmlns:a16="http://schemas.microsoft.com/office/drawing/2014/main" id="{FEAF56A8-8C6D-430D-BF2A-37B3933CE066}"/>
              </a:ext>
            </a:extLst>
          </p:cNvPr>
          <p:cNvSpPr txBox="1"/>
          <p:nvPr/>
        </p:nvSpPr>
        <p:spPr>
          <a:xfrm>
            <a:off x="4967759" y="3165675"/>
            <a:ext cx="2006566" cy="503215"/>
          </a:xfrm>
          <a:prstGeom prst="rect">
            <a:avLst/>
          </a:prstGeom>
          <a:noFill/>
        </p:spPr>
        <p:txBody>
          <a:bodyPr wrap="square" lIns="182880" tIns="146304" rIns="182880" bIns="146304" rtlCol="0">
            <a:spAutoFit/>
          </a:bodyPr>
          <a:lstStyle/>
          <a:p>
            <a:pPr>
              <a:lnSpc>
                <a:spcPct val="90000"/>
              </a:lnSpc>
            </a:pPr>
            <a:r>
              <a:rPr lang="en-US" sz="1500" b="1" dirty="0"/>
              <a:t>2. Hungary – 31%</a:t>
            </a:r>
          </a:p>
        </p:txBody>
      </p:sp>
      <p:sp>
        <p:nvSpPr>
          <p:cNvPr id="35" name="Slide Number Placeholder 2">
            <a:extLst>
              <a:ext uri="{FF2B5EF4-FFF2-40B4-BE49-F238E27FC236}">
                <a16:creationId xmlns:a16="http://schemas.microsoft.com/office/drawing/2014/main" id="{FB9A635F-69FB-4DA2-8DC0-DC90A681C464}"/>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pPr/>
              <a:t>40</a:t>
            </a:fld>
            <a:endParaRPr lang="en-US" sz="1200" dirty="0"/>
          </a:p>
        </p:txBody>
      </p:sp>
      <p:grpSp>
        <p:nvGrpSpPr>
          <p:cNvPr id="9" name="Group 8">
            <a:extLst>
              <a:ext uri="{FF2B5EF4-FFF2-40B4-BE49-F238E27FC236}">
                <a16:creationId xmlns:a16="http://schemas.microsoft.com/office/drawing/2014/main" id="{E0147848-3938-4840-9E30-E410EB75E0AC}"/>
              </a:ext>
            </a:extLst>
          </p:cNvPr>
          <p:cNvGrpSpPr/>
          <p:nvPr/>
        </p:nvGrpSpPr>
        <p:grpSpPr>
          <a:xfrm>
            <a:off x="3077967" y="4794559"/>
            <a:ext cx="2211462" cy="503215"/>
            <a:chOff x="3077967" y="4794559"/>
            <a:chExt cx="2211462" cy="503215"/>
          </a:xfrm>
        </p:grpSpPr>
        <p:sp>
          <p:nvSpPr>
            <p:cNvPr id="46" name="TextBox 45">
              <a:extLst>
                <a:ext uri="{FF2B5EF4-FFF2-40B4-BE49-F238E27FC236}">
                  <a16:creationId xmlns:a16="http://schemas.microsoft.com/office/drawing/2014/main" id="{DC137D66-E23E-4570-ABA6-3F386986FFF6}"/>
                </a:ext>
              </a:extLst>
            </p:cNvPr>
            <p:cNvSpPr txBox="1"/>
            <p:nvPr/>
          </p:nvSpPr>
          <p:spPr>
            <a:xfrm>
              <a:off x="3355382" y="4794559"/>
              <a:ext cx="1934047" cy="503215"/>
            </a:xfrm>
            <a:prstGeom prst="rect">
              <a:avLst/>
            </a:prstGeom>
            <a:noFill/>
          </p:spPr>
          <p:txBody>
            <a:bodyPr wrap="square" lIns="182880" tIns="146304" rIns="182880" bIns="146304" rtlCol="0">
              <a:spAutoFit/>
            </a:bodyPr>
            <a:lstStyle/>
            <a:p>
              <a:pPr>
                <a:lnSpc>
                  <a:spcPct val="90000"/>
                </a:lnSpc>
              </a:pPr>
              <a:r>
                <a:rPr lang="en-US" sz="1500" b="1" dirty="0"/>
                <a:t>3. Peru – 29%</a:t>
              </a:r>
            </a:p>
          </p:txBody>
        </p:sp>
        <p:grpSp>
          <p:nvGrpSpPr>
            <p:cNvPr id="53" name="Group 52">
              <a:extLst>
                <a:ext uri="{FF2B5EF4-FFF2-40B4-BE49-F238E27FC236}">
                  <a16:creationId xmlns:a16="http://schemas.microsoft.com/office/drawing/2014/main" id="{E31A7082-3C1B-44E4-BD76-FED64522A85F}"/>
                </a:ext>
              </a:extLst>
            </p:cNvPr>
            <p:cNvGrpSpPr/>
            <p:nvPr/>
          </p:nvGrpSpPr>
          <p:grpSpPr>
            <a:xfrm>
              <a:off x="3077967" y="4870808"/>
              <a:ext cx="296082" cy="296082"/>
              <a:chOff x="1521430" y="3233225"/>
              <a:chExt cx="296082" cy="296082"/>
            </a:xfrm>
          </p:grpSpPr>
          <p:sp>
            <p:nvSpPr>
              <p:cNvPr id="54" name="Teardrop 53">
                <a:extLst>
                  <a:ext uri="{FF2B5EF4-FFF2-40B4-BE49-F238E27FC236}">
                    <a16:creationId xmlns:a16="http://schemas.microsoft.com/office/drawing/2014/main" id="{4D596437-8283-4780-9DE0-A6B182159E7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5" name="Oval 54">
                <a:extLst>
                  <a:ext uri="{FF2B5EF4-FFF2-40B4-BE49-F238E27FC236}">
                    <a16:creationId xmlns:a16="http://schemas.microsoft.com/office/drawing/2014/main" id="{61D510A8-BE1A-4872-B525-27B2892E6174}"/>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56" name="Group 55">
            <a:extLst>
              <a:ext uri="{FF2B5EF4-FFF2-40B4-BE49-F238E27FC236}">
                <a16:creationId xmlns:a16="http://schemas.microsoft.com/office/drawing/2014/main" id="{73DF3233-DA72-4064-9094-F442D1914F4F}"/>
              </a:ext>
            </a:extLst>
          </p:cNvPr>
          <p:cNvGrpSpPr/>
          <p:nvPr/>
        </p:nvGrpSpPr>
        <p:grpSpPr>
          <a:xfrm>
            <a:off x="6298852" y="2776123"/>
            <a:ext cx="296082" cy="296082"/>
            <a:chOff x="1521430" y="3233225"/>
            <a:chExt cx="296082" cy="296082"/>
          </a:xfrm>
        </p:grpSpPr>
        <p:sp>
          <p:nvSpPr>
            <p:cNvPr id="57" name="Teardrop 56">
              <a:extLst>
                <a:ext uri="{FF2B5EF4-FFF2-40B4-BE49-F238E27FC236}">
                  <a16:creationId xmlns:a16="http://schemas.microsoft.com/office/drawing/2014/main" id="{B335009B-9BEC-439E-8380-2BB91706525F}"/>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8" name="Oval 57">
              <a:extLst>
                <a:ext uri="{FF2B5EF4-FFF2-40B4-BE49-F238E27FC236}">
                  <a16:creationId xmlns:a16="http://schemas.microsoft.com/office/drawing/2014/main" id="{CBAFE6D0-B706-429B-B017-53DF0ED552B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3" name="Group 2">
            <a:extLst>
              <a:ext uri="{FF2B5EF4-FFF2-40B4-BE49-F238E27FC236}">
                <a16:creationId xmlns:a16="http://schemas.microsoft.com/office/drawing/2014/main" id="{DEBD82CB-35D5-4D1E-9E5D-1B3268EF6E6B}"/>
              </a:ext>
            </a:extLst>
          </p:cNvPr>
          <p:cNvGrpSpPr/>
          <p:nvPr/>
        </p:nvGrpSpPr>
        <p:grpSpPr>
          <a:xfrm>
            <a:off x="8492008" y="3588577"/>
            <a:ext cx="2569701" cy="503215"/>
            <a:chOff x="3128606" y="4213633"/>
            <a:chExt cx="2569701" cy="503215"/>
          </a:xfrm>
        </p:grpSpPr>
        <p:sp>
          <p:nvSpPr>
            <p:cNvPr id="43" name="TextBox 42">
              <a:extLst>
                <a:ext uri="{FF2B5EF4-FFF2-40B4-BE49-F238E27FC236}">
                  <a16:creationId xmlns:a16="http://schemas.microsoft.com/office/drawing/2014/main" id="{BF074E03-5F06-40FD-8F48-79E250620AF9}"/>
                </a:ext>
              </a:extLst>
            </p:cNvPr>
            <p:cNvSpPr txBox="1"/>
            <p:nvPr/>
          </p:nvSpPr>
          <p:spPr>
            <a:xfrm>
              <a:off x="3335347" y="4213633"/>
              <a:ext cx="2362960" cy="503215"/>
            </a:xfrm>
            <a:prstGeom prst="rect">
              <a:avLst/>
            </a:prstGeom>
            <a:noFill/>
          </p:spPr>
          <p:txBody>
            <a:bodyPr wrap="square" lIns="182880" tIns="146304" rIns="182880" bIns="146304" rtlCol="0">
              <a:spAutoFit/>
            </a:bodyPr>
            <a:lstStyle/>
            <a:p>
              <a:pPr>
                <a:lnSpc>
                  <a:spcPct val="90000"/>
                </a:lnSpc>
              </a:pPr>
              <a:r>
                <a:rPr lang="en-US" sz="1500" b="1" dirty="0"/>
                <a:t>5. India – 28%</a:t>
              </a:r>
              <a:endParaRPr lang="en-US" sz="1200" dirty="0"/>
            </a:p>
          </p:txBody>
        </p:sp>
        <p:grpSp>
          <p:nvGrpSpPr>
            <p:cNvPr id="59" name="Group 58">
              <a:extLst>
                <a:ext uri="{FF2B5EF4-FFF2-40B4-BE49-F238E27FC236}">
                  <a16:creationId xmlns:a16="http://schemas.microsoft.com/office/drawing/2014/main" id="{D267FCC9-8725-481E-98B5-2065B4502D65}"/>
                </a:ext>
              </a:extLst>
            </p:cNvPr>
            <p:cNvGrpSpPr/>
            <p:nvPr/>
          </p:nvGrpSpPr>
          <p:grpSpPr>
            <a:xfrm>
              <a:off x="3128606" y="4284866"/>
              <a:ext cx="296082" cy="296082"/>
              <a:chOff x="1521430" y="3233225"/>
              <a:chExt cx="296082" cy="296082"/>
            </a:xfrm>
          </p:grpSpPr>
          <p:sp>
            <p:nvSpPr>
              <p:cNvPr id="60" name="Teardrop 59">
                <a:extLst>
                  <a:ext uri="{FF2B5EF4-FFF2-40B4-BE49-F238E27FC236}">
                    <a16:creationId xmlns:a16="http://schemas.microsoft.com/office/drawing/2014/main" id="{50588862-70CB-4401-8A93-C55865DD2116}"/>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1" name="Oval 60">
                <a:extLst>
                  <a:ext uri="{FF2B5EF4-FFF2-40B4-BE49-F238E27FC236}">
                    <a16:creationId xmlns:a16="http://schemas.microsoft.com/office/drawing/2014/main" id="{435895B2-3805-49AF-A448-14EB81287FC2}"/>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4" name="Group 3">
            <a:extLst>
              <a:ext uri="{FF2B5EF4-FFF2-40B4-BE49-F238E27FC236}">
                <a16:creationId xmlns:a16="http://schemas.microsoft.com/office/drawing/2014/main" id="{45CA2D72-FF05-4892-94F6-C852ADB1BCE9}"/>
              </a:ext>
            </a:extLst>
          </p:cNvPr>
          <p:cNvGrpSpPr/>
          <p:nvPr/>
        </p:nvGrpSpPr>
        <p:grpSpPr>
          <a:xfrm>
            <a:off x="6603141" y="5408162"/>
            <a:ext cx="2654709" cy="503215"/>
            <a:chOff x="9427487" y="4378577"/>
            <a:chExt cx="2654709" cy="503215"/>
          </a:xfrm>
        </p:grpSpPr>
        <p:sp>
          <p:nvSpPr>
            <p:cNvPr id="45" name="TextBox 44">
              <a:extLst>
                <a:ext uri="{FF2B5EF4-FFF2-40B4-BE49-F238E27FC236}">
                  <a16:creationId xmlns:a16="http://schemas.microsoft.com/office/drawing/2014/main" id="{8BB86ABB-0C2E-4746-9D28-C49BA7370021}"/>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4. South Africa – 29%</a:t>
              </a:r>
            </a:p>
          </p:txBody>
        </p:sp>
        <p:grpSp>
          <p:nvGrpSpPr>
            <p:cNvPr id="62" name="Group 61">
              <a:extLst>
                <a:ext uri="{FF2B5EF4-FFF2-40B4-BE49-F238E27FC236}">
                  <a16:creationId xmlns:a16="http://schemas.microsoft.com/office/drawing/2014/main" id="{3307D8DE-7BD8-4D45-9D42-8F852B1BA059}"/>
                </a:ext>
              </a:extLst>
            </p:cNvPr>
            <p:cNvGrpSpPr/>
            <p:nvPr/>
          </p:nvGrpSpPr>
          <p:grpSpPr>
            <a:xfrm>
              <a:off x="9427487" y="4463949"/>
              <a:ext cx="296082" cy="296082"/>
              <a:chOff x="1521430" y="3233225"/>
              <a:chExt cx="296082" cy="296082"/>
            </a:xfrm>
          </p:grpSpPr>
          <p:sp>
            <p:nvSpPr>
              <p:cNvPr id="63" name="Teardrop 62">
                <a:extLst>
                  <a:ext uri="{FF2B5EF4-FFF2-40B4-BE49-F238E27FC236}">
                    <a16:creationId xmlns:a16="http://schemas.microsoft.com/office/drawing/2014/main" id="{46FFD871-F2B9-4485-8DD1-0F7738C495ED}"/>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4" name="Oval 63">
                <a:extLst>
                  <a:ext uri="{FF2B5EF4-FFF2-40B4-BE49-F238E27FC236}">
                    <a16:creationId xmlns:a16="http://schemas.microsoft.com/office/drawing/2014/main" id="{49A4F9B0-8F83-4AB4-ADD9-253D1FD89363}"/>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39" name="Group 38">
            <a:extLst>
              <a:ext uri="{FF2B5EF4-FFF2-40B4-BE49-F238E27FC236}">
                <a16:creationId xmlns:a16="http://schemas.microsoft.com/office/drawing/2014/main" id="{683369FC-E885-43F5-B37E-9330209549E3}"/>
              </a:ext>
            </a:extLst>
          </p:cNvPr>
          <p:cNvGrpSpPr/>
          <p:nvPr/>
        </p:nvGrpSpPr>
        <p:grpSpPr>
          <a:xfrm>
            <a:off x="3128769" y="4201868"/>
            <a:ext cx="2654709" cy="503215"/>
            <a:chOff x="9427487" y="4378577"/>
            <a:chExt cx="2654709" cy="503215"/>
          </a:xfrm>
        </p:grpSpPr>
        <p:sp>
          <p:nvSpPr>
            <p:cNvPr id="40" name="TextBox 39">
              <a:extLst>
                <a:ext uri="{FF2B5EF4-FFF2-40B4-BE49-F238E27FC236}">
                  <a16:creationId xmlns:a16="http://schemas.microsoft.com/office/drawing/2014/main" id="{C08DF6F5-9295-4D89-9564-E0E3F9A8999E}"/>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9. Colombia – 23%</a:t>
              </a:r>
            </a:p>
          </p:txBody>
        </p:sp>
        <p:grpSp>
          <p:nvGrpSpPr>
            <p:cNvPr id="65" name="Group 64">
              <a:extLst>
                <a:ext uri="{FF2B5EF4-FFF2-40B4-BE49-F238E27FC236}">
                  <a16:creationId xmlns:a16="http://schemas.microsoft.com/office/drawing/2014/main" id="{729C6C53-2150-4408-82D7-936E9286C226}"/>
                </a:ext>
              </a:extLst>
            </p:cNvPr>
            <p:cNvGrpSpPr/>
            <p:nvPr/>
          </p:nvGrpSpPr>
          <p:grpSpPr>
            <a:xfrm>
              <a:off x="9427487" y="4463949"/>
              <a:ext cx="296082" cy="296082"/>
              <a:chOff x="1521430" y="3233225"/>
              <a:chExt cx="296082" cy="296082"/>
            </a:xfrm>
          </p:grpSpPr>
          <p:sp>
            <p:nvSpPr>
              <p:cNvPr id="66" name="Teardrop 65">
                <a:extLst>
                  <a:ext uri="{FF2B5EF4-FFF2-40B4-BE49-F238E27FC236}">
                    <a16:creationId xmlns:a16="http://schemas.microsoft.com/office/drawing/2014/main" id="{C0DD9B3E-B384-4A5A-BF55-455D9C3D5BD5}"/>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67" name="Oval 66">
                <a:extLst>
                  <a:ext uri="{FF2B5EF4-FFF2-40B4-BE49-F238E27FC236}">
                    <a16:creationId xmlns:a16="http://schemas.microsoft.com/office/drawing/2014/main" id="{6FA77EE8-6073-4CCE-AB1A-EBF186A961E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68" name="Group 67">
            <a:extLst>
              <a:ext uri="{FF2B5EF4-FFF2-40B4-BE49-F238E27FC236}">
                <a16:creationId xmlns:a16="http://schemas.microsoft.com/office/drawing/2014/main" id="{2DF5DF9A-D5AB-48FB-96BB-0893642F424A}"/>
              </a:ext>
            </a:extLst>
          </p:cNvPr>
          <p:cNvGrpSpPr/>
          <p:nvPr/>
        </p:nvGrpSpPr>
        <p:grpSpPr>
          <a:xfrm>
            <a:off x="9537291" y="4021388"/>
            <a:ext cx="2654709" cy="503215"/>
            <a:chOff x="9427487" y="4378577"/>
            <a:chExt cx="2654709" cy="503215"/>
          </a:xfrm>
        </p:grpSpPr>
        <p:sp>
          <p:nvSpPr>
            <p:cNvPr id="69" name="TextBox 68">
              <a:extLst>
                <a:ext uri="{FF2B5EF4-FFF2-40B4-BE49-F238E27FC236}">
                  <a16:creationId xmlns:a16="http://schemas.microsoft.com/office/drawing/2014/main" id="{F0098894-E4A1-47AE-A37A-3D53C3A8B208}"/>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1. Vietnam – 40%</a:t>
              </a:r>
            </a:p>
          </p:txBody>
        </p:sp>
        <p:grpSp>
          <p:nvGrpSpPr>
            <p:cNvPr id="70" name="Group 69">
              <a:extLst>
                <a:ext uri="{FF2B5EF4-FFF2-40B4-BE49-F238E27FC236}">
                  <a16:creationId xmlns:a16="http://schemas.microsoft.com/office/drawing/2014/main" id="{F7A3F523-5DB5-45BD-82EC-9A006407B677}"/>
                </a:ext>
              </a:extLst>
            </p:cNvPr>
            <p:cNvGrpSpPr/>
            <p:nvPr/>
          </p:nvGrpSpPr>
          <p:grpSpPr>
            <a:xfrm>
              <a:off x="9427487" y="4463949"/>
              <a:ext cx="296082" cy="296082"/>
              <a:chOff x="1521430" y="3233225"/>
              <a:chExt cx="296082" cy="296082"/>
            </a:xfrm>
          </p:grpSpPr>
          <p:sp>
            <p:nvSpPr>
              <p:cNvPr id="71" name="Teardrop 70">
                <a:extLst>
                  <a:ext uri="{FF2B5EF4-FFF2-40B4-BE49-F238E27FC236}">
                    <a16:creationId xmlns:a16="http://schemas.microsoft.com/office/drawing/2014/main" id="{7219CB97-9C93-4151-AD32-EC7C34DC9DFC}"/>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2" name="Oval 71">
                <a:extLst>
                  <a:ext uri="{FF2B5EF4-FFF2-40B4-BE49-F238E27FC236}">
                    <a16:creationId xmlns:a16="http://schemas.microsoft.com/office/drawing/2014/main" id="{9273EB83-534F-41B8-9172-847370E09201}"/>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3" name="Group 72">
            <a:extLst>
              <a:ext uri="{FF2B5EF4-FFF2-40B4-BE49-F238E27FC236}">
                <a16:creationId xmlns:a16="http://schemas.microsoft.com/office/drawing/2014/main" id="{5889D03B-312F-4E2E-AF54-8D52EE99B566}"/>
              </a:ext>
            </a:extLst>
          </p:cNvPr>
          <p:cNvGrpSpPr/>
          <p:nvPr/>
        </p:nvGrpSpPr>
        <p:grpSpPr>
          <a:xfrm>
            <a:off x="3276810" y="5332615"/>
            <a:ext cx="2654709" cy="503215"/>
            <a:chOff x="9427487" y="4378577"/>
            <a:chExt cx="2654709" cy="503215"/>
          </a:xfrm>
        </p:grpSpPr>
        <p:sp>
          <p:nvSpPr>
            <p:cNvPr id="74" name="TextBox 73">
              <a:extLst>
                <a:ext uri="{FF2B5EF4-FFF2-40B4-BE49-F238E27FC236}">
                  <a16:creationId xmlns:a16="http://schemas.microsoft.com/office/drawing/2014/main" id="{EF587B3E-BBC9-4B66-AB17-A5D06E78594C}"/>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7. Chile – 25%</a:t>
              </a:r>
            </a:p>
          </p:txBody>
        </p:sp>
        <p:grpSp>
          <p:nvGrpSpPr>
            <p:cNvPr id="75" name="Group 74">
              <a:extLst>
                <a:ext uri="{FF2B5EF4-FFF2-40B4-BE49-F238E27FC236}">
                  <a16:creationId xmlns:a16="http://schemas.microsoft.com/office/drawing/2014/main" id="{65EA3B28-F94B-4747-9864-58FB745A093D}"/>
                </a:ext>
              </a:extLst>
            </p:cNvPr>
            <p:cNvGrpSpPr/>
            <p:nvPr/>
          </p:nvGrpSpPr>
          <p:grpSpPr>
            <a:xfrm>
              <a:off x="9427487" y="4463949"/>
              <a:ext cx="296082" cy="296082"/>
              <a:chOff x="1521430" y="3233225"/>
              <a:chExt cx="296082" cy="296082"/>
            </a:xfrm>
          </p:grpSpPr>
          <p:sp>
            <p:nvSpPr>
              <p:cNvPr id="76" name="Teardrop 75">
                <a:extLst>
                  <a:ext uri="{FF2B5EF4-FFF2-40B4-BE49-F238E27FC236}">
                    <a16:creationId xmlns:a16="http://schemas.microsoft.com/office/drawing/2014/main" id="{3778448D-4D10-46D8-B31D-FB85BE37978E}"/>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77" name="Oval 76">
                <a:extLst>
                  <a:ext uri="{FF2B5EF4-FFF2-40B4-BE49-F238E27FC236}">
                    <a16:creationId xmlns:a16="http://schemas.microsoft.com/office/drawing/2014/main" id="{AAB70117-0359-4B48-BE85-C221FBF67166}"/>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78" name="Group 77">
            <a:extLst>
              <a:ext uri="{FF2B5EF4-FFF2-40B4-BE49-F238E27FC236}">
                <a16:creationId xmlns:a16="http://schemas.microsoft.com/office/drawing/2014/main" id="{FB47BE69-BD6E-484B-95DE-2CE44FB358E2}"/>
              </a:ext>
            </a:extLst>
          </p:cNvPr>
          <p:cNvGrpSpPr/>
          <p:nvPr/>
        </p:nvGrpSpPr>
        <p:grpSpPr>
          <a:xfrm>
            <a:off x="9449871" y="4600957"/>
            <a:ext cx="2654709" cy="503215"/>
            <a:chOff x="9427487" y="4378577"/>
            <a:chExt cx="2654709" cy="503215"/>
          </a:xfrm>
        </p:grpSpPr>
        <p:sp>
          <p:nvSpPr>
            <p:cNvPr id="79" name="TextBox 78">
              <a:extLst>
                <a:ext uri="{FF2B5EF4-FFF2-40B4-BE49-F238E27FC236}">
                  <a16:creationId xmlns:a16="http://schemas.microsoft.com/office/drawing/2014/main" id="{F6376BF3-B57C-4A6F-A42B-64B44CEB7340}"/>
                </a:ext>
              </a:extLst>
            </p:cNvPr>
            <p:cNvSpPr txBox="1"/>
            <p:nvPr/>
          </p:nvSpPr>
          <p:spPr>
            <a:xfrm>
              <a:off x="9645539" y="4378577"/>
              <a:ext cx="2436657" cy="503215"/>
            </a:xfrm>
            <a:prstGeom prst="rect">
              <a:avLst/>
            </a:prstGeom>
            <a:noFill/>
          </p:spPr>
          <p:txBody>
            <a:bodyPr wrap="square" lIns="182880" tIns="146304" rIns="182880" bIns="146304" rtlCol="0">
              <a:spAutoFit/>
            </a:bodyPr>
            <a:lstStyle/>
            <a:p>
              <a:pPr>
                <a:lnSpc>
                  <a:spcPct val="90000"/>
                </a:lnSpc>
              </a:pPr>
              <a:r>
                <a:rPr lang="en-US" sz="1500" b="1" dirty="0"/>
                <a:t>8. Indonesia – 25%</a:t>
              </a:r>
            </a:p>
          </p:txBody>
        </p:sp>
        <p:grpSp>
          <p:nvGrpSpPr>
            <p:cNvPr id="80" name="Group 79">
              <a:extLst>
                <a:ext uri="{FF2B5EF4-FFF2-40B4-BE49-F238E27FC236}">
                  <a16:creationId xmlns:a16="http://schemas.microsoft.com/office/drawing/2014/main" id="{7652E201-2505-4C23-8B0B-F48E20D688C8}"/>
                </a:ext>
              </a:extLst>
            </p:cNvPr>
            <p:cNvGrpSpPr/>
            <p:nvPr/>
          </p:nvGrpSpPr>
          <p:grpSpPr>
            <a:xfrm>
              <a:off x="9427487" y="4463949"/>
              <a:ext cx="296082" cy="296082"/>
              <a:chOff x="1521430" y="3233225"/>
              <a:chExt cx="296082" cy="296082"/>
            </a:xfrm>
          </p:grpSpPr>
          <p:sp>
            <p:nvSpPr>
              <p:cNvPr id="81" name="Teardrop 80">
                <a:extLst>
                  <a:ext uri="{FF2B5EF4-FFF2-40B4-BE49-F238E27FC236}">
                    <a16:creationId xmlns:a16="http://schemas.microsoft.com/office/drawing/2014/main" id="{FF68F134-A9EF-45F0-ACE7-962332E9BFE0}"/>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82" name="Oval 81">
                <a:extLst>
                  <a:ext uri="{FF2B5EF4-FFF2-40B4-BE49-F238E27FC236}">
                    <a16:creationId xmlns:a16="http://schemas.microsoft.com/office/drawing/2014/main" id="{3E63D45C-15E6-4CEE-B49F-96515E3DBA3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88" name="Group 87">
            <a:extLst>
              <a:ext uri="{FF2B5EF4-FFF2-40B4-BE49-F238E27FC236}">
                <a16:creationId xmlns:a16="http://schemas.microsoft.com/office/drawing/2014/main" id="{C44D284E-7845-4CB9-AFF6-5479339FBF45}"/>
              </a:ext>
            </a:extLst>
          </p:cNvPr>
          <p:cNvGrpSpPr/>
          <p:nvPr/>
        </p:nvGrpSpPr>
        <p:grpSpPr>
          <a:xfrm>
            <a:off x="4336297" y="2566019"/>
            <a:ext cx="2436657" cy="503215"/>
            <a:chOff x="7607957" y="4378577"/>
            <a:chExt cx="2436657" cy="503215"/>
          </a:xfrm>
        </p:grpSpPr>
        <p:sp>
          <p:nvSpPr>
            <p:cNvPr id="89" name="TextBox 88">
              <a:extLst>
                <a:ext uri="{FF2B5EF4-FFF2-40B4-BE49-F238E27FC236}">
                  <a16:creationId xmlns:a16="http://schemas.microsoft.com/office/drawing/2014/main" id="{0CFE19B7-67E9-41DC-912A-291A2C62E5C6}"/>
                </a:ext>
              </a:extLst>
            </p:cNvPr>
            <p:cNvSpPr txBox="1"/>
            <p:nvPr/>
          </p:nvSpPr>
          <p:spPr>
            <a:xfrm>
              <a:off x="7607957" y="4378577"/>
              <a:ext cx="2436657" cy="503215"/>
            </a:xfrm>
            <a:prstGeom prst="rect">
              <a:avLst/>
            </a:prstGeom>
            <a:noFill/>
          </p:spPr>
          <p:txBody>
            <a:bodyPr wrap="square" lIns="182880" tIns="146304" rIns="182880" bIns="146304" rtlCol="0">
              <a:spAutoFit/>
            </a:bodyPr>
            <a:lstStyle/>
            <a:p>
              <a:pPr>
                <a:lnSpc>
                  <a:spcPct val="90000"/>
                </a:lnSpc>
              </a:pPr>
              <a:r>
                <a:rPr lang="en-US" sz="1500" b="1" dirty="0"/>
                <a:t>10. Poland – 22%</a:t>
              </a:r>
            </a:p>
          </p:txBody>
        </p:sp>
        <p:grpSp>
          <p:nvGrpSpPr>
            <p:cNvPr id="90" name="Group 89">
              <a:extLst>
                <a:ext uri="{FF2B5EF4-FFF2-40B4-BE49-F238E27FC236}">
                  <a16:creationId xmlns:a16="http://schemas.microsoft.com/office/drawing/2014/main" id="{328C9B4E-1547-432D-A33D-A584401801FC}"/>
                </a:ext>
              </a:extLst>
            </p:cNvPr>
            <p:cNvGrpSpPr/>
            <p:nvPr/>
          </p:nvGrpSpPr>
          <p:grpSpPr>
            <a:xfrm>
              <a:off x="9427487" y="4463949"/>
              <a:ext cx="296082" cy="296082"/>
              <a:chOff x="1521430" y="3233225"/>
              <a:chExt cx="296082" cy="296082"/>
            </a:xfrm>
          </p:grpSpPr>
          <p:sp>
            <p:nvSpPr>
              <p:cNvPr id="91" name="Teardrop 90">
                <a:extLst>
                  <a:ext uri="{FF2B5EF4-FFF2-40B4-BE49-F238E27FC236}">
                    <a16:creationId xmlns:a16="http://schemas.microsoft.com/office/drawing/2014/main" id="{50D9F472-09D2-4B7B-8A33-C6BBDDE5519A}"/>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2" name="Oval 91">
                <a:extLst>
                  <a:ext uri="{FF2B5EF4-FFF2-40B4-BE49-F238E27FC236}">
                    <a16:creationId xmlns:a16="http://schemas.microsoft.com/office/drawing/2014/main" id="{E1C84DF5-89E3-41A8-B2FF-421D1F7A3BF9}"/>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93" name="Group 92">
            <a:extLst>
              <a:ext uri="{FF2B5EF4-FFF2-40B4-BE49-F238E27FC236}">
                <a16:creationId xmlns:a16="http://schemas.microsoft.com/office/drawing/2014/main" id="{CF56D17E-E468-4457-A564-ACFBAFB742E2}"/>
              </a:ext>
            </a:extLst>
          </p:cNvPr>
          <p:cNvGrpSpPr/>
          <p:nvPr/>
        </p:nvGrpSpPr>
        <p:grpSpPr>
          <a:xfrm>
            <a:off x="6821193" y="3085362"/>
            <a:ext cx="2569701" cy="503215"/>
            <a:chOff x="3128606" y="4213633"/>
            <a:chExt cx="2569701" cy="503215"/>
          </a:xfrm>
        </p:grpSpPr>
        <p:sp>
          <p:nvSpPr>
            <p:cNvPr id="94" name="TextBox 93">
              <a:extLst>
                <a:ext uri="{FF2B5EF4-FFF2-40B4-BE49-F238E27FC236}">
                  <a16:creationId xmlns:a16="http://schemas.microsoft.com/office/drawing/2014/main" id="{A7C92623-DB60-4137-A20E-9D639FB745F4}"/>
                </a:ext>
              </a:extLst>
            </p:cNvPr>
            <p:cNvSpPr txBox="1"/>
            <p:nvPr/>
          </p:nvSpPr>
          <p:spPr>
            <a:xfrm>
              <a:off x="3335347" y="4213633"/>
              <a:ext cx="2362960" cy="503215"/>
            </a:xfrm>
            <a:prstGeom prst="rect">
              <a:avLst/>
            </a:prstGeom>
            <a:noFill/>
          </p:spPr>
          <p:txBody>
            <a:bodyPr wrap="square" lIns="182880" tIns="146304" rIns="182880" bIns="146304" rtlCol="0">
              <a:spAutoFit/>
            </a:bodyPr>
            <a:lstStyle/>
            <a:p>
              <a:pPr>
                <a:lnSpc>
                  <a:spcPct val="90000"/>
                </a:lnSpc>
              </a:pPr>
              <a:r>
                <a:rPr lang="en-US" sz="1500" b="1" dirty="0"/>
                <a:t>6.Turkey – 26%</a:t>
              </a:r>
              <a:endParaRPr lang="en-US" sz="1200" dirty="0"/>
            </a:p>
          </p:txBody>
        </p:sp>
        <p:grpSp>
          <p:nvGrpSpPr>
            <p:cNvPr id="95" name="Group 94">
              <a:extLst>
                <a:ext uri="{FF2B5EF4-FFF2-40B4-BE49-F238E27FC236}">
                  <a16:creationId xmlns:a16="http://schemas.microsoft.com/office/drawing/2014/main" id="{9FE8ED2A-6452-406C-BAEC-2EE4FC6B03D9}"/>
                </a:ext>
              </a:extLst>
            </p:cNvPr>
            <p:cNvGrpSpPr/>
            <p:nvPr/>
          </p:nvGrpSpPr>
          <p:grpSpPr>
            <a:xfrm>
              <a:off x="3128606" y="4284866"/>
              <a:ext cx="296082" cy="296082"/>
              <a:chOff x="1521430" y="3233225"/>
              <a:chExt cx="296082" cy="296082"/>
            </a:xfrm>
          </p:grpSpPr>
          <p:sp>
            <p:nvSpPr>
              <p:cNvPr id="96" name="Teardrop 95">
                <a:extLst>
                  <a:ext uri="{FF2B5EF4-FFF2-40B4-BE49-F238E27FC236}">
                    <a16:creationId xmlns:a16="http://schemas.microsoft.com/office/drawing/2014/main" id="{5B4FAEAA-72A2-4E66-A4D6-C52172A554A2}"/>
                  </a:ext>
                </a:extLst>
              </p:cNvPr>
              <p:cNvSpPr/>
              <p:nvPr/>
            </p:nvSpPr>
            <p:spPr>
              <a:xfrm rot="8100000">
                <a:off x="1521430" y="3233225"/>
                <a:ext cx="296082" cy="296082"/>
              </a:xfrm>
              <a:prstGeom prst="teardrop">
                <a:avLst>
                  <a:gd name="adj" fmla="val 200000"/>
                </a:avLst>
              </a:prstGeom>
              <a:solidFill>
                <a:srgbClr val="FF0000"/>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97" name="Oval 96">
                <a:extLst>
                  <a:ext uri="{FF2B5EF4-FFF2-40B4-BE49-F238E27FC236}">
                    <a16:creationId xmlns:a16="http://schemas.microsoft.com/office/drawing/2014/main" id="{D7B52E19-2EDC-499B-9BDE-53E0FEF1595F}"/>
                  </a:ext>
                </a:extLst>
              </p:cNvPr>
              <p:cNvSpPr/>
              <p:nvPr/>
            </p:nvSpPr>
            <p:spPr>
              <a:xfrm>
                <a:off x="1582914" y="328850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3746813991"/>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B22DE20-9FDF-4C35-B70D-1A94D1A9B661}"/>
              </a:ext>
            </a:extLst>
          </p:cNvPr>
          <p:cNvSpPr/>
          <p:nvPr/>
        </p:nvSpPr>
        <p:spPr>
          <a:xfrm>
            <a:off x="-9542"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Isosceles Triangle 12">
            <a:extLst>
              <a:ext uri="{FF2B5EF4-FFF2-40B4-BE49-F238E27FC236}">
                <a16:creationId xmlns:a16="http://schemas.microsoft.com/office/drawing/2014/main" id="{069DD426-611D-40AD-9FD8-3565301E882E}"/>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Chart 4">
            <a:extLst>
              <a:ext uri="{FF2B5EF4-FFF2-40B4-BE49-F238E27FC236}">
                <a16:creationId xmlns:a16="http://schemas.microsoft.com/office/drawing/2014/main" id="{829CD744-77A5-427D-A60D-671DDA2D01EF}"/>
              </a:ext>
            </a:extLst>
          </p:cNvPr>
          <p:cNvGraphicFramePr/>
          <p:nvPr>
            <p:extLst>
              <p:ext uri="{D42A27DB-BD31-4B8C-83A1-F6EECF244321}">
                <p14:modId xmlns:p14="http://schemas.microsoft.com/office/powerpoint/2010/main" val="3774427571"/>
              </p:ext>
            </p:extLst>
          </p:nvPr>
        </p:nvGraphicFramePr>
        <p:xfrm>
          <a:off x="1688950" y="2125276"/>
          <a:ext cx="8649149" cy="4501435"/>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 Placeholder 1">
            <a:extLst>
              <a:ext uri="{FF2B5EF4-FFF2-40B4-BE49-F238E27FC236}">
                <a16:creationId xmlns:a16="http://schemas.microsoft.com/office/drawing/2014/main" id="{E701452E-2BFA-41E5-913A-E207178633AE}"/>
              </a:ext>
            </a:extLst>
          </p:cNvPr>
          <p:cNvSpPr txBox="1">
            <a:spLocks/>
          </p:cNvSpPr>
          <p:nvPr/>
        </p:nvSpPr>
        <p:spPr>
          <a:xfrm>
            <a:off x="323529" y="339509"/>
            <a:ext cx="11573197" cy="136317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4400" dirty="0">
                <a:solidFill>
                  <a:schemeClr val="tx1"/>
                </a:solidFill>
                <a:latin typeface="Arial" panose="020B0604020202020204" pitchFamily="34" charset="0"/>
                <a:cs typeface="Arial" panose="020B0604020202020204" pitchFamily="34" charset="0"/>
              </a:rPr>
              <a:t>Sources of risks: Friends &amp; family were highest in Latam countries, except for Brazil</a:t>
            </a:r>
          </a:p>
        </p:txBody>
      </p:sp>
      <p:sp>
        <p:nvSpPr>
          <p:cNvPr id="11" name="Slide Number Placeholder 2">
            <a:extLst>
              <a:ext uri="{FF2B5EF4-FFF2-40B4-BE49-F238E27FC236}">
                <a16:creationId xmlns:a16="http://schemas.microsoft.com/office/drawing/2014/main" id="{F99D659C-719D-43DB-B033-957DB086A8E1}"/>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latin typeface="Arial" panose="020B0604020202020204" pitchFamily="34" charset="0"/>
                <a:cs typeface="Arial" panose="020B0604020202020204" pitchFamily="34" charset="0"/>
              </a:rPr>
              <a:pPr/>
              <a:t>41</a:t>
            </a:fld>
            <a:endParaRPr lang="en-US" sz="1200" dirty="0">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9C6FDFF-48C3-4826-943C-6CBA1BD261DA}"/>
              </a:ext>
            </a:extLst>
          </p:cNvPr>
          <p:cNvCxnSpPr/>
          <p:nvPr/>
        </p:nvCxnSpPr>
        <p:spPr>
          <a:xfrm flipV="1">
            <a:off x="6723536" y="2713938"/>
            <a:ext cx="0" cy="333487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43AF828-5A69-446A-9FD0-83E6702B51F9}"/>
              </a:ext>
            </a:extLst>
          </p:cNvPr>
          <p:cNvCxnSpPr>
            <a:cxnSpLocks/>
          </p:cNvCxnSpPr>
          <p:nvPr/>
        </p:nvCxnSpPr>
        <p:spPr>
          <a:xfrm>
            <a:off x="2517289" y="4130934"/>
            <a:ext cx="757338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8EEB290-E2E7-4591-9B9D-9F7B1D337605}"/>
              </a:ext>
            </a:extLst>
          </p:cNvPr>
          <p:cNvSpPr txBox="1"/>
          <p:nvPr/>
        </p:nvSpPr>
        <p:spPr>
          <a:xfrm>
            <a:off x="3761801" y="2991213"/>
            <a:ext cx="1730282" cy="683264"/>
          </a:xfrm>
          <a:prstGeom prst="rect">
            <a:avLst/>
          </a:prstGeom>
          <a:noFill/>
        </p:spPr>
        <p:txBody>
          <a:bodyPr wrap="none" lIns="182880" tIns="146304" rIns="182880" bIns="146304" rtlCol="0">
            <a:spAutoFit/>
          </a:bodyPr>
          <a:lstStyle/>
          <a:p>
            <a:pPr algn="ctr">
              <a:lnSpc>
                <a:spcPct val="90000"/>
              </a:lnSpc>
            </a:pPr>
            <a:r>
              <a:rPr lang="en-US" sz="1400" b="1" dirty="0">
                <a:solidFill>
                  <a:srgbClr val="FF8C00"/>
                </a:solidFill>
                <a:latin typeface="Arial" panose="020B0604020202020204" pitchFamily="34" charset="0"/>
                <a:cs typeface="Arial" panose="020B0604020202020204" pitchFamily="34" charset="0"/>
              </a:rPr>
              <a:t>Strangers</a:t>
            </a:r>
          </a:p>
          <a:p>
            <a:pPr algn="ctr">
              <a:lnSpc>
                <a:spcPct val="90000"/>
              </a:lnSpc>
            </a:pPr>
            <a:r>
              <a:rPr lang="en-US" sz="1400" b="1" dirty="0">
                <a:solidFill>
                  <a:srgbClr val="FF8C00"/>
                </a:solidFill>
                <a:latin typeface="Arial" panose="020B0604020202020204" pitchFamily="34" charset="0"/>
                <a:cs typeface="Arial" panose="020B0604020202020204" pitchFamily="34" charset="0"/>
              </a:rPr>
              <a:t>(above average)</a:t>
            </a:r>
          </a:p>
        </p:txBody>
      </p:sp>
      <p:sp>
        <p:nvSpPr>
          <p:cNvPr id="22" name="TextBox 21">
            <a:extLst>
              <a:ext uri="{FF2B5EF4-FFF2-40B4-BE49-F238E27FC236}">
                <a16:creationId xmlns:a16="http://schemas.microsoft.com/office/drawing/2014/main" id="{7C351546-0305-49E4-860D-19B6895B0464}"/>
              </a:ext>
            </a:extLst>
          </p:cNvPr>
          <p:cNvSpPr txBox="1"/>
          <p:nvPr/>
        </p:nvSpPr>
        <p:spPr>
          <a:xfrm>
            <a:off x="7624801" y="4775225"/>
            <a:ext cx="1812035" cy="683264"/>
          </a:xfrm>
          <a:prstGeom prst="rect">
            <a:avLst/>
          </a:prstGeom>
          <a:noFill/>
        </p:spPr>
        <p:txBody>
          <a:bodyPr wrap="none" lIns="182880" tIns="146304" rIns="182880" bIns="146304" rtlCol="0">
            <a:spAutoFit/>
          </a:bodyPr>
          <a:lstStyle/>
          <a:p>
            <a:pPr algn="ctr">
              <a:lnSpc>
                <a:spcPct val="90000"/>
              </a:lnSpc>
            </a:pPr>
            <a:r>
              <a:rPr lang="en-US" sz="1400" b="1" dirty="0">
                <a:solidFill>
                  <a:srgbClr val="FF8C00"/>
                </a:solidFill>
                <a:latin typeface="Arial" panose="020B0604020202020204" pitchFamily="34" charset="0"/>
                <a:cs typeface="Arial" panose="020B0604020202020204" pitchFamily="34" charset="0"/>
              </a:rPr>
              <a:t>Family &amp; Friends</a:t>
            </a:r>
          </a:p>
          <a:p>
            <a:pPr algn="ctr">
              <a:lnSpc>
                <a:spcPct val="90000"/>
              </a:lnSpc>
            </a:pPr>
            <a:r>
              <a:rPr lang="en-US" sz="1400" b="1" dirty="0">
                <a:solidFill>
                  <a:srgbClr val="FF8C00"/>
                </a:solidFill>
                <a:latin typeface="Arial" panose="020B0604020202020204" pitchFamily="34" charset="0"/>
                <a:cs typeface="Arial" panose="020B0604020202020204" pitchFamily="34" charset="0"/>
              </a:rPr>
              <a:t>(above average)</a:t>
            </a:r>
          </a:p>
        </p:txBody>
      </p:sp>
      <p:sp>
        <p:nvSpPr>
          <p:cNvPr id="23" name="Oval 22">
            <a:extLst>
              <a:ext uri="{FF2B5EF4-FFF2-40B4-BE49-F238E27FC236}">
                <a16:creationId xmlns:a16="http://schemas.microsoft.com/office/drawing/2014/main" id="{BE044249-1D4B-47D8-B627-CD79779020A4}"/>
              </a:ext>
            </a:extLst>
          </p:cNvPr>
          <p:cNvSpPr/>
          <p:nvPr/>
        </p:nvSpPr>
        <p:spPr bwMode="auto">
          <a:xfrm rot="21066451">
            <a:off x="7418730" y="3858640"/>
            <a:ext cx="2194543" cy="526025"/>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4" name="TextBox 23">
            <a:extLst>
              <a:ext uri="{FF2B5EF4-FFF2-40B4-BE49-F238E27FC236}">
                <a16:creationId xmlns:a16="http://schemas.microsoft.com/office/drawing/2014/main" id="{DAABD640-8694-4962-B1AA-17DC16E336F9}"/>
              </a:ext>
            </a:extLst>
          </p:cNvPr>
          <p:cNvSpPr txBox="1"/>
          <p:nvPr/>
        </p:nvSpPr>
        <p:spPr>
          <a:xfrm>
            <a:off x="8918125" y="3343537"/>
            <a:ext cx="940001" cy="517065"/>
          </a:xfrm>
          <a:prstGeom prst="rect">
            <a:avLst/>
          </a:prstGeom>
          <a:noFill/>
        </p:spPr>
        <p:txBody>
          <a:bodyPr wrap="none" lIns="182880" tIns="146304" rIns="182880" bIns="146304" rtlCol="0">
            <a:spAutoFit/>
          </a:bodyPr>
          <a:lstStyle/>
          <a:p>
            <a:pPr>
              <a:lnSpc>
                <a:spcPct val="90000"/>
              </a:lnSpc>
            </a:pPr>
            <a:r>
              <a:rPr lang="en-US" sz="1600" dirty="0">
                <a:gradFill>
                  <a:gsLst>
                    <a:gs pos="2917">
                      <a:schemeClr val="tx1"/>
                    </a:gs>
                    <a:gs pos="30000">
                      <a:schemeClr val="tx1"/>
                    </a:gs>
                  </a:gsLst>
                  <a:lin ang="5400000" scaled="0"/>
                </a:gradFill>
                <a:latin typeface="Arial" panose="020B0604020202020204" pitchFamily="34" charset="0"/>
                <a:cs typeface="Arial" panose="020B0604020202020204" pitchFamily="34" charset="0"/>
              </a:rPr>
              <a:t>Latam</a:t>
            </a:r>
          </a:p>
        </p:txBody>
      </p:sp>
      <p:cxnSp>
        <p:nvCxnSpPr>
          <p:cNvPr id="26" name="Straight Connector 25">
            <a:extLst>
              <a:ext uri="{FF2B5EF4-FFF2-40B4-BE49-F238E27FC236}">
                <a16:creationId xmlns:a16="http://schemas.microsoft.com/office/drawing/2014/main" id="{00F79CF1-9943-46AF-88D9-6583253C9848}"/>
              </a:ext>
            </a:extLst>
          </p:cNvPr>
          <p:cNvCxnSpPr>
            <a:endCxn id="23" idx="0"/>
          </p:cNvCxnSpPr>
          <p:nvPr/>
        </p:nvCxnSpPr>
        <p:spPr>
          <a:xfrm flipH="1">
            <a:off x="8475345" y="3631313"/>
            <a:ext cx="528812" cy="230488"/>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51145895"/>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B22DE20-9FDF-4C35-B70D-1A94D1A9B661}"/>
              </a:ext>
            </a:extLst>
          </p:cNvPr>
          <p:cNvSpPr/>
          <p:nvPr/>
        </p:nvSpPr>
        <p:spPr>
          <a:xfrm>
            <a:off x="-9542" y="8206"/>
            <a:ext cx="12192000" cy="1828800"/>
          </a:xfrm>
          <a:prstGeom prst="rect">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3" name="Isosceles Triangle 12">
            <a:extLst>
              <a:ext uri="{FF2B5EF4-FFF2-40B4-BE49-F238E27FC236}">
                <a16:creationId xmlns:a16="http://schemas.microsoft.com/office/drawing/2014/main" id="{069DD426-611D-40AD-9FD8-3565301E882E}"/>
              </a:ext>
            </a:extLst>
          </p:cNvPr>
          <p:cNvSpPr/>
          <p:nvPr/>
        </p:nvSpPr>
        <p:spPr>
          <a:xfrm rot="10800000">
            <a:off x="10420349" y="1830947"/>
            <a:ext cx="542925" cy="385927"/>
          </a:xfrm>
          <a:prstGeom prst="triangle">
            <a:avLst/>
          </a:prstGeom>
          <a:solidFill>
            <a:srgbClr val="26262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aphicFrame>
        <p:nvGraphicFramePr>
          <p:cNvPr id="5" name="Chart 4">
            <a:extLst>
              <a:ext uri="{FF2B5EF4-FFF2-40B4-BE49-F238E27FC236}">
                <a16:creationId xmlns:a16="http://schemas.microsoft.com/office/drawing/2014/main" id="{829CD744-77A5-427D-A60D-671DDA2D01EF}"/>
              </a:ext>
            </a:extLst>
          </p:cNvPr>
          <p:cNvGraphicFramePr/>
          <p:nvPr>
            <p:extLst>
              <p:ext uri="{D42A27DB-BD31-4B8C-83A1-F6EECF244321}">
                <p14:modId xmlns:p14="http://schemas.microsoft.com/office/powerpoint/2010/main" val="4056889860"/>
              </p:ext>
            </p:extLst>
          </p:nvPr>
        </p:nvGraphicFramePr>
        <p:xfrm>
          <a:off x="1688950" y="2125276"/>
          <a:ext cx="8649149" cy="4501435"/>
        </p:xfrm>
        <a:graphic>
          <a:graphicData uri="http://schemas.openxmlformats.org/drawingml/2006/chart">
            <c:chart xmlns:c="http://schemas.openxmlformats.org/drawingml/2006/chart" xmlns:r="http://schemas.openxmlformats.org/officeDocument/2006/relationships" r:id="rId3"/>
          </a:graphicData>
        </a:graphic>
      </p:graphicFrame>
      <p:sp>
        <p:nvSpPr>
          <p:cNvPr id="10" name="Text Placeholder 1">
            <a:extLst>
              <a:ext uri="{FF2B5EF4-FFF2-40B4-BE49-F238E27FC236}">
                <a16:creationId xmlns:a16="http://schemas.microsoft.com/office/drawing/2014/main" id="{E701452E-2BFA-41E5-913A-E207178633AE}"/>
              </a:ext>
            </a:extLst>
          </p:cNvPr>
          <p:cNvSpPr txBox="1">
            <a:spLocks/>
          </p:cNvSpPr>
          <p:nvPr/>
        </p:nvSpPr>
        <p:spPr>
          <a:xfrm>
            <a:off x="323529" y="339509"/>
            <a:ext cx="11573197" cy="1363173"/>
          </a:xfrm>
          <a:prstGeom prst="rect">
            <a:avLst/>
          </a:prstGeom>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921" kern="1200" spc="0" baseline="0">
                <a:solidFill>
                  <a:srgbClr val="000000"/>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353" kern="1200" spc="0" baseline="0">
                <a:solidFill>
                  <a:srgbClr val="000000"/>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961" kern="1200" spc="0" baseline="0">
                <a:solidFill>
                  <a:srgbClr val="000000"/>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765" kern="1200" spc="0" baseline="0">
                <a:solidFill>
                  <a:srgbClr val="000000"/>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a:lstStyle>
          <a:p>
            <a:pPr marL="0" indent="0">
              <a:buNone/>
            </a:pPr>
            <a:r>
              <a:rPr lang="en-US" sz="4400" dirty="0">
                <a:solidFill>
                  <a:schemeClr val="tx1"/>
                </a:solidFill>
                <a:latin typeface="Arial" panose="020B0604020202020204" pitchFamily="34" charset="0"/>
                <a:cs typeface="Arial" panose="020B0604020202020204" pitchFamily="34" charset="0"/>
              </a:rPr>
              <a:t>Uncivil interactions related to Politics was highest in BR, HU, AR, CO &amp; SA</a:t>
            </a:r>
          </a:p>
        </p:txBody>
      </p:sp>
      <p:sp>
        <p:nvSpPr>
          <p:cNvPr id="11" name="Slide Number Placeholder 2">
            <a:extLst>
              <a:ext uri="{FF2B5EF4-FFF2-40B4-BE49-F238E27FC236}">
                <a16:creationId xmlns:a16="http://schemas.microsoft.com/office/drawing/2014/main" id="{F99D659C-719D-43DB-B033-957DB086A8E1}"/>
              </a:ext>
            </a:extLst>
          </p:cNvPr>
          <p:cNvSpPr>
            <a:spLocks noGrp="1"/>
          </p:cNvSpPr>
          <p:nvPr>
            <p:ph type="sldNum" sz="quarter" idx="4"/>
          </p:nvPr>
        </p:nvSpPr>
        <p:spPr>
          <a:xfrm>
            <a:off x="9280508" y="6520009"/>
            <a:ext cx="2901950" cy="371475"/>
          </a:xfrm>
        </p:spPr>
        <p:txBody>
          <a:bodyPr/>
          <a:lstStyle/>
          <a:p>
            <a:fld id="{7EFC24D6-DB8F-6B44-BA5A-9BEC68C15CAA}" type="slidenum">
              <a:rPr lang="en-US" sz="1200" smtClean="0">
                <a:solidFill>
                  <a:schemeClr val="bg1">
                    <a:lumMod val="85000"/>
                    <a:lumOff val="15000"/>
                  </a:schemeClr>
                </a:solidFill>
                <a:latin typeface="Arial" panose="020B0604020202020204" pitchFamily="34" charset="0"/>
                <a:cs typeface="Arial" panose="020B0604020202020204" pitchFamily="34" charset="0"/>
              </a:rPr>
              <a:pPr/>
              <a:t>42</a:t>
            </a:fld>
            <a:endParaRPr lang="en-US" sz="1200" dirty="0">
              <a:solidFill>
                <a:schemeClr val="bg1">
                  <a:lumMod val="85000"/>
                  <a:lumOff val="15000"/>
                </a:schemeClr>
              </a:solidFill>
              <a:latin typeface="Arial" panose="020B0604020202020204" pitchFamily="34" charset="0"/>
              <a:cs typeface="Arial" panose="020B0604020202020204" pitchFamily="34" charset="0"/>
            </a:endParaRPr>
          </a:p>
        </p:txBody>
      </p:sp>
      <p:cxnSp>
        <p:nvCxnSpPr>
          <p:cNvPr id="15" name="Straight Connector 14">
            <a:extLst>
              <a:ext uri="{FF2B5EF4-FFF2-40B4-BE49-F238E27FC236}">
                <a16:creationId xmlns:a16="http://schemas.microsoft.com/office/drawing/2014/main" id="{C9C6FDFF-48C3-4826-943C-6CBA1BD261DA}"/>
              </a:ext>
            </a:extLst>
          </p:cNvPr>
          <p:cNvCxnSpPr>
            <a:cxnSpLocks/>
          </p:cNvCxnSpPr>
          <p:nvPr/>
        </p:nvCxnSpPr>
        <p:spPr>
          <a:xfrm flipV="1">
            <a:off x="6251020" y="2710927"/>
            <a:ext cx="10740" cy="3413774"/>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43AF828-5A69-446A-9FD0-83E6702B51F9}"/>
              </a:ext>
            </a:extLst>
          </p:cNvPr>
          <p:cNvCxnSpPr>
            <a:cxnSpLocks/>
          </p:cNvCxnSpPr>
          <p:nvPr/>
        </p:nvCxnSpPr>
        <p:spPr>
          <a:xfrm>
            <a:off x="2517288" y="4217893"/>
            <a:ext cx="7573384" cy="0"/>
          </a:xfrm>
          <a:prstGeom prst="line">
            <a:avLst/>
          </a:prstGeom>
          <a:ln>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28EEB290-E2E7-4591-9B9D-9F7B1D337605}"/>
              </a:ext>
            </a:extLst>
          </p:cNvPr>
          <p:cNvSpPr txBox="1"/>
          <p:nvPr/>
        </p:nvSpPr>
        <p:spPr>
          <a:xfrm>
            <a:off x="4530600" y="2829953"/>
            <a:ext cx="1730282" cy="683264"/>
          </a:xfrm>
          <a:prstGeom prst="rect">
            <a:avLst/>
          </a:prstGeom>
          <a:noFill/>
        </p:spPr>
        <p:txBody>
          <a:bodyPr wrap="none" lIns="182880" tIns="146304" rIns="182880" bIns="146304" rtlCol="0">
            <a:spAutoFit/>
          </a:bodyPr>
          <a:lstStyle/>
          <a:p>
            <a:pPr algn="ctr">
              <a:lnSpc>
                <a:spcPct val="90000"/>
              </a:lnSpc>
            </a:pPr>
            <a:r>
              <a:rPr lang="en-US" sz="1400" b="1" dirty="0">
                <a:solidFill>
                  <a:srgbClr val="FF8C00"/>
                </a:solidFill>
                <a:latin typeface="Arial" panose="020B0604020202020204" pitchFamily="34" charset="0"/>
                <a:cs typeface="Arial" panose="020B0604020202020204" pitchFamily="34" charset="0"/>
              </a:rPr>
              <a:t>Politics</a:t>
            </a:r>
          </a:p>
          <a:p>
            <a:pPr algn="ctr">
              <a:lnSpc>
                <a:spcPct val="90000"/>
              </a:lnSpc>
            </a:pPr>
            <a:r>
              <a:rPr lang="en-US" sz="1400" b="1" dirty="0">
                <a:solidFill>
                  <a:srgbClr val="FF8C00"/>
                </a:solidFill>
                <a:latin typeface="Arial" panose="020B0604020202020204" pitchFamily="34" charset="0"/>
                <a:cs typeface="Arial" panose="020B0604020202020204" pitchFamily="34" charset="0"/>
              </a:rPr>
              <a:t>(above average)</a:t>
            </a:r>
          </a:p>
        </p:txBody>
      </p:sp>
      <p:sp>
        <p:nvSpPr>
          <p:cNvPr id="22" name="TextBox 21">
            <a:extLst>
              <a:ext uri="{FF2B5EF4-FFF2-40B4-BE49-F238E27FC236}">
                <a16:creationId xmlns:a16="http://schemas.microsoft.com/office/drawing/2014/main" id="{7C351546-0305-49E4-860D-19B6895B0464}"/>
              </a:ext>
            </a:extLst>
          </p:cNvPr>
          <p:cNvSpPr txBox="1"/>
          <p:nvPr/>
        </p:nvSpPr>
        <p:spPr>
          <a:xfrm>
            <a:off x="7988410" y="4775225"/>
            <a:ext cx="1730281" cy="683264"/>
          </a:xfrm>
          <a:prstGeom prst="rect">
            <a:avLst/>
          </a:prstGeom>
          <a:noFill/>
        </p:spPr>
        <p:txBody>
          <a:bodyPr wrap="none" lIns="182880" tIns="146304" rIns="182880" bIns="146304" rtlCol="0">
            <a:spAutoFit/>
          </a:bodyPr>
          <a:lstStyle/>
          <a:p>
            <a:pPr algn="ctr">
              <a:lnSpc>
                <a:spcPct val="90000"/>
              </a:lnSpc>
            </a:pPr>
            <a:r>
              <a:rPr lang="en-US" sz="1400" b="1" dirty="0">
                <a:solidFill>
                  <a:srgbClr val="FF8C00"/>
                </a:solidFill>
                <a:latin typeface="Arial" panose="020B0604020202020204" pitchFamily="34" charset="0"/>
                <a:cs typeface="Arial" panose="020B0604020202020204" pitchFamily="34" charset="0"/>
              </a:rPr>
              <a:t>DCI</a:t>
            </a:r>
          </a:p>
          <a:p>
            <a:pPr algn="ctr">
              <a:lnSpc>
                <a:spcPct val="90000"/>
              </a:lnSpc>
            </a:pPr>
            <a:r>
              <a:rPr lang="en-US" sz="1400" b="1" dirty="0">
                <a:solidFill>
                  <a:srgbClr val="FF8C00"/>
                </a:solidFill>
                <a:latin typeface="Arial" panose="020B0604020202020204" pitchFamily="34" charset="0"/>
                <a:cs typeface="Arial" panose="020B0604020202020204" pitchFamily="34" charset="0"/>
              </a:rPr>
              <a:t>(above average)</a:t>
            </a:r>
          </a:p>
        </p:txBody>
      </p:sp>
      <p:sp>
        <p:nvSpPr>
          <p:cNvPr id="7" name="Oval 6">
            <a:extLst>
              <a:ext uri="{FF2B5EF4-FFF2-40B4-BE49-F238E27FC236}">
                <a16:creationId xmlns:a16="http://schemas.microsoft.com/office/drawing/2014/main" id="{CDA23E4B-4F3F-4475-B554-0610C6385ECD}"/>
              </a:ext>
            </a:extLst>
          </p:cNvPr>
          <p:cNvSpPr/>
          <p:nvPr/>
        </p:nvSpPr>
        <p:spPr bwMode="auto">
          <a:xfrm rot="650155">
            <a:off x="6276744" y="2933308"/>
            <a:ext cx="2865730" cy="833998"/>
          </a:xfrm>
          <a:prstGeom prst="ellipse">
            <a:avLst/>
          </a:prstGeom>
          <a:noFill/>
          <a:ln>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14825099"/>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bg>
      <p:bgPr>
        <a:blipFill dpi="0" rotWithShape="1">
          <a:blip r:embed="rId2">
            <a:alphaModFix amt="55000"/>
            <a:lum/>
          </a:blip>
          <a:srcRect/>
          <a:stretch>
            <a:fillRect l="-1000" r="-1000"/>
          </a:stretch>
        </a:blipFill>
        <a:effectLst/>
      </p:bgPr>
    </p:bg>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F6BA781F-D3B1-4C66-9608-ABC27427EA5F}"/>
              </a:ext>
            </a:extLst>
          </p:cNvPr>
          <p:cNvGrpSpPr/>
          <p:nvPr/>
        </p:nvGrpSpPr>
        <p:grpSpPr>
          <a:xfrm>
            <a:off x="-226141" y="2050576"/>
            <a:ext cx="6905768" cy="2756848"/>
            <a:chOff x="1" y="2050576"/>
            <a:chExt cx="6905768" cy="2756848"/>
          </a:xfrm>
        </p:grpSpPr>
        <p:sp>
          <p:nvSpPr>
            <p:cNvPr id="4" name="TextBox 3">
              <a:extLst>
                <a:ext uri="{FF2B5EF4-FFF2-40B4-BE49-F238E27FC236}">
                  <a16:creationId xmlns:a16="http://schemas.microsoft.com/office/drawing/2014/main" id="{948A2979-A456-4286-B8FC-8FF4C0C58EFD}"/>
                </a:ext>
              </a:extLst>
            </p:cNvPr>
            <p:cNvSpPr txBox="1"/>
            <p:nvPr/>
          </p:nvSpPr>
          <p:spPr>
            <a:xfrm>
              <a:off x="1" y="2480642"/>
              <a:ext cx="6096000" cy="923330"/>
            </a:xfrm>
            <a:prstGeom prst="rect">
              <a:avLst/>
            </a:prstGeom>
            <a:noFill/>
          </p:spPr>
          <p:txBody>
            <a:bodyPr wrap="square" rtlCol="0" anchor="ctr">
              <a:spAutoFit/>
            </a:bodyPr>
            <a:lstStyle/>
            <a:p>
              <a:pPr algn="r"/>
              <a:r>
                <a:rPr lang="en-US" altLang="ko-KR" sz="5400" dirty="0">
                  <a:solidFill>
                    <a:schemeClr val="bg1"/>
                  </a:solidFill>
                  <a:cs typeface="Arial" pitchFamily="34" charset="0"/>
                </a:rPr>
                <a:t>Appendix</a:t>
              </a:r>
              <a:endParaRPr lang="ko-KR" altLang="en-US" sz="5400" dirty="0">
                <a:solidFill>
                  <a:schemeClr val="bg1"/>
                </a:solidFill>
                <a:cs typeface="Arial" pitchFamily="34" charset="0"/>
              </a:endParaRPr>
            </a:p>
          </p:txBody>
        </p:sp>
        <p:sp>
          <p:nvSpPr>
            <p:cNvPr id="6" name="Freeform: Shape 5">
              <a:extLst>
                <a:ext uri="{FF2B5EF4-FFF2-40B4-BE49-F238E27FC236}">
                  <a16:creationId xmlns:a16="http://schemas.microsoft.com/office/drawing/2014/main" id="{6E2E9094-67D8-4A7C-B3AF-095F1FFF635E}"/>
                </a:ext>
              </a:extLst>
            </p:cNvPr>
            <p:cNvSpPr/>
            <p:nvPr/>
          </p:nvSpPr>
          <p:spPr>
            <a:xfrm>
              <a:off x="5377220" y="2050576"/>
              <a:ext cx="1528549" cy="2756848"/>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solidFill>
                  <a:schemeClr val="tx1"/>
                </a:solidFill>
              </a:endParaRPr>
            </a:p>
          </p:txBody>
        </p:sp>
      </p:grpSp>
    </p:spTree>
    <p:extLst>
      <p:ext uri="{BB962C8B-B14F-4D97-AF65-F5344CB8AC3E}">
        <p14:creationId xmlns:p14="http://schemas.microsoft.com/office/powerpoint/2010/main" val="42150882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2CE34B9-A643-46F4-9E3F-C34812183B7D}"/>
              </a:ext>
            </a:extLst>
          </p:cNvPr>
          <p:cNvSpPr>
            <a:spLocks noGrp="1"/>
          </p:cNvSpPr>
          <p:nvPr>
            <p:ph type="title"/>
          </p:nvPr>
        </p:nvSpPr>
        <p:spPr>
          <a:xfrm>
            <a:off x="68280" y="98594"/>
            <a:ext cx="11655840" cy="899665"/>
          </a:xfrm>
        </p:spPr>
        <p:txBody>
          <a:bodyPr/>
          <a:lstStyle/>
          <a:p>
            <a:r>
              <a:rPr lang="en-US" sz="4400" dirty="0">
                <a:latin typeface="Arial" panose="020B0604020202020204" pitchFamily="34" charset="0"/>
                <a:cs typeface="Arial" panose="020B0604020202020204" pitchFamily="34" charset="0"/>
              </a:rPr>
              <a:t>Online risk definitions</a:t>
            </a:r>
          </a:p>
        </p:txBody>
      </p:sp>
      <p:sp>
        <p:nvSpPr>
          <p:cNvPr id="12" name="Rectangle 11">
            <a:extLst>
              <a:ext uri="{FF2B5EF4-FFF2-40B4-BE49-F238E27FC236}">
                <a16:creationId xmlns:a16="http://schemas.microsoft.com/office/drawing/2014/main" id="{926D759F-B28F-4634-9892-00DDB4E3B5D6}"/>
              </a:ext>
            </a:extLst>
          </p:cNvPr>
          <p:cNvSpPr/>
          <p:nvPr/>
        </p:nvSpPr>
        <p:spPr bwMode="auto">
          <a:xfrm>
            <a:off x="179598" y="1407785"/>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Unwanted Contact:</a:t>
            </a:r>
            <a:r>
              <a:rPr lang="en-US" sz="980" dirty="0">
                <a:solidFill>
                  <a:srgbClr val="FFFFFF"/>
                </a:solidFill>
                <a:highlight>
                  <a:srgbClr val="262626"/>
                </a:highlight>
                <a:latin typeface="Arial" panose="020B0604020202020204" pitchFamily="34" charset="0"/>
                <a:cs typeface="Arial" panose="020B0604020202020204" pitchFamily="34" charset="0"/>
              </a:rPr>
              <a:t> Being personally contacted (by phone or in person) by someone who obtained your information online but without inviting them to contact you.</a:t>
            </a:r>
          </a:p>
        </p:txBody>
      </p:sp>
      <p:sp>
        <p:nvSpPr>
          <p:cNvPr id="13" name="Rectangle 12">
            <a:extLst>
              <a:ext uri="{FF2B5EF4-FFF2-40B4-BE49-F238E27FC236}">
                <a16:creationId xmlns:a16="http://schemas.microsoft.com/office/drawing/2014/main" id="{E840DD54-B2C7-4DAC-BDA2-92E92A790469}"/>
              </a:ext>
            </a:extLst>
          </p:cNvPr>
          <p:cNvSpPr/>
          <p:nvPr/>
        </p:nvSpPr>
        <p:spPr bwMode="auto">
          <a:xfrm>
            <a:off x="179598" y="2575089"/>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Hoaxes, Scams &amp; Frauds   </a:t>
            </a:r>
            <a:r>
              <a:rPr lang="en-US" sz="980" dirty="0">
                <a:solidFill>
                  <a:srgbClr val="FFFFFF"/>
                </a:solidFill>
                <a:highlight>
                  <a:srgbClr val="262626"/>
                </a:highlight>
                <a:latin typeface="Arial" panose="020B0604020202020204" pitchFamily="34" charset="0"/>
                <a:cs typeface="Arial" panose="020B0604020202020204" pitchFamily="34" charset="0"/>
              </a:rPr>
              <a:t>The spreading of false rumors (e.g., chain letters), criminal attempts to obtain personal information often for monetary gain (e.g., phishing scams), malicious emails disguised as someone you know (e.g. virus).]</a:t>
            </a:r>
          </a:p>
        </p:txBody>
      </p:sp>
      <p:sp>
        <p:nvSpPr>
          <p:cNvPr id="14" name="Rectangle 13">
            <a:extLst>
              <a:ext uri="{FF2B5EF4-FFF2-40B4-BE49-F238E27FC236}">
                <a16:creationId xmlns:a16="http://schemas.microsoft.com/office/drawing/2014/main" id="{2A8DCA16-8949-409A-8232-3464F9C46D7D}"/>
              </a:ext>
            </a:extLst>
          </p:cNvPr>
          <p:cNvSpPr/>
          <p:nvPr/>
        </p:nvSpPr>
        <p:spPr bwMode="auto">
          <a:xfrm>
            <a:off x="179598" y="3742393"/>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Hate Speech:</a:t>
            </a:r>
            <a:r>
              <a:rPr lang="en-US" sz="980" dirty="0">
                <a:solidFill>
                  <a:srgbClr val="FFFFFF"/>
                </a:solidFill>
                <a:highlight>
                  <a:srgbClr val="262626"/>
                </a:highlight>
                <a:latin typeface="Arial" panose="020B0604020202020204" pitchFamily="34" charset="0"/>
                <a:cs typeface="Arial" panose="020B0604020202020204" pitchFamily="34" charset="0"/>
              </a:rPr>
              <a:t> speech that attacks a person or group based on gender, ethnic origin, religion, race, disability, or sexual orientation.</a:t>
            </a:r>
          </a:p>
        </p:txBody>
      </p:sp>
      <p:sp>
        <p:nvSpPr>
          <p:cNvPr id="15" name="Rectangle 14">
            <a:extLst>
              <a:ext uri="{FF2B5EF4-FFF2-40B4-BE49-F238E27FC236}">
                <a16:creationId xmlns:a16="http://schemas.microsoft.com/office/drawing/2014/main" id="{BE45A3F5-060D-4910-98D4-E9F7A74D643C}"/>
              </a:ext>
            </a:extLst>
          </p:cNvPr>
          <p:cNvSpPr/>
          <p:nvPr/>
        </p:nvSpPr>
        <p:spPr bwMode="auto">
          <a:xfrm>
            <a:off x="2560104" y="1407785"/>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Treated Mean:</a:t>
            </a:r>
            <a:r>
              <a:rPr lang="en-US" sz="980" dirty="0">
                <a:solidFill>
                  <a:srgbClr val="FFFFFF"/>
                </a:solidFill>
                <a:latin typeface="Arial" panose="020B0604020202020204" pitchFamily="34" charset="0"/>
                <a:cs typeface="Arial" panose="020B0604020202020204" pitchFamily="34" charset="0"/>
              </a:rPr>
              <a:t> Words or messages sent to another person online that are unkind, unfair or malicious.]</a:t>
            </a:r>
          </a:p>
        </p:txBody>
      </p:sp>
      <p:sp>
        <p:nvSpPr>
          <p:cNvPr id="16" name="Rectangle 15">
            <a:extLst>
              <a:ext uri="{FF2B5EF4-FFF2-40B4-BE49-F238E27FC236}">
                <a16:creationId xmlns:a16="http://schemas.microsoft.com/office/drawing/2014/main" id="{33037B08-8288-4391-A414-551E4C258B1F}"/>
              </a:ext>
            </a:extLst>
          </p:cNvPr>
          <p:cNvSpPr/>
          <p:nvPr/>
        </p:nvSpPr>
        <p:spPr bwMode="auto">
          <a:xfrm>
            <a:off x="2560104" y="2575089"/>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Trolling: </a:t>
            </a:r>
            <a:r>
              <a:rPr lang="en-US" sz="980" dirty="0">
                <a:solidFill>
                  <a:srgbClr val="FFFFFF"/>
                </a:solidFill>
                <a:latin typeface="Arial" panose="020B0604020202020204" pitchFamily="34" charset="0"/>
                <a:cs typeface="Arial" panose="020B0604020202020204" pitchFamily="34" charset="0"/>
              </a:rPr>
              <a:t>A deliberate act to make someone mad or angry using online or social media comments in a clever, but deceitful manner.</a:t>
            </a:r>
          </a:p>
        </p:txBody>
      </p:sp>
      <p:sp>
        <p:nvSpPr>
          <p:cNvPr id="17" name="Rectangle 16">
            <a:extLst>
              <a:ext uri="{FF2B5EF4-FFF2-40B4-BE49-F238E27FC236}">
                <a16:creationId xmlns:a16="http://schemas.microsoft.com/office/drawing/2014/main" id="{726EF5C0-1758-40D6-AF42-F6235DDF02BF}"/>
              </a:ext>
            </a:extLst>
          </p:cNvPr>
          <p:cNvSpPr/>
          <p:nvPr/>
        </p:nvSpPr>
        <p:spPr bwMode="auto">
          <a:xfrm>
            <a:off x="2560104" y="3742393"/>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Misogyny : </a:t>
            </a:r>
            <a:r>
              <a:rPr lang="en-US" sz="980" dirty="0">
                <a:solidFill>
                  <a:srgbClr val="FFFFFF"/>
                </a:solidFill>
                <a:highlight>
                  <a:srgbClr val="262626"/>
                </a:highlight>
                <a:latin typeface="Arial" panose="020B0604020202020204" pitchFamily="34" charset="0"/>
                <a:cs typeface="Arial" panose="020B0604020202020204" pitchFamily="34" charset="0"/>
              </a:rPr>
              <a:t>An expression or demonstration of dislike, contempt for, or ingrained prejudice against women</a:t>
            </a:r>
          </a:p>
        </p:txBody>
      </p:sp>
      <p:sp>
        <p:nvSpPr>
          <p:cNvPr id="18" name="Rectangle 17">
            <a:extLst>
              <a:ext uri="{FF2B5EF4-FFF2-40B4-BE49-F238E27FC236}">
                <a16:creationId xmlns:a16="http://schemas.microsoft.com/office/drawing/2014/main" id="{5E73183B-D7D6-43AA-8D1C-603D22D67021}"/>
              </a:ext>
            </a:extLst>
          </p:cNvPr>
          <p:cNvSpPr/>
          <p:nvPr/>
        </p:nvSpPr>
        <p:spPr bwMode="auto">
          <a:xfrm>
            <a:off x="4940610" y="1407785"/>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Online harassment: </a:t>
            </a:r>
            <a:r>
              <a:rPr lang="en-US" sz="980" dirty="0">
                <a:solidFill>
                  <a:srgbClr val="FFFFFF"/>
                </a:solidFill>
                <a:latin typeface="Arial" panose="020B0604020202020204" pitchFamily="34" charset="0"/>
                <a:cs typeface="Arial" panose="020B0604020202020204" pitchFamily="34" charset="0"/>
              </a:rPr>
              <a:t>Threats or other offensive behavior (not sexual solicitation) sent online or posted online for others to see.</a:t>
            </a:r>
          </a:p>
        </p:txBody>
      </p:sp>
      <p:sp>
        <p:nvSpPr>
          <p:cNvPr id="19" name="Rectangle 18">
            <a:extLst>
              <a:ext uri="{FF2B5EF4-FFF2-40B4-BE49-F238E27FC236}">
                <a16:creationId xmlns:a16="http://schemas.microsoft.com/office/drawing/2014/main" id="{8260F3A4-F320-4548-A27B-AC55F13BB719}"/>
              </a:ext>
            </a:extLst>
          </p:cNvPr>
          <p:cNvSpPr/>
          <p:nvPr/>
        </p:nvSpPr>
        <p:spPr bwMode="auto">
          <a:xfrm>
            <a:off x="4940610" y="2575089"/>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Microaggression: </a:t>
            </a:r>
            <a:r>
              <a:rPr lang="en-US" sz="980" dirty="0">
                <a:solidFill>
                  <a:srgbClr val="FFFFFF"/>
                </a:solidFill>
                <a:latin typeface="Arial" panose="020B0604020202020204" pitchFamily="34" charset="0"/>
                <a:cs typeface="Arial" panose="020B0604020202020204" pitchFamily="34" charset="0"/>
              </a:rPr>
              <a:t>Casual insults made towards any marginalized group in society (e.g., religious or ethnic minorities, women, LGBT, people with disabilities, etc…).</a:t>
            </a:r>
          </a:p>
        </p:txBody>
      </p:sp>
      <p:sp>
        <p:nvSpPr>
          <p:cNvPr id="20" name="Rectangle 19">
            <a:extLst>
              <a:ext uri="{FF2B5EF4-FFF2-40B4-BE49-F238E27FC236}">
                <a16:creationId xmlns:a16="http://schemas.microsoft.com/office/drawing/2014/main" id="{792A043C-EB08-4A2C-9C82-8199B5853E49}"/>
              </a:ext>
            </a:extLst>
          </p:cNvPr>
          <p:cNvSpPr/>
          <p:nvPr/>
        </p:nvSpPr>
        <p:spPr bwMode="auto">
          <a:xfrm>
            <a:off x="4940610" y="3742393"/>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Cyberbullying: </a:t>
            </a:r>
            <a:r>
              <a:rPr lang="en-US" sz="980" dirty="0">
                <a:solidFill>
                  <a:srgbClr val="FFFFFF"/>
                </a:solidFill>
                <a:latin typeface="Arial" panose="020B0604020202020204" pitchFamily="34" charset="0"/>
                <a:cs typeface="Arial" panose="020B0604020202020204" pitchFamily="34" charset="0"/>
              </a:rPr>
              <a:t>When the Internet, phones or other devices are used to send or post text, images, or video intended to hurt, embarrass or intimidate another person.</a:t>
            </a:r>
          </a:p>
        </p:txBody>
      </p:sp>
      <p:sp>
        <p:nvSpPr>
          <p:cNvPr id="21" name="Rectangle 20">
            <a:extLst>
              <a:ext uri="{FF2B5EF4-FFF2-40B4-BE49-F238E27FC236}">
                <a16:creationId xmlns:a16="http://schemas.microsoft.com/office/drawing/2014/main" id="{993900DF-C14F-4807-8E38-6801D68A3ED3}"/>
              </a:ext>
            </a:extLst>
          </p:cNvPr>
          <p:cNvSpPr/>
          <p:nvPr/>
        </p:nvSpPr>
        <p:spPr bwMode="auto">
          <a:xfrm>
            <a:off x="7321116" y="1407785"/>
            <a:ext cx="2330705" cy="112746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Unwanted Sexting Received: </a:t>
            </a:r>
            <a:r>
              <a:rPr lang="en-US" sz="980" dirty="0">
                <a:solidFill>
                  <a:srgbClr val="FFFFFF"/>
                </a:solidFill>
                <a:latin typeface="Arial" panose="020B0604020202020204" pitchFamily="34" charset="0"/>
                <a:cs typeface="Arial" panose="020B0604020202020204" pitchFamily="34" charset="0"/>
              </a:rPr>
              <a:t>  Received unwanted sexually explicit messages and imagery.</a:t>
            </a:r>
          </a:p>
        </p:txBody>
      </p:sp>
      <p:sp>
        <p:nvSpPr>
          <p:cNvPr id="22" name="Rectangle 21">
            <a:extLst>
              <a:ext uri="{FF2B5EF4-FFF2-40B4-BE49-F238E27FC236}">
                <a16:creationId xmlns:a16="http://schemas.microsoft.com/office/drawing/2014/main" id="{886CE7C6-1A34-4A1A-BC95-1F4DC9434D14}"/>
              </a:ext>
            </a:extLst>
          </p:cNvPr>
          <p:cNvSpPr/>
          <p:nvPr/>
        </p:nvSpPr>
        <p:spPr bwMode="auto">
          <a:xfrm>
            <a:off x="7321116" y="2575089"/>
            <a:ext cx="2330705" cy="112746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Sexual solicitation: </a:t>
            </a:r>
            <a:r>
              <a:rPr lang="en-US" sz="980" dirty="0">
                <a:solidFill>
                  <a:srgbClr val="FFFFFF"/>
                </a:solidFill>
                <a:latin typeface="Arial" panose="020B0604020202020204" pitchFamily="34" charset="0"/>
                <a:cs typeface="Arial" panose="020B0604020202020204" pitchFamily="34" charset="0"/>
              </a:rPr>
              <a:t>A person who requests to engage in sexual activities or sexual talk or to give personal sexual information that is unwanted.</a:t>
            </a:r>
          </a:p>
        </p:txBody>
      </p:sp>
      <p:sp>
        <p:nvSpPr>
          <p:cNvPr id="23" name="Rectangle 22">
            <a:extLst>
              <a:ext uri="{FF2B5EF4-FFF2-40B4-BE49-F238E27FC236}">
                <a16:creationId xmlns:a16="http://schemas.microsoft.com/office/drawing/2014/main" id="{9415126E-A346-41C2-8980-9A04E7A90EC3}"/>
              </a:ext>
            </a:extLst>
          </p:cNvPr>
          <p:cNvSpPr/>
          <p:nvPr/>
        </p:nvSpPr>
        <p:spPr bwMode="auto">
          <a:xfrm>
            <a:off x="7321116" y="3742393"/>
            <a:ext cx="2330705" cy="112746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Unwanted Sexting Sent:</a:t>
            </a:r>
            <a:r>
              <a:rPr lang="en-US" sz="980" dirty="0">
                <a:solidFill>
                  <a:srgbClr val="FFFFFF"/>
                </a:solidFill>
                <a:latin typeface="Arial" panose="020B0604020202020204" pitchFamily="34" charset="0"/>
                <a:cs typeface="Arial" panose="020B0604020202020204" pitchFamily="34" charset="0"/>
              </a:rPr>
              <a:t> I sent unwanted sexually explicit messages and imagery.</a:t>
            </a:r>
          </a:p>
        </p:txBody>
      </p:sp>
      <p:sp>
        <p:nvSpPr>
          <p:cNvPr id="24" name="Rectangle 23">
            <a:extLst>
              <a:ext uri="{FF2B5EF4-FFF2-40B4-BE49-F238E27FC236}">
                <a16:creationId xmlns:a16="http://schemas.microsoft.com/office/drawing/2014/main" id="{BFFEBE15-80A0-4600-8764-BD0337485FDC}"/>
              </a:ext>
            </a:extLst>
          </p:cNvPr>
          <p:cNvSpPr/>
          <p:nvPr/>
        </p:nvSpPr>
        <p:spPr bwMode="auto">
          <a:xfrm>
            <a:off x="179598" y="4925663"/>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Discrimination :</a:t>
            </a:r>
            <a:r>
              <a:rPr lang="en-US" sz="980" dirty="0">
                <a:solidFill>
                  <a:srgbClr val="FFFFFF"/>
                </a:solidFill>
                <a:highlight>
                  <a:srgbClr val="262626"/>
                </a:highlight>
                <a:latin typeface="Arial" panose="020B0604020202020204" pitchFamily="34" charset="0"/>
                <a:cs typeface="Arial" panose="020B0604020202020204" pitchFamily="34" charset="0"/>
              </a:rPr>
              <a:t> A person who is discriminated against or excluded based on gender, ethnic origin, religion, race, disability, or sexual orientation</a:t>
            </a:r>
          </a:p>
        </p:txBody>
      </p:sp>
      <p:sp>
        <p:nvSpPr>
          <p:cNvPr id="25" name="Rectangle 24">
            <a:extLst>
              <a:ext uri="{FF2B5EF4-FFF2-40B4-BE49-F238E27FC236}">
                <a16:creationId xmlns:a16="http://schemas.microsoft.com/office/drawing/2014/main" id="{C92A3E95-66F2-410C-84FF-E9FA1E77456E}"/>
              </a:ext>
            </a:extLst>
          </p:cNvPr>
          <p:cNvSpPr/>
          <p:nvPr/>
        </p:nvSpPr>
        <p:spPr bwMode="auto">
          <a:xfrm>
            <a:off x="2560104" y="4925663"/>
            <a:ext cx="2330705" cy="1127463"/>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highlight>
                  <a:srgbClr val="262626"/>
                </a:highlight>
                <a:latin typeface="Arial" panose="020B0604020202020204" pitchFamily="34" charset="0"/>
                <a:cs typeface="Arial" panose="020B0604020202020204" pitchFamily="34" charset="0"/>
              </a:rPr>
              <a:t>Terrorism recruiting: </a:t>
            </a:r>
            <a:r>
              <a:rPr lang="en-US" sz="980" dirty="0">
                <a:solidFill>
                  <a:srgbClr val="FFFFFF"/>
                </a:solidFill>
                <a:highlight>
                  <a:srgbClr val="262626"/>
                </a:highlight>
                <a:latin typeface="Arial" panose="020B0604020202020204" pitchFamily="34" charset="0"/>
                <a:cs typeface="Arial" panose="020B0604020202020204" pitchFamily="34" charset="0"/>
              </a:rPr>
              <a:t>An attempt by a terrorist or terrorist organization to recruit a person for the purposes of causing harm.</a:t>
            </a:r>
            <a:r>
              <a:rPr lang="en-US" sz="980" b="1" dirty="0">
                <a:solidFill>
                  <a:srgbClr val="FFFFFF"/>
                </a:solidFill>
                <a:highlight>
                  <a:srgbClr val="262626"/>
                </a:highlight>
                <a:latin typeface="Arial" panose="020B0604020202020204" pitchFamily="34" charset="0"/>
                <a:cs typeface="Arial" panose="020B0604020202020204" pitchFamily="34" charset="0"/>
              </a:rPr>
              <a:t> </a:t>
            </a:r>
            <a:endParaRPr lang="en-US" sz="980" dirty="0">
              <a:solidFill>
                <a:srgbClr val="FFFFFF"/>
              </a:solidFill>
              <a:highlight>
                <a:srgbClr val="262626"/>
              </a:highlight>
              <a:latin typeface="Arial" panose="020B0604020202020204" pitchFamily="34" charset="0"/>
              <a:cs typeface="Arial" panose="020B0604020202020204" pitchFamily="34" charset="0"/>
            </a:endParaRPr>
          </a:p>
        </p:txBody>
      </p:sp>
      <p:sp>
        <p:nvSpPr>
          <p:cNvPr id="26" name="Rectangle 25">
            <a:extLst>
              <a:ext uri="{FF2B5EF4-FFF2-40B4-BE49-F238E27FC236}">
                <a16:creationId xmlns:a16="http://schemas.microsoft.com/office/drawing/2014/main" id="{8D2BF49D-525B-4E7A-A28E-5554E69D7D63}"/>
              </a:ext>
            </a:extLst>
          </p:cNvPr>
          <p:cNvSpPr/>
          <p:nvPr/>
        </p:nvSpPr>
        <p:spPr bwMode="auto">
          <a:xfrm>
            <a:off x="4940610" y="4925663"/>
            <a:ext cx="2330705" cy="112746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Swatting: </a:t>
            </a:r>
            <a:r>
              <a:rPr lang="en-US" sz="980" dirty="0">
                <a:solidFill>
                  <a:srgbClr val="FFFFFF"/>
                </a:solidFill>
                <a:latin typeface="Arial" panose="020B0604020202020204" pitchFamily="34" charset="0"/>
                <a:cs typeface="Arial" panose="020B0604020202020204" pitchFamily="34" charset="0"/>
              </a:rPr>
              <a:t>The act of deceiving emergency services (e.g., police, fire, medical) into sending an emergency response based on the false report of an ongoing critical incident or crime.</a:t>
            </a:r>
          </a:p>
        </p:txBody>
      </p:sp>
      <p:sp>
        <p:nvSpPr>
          <p:cNvPr id="27" name="Rectangle 26">
            <a:extLst>
              <a:ext uri="{FF2B5EF4-FFF2-40B4-BE49-F238E27FC236}">
                <a16:creationId xmlns:a16="http://schemas.microsoft.com/office/drawing/2014/main" id="{C826BAFC-EA9F-4493-88A2-37D9DEEC4FE7}"/>
              </a:ext>
            </a:extLst>
          </p:cNvPr>
          <p:cNvSpPr/>
          <p:nvPr/>
        </p:nvSpPr>
        <p:spPr bwMode="auto">
          <a:xfrm>
            <a:off x="7321116" y="4925663"/>
            <a:ext cx="2330705" cy="112746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Sextortion: </a:t>
            </a:r>
            <a:r>
              <a:rPr lang="en-US" sz="784" dirty="0">
                <a:solidFill>
                  <a:srgbClr val="FFFFFF"/>
                </a:solidFill>
                <a:latin typeface="Arial" panose="020B0604020202020204" pitchFamily="34" charset="0"/>
                <a:cs typeface="Arial" panose="020B0604020202020204" pitchFamily="34" charset="0"/>
              </a:rPr>
              <a:t>When someone threatens to distribute your private and sensitive material if you don’t provide them images of a sexual nature, sexual favors, or money. The perpetrator may also threaten to harm your friends or relatives by using information they have obtained from your electronic devices unless you comply with their demands.</a:t>
            </a:r>
          </a:p>
        </p:txBody>
      </p:sp>
      <p:sp>
        <p:nvSpPr>
          <p:cNvPr id="28" name="Rectangle 27">
            <a:extLst>
              <a:ext uri="{FF2B5EF4-FFF2-40B4-BE49-F238E27FC236}">
                <a16:creationId xmlns:a16="http://schemas.microsoft.com/office/drawing/2014/main" id="{506E9276-BF70-4A12-A1D7-00671C89887C}"/>
              </a:ext>
            </a:extLst>
          </p:cNvPr>
          <p:cNvSpPr/>
          <p:nvPr/>
        </p:nvSpPr>
        <p:spPr bwMode="auto">
          <a:xfrm>
            <a:off x="9701622" y="1407785"/>
            <a:ext cx="2330705" cy="1127463"/>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Doxing: </a:t>
            </a:r>
            <a:r>
              <a:rPr lang="en-US" sz="980" dirty="0">
                <a:solidFill>
                  <a:srgbClr val="FFFFFF"/>
                </a:solidFill>
                <a:latin typeface="Arial" panose="020B0604020202020204" pitchFamily="34" charset="0"/>
                <a:cs typeface="Arial" panose="020B0604020202020204" pitchFamily="34" charset="0"/>
              </a:rPr>
              <a:t>The process of collecting and distributing or posting information about a person (e.g., name, age, email, address, phone number, photographs, etc.) without their permission.</a:t>
            </a:r>
          </a:p>
        </p:txBody>
      </p:sp>
      <p:sp>
        <p:nvSpPr>
          <p:cNvPr id="29" name="Rectangle 28">
            <a:extLst>
              <a:ext uri="{FF2B5EF4-FFF2-40B4-BE49-F238E27FC236}">
                <a16:creationId xmlns:a16="http://schemas.microsoft.com/office/drawing/2014/main" id="{01E1EBC4-8761-4F4E-BAED-F19C875D109B}"/>
              </a:ext>
            </a:extLst>
          </p:cNvPr>
          <p:cNvSpPr/>
          <p:nvPr/>
        </p:nvSpPr>
        <p:spPr bwMode="auto">
          <a:xfrm>
            <a:off x="9701622" y="2575089"/>
            <a:ext cx="2330705" cy="1127463"/>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Damage to Personal reputation:</a:t>
            </a:r>
            <a:r>
              <a:rPr lang="en-US" sz="980" dirty="0">
                <a:solidFill>
                  <a:srgbClr val="FFFFFF"/>
                </a:solidFill>
                <a:latin typeface="Arial" panose="020B0604020202020204" pitchFamily="34" charset="0"/>
                <a:cs typeface="Arial" panose="020B0604020202020204" pitchFamily="34" charset="0"/>
              </a:rPr>
              <a:t>    Damage or destruction to the image created of you through PERSONAL information you or others shared online in blogs, postings, pictures, tweets, videos, etc.</a:t>
            </a:r>
          </a:p>
        </p:txBody>
      </p:sp>
      <p:sp>
        <p:nvSpPr>
          <p:cNvPr id="30" name="Rectangle 29">
            <a:extLst>
              <a:ext uri="{FF2B5EF4-FFF2-40B4-BE49-F238E27FC236}">
                <a16:creationId xmlns:a16="http://schemas.microsoft.com/office/drawing/2014/main" id="{8B796EA4-7FF6-44C8-A973-4E804A3831C4}"/>
              </a:ext>
            </a:extLst>
          </p:cNvPr>
          <p:cNvSpPr/>
          <p:nvPr/>
        </p:nvSpPr>
        <p:spPr bwMode="auto">
          <a:xfrm>
            <a:off x="9701622" y="3742393"/>
            <a:ext cx="2330705" cy="1127463"/>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Damage to Professional/Work reputation: </a:t>
            </a:r>
            <a:r>
              <a:rPr lang="en-US" sz="980" dirty="0">
                <a:solidFill>
                  <a:srgbClr val="FFFFFF"/>
                </a:solidFill>
                <a:latin typeface="Arial" panose="020B0604020202020204" pitchFamily="34" charset="0"/>
                <a:cs typeface="Arial" panose="020B0604020202020204" pitchFamily="34" charset="0"/>
              </a:rPr>
              <a:t>Damage or destruction to the image created of you through work information you or others shared online in blogs, postings, pictures, tweets, videos, etc.</a:t>
            </a:r>
          </a:p>
        </p:txBody>
      </p:sp>
      <p:sp>
        <p:nvSpPr>
          <p:cNvPr id="31" name="Rectangle 30">
            <a:extLst>
              <a:ext uri="{FF2B5EF4-FFF2-40B4-BE49-F238E27FC236}">
                <a16:creationId xmlns:a16="http://schemas.microsoft.com/office/drawing/2014/main" id="{2155D550-6157-40BB-B957-04384F4B94E6}"/>
              </a:ext>
            </a:extLst>
          </p:cNvPr>
          <p:cNvSpPr/>
          <p:nvPr/>
        </p:nvSpPr>
        <p:spPr bwMode="auto">
          <a:xfrm>
            <a:off x="9701622" y="4925663"/>
            <a:ext cx="2330705" cy="112746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Revenge pornography: </a:t>
            </a:r>
            <a:r>
              <a:rPr lang="en-US" sz="980" dirty="0">
                <a:solidFill>
                  <a:srgbClr val="FFFFFF"/>
                </a:solidFill>
                <a:latin typeface="Arial" panose="020B0604020202020204" pitchFamily="34" charset="0"/>
                <a:cs typeface="Arial" panose="020B0604020202020204" pitchFamily="34" charset="0"/>
              </a:rPr>
              <a:t>A sexually explicit portrayal of one or more people distributed without their consent.</a:t>
            </a:r>
          </a:p>
        </p:txBody>
      </p:sp>
      <p:sp>
        <p:nvSpPr>
          <p:cNvPr id="32" name="Rectangle 31">
            <a:extLst>
              <a:ext uri="{FF2B5EF4-FFF2-40B4-BE49-F238E27FC236}">
                <a16:creationId xmlns:a16="http://schemas.microsoft.com/office/drawing/2014/main" id="{32DA7DE2-5EBA-46AD-9323-02E99BF2A19F}"/>
              </a:ext>
            </a:extLst>
          </p:cNvPr>
          <p:cNvSpPr/>
          <p:nvPr/>
        </p:nvSpPr>
        <p:spPr bwMode="auto">
          <a:xfrm>
            <a:off x="185877" y="1012352"/>
            <a:ext cx="2330705" cy="33864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dirty="0">
                <a:gradFill>
                  <a:gsLst>
                    <a:gs pos="0">
                      <a:srgbClr val="FFFFFF"/>
                    </a:gs>
                    <a:gs pos="100000">
                      <a:srgbClr val="FFFFFF"/>
                    </a:gs>
                  </a:gsLst>
                  <a:lin ang="5400000" scaled="0"/>
                </a:gradFill>
                <a:highlight>
                  <a:srgbClr val="262626"/>
                </a:highlight>
                <a:latin typeface="Arial" panose="020B0604020202020204" pitchFamily="34" charset="0"/>
                <a:ea typeface="Segoe UI" pitchFamily="34" charset="0"/>
                <a:cs typeface="Arial" panose="020B0604020202020204" pitchFamily="34" charset="0"/>
              </a:rPr>
              <a:t>Intrusive Risks</a:t>
            </a:r>
          </a:p>
        </p:txBody>
      </p:sp>
      <p:sp>
        <p:nvSpPr>
          <p:cNvPr id="36" name="Rectangle 35">
            <a:extLst>
              <a:ext uri="{FF2B5EF4-FFF2-40B4-BE49-F238E27FC236}">
                <a16:creationId xmlns:a16="http://schemas.microsoft.com/office/drawing/2014/main" id="{5052B0D2-C071-46CB-B8CE-193130A8B976}"/>
              </a:ext>
            </a:extLst>
          </p:cNvPr>
          <p:cNvSpPr/>
          <p:nvPr/>
        </p:nvSpPr>
        <p:spPr bwMode="auto">
          <a:xfrm>
            <a:off x="2558018" y="1012352"/>
            <a:ext cx="2330705" cy="338649"/>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Behavioral Risks</a:t>
            </a:r>
          </a:p>
        </p:txBody>
      </p:sp>
      <p:sp>
        <p:nvSpPr>
          <p:cNvPr id="37" name="Rectangle 36">
            <a:extLst>
              <a:ext uri="{FF2B5EF4-FFF2-40B4-BE49-F238E27FC236}">
                <a16:creationId xmlns:a16="http://schemas.microsoft.com/office/drawing/2014/main" id="{DD828794-3A46-4A46-8F6A-8AF15FC7D4F4}"/>
              </a:ext>
            </a:extLst>
          </p:cNvPr>
          <p:cNvSpPr/>
          <p:nvPr/>
        </p:nvSpPr>
        <p:spPr bwMode="auto">
          <a:xfrm>
            <a:off x="7321116" y="1012352"/>
            <a:ext cx="2330705" cy="338649"/>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Sexual Risks</a:t>
            </a:r>
          </a:p>
        </p:txBody>
      </p:sp>
      <p:sp>
        <p:nvSpPr>
          <p:cNvPr id="38" name="Rectangle 37">
            <a:extLst>
              <a:ext uri="{FF2B5EF4-FFF2-40B4-BE49-F238E27FC236}">
                <a16:creationId xmlns:a16="http://schemas.microsoft.com/office/drawing/2014/main" id="{E7329812-9483-4922-AA3B-D4C97CA02B7C}"/>
              </a:ext>
            </a:extLst>
          </p:cNvPr>
          <p:cNvSpPr/>
          <p:nvPr/>
        </p:nvSpPr>
        <p:spPr bwMode="auto">
          <a:xfrm>
            <a:off x="9701622" y="1012352"/>
            <a:ext cx="2330705" cy="338649"/>
          </a:xfrm>
          <a:prstGeom prst="rect">
            <a:avLst/>
          </a:prstGeom>
          <a:solidFill>
            <a:srgbClr val="00BC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algn="ctr" defTabSz="914102" fontAlgn="base">
              <a:lnSpc>
                <a:spcPct val="90000"/>
              </a:lnSpc>
              <a:spcBef>
                <a:spcPct val="0"/>
              </a:spcBef>
              <a:spcAft>
                <a:spcPct val="0"/>
              </a:spcAft>
            </a:pPr>
            <a:r>
              <a:rPr lang="en-US" sz="1176" b="1"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Reputational Risks</a:t>
            </a:r>
          </a:p>
        </p:txBody>
      </p:sp>
      <p:sp>
        <p:nvSpPr>
          <p:cNvPr id="33" name="Rectangle 32">
            <a:extLst>
              <a:ext uri="{FF2B5EF4-FFF2-40B4-BE49-F238E27FC236}">
                <a16:creationId xmlns:a16="http://schemas.microsoft.com/office/drawing/2014/main" id="{43606955-228B-4F1A-9BE5-02F01DAD9AE2}"/>
              </a:ext>
            </a:extLst>
          </p:cNvPr>
          <p:cNvSpPr/>
          <p:nvPr/>
        </p:nvSpPr>
        <p:spPr bwMode="auto">
          <a:xfrm>
            <a:off x="7321116" y="6082101"/>
            <a:ext cx="2330705" cy="657323"/>
          </a:xfrm>
          <a:prstGeom prst="rect">
            <a:avLst/>
          </a:prstGeom>
          <a:solidFill>
            <a:srgbClr val="009E49"/>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367"/>
            <a:r>
              <a:rPr lang="en-US" sz="980" b="1" dirty="0">
                <a:solidFill>
                  <a:srgbClr val="FFFFFF"/>
                </a:solidFill>
                <a:latin typeface="Arial" panose="020B0604020202020204" pitchFamily="34" charset="0"/>
                <a:cs typeface="Arial" panose="020B0604020202020204" pitchFamily="34" charset="0"/>
              </a:rPr>
              <a:t>Unwanted sexual attention: </a:t>
            </a:r>
            <a:r>
              <a:rPr lang="en-US" sz="980" dirty="0">
                <a:solidFill>
                  <a:srgbClr val="FFFFFF"/>
                </a:solidFill>
                <a:latin typeface="Arial" panose="020B0604020202020204" pitchFamily="34" charset="0"/>
                <a:cs typeface="Arial" panose="020B0604020202020204" pitchFamily="34" charset="0"/>
              </a:rPr>
              <a:t>unwelcomed sexually oriented teasing, joking or flirting online or via electronic means</a:t>
            </a:r>
          </a:p>
        </p:txBody>
      </p:sp>
      <p:sp>
        <p:nvSpPr>
          <p:cNvPr id="34" name="Slide Number Placeholder 2">
            <a:extLst>
              <a:ext uri="{FF2B5EF4-FFF2-40B4-BE49-F238E27FC236}">
                <a16:creationId xmlns:a16="http://schemas.microsoft.com/office/drawing/2014/main" id="{03BCDAF8-BF08-46F1-A7F8-633A9907C996}"/>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820982807"/>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AA14FB-A933-4851-A9F3-E1620566D388}"/>
              </a:ext>
            </a:extLst>
          </p:cNvPr>
          <p:cNvSpPr>
            <a:spLocks noGrp="1"/>
          </p:cNvSpPr>
          <p:nvPr>
            <p:ph type="body" sz="quarter" idx="10"/>
          </p:nvPr>
        </p:nvSpPr>
        <p:spPr>
          <a:xfrm>
            <a:off x="323529" y="304601"/>
            <a:ext cx="11573197" cy="794064"/>
          </a:xfrm>
        </p:spPr>
        <p:txBody>
          <a:bodyPr/>
          <a:lstStyle/>
          <a:p>
            <a:pPr algn="l"/>
            <a:r>
              <a:rPr lang="en-US" dirty="0"/>
              <a:t>Key metrics by Country</a:t>
            </a:r>
          </a:p>
        </p:txBody>
      </p:sp>
      <p:sp>
        <p:nvSpPr>
          <p:cNvPr id="3" name="Slide Number Placeholder 2">
            <a:extLst>
              <a:ext uri="{FF2B5EF4-FFF2-40B4-BE49-F238E27FC236}">
                <a16:creationId xmlns:a16="http://schemas.microsoft.com/office/drawing/2014/main" id="{36ED70B9-4010-4CCC-83B6-33E8C2E5FD9B}"/>
              </a:ext>
            </a:extLst>
          </p:cNvPr>
          <p:cNvSpPr>
            <a:spLocks noGrp="1"/>
          </p:cNvSpPr>
          <p:nvPr>
            <p:ph type="sldNum" sz="quarter" idx="4"/>
          </p:nvPr>
        </p:nvSpPr>
        <p:spPr/>
        <p:txBody>
          <a:bodyPr/>
          <a:lstStyle/>
          <a:p>
            <a:fld id="{7EFC24D6-DB8F-6B44-BA5A-9BEC68C15CAA}" type="slidenum">
              <a:rPr lang="en-US" smtClean="0">
                <a:solidFill>
                  <a:schemeClr val="bg1"/>
                </a:solidFill>
                <a:latin typeface="Arial" panose="020B0604020202020204" pitchFamily="34" charset="0"/>
                <a:cs typeface="Arial" panose="020B0604020202020204" pitchFamily="34" charset="0"/>
              </a:rPr>
              <a:pPr/>
              <a:t>45</a:t>
            </a:fld>
            <a:endParaRPr lang="en-US" dirty="0">
              <a:solidFill>
                <a:schemeClr val="bg1"/>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704C4FF5-D621-439A-B6C7-1EAED04B0C94}"/>
              </a:ext>
            </a:extLst>
          </p:cNvPr>
          <p:cNvGraphicFramePr>
            <a:graphicFrameLocks noGrp="1"/>
          </p:cNvGraphicFramePr>
          <p:nvPr>
            <p:extLst>
              <p:ext uri="{D42A27DB-BD31-4B8C-83A1-F6EECF244321}">
                <p14:modId xmlns:p14="http://schemas.microsoft.com/office/powerpoint/2010/main" val="906189613"/>
              </p:ext>
            </p:extLst>
          </p:nvPr>
        </p:nvGraphicFramePr>
        <p:xfrm>
          <a:off x="493353" y="1428078"/>
          <a:ext cx="11205294" cy="4389120"/>
        </p:xfrm>
        <a:graphic>
          <a:graphicData uri="http://schemas.openxmlformats.org/drawingml/2006/table">
            <a:tbl>
              <a:tblPr firstRow="1" bandRow="1">
                <a:tableStyleId>{8EC20E35-A176-4012-BC5E-935CFFF8708E}</a:tableStyleId>
              </a:tblPr>
              <a:tblGrid>
                <a:gridCol w="1200569">
                  <a:extLst>
                    <a:ext uri="{9D8B030D-6E8A-4147-A177-3AD203B41FA5}">
                      <a16:colId xmlns:a16="http://schemas.microsoft.com/office/drawing/2014/main" val="2411631716"/>
                    </a:ext>
                  </a:extLst>
                </a:gridCol>
                <a:gridCol w="400189">
                  <a:extLst>
                    <a:ext uri="{9D8B030D-6E8A-4147-A177-3AD203B41FA5}">
                      <a16:colId xmlns:a16="http://schemas.microsoft.com/office/drawing/2014/main" val="1233587273"/>
                    </a:ext>
                  </a:extLst>
                </a:gridCol>
                <a:gridCol w="400189">
                  <a:extLst>
                    <a:ext uri="{9D8B030D-6E8A-4147-A177-3AD203B41FA5}">
                      <a16:colId xmlns:a16="http://schemas.microsoft.com/office/drawing/2014/main" val="2290844407"/>
                    </a:ext>
                  </a:extLst>
                </a:gridCol>
                <a:gridCol w="400189">
                  <a:extLst>
                    <a:ext uri="{9D8B030D-6E8A-4147-A177-3AD203B41FA5}">
                      <a16:colId xmlns:a16="http://schemas.microsoft.com/office/drawing/2014/main" val="2448762416"/>
                    </a:ext>
                  </a:extLst>
                </a:gridCol>
                <a:gridCol w="400189">
                  <a:extLst>
                    <a:ext uri="{9D8B030D-6E8A-4147-A177-3AD203B41FA5}">
                      <a16:colId xmlns:a16="http://schemas.microsoft.com/office/drawing/2014/main" val="2210256043"/>
                    </a:ext>
                  </a:extLst>
                </a:gridCol>
                <a:gridCol w="400189">
                  <a:extLst>
                    <a:ext uri="{9D8B030D-6E8A-4147-A177-3AD203B41FA5}">
                      <a16:colId xmlns:a16="http://schemas.microsoft.com/office/drawing/2014/main" val="3081190374"/>
                    </a:ext>
                  </a:extLst>
                </a:gridCol>
                <a:gridCol w="400189">
                  <a:extLst>
                    <a:ext uri="{9D8B030D-6E8A-4147-A177-3AD203B41FA5}">
                      <a16:colId xmlns:a16="http://schemas.microsoft.com/office/drawing/2014/main" val="3222054160"/>
                    </a:ext>
                  </a:extLst>
                </a:gridCol>
                <a:gridCol w="400189">
                  <a:extLst>
                    <a:ext uri="{9D8B030D-6E8A-4147-A177-3AD203B41FA5}">
                      <a16:colId xmlns:a16="http://schemas.microsoft.com/office/drawing/2014/main" val="665005312"/>
                    </a:ext>
                  </a:extLst>
                </a:gridCol>
                <a:gridCol w="400189">
                  <a:extLst>
                    <a:ext uri="{9D8B030D-6E8A-4147-A177-3AD203B41FA5}">
                      <a16:colId xmlns:a16="http://schemas.microsoft.com/office/drawing/2014/main" val="549204780"/>
                    </a:ext>
                  </a:extLst>
                </a:gridCol>
                <a:gridCol w="400189">
                  <a:extLst>
                    <a:ext uri="{9D8B030D-6E8A-4147-A177-3AD203B41FA5}">
                      <a16:colId xmlns:a16="http://schemas.microsoft.com/office/drawing/2014/main" val="490131773"/>
                    </a:ext>
                  </a:extLst>
                </a:gridCol>
                <a:gridCol w="400189">
                  <a:extLst>
                    <a:ext uri="{9D8B030D-6E8A-4147-A177-3AD203B41FA5}">
                      <a16:colId xmlns:a16="http://schemas.microsoft.com/office/drawing/2014/main" val="1645805542"/>
                    </a:ext>
                  </a:extLst>
                </a:gridCol>
                <a:gridCol w="400189">
                  <a:extLst>
                    <a:ext uri="{9D8B030D-6E8A-4147-A177-3AD203B41FA5}">
                      <a16:colId xmlns:a16="http://schemas.microsoft.com/office/drawing/2014/main" val="47697376"/>
                    </a:ext>
                  </a:extLst>
                </a:gridCol>
                <a:gridCol w="400189">
                  <a:extLst>
                    <a:ext uri="{9D8B030D-6E8A-4147-A177-3AD203B41FA5}">
                      <a16:colId xmlns:a16="http://schemas.microsoft.com/office/drawing/2014/main" val="1308393501"/>
                    </a:ext>
                  </a:extLst>
                </a:gridCol>
                <a:gridCol w="400189">
                  <a:extLst>
                    <a:ext uri="{9D8B030D-6E8A-4147-A177-3AD203B41FA5}">
                      <a16:colId xmlns:a16="http://schemas.microsoft.com/office/drawing/2014/main" val="2253018167"/>
                    </a:ext>
                  </a:extLst>
                </a:gridCol>
                <a:gridCol w="400189">
                  <a:extLst>
                    <a:ext uri="{9D8B030D-6E8A-4147-A177-3AD203B41FA5}">
                      <a16:colId xmlns:a16="http://schemas.microsoft.com/office/drawing/2014/main" val="2420988447"/>
                    </a:ext>
                  </a:extLst>
                </a:gridCol>
                <a:gridCol w="400189">
                  <a:extLst>
                    <a:ext uri="{9D8B030D-6E8A-4147-A177-3AD203B41FA5}">
                      <a16:colId xmlns:a16="http://schemas.microsoft.com/office/drawing/2014/main" val="3297462793"/>
                    </a:ext>
                  </a:extLst>
                </a:gridCol>
                <a:gridCol w="400189">
                  <a:extLst>
                    <a:ext uri="{9D8B030D-6E8A-4147-A177-3AD203B41FA5}">
                      <a16:colId xmlns:a16="http://schemas.microsoft.com/office/drawing/2014/main" val="4182448664"/>
                    </a:ext>
                  </a:extLst>
                </a:gridCol>
                <a:gridCol w="400189">
                  <a:extLst>
                    <a:ext uri="{9D8B030D-6E8A-4147-A177-3AD203B41FA5}">
                      <a16:colId xmlns:a16="http://schemas.microsoft.com/office/drawing/2014/main" val="1003934904"/>
                    </a:ext>
                  </a:extLst>
                </a:gridCol>
                <a:gridCol w="400189">
                  <a:extLst>
                    <a:ext uri="{9D8B030D-6E8A-4147-A177-3AD203B41FA5}">
                      <a16:colId xmlns:a16="http://schemas.microsoft.com/office/drawing/2014/main" val="487010759"/>
                    </a:ext>
                  </a:extLst>
                </a:gridCol>
                <a:gridCol w="400189">
                  <a:extLst>
                    <a:ext uri="{9D8B030D-6E8A-4147-A177-3AD203B41FA5}">
                      <a16:colId xmlns:a16="http://schemas.microsoft.com/office/drawing/2014/main" val="773655425"/>
                    </a:ext>
                  </a:extLst>
                </a:gridCol>
                <a:gridCol w="400189">
                  <a:extLst>
                    <a:ext uri="{9D8B030D-6E8A-4147-A177-3AD203B41FA5}">
                      <a16:colId xmlns:a16="http://schemas.microsoft.com/office/drawing/2014/main" val="3999428527"/>
                    </a:ext>
                  </a:extLst>
                </a:gridCol>
                <a:gridCol w="400189">
                  <a:extLst>
                    <a:ext uri="{9D8B030D-6E8A-4147-A177-3AD203B41FA5}">
                      <a16:colId xmlns:a16="http://schemas.microsoft.com/office/drawing/2014/main" val="2086390690"/>
                    </a:ext>
                  </a:extLst>
                </a:gridCol>
                <a:gridCol w="400189">
                  <a:extLst>
                    <a:ext uri="{9D8B030D-6E8A-4147-A177-3AD203B41FA5}">
                      <a16:colId xmlns:a16="http://schemas.microsoft.com/office/drawing/2014/main" val="3222565594"/>
                    </a:ext>
                  </a:extLst>
                </a:gridCol>
                <a:gridCol w="400189">
                  <a:extLst>
                    <a:ext uri="{9D8B030D-6E8A-4147-A177-3AD203B41FA5}">
                      <a16:colId xmlns:a16="http://schemas.microsoft.com/office/drawing/2014/main" val="533863266"/>
                    </a:ext>
                  </a:extLst>
                </a:gridCol>
                <a:gridCol w="400189">
                  <a:extLst>
                    <a:ext uri="{9D8B030D-6E8A-4147-A177-3AD203B41FA5}">
                      <a16:colId xmlns:a16="http://schemas.microsoft.com/office/drawing/2014/main" val="2668620479"/>
                    </a:ext>
                  </a:extLst>
                </a:gridCol>
                <a:gridCol w="400189">
                  <a:extLst>
                    <a:ext uri="{9D8B030D-6E8A-4147-A177-3AD203B41FA5}">
                      <a16:colId xmlns:a16="http://schemas.microsoft.com/office/drawing/2014/main" val="3008934697"/>
                    </a:ext>
                  </a:extLst>
                </a:gridCol>
              </a:tblGrid>
              <a:tr h="365760">
                <a:tc>
                  <a:txBody>
                    <a:bodyPr/>
                    <a:lstStyle/>
                    <a:p>
                      <a:r>
                        <a:rPr lang="en-US" sz="1200" dirty="0"/>
                        <a:t>Key metrics</a:t>
                      </a:r>
                      <a:endParaRPr lang="en-US" sz="1200" dirty="0">
                        <a:latin typeface="+mn-lt"/>
                      </a:endParaRPr>
                    </a:p>
                  </a:txBody>
                  <a:tcPr marL="89642" marR="89642" marT="44821" marB="44821" anchor="ctr">
                    <a:solidFill>
                      <a:srgbClr val="3282BE"/>
                    </a:solidFill>
                  </a:tcPr>
                </a:tc>
                <a:tc>
                  <a:txBody>
                    <a:bodyPr/>
                    <a:lstStyle/>
                    <a:p>
                      <a:pPr algn="ctr" fontAlgn="ctr"/>
                      <a:r>
                        <a:rPr lang="en-US" sz="1100" u="none" strike="noStrike" dirty="0">
                          <a:effectLst/>
                        </a:rPr>
                        <a:t>AR</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BE</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BR</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CA</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CL</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CO</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FR</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DE</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HU</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IN</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ID</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IE</a:t>
                      </a:r>
                      <a:endParaRPr lang="en-US" sz="1100" b="1" i="0" u="none" strike="noStrike" dirty="0">
                        <a:solidFill>
                          <a:schemeClr val="bg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IT</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MY</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MX</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NE</a:t>
                      </a:r>
                      <a:endParaRPr lang="en-US" sz="1100" b="1" i="0" u="none" strike="noStrike" dirty="0">
                        <a:solidFill>
                          <a:schemeClr val="bg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PE</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PL</a:t>
                      </a:r>
                      <a:endParaRPr lang="en-US" sz="1100" b="1" i="0" u="none" strike="noStrike" dirty="0">
                        <a:solidFill>
                          <a:schemeClr val="bg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RU</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SG</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SA</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TU</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UK</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US</a:t>
                      </a:r>
                      <a:endParaRPr lang="en-US" sz="1100" b="1" i="0" u="none" strike="noStrike" dirty="0">
                        <a:solidFill>
                          <a:schemeClr val="tx1"/>
                        </a:solidFill>
                        <a:effectLst/>
                        <a:latin typeface="+mn-lt"/>
                      </a:endParaRPr>
                    </a:p>
                  </a:txBody>
                  <a:tcPr marL="7470" marR="7470" marT="7470" marB="0" anchor="ctr">
                    <a:solidFill>
                      <a:srgbClr val="3282BE"/>
                    </a:solidFill>
                  </a:tcPr>
                </a:tc>
                <a:tc>
                  <a:txBody>
                    <a:bodyPr/>
                    <a:lstStyle/>
                    <a:p>
                      <a:pPr algn="ctr" fontAlgn="ctr"/>
                      <a:r>
                        <a:rPr lang="en-US" sz="1100" u="none" strike="noStrike" dirty="0">
                          <a:effectLst/>
                        </a:rPr>
                        <a:t>VT</a:t>
                      </a:r>
                      <a:endParaRPr lang="en-US" sz="1100" b="1" i="0" u="none" strike="noStrike" dirty="0">
                        <a:solidFill>
                          <a:schemeClr val="tx1"/>
                        </a:solidFill>
                        <a:effectLst/>
                        <a:latin typeface="+mn-lt"/>
                      </a:endParaRPr>
                    </a:p>
                  </a:txBody>
                  <a:tcPr marL="7470" marR="7470" marT="7470" marB="0" anchor="ctr">
                    <a:solidFill>
                      <a:srgbClr val="3282BE"/>
                    </a:solidFill>
                  </a:tcPr>
                </a:tc>
                <a:extLst>
                  <a:ext uri="{0D108BD9-81ED-4DB2-BD59-A6C34878D82A}">
                    <a16:rowId xmlns:a16="http://schemas.microsoft.com/office/drawing/2014/main" val="3038725012"/>
                  </a:ext>
                </a:extLst>
              </a:tr>
              <a:tr h="365760">
                <a:tc>
                  <a:txBody>
                    <a:bodyPr/>
                    <a:lstStyle/>
                    <a:p>
                      <a:pPr algn="ctr" fontAlgn="b"/>
                      <a:r>
                        <a:rPr lang="en-US" sz="1100" u="none" strike="noStrike" dirty="0">
                          <a:effectLst/>
                        </a:rPr>
                        <a:t>DCI</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8%</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2240464111"/>
                  </a:ext>
                </a:extLst>
              </a:tr>
              <a:tr h="365760">
                <a:tc>
                  <a:txBody>
                    <a:bodyPr/>
                    <a:lstStyle/>
                    <a:p>
                      <a:pPr algn="ctr" fontAlgn="b"/>
                      <a:r>
                        <a:rPr lang="en-US" sz="1100" u="none" strike="noStrike" dirty="0">
                          <a:effectLst/>
                        </a:rPr>
                        <a:t>Intrusive</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1727224459"/>
                  </a:ext>
                </a:extLst>
              </a:tr>
              <a:tr h="365760">
                <a:tc>
                  <a:txBody>
                    <a:bodyPr/>
                    <a:lstStyle/>
                    <a:p>
                      <a:pPr algn="ctr" fontAlgn="b"/>
                      <a:r>
                        <a:rPr lang="en-US" sz="1100" u="none" strike="noStrike" dirty="0">
                          <a:effectLst/>
                        </a:rPr>
                        <a:t>Behavioral</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6%</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312220192"/>
                  </a:ext>
                </a:extLst>
              </a:tr>
              <a:tr h="365760">
                <a:tc>
                  <a:txBody>
                    <a:bodyPr/>
                    <a:lstStyle/>
                    <a:p>
                      <a:pPr algn="ctr" fontAlgn="b"/>
                      <a:r>
                        <a:rPr lang="en-US" sz="1100" u="none" strike="noStrike" dirty="0">
                          <a:effectLst/>
                        </a:rPr>
                        <a:t>Sexual</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3%</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2384937020"/>
                  </a:ext>
                </a:extLst>
              </a:tr>
              <a:tr h="365760">
                <a:tc>
                  <a:txBody>
                    <a:bodyPr/>
                    <a:lstStyle/>
                    <a:p>
                      <a:pPr algn="ctr" fontAlgn="b"/>
                      <a:r>
                        <a:rPr lang="en-US" sz="1100" u="none" strike="noStrike" dirty="0">
                          <a:effectLst/>
                        </a:rPr>
                        <a:t>Reputational</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0%</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813139484"/>
                  </a:ext>
                </a:extLst>
              </a:tr>
              <a:tr h="365760">
                <a:tc>
                  <a:txBody>
                    <a:bodyPr/>
                    <a:lstStyle/>
                    <a:p>
                      <a:pPr algn="ctr" fontAlgn="b"/>
                      <a:r>
                        <a:rPr lang="en-US" sz="1100" u="none" strike="noStrike" dirty="0">
                          <a:effectLst/>
                        </a:rPr>
                        <a:t>Pain (4-1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2613351884"/>
                  </a:ext>
                </a:extLst>
              </a:tr>
              <a:tr h="365760">
                <a:tc>
                  <a:txBody>
                    <a:bodyPr/>
                    <a:lstStyle/>
                    <a:p>
                      <a:pPr algn="ctr" fontAlgn="b"/>
                      <a:r>
                        <a:rPr lang="en-US" sz="1100" u="none" strike="noStrike" dirty="0">
                          <a:effectLst/>
                        </a:rPr>
                        <a:t>Worry*</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3%</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202596825"/>
                  </a:ext>
                </a:extLst>
              </a:tr>
              <a:tr h="365760">
                <a:tc>
                  <a:txBody>
                    <a:bodyPr/>
                    <a:lstStyle/>
                    <a:p>
                      <a:pPr algn="ctr" fontAlgn="b"/>
                      <a:r>
                        <a:rPr lang="en-US" sz="1100" u="none" strike="noStrike" dirty="0">
                          <a:effectLst/>
                        </a:rPr>
                        <a:t>Met in real life</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5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7%</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1570867589"/>
                  </a:ext>
                </a:extLst>
              </a:tr>
              <a:tr h="365760">
                <a:tc>
                  <a:txBody>
                    <a:bodyPr/>
                    <a:lstStyle/>
                    <a:p>
                      <a:pPr algn="ctr" fontAlgn="b"/>
                      <a:r>
                        <a:rPr lang="en-US" sz="1100" u="none" strike="noStrike" dirty="0">
                          <a:effectLst/>
                        </a:rPr>
                        <a:t>Consequences</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7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3%</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2667041981"/>
                  </a:ext>
                </a:extLst>
              </a:tr>
              <a:tr h="365760">
                <a:tc>
                  <a:txBody>
                    <a:bodyPr/>
                    <a:lstStyle/>
                    <a:p>
                      <a:pPr algn="ctr" fontAlgn="b"/>
                      <a:r>
                        <a:rPr lang="en-US" sz="1100" u="none" strike="noStrike" dirty="0">
                          <a:effectLst/>
                        </a:rPr>
                        <a:t>Actions taken</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8%</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8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98%</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4215034791"/>
                  </a:ext>
                </a:extLst>
              </a:tr>
              <a:tr h="365760">
                <a:tc>
                  <a:txBody>
                    <a:bodyPr/>
                    <a:lstStyle/>
                    <a:p>
                      <a:pPr algn="ctr" fontAlgn="b"/>
                      <a:r>
                        <a:rPr lang="en-US" sz="1100" u="none" strike="noStrike" dirty="0">
                          <a:effectLst/>
                        </a:rPr>
                        <a:t>Past week/month*</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9%</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17%</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5%</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2%</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4%</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46%</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0%</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23%</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31%</a:t>
                      </a:r>
                      <a:endParaRPr lang="en-US" sz="1100" b="0" i="0" u="none" strike="noStrike" dirty="0">
                        <a:solidFill>
                          <a:srgbClr val="000000"/>
                        </a:solidFill>
                        <a:effectLst/>
                        <a:latin typeface="+mn-lt"/>
                      </a:endParaRPr>
                    </a:p>
                  </a:txBody>
                  <a:tcPr marL="0" marR="0" marT="0" marB="0" anchor="ctr"/>
                </a:tc>
                <a:tc>
                  <a:txBody>
                    <a:bodyPr/>
                    <a:lstStyle/>
                    <a:p>
                      <a:pPr algn="ctr" fontAlgn="ctr"/>
                      <a:r>
                        <a:rPr lang="en-US" sz="1100" u="none" strike="noStrike" dirty="0">
                          <a:effectLst/>
                        </a:rPr>
                        <a:t>62%</a:t>
                      </a:r>
                      <a:endParaRPr lang="en-US" sz="1100" b="0" i="0" u="none" strike="noStrike" dirty="0">
                        <a:solidFill>
                          <a:srgbClr val="000000"/>
                        </a:solidFill>
                        <a:effectLst/>
                        <a:latin typeface="+mn-lt"/>
                      </a:endParaRPr>
                    </a:p>
                  </a:txBody>
                  <a:tcPr marL="0" marR="0" marT="0" marB="0" anchor="ctr"/>
                </a:tc>
                <a:extLst>
                  <a:ext uri="{0D108BD9-81ED-4DB2-BD59-A6C34878D82A}">
                    <a16:rowId xmlns:a16="http://schemas.microsoft.com/office/drawing/2014/main" val="3280053214"/>
                  </a:ext>
                </a:extLst>
              </a:tr>
            </a:tbl>
          </a:graphicData>
        </a:graphic>
      </p:graphicFrame>
      <p:sp>
        <p:nvSpPr>
          <p:cNvPr id="5" name="TextBox 4">
            <a:extLst>
              <a:ext uri="{FF2B5EF4-FFF2-40B4-BE49-F238E27FC236}">
                <a16:creationId xmlns:a16="http://schemas.microsoft.com/office/drawing/2014/main" id="{0C6E25C8-C051-4432-BFDF-12B291696B60}"/>
              </a:ext>
            </a:extLst>
          </p:cNvPr>
          <p:cNvSpPr txBox="1"/>
          <p:nvPr/>
        </p:nvSpPr>
        <p:spPr>
          <a:xfrm>
            <a:off x="307068" y="5799413"/>
            <a:ext cx="4627663" cy="737472"/>
          </a:xfrm>
          <a:prstGeom prst="rect">
            <a:avLst/>
          </a:prstGeom>
          <a:noFill/>
        </p:spPr>
        <p:txBody>
          <a:bodyPr wrap="none" lIns="179285" tIns="143428" rIns="179285" bIns="143428" rtlCol="0">
            <a:spAutoFit/>
          </a:bodyPr>
          <a:lstStyle/>
          <a:p>
            <a:pPr>
              <a:lnSpc>
                <a:spcPct val="90000"/>
              </a:lnSpc>
            </a:pPr>
            <a:r>
              <a:rPr lang="en-US" sz="1078" i="1" dirty="0">
                <a:solidFill>
                  <a:schemeClr val="bg1">
                    <a:lumMod val="65000"/>
                    <a:lumOff val="35000"/>
                  </a:schemeClr>
                </a:solidFill>
              </a:rPr>
              <a:t>Pain – moderate to unbearable pain</a:t>
            </a:r>
          </a:p>
          <a:p>
            <a:pPr>
              <a:lnSpc>
                <a:spcPct val="90000"/>
              </a:lnSpc>
            </a:pPr>
            <a:r>
              <a:rPr lang="en-US" sz="1078" i="1" dirty="0">
                <a:solidFill>
                  <a:schemeClr val="bg1">
                    <a:lumMod val="65000"/>
                    <a:lumOff val="35000"/>
                  </a:schemeClr>
                </a:solidFill>
              </a:rPr>
              <a:t>Worry – Extremely, very, somewhat worried the risk will happen again</a:t>
            </a:r>
          </a:p>
          <a:p>
            <a:pPr>
              <a:lnSpc>
                <a:spcPct val="90000"/>
              </a:lnSpc>
            </a:pPr>
            <a:r>
              <a:rPr lang="en-US" sz="1078" i="1" dirty="0">
                <a:solidFill>
                  <a:schemeClr val="bg1">
                    <a:lumMod val="65000"/>
                    <a:lumOff val="35000"/>
                  </a:schemeClr>
                </a:solidFill>
              </a:rPr>
              <a:t>Past week/month – when the most recent risk happened</a:t>
            </a:r>
          </a:p>
        </p:txBody>
      </p:sp>
    </p:spTree>
    <p:extLst>
      <p:ext uri="{BB962C8B-B14F-4D97-AF65-F5344CB8AC3E}">
        <p14:creationId xmlns:p14="http://schemas.microsoft.com/office/powerpoint/2010/main" val="1493522440"/>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AAA14FB-A933-4851-A9F3-E1620566D388}"/>
              </a:ext>
            </a:extLst>
          </p:cNvPr>
          <p:cNvSpPr>
            <a:spLocks noGrp="1"/>
          </p:cNvSpPr>
          <p:nvPr>
            <p:ph type="body" sz="quarter" idx="10"/>
          </p:nvPr>
        </p:nvSpPr>
        <p:spPr>
          <a:xfrm>
            <a:off x="323529" y="304601"/>
            <a:ext cx="11573197" cy="794064"/>
          </a:xfrm>
        </p:spPr>
        <p:txBody>
          <a:bodyPr/>
          <a:lstStyle/>
          <a:p>
            <a:pPr algn="l"/>
            <a:r>
              <a:rPr lang="en-US" dirty="0"/>
              <a:t>Key metrics by Demographics</a:t>
            </a:r>
          </a:p>
        </p:txBody>
      </p:sp>
      <p:sp>
        <p:nvSpPr>
          <p:cNvPr id="3" name="Slide Number Placeholder 2">
            <a:extLst>
              <a:ext uri="{FF2B5EF4-FFF2-40B4-BE49-F238E27FC236}">
                <a16:creationId xmlns:a16="http://schemas.microsoft.com/office/drawing/2014/main" id="{36ED70B9-4010-4CCC-83B6-33E8C2E5FD9B}"/>
              </a:ext>
            </a:extLst>
          </p:cNvPr>
          <p:cNvSpPr>
            <a:spLocks noGrp="1"/>
          </p:cNvSpPr>
          <p:nvPr>
            <p:ph type="sldNum" sz="quarter" idx="4"/>
          </p:nvPr>
        </p:nvSpPr>
        <p:spPr/>
        <p:txBody>
          <a:bodyPr/>
          <a:lstStyle/>
          <a:p>
            <a:fld id="{7EFC24D6-DB8F-6B44-BA5A-9BEC68C15CAA}" type="slidenum">
              <a:rPr lang="en-US" smtClean="0">
                <a:solidFill>
                  <a:schemeClr val="bg1"/>
                </a:solidFill>
                <a:latin typeface="Arial" panose="020B0604020202020204" pitchFamily="34" charset="0"/>
                <a:cs typeface="Arial" panose="020B0604020202020204" pitchFamily="34" charset="0"/>
              </a:rPr>
              <a:pPr/>
              <a:t>46</a:t>
            </a:fld>
            <a:endParaRPr lang="en-US" dirty="0">
              <a:solidFill>
                <a:schemeClr val="bg1"/>
              </a:solidFill>
              <a:latin typeface="Arial" panose="020B0604020202020204" pitchFamily="34" charset="0"/>
              <a:cs typeface="Arial" panose="020B0604020202020204" pitchFamily="34" charset="0"/>
            </a:endParaRPr>
          </a:p>
        </p:txBody>
      </p:sp>
      <p:graphicFrame>
        <p:nvGraphicFramePr>
          <p:cNvPr id="4" name="Table 3">
            <a:extLst>
              <a:ext uri="{FF2B5EF4-FFF2-40B4-BE49-F238E27FC236}">
                <a16:creationId xmlns:a16="http://schemas.microsoft.com/office/drawing/2014/main" id="{704C4FF5-D621-439A-B6C7-1EAED04B0C94}"/>
              </a:ext>
            </a:extLst>
          </p:cNvPr>
          <p:cNvGraphicFramePr>
            <a:graphicFrameLocks noGrp="1"/>
          </p:cNvGraphicFramePr>
          <p:nvPr>
            <p:extLst>
              <p:ext uri="{D42A27DB-BD31-4B8C-83A1-F6EECF244321}">
                <p14:modId xmlns:p14="http://schemas.microsoft.com/office/powerpoint/2010/main" val="2956692045"/>
              </p:ext>
            </p:extLst>
          </p:nvPr>
        </p:nvGraphicFramePr>
        <p:xfrm>
          <a:off x="498244" y="1484555"/>
          <a:ext cx="10474560" cy="4368988"/>
        </p:xfrm>
        <a:graphic>
          <a:graphicData uri="http://schemas.openxmlformats.org/drawingml/2006/table">
            <a:tbl>
              <a:tblPr bandRow="1">
                <a:tableStyleId>{8EC20E35-A176-4012-BC5E-935CFFF8708E}</a:tableStyleId>
              </a:tblPr>
              <a:tblGrid>
                <a:gridCol w="2094912">
                  <a:extLst>
                    <a:ext uri="{9D8B030D-6E8A-4147-A177-3AD203B41FA5}">
                      <a16:colId xmlns:a16="http://schemas.microsoft.com/office/drawing/2014/main" val="2411631716"/>
                    </a:ext>
                  </a:extLst>
                </a:gridCol>
                <a:gridCol w="698304">
                  <a:extLst>
                    <a:ext uri="{9D8B030D-6E8A-4147-A177-3AD203B41FA5}">
                      <a16:colId xmlns:a16="http://schemas.microsoft.com/office/drawing/2014/main" val="1233587273"/>
                    </a:ext>
                  </a:extLst>
                </a:gridCol>
                <a:gridCol w="698304">
                  <a:extLst>
                    <a:ext uri="{9D8B030D-6E8A-4147-A177-3AD203B41FA5}">
                      <a16:colId xmlns:a16="http://schemas.microsoft.com/office/drawing/2014/main" val="2290844407"/>
                    </a:ext>
                  </a:extLst>
                </a:gridCol>
                <a:gridCol w="698304">
                  <a:extLst>
                    <a:ext uri="{9D8B030D-6E8A-4147-A177-3AD203B41FA5}">
                      <a16:colId xmlns:a16="http://schemas.microsoft.com/office/drawing/2014/main" val="2448762416"/>
                    </a:ext>
                  </a:extLst>
                </a:gridCol>
                <a:gridCol w="698304">
                  <a:extLst>
                    <a:ext uri="{9D8B030D-6E8A-4147-A177-3AD203B41FA5}">
                      <a16:colId xmlns:a16="http://schemas.microsoft.com/office/drawing/2014/main" val="2210256043"/>
                    </a:ext>
                  </a:extLst>
                </a:gridCol>
                <a:gridCol w="698304">
                  <a:extLst>
                    <a:ext uri="{9D8B030D-6E8A-4147-A177-3AD203B41FA5}">
                      <a16:colId xmlns:a16="http://schemas.microsoft.com/office/drawing/2014/main" val="3081190374"/>
                    </a:ext>
                  </a:extLst>
                </a:gridCol>
                <a:gridCol w="698304">
                  <a:extLst>
                    <a:ext uri="{9D8B030D-6E8A-4147-A177-3AD203B41FA5}">
                      <a16:colId xmlns:a16="http://schemas.microsoft.com/office/drawing/2014/main" val="3222054160"/>
                    </a:ext>
                  </a:extLst>
                </a:gridCol>
                <a:gridCol w="698304">
                  <a:extLst>
                    <a:ext uri="{9D8B030D-6E8A-4147-A177-3AD203B41FA5}">
                      <a16:colId xmlns:a16="http://schemas.microsoft.com/office/drawing/2014/main" val="665005312"/>
                    </a:ext>
                  </a:extLst>
                </a:gridCol>
                <a:gridCol w="698304">
                  <a:extLst>
                    <a:ext uri="{9D8B030D-6E8A-4147-A177-3AD203B41FA5}">
                      <a16:colId xmlns:a16="http://schemas.microsoft.com/office/drawing/2014/main" val="549204780"/>
                    </a:ext>
                  </a:extLst>
                </a:gridCol>
                <a:gridCol w="698304">
                  <a:extLst>
                    <a:ext uri="{9D8B030D-6E8A-4147-A177-3AD203B41FA5}">
                      <a16:colId xmlns:a16="http://schemas.microsoft.com/office/drawing/2014/main" val="490131773"/>
                    </a:ext>
                  </a:extLst>
                </a:gridCol>
                <a:gridCol w="698304">
                  <a:extLst>
                    <a:ext uri="{9D8B030D-6E8A-4147-A177-3AD203B41FA5}">
                      <a16:colId xmlns:a16="http://schemas.microsoft.com/office/drawing/2014/main" val="1645805542"/>
                    </a:ext>
                  </a:extLst>
                </a:gridCol>
                <a:gridCol w="698304">
                  <a:extLst>
                    <a:ext uri="{9D8B030D-6E8A-4147-A177-3AD203B41FA5}">
                      <a16:colId xmlns:a16="http://schemas.microsoft.com/office/drawing/2014/main" val="47697376"/>
                    </a:ext>
                  </a:extLst>
                </a:gridCol>
                <a:gridCol w="698304">
                  <a:extLst>
                    <a:ext uri="{9D8B030D-6E8A-4147-A177-3AD203B41FA5}">
                      <a16:colId xmlns:a16="http://schemas.microsoft.com/office/drawing/2014/main" val="1308393501"/>
                    </a:ext>
                  </a:extLst>
                </a:gridCol>
              </a:tblGrid>
              <a:tr h="336076">
                <a:tc rowSpan="2">
                  <a:txBody>
                    <a:bodyPr/>
                    <a:lstStyle/>
                    <a:p>
                      <a:pPr algn="ctr"/>
                      <a:r>
                        <a:rPr lang="en-US" sz="1400" b="1" dirty="0">
                          <a:solidFill>
                            <a:schemeClr val="tx1"/>
                          </a:solidFill>
                          <a:latin typeface="Arial" panose="020B0604020202020204" pitchFamily="34" charset="0"/>
                          <a:cs typeface="Arial" panose="020B0604020202020204" pitchFamily="34" charset="0"/>
                        </a:rPr>
                        <a:t>Key metrics</a:t>
                      </a:r>
                    </a:p>
                  </a:txBody>
                  <a:tcPr marL="89642" marR="89642" marT="44821" marB="44821" anchor="ctr">
                    <a:solidFill>
                      <a:srgbClr val="3282BE"/>
                    </a:solidFill>
                  </a:tcPr>
                </a:tc>
                <a:tc gridSpan="2">
                  <a:txBody>
                    <a:bodyPr/>
                    <a:lstStyle/>
                    <a:p>
                      <a:pPr algn="ctr" fontAlgn="ctr"/>
                      <a:r>
                        <a:rPr lang="en-US" sz="1400" b="1" i="0" u="none" strike="noStrike" dirty="0">
                          <a:solidFill>
                            <a:schemeClr val="tx1"/>
                          </a:solidFill>
                          <a:effectLst/>
                          <a:latin typeface="+mn-lt"/>
                        </a:rPr>
                        <a:t>Age</a:t>
                      </a:r>
                    </a:p>
                  </a:txBody>
                  <a:tcPr marL="7470" marR="7470" marT="7470" marB="0" anchor="ctr">
                    <a:solidFill>
                      <a:srgbClr val="3282BE"/>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gridSpan="2">
                  <a:txBody>
                    <a:bodyPr/>
                    <a:lstStyle/>
                    <a:p>
                      <a:pPr algn="ctr" fontAlgn="ctr"/>
                      <a:r>
                        <a:rPr lang="en-US" sz="1400" b="1" i="0" u="none" strike="noStrike" dirty="0">
                          <a:solidFill>
                            <a:schemeClr val="tx1"/>
                          </a:solidFill>
                          <a:effectLst/>
                          <a:latin typeface="+mn-lt"/>
                        </a:rPr>
                        <a:t>Gender</a:t>
                      </a:r>
                    </a:p>
                  </a:txBody>
                  <a:tcPr marL="7470" marR="7470" marT="7470" marB="0" anchor="ctr">
                    <a:solidFill>
                      <a:srgbClr val="3282BE"/>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gridSpan="2">
                  <a:txBody>
                    <a:bodyPr/>
                    <a:lstStyle/>
                    <a:p>
                      <a:pPr algn="ctr" fontAlgn="ctr"/>
                      <a:r>
                        <a:rPr lang="en-US" sz="1400" b="1" i="0" u="none" strike="noStrike" dirty="0">
                          <a:solidFill>
                            <a:schemeClr val="tx1"/>
                          </a:solidFill>
                          <a:effectLst/>
                          <a:latin typeface="+mn-lt"/>
                        </a:rPr>
                        <a:t>Adults</a:t>
                      </a:r>
                    </a:p>
                  </a:txBody>
                  <a:tcPr marL="7470" marR="7470" marT="7470" marB="0" anchor="ctr">
                    <a:solidFill>
                      <a:srgbClr val="3282BE"/>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gridSpan="2">
                  <a:txBody>
                    <a:bodyPr/>
                    <a:lstStyle/>
                    <a:p>
                      <a:pPr algn="ctr" fontAlgn="ctr"/>
                      <a:r>
                        <a:rPr lang="en-US" sz="1400" b="1" i="0" u="none" strike="noStrike" dirty="0">
                          <a:solidFill>
                            <a:schemeClr val="tx1"/>
                          </a:solidFill>
                          <a:effectLst/>
                          <a:latin typeface="+mn-lt"/>
                        </a:rPr>
                        <a:t>Teens</a:t>
                      </a:r>
                    </a:p>
                  </a:txBody>
                  <a:tcPr marL="7470" marR="7470" marT="7470" marB="0" anchor="ctr">
                    <a:solidFill>
                      <a:srgbClr val="3282BE"/>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gridSpan="4">
                  <a:txBody>
                    <a:bodyPr/>
                    <a:lstStyle/>
                    <a:p>
                      <a:pPr algn="ctr" fontAlgn="ctr"/>
                      <a:r>
                        <a:rPr lang="en-US" sz="1400" b="1" i="0" u="none" strike="noStrike" dirty="0">
                          <a:solidFill>
                            <a:schemeClr val="tx1"/>
                          </a:solidFill>
                          <a:effectLst/>
                          <a:latin typeface="+mn-lt"/>
                        </a:rPr>
                        <a:t>Generation</a:t>
                      </a:r>
                    </a:p>
                  </a:txBody>
                  <a:tcPr marL="7470" marR="7470" marT="7470" marB="0" anchor="ctr">
                    <a:solidFill>
                      <a:srgbClr val="3282BE"/>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tc hMerge="1">
                  <a:txBody>
                    <a:bodyPr/>
                    <a:lstStyle/>
                    <a:p>
                      <a:pPr algn="ctr" fontAlgn="ctr"/>
                      <a:endParaRPr lang="en-US" sz="1100" b="1" i="0" u="none" strike="noStrike" dirty="0">
                        <a:solidFill>
                          <a:schemeClr val="tx1"/>
                        </a:solidFill>
                        <a:effectLst/>
                        <a:latin typeface="+mn-lt"/>
                      </a:endParaRPr>
                    </a:p>
                  </a:txBody>
                  <a:tcPr marL="7470" marR="7470" marT="7470" marB="0" anchor="ctr">
                    <a:solidFill>
                      <a:srgbClr val="262626"/>
                    </a:solidFill>
                  </a:tcPr>
                </a:tc>
                <a:extLst>
                  <a:ext uri="{0D108BD9-81ED-4DB2-BD59-A6C34878D82A}">
                    <a16:rowId xmlns:a16="http://schemas.microsoft.com/office/drawing/2014/main" val="3429054992"/>
                  </a:ext>
                </a:extLst>
              </a:tr>
              <a:tr h="336076">
                <a:tc vMerge="1">
                  <a:txBody>
                    <a:bodyPr/>
                    <a:lstStyle/>
                    <a:p>
                      <a:endParaRPr lang="en-US" sz="1200" dirty="0">
                        <a:solidFill>
                          <a:schemeClr val="tx1"/>
                        </a:solidFill>
                        <a:latin typeface="+mn-lt"/>
                      </a:endParaRPr>
                    </a:p>
                  </a:txBody>
                  <a:tcPr marL="89642" marR="89642" marT="44821" marB="44821" anchor="ctr">
                    <a:solidFill>
                      <a:srgbClr val="262626"/>
                    </a:solidFill>
                  </a:tcPr>
                </a:tc>
                <a:tc>
                  <a:txBody>
                    <a:bodyPr/>
                    <a:lstStyle/>
                    <a:p>
                      <a:pPr algn="ctr" fontAlgn="ctr"/>
                      <a:r>
                        <a:rPr lang="en-US" sz="1400" b="1" i="0" u="none" strike="noStrike" dirty="0">
                          <a:solidFill>
                            <a:schemeClr val="tx1"/>
                          </a:solidFill>
                          <a:effectLst/>
                          <a:latin typeface="+mn-lt"/>
                        </a:rPr>
                        <a:t>Adult</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Teens</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Fe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Fe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Female</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13-17</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18-34</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35-49</a:t>
                      </a:r>
                    </a:p>
                  </a:txBody>
                  <a:tcPr marL="7470" marR="7470" marT="7470" marB="0" anchor="ctr">
                    <a:solidFill>
                      <a:srgbClr val="3282BE"/>
                    </a:solidFill>
                  </a:tcPr>
                </a:tc>
                <a:tc>
                  <a:txBody>
                    <a:bodyPr/>
                    <a:lstStyle/>
                    <a:p>
                      <a:pPr algn="ctr" fontAlgn="ctr"/>
                      <a:r>
                        <a:rPr lang="en-US" sz="1400" b="1" i="0" u="none" strike="noStrike" dirty="0">
                          <a:solidFill>
                            <a:schemeClr val="tx1"/>
                          </a:solidFill>
                          <a:effectLst/>
                          <a:latin typeface="+mn-lt"/>
                        </a:rPr>
                        <a:t>50+</a:t>
                      </a:r>
                    </a:p>
                  </a:txBody>
                  <a:tcPr marL="7470" marR="7470" marT="7470" marB="0" anchor="ctr">
                    <a:solidFill>
                      <a:srgbClr val="3282BE"/>
                    </a:solidFill>
                  </a:tcPr>
                </a:tc>
                <a:extLst>
                  <a:ext uri="{0D108BD9-81ED-4DB2-BD59-A6C34878D82A}">
                    <a16:rowId xmlns:a16="http://schemas.microsoft.com/office/drawing/2014/main" val="3038725012"/>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DCI</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7%</a:t>
                      </a:r>
                    </a:p>
                  </a:txBody>
                  <a:tcPr marL="0" marR="0" marT="0" marB="0" anchor="ctr"/>
                </a:tc>
                <a:extLst>
                  <a:ext uri="{0D108BD9-81ED-4DB2-BD59-A6C34878D82A}">
                    <a16:rowId xmlns:a16="http://schemas.microsoft.com/office/drawing/2014/main" val="2240464111"/>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Intrusiv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8%</a:t>
                      </a:r>
                    </a:p>
                  </a:txBody>
                  <a:tcPr marL="0" marR="0" marT="0" marB="0" anchor="ctr"/>
                </a:tc>
                <a:extLst>
                  <a:ext uri="{0D108BD9-81ED-4DB2-BD59-A6C34878D82A}">
                    <a16:rowId xmlns:a16="http://schemas.microsoft.com/office/drawing/2014/main" val="1727224459"/>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Behavioral</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8%</a:t>
                      </a:r>
                    </a:p>
                  </a:txBody>
                  <a:tcPr marL="0" marR="0" marT="0" marB="0" anchor="ctr"/>
                </a:tc>
                <a:extLst>
                  <a:ext uri="{0D108BD9-81ED-4DB2-BD59-A6C34878D82A}">
                    <a16:rowId xmlns:a16="http://schemas.microsoft.com/office/drawing/2014/main" val="312220192"/>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Sexual</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8%</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3%</a:t>
                      </a:r>
                    </a:p>
                  </a:txBody>
                  <a:tcPr marL="0" marR="0" marT="0" marB="0" anchor="ctr"/>
                </a:tc>
                <a:extLst>
                  <a:ext uri="{0D108BD9-81ED-4DB2-BD59-A6C34878D82A}">
                    <a16:rowId xmlns:a16="http://schemas.microsoft.com/office/drawing/2014/main" val="2384937020"/>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Reputational</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1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1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1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15%</a:t>
                      </a:r>
                    </a:p>
                  </a:txBody>
                  <a:tcPr marL="0" marR="0" marT="0" marB="0" anchor="ctr"/>
                </a:tc>
                <a:extLst>
                  <a:ext uri="{0D108BD9-81ED-4DB2-BD59-A6C34878D82A}">
                    <a16:rowId xmlns:a16="http://schemas.microsoft.com/office/drawing/2014/main" val="813139484"/>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Pain (4-10)*</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8%</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7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1%</a:t>
                      </a:r>
                    </a:p>
                  </a:txBody>
                  <a:tcPr marL="0" marR="0" marT="0" marB="0" anchor="ctr"/>
                </a:tc>
                <a:extLst>
                  <a:ext uri="{0D108BD9-81ED-4DB2-BD59-A6C34878D82A}">
                    <a16:rowId xmlns:a16="http://schemas.microsoft.com/office/drawing/2014/main" val="2613351884"/>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Worry*</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8%</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6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9%</a:t>
                      </a:r>
                    </a:p>
                  </a:txBody>
                  <a:tcPr marL="0" marR="0" marT="0" marB="0" anchor="ctr"/>
                </a:tc>
                <a:extLst>
                  <a:ext uri="{0D108BD9-81ED-4DB2-BD59-A6C34878D82A}">
                    <a16:rowId xmlns:a16="http://schemas.microsoft.com/office/drawing/2014/main" val="202596825"/>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Met in real life</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56%</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4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0%</a:t>
                      </a:r>
                    </a:p>
                  </a:txBody>
                  <a:tcPr marL="0" marR="0" marT="0" marB="0" anchor="ctr"/>
                </a:tc>
                <a:extLst>
                  <a:ext uri="{0D108BD9-81ED-4DB2-BD59-A6C34878D82A}">
                    <a16:rowId xmlns:a16="http://schemas.microsoft.com/office/drawing/2014/main" val="1570867589"/>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Consequences</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7%</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5%</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5%</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7%</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6%</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9%</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4%</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5%</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5%</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80%</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7%</a:t>
                      </a:r>
                    </a:p>
                  </a:txBody>
                  <a:tcPr marL="0" marR="0" marT="0" marB="0" anchor="ctr"/>
                </a:tc>
                <a:tc>
                  <a:txBody>
                    <a:bodyPr/>
                    <a:lstStyle/>
                    <a:p>
                      <a:pPr algn="ctr" rtl="0" fontAlgn="b"/>
                      <a:r>
                        <a:rPr lang="en-US" sz="1400" b="0" i="0" u="none" strike="noStrike" dirty="0">
                          <a:solidFill>
                            <a:srgbClr val="000000"/>
                          </a:solidFill>
                          <a:effectLst/>
                          <a:latin typeface="Arial" panose="020B0604020202020204" pitchFamily="34" charset="0"/>
                        </a:rPr>
                        <a:t>73%</a:t>
                      </a:r>
                    </a:p>
                  </a:txBody>
                  <a:tcPr marL="0" marR="0" marT="0" marB="0" anchor="ctr"/>
                </a:tc>
                <a:extLst>
                  <a:ext uri="{0D108BD9-81ED-4DB2-BD59-A6C34878D82A}">
                    <a16:rowId xmlns:a16="http://schemas.microsoft.com/office/drawing/2014/main" val="2667041981"/>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Actions taken</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88%</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2%</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8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8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9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8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82%</a:t>
                      </a:r>
                    </a:p>
                  </a:txBody>
                  <a:tcPr marL="0" marR="0" marT="0" marB="0" anchor="ctr"/>
                </a:tc>
                <a:extLst>
                  <a:ext uri="{0D108BD9-81ED-4DB2-BD59-A6C34878D82A}">
                    <a16:rowId xmlns:a16="http://schemas.microsoft.com/office/drawing/2014/main" val="4215034791"/>
                  </a:ext>
                </a:extLst>
              </a:tr>
              <a:tr h="336076">
                <a:tc>
                  <a:txBody>
                    <a:bodyPr/>
                    <a:lstStyle/>
                    <a:p>
                      <a:pPr algn="ctr" fontAlgn="b"/>
                      <a:r>
                        <a:rPr lang="en-US" sz="1400" u="none" strike="noStrike" dirty="0">
                          <a:effectLst/>
                          <a:latin typeface="Arial" panose="020B0604020202020204" pitchFamily="34" charset="0"/>
                          <a:cs typeface="Arial" panose="020B0604020202020204" pitchFamily="34" charset="0"/>
                        </a:rPr>
                        <a:t>Past week/month*</a:t>
                      </a:r>
                      <a:endParaRPr lang="en-US" sz="1400" b="0" i="0" u="none" strike="noStrike" dirty="0">
                        <a:solidFill>
                          <a:srgbClr val="000000"/>
                        </a:solidFill>
                        <a:effectLst/>
                        <a:latin typeface="Arial" panose="020B0604020202020204" pitchFamily="34" charset="0"/>
                        <a:cs typeface="Arial" panose="020B0604020202020204" pitchFamily="34" charset="0"/>
                      </a:endParaRP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9%</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0%</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1%</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3%</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4%</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35%</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7%</a:t>
                      </a:r>
                    </a:p>
                  </a:txBody>
                  <a:tcPr marL="0" marR="0" marT="0" marB="0" anchor="ctr"/>
                </a:tc>
                <a:tc>
                  <a:txBody>
                    <a:bodyPr/>
                    <a:lstStyle/>
                    <a:p>
                      <a:pPr algn="ctr" rtl="0" fontAlgn="t"/>
                      <a:r>
                        <a:rPr lang="en-US" sz="1400" b="0" i="0" u="none" strike="noStrike" dirty="0">
                          <a:solidFill>
                            <a:srgbClr val="000000"/>
                          </a:solidFill>
                          <a:effectLst/>
                          <a:latin typeface="Arial" panose="020B0604020202020204" pitchFamily="34" charset="0"/>
                        </a:rPr>
                        <a:t>22%</a:t>
                      </a:r>
                    </a:p>
                  </a:txBody>
                  <a:tcPr marL="0" marR="0" marT="0" marB="0" anchor="ctr"/>
                </a:tc>
                <a:extLst>
                  <a:ext uri="{0D108BD9-81ED-4DB2-BD59-A6C34878D82A}">
                    <a16:rowId xmlns:a16="http://schemas.microsoft.com/office/drawing/2014/main" val="3280053214"/>
                  </a:ext>
                </a:extLst>
              </a:tr>
            </a:tbl>
          </a:graphicData>
        </a:graphic>
      </p:graphicFrame>
      <p:sp>
        <p:nvSpPr>
          <p:cNvPr id="5" name="TextBox 4">
            <a:extLst>
              <a:ext uri="{FF2B5EF4-FFF2-40B4-BE49-F238E27FC236}">
                <a16:creationId xmlns:a16="http://schemas.microsoft.com/office/drawing/2014/main" id="{0C6E25C8-C051-4432-BFDF-12B291696B60}"/>
              </a:ext>
            </a:extLst>
          </p:cNvPr>
          <p:cNvSpPr txBox="1"/>
          <p:nvPr/>
        </p:nvSpPr>
        <p:spPr>
          <a:xfrm>
            <a:off x="307068" y="5799413"/>
            <a:ext cx="4627663" cy="737472"/>
          </a:xfrm>
          <a:prstGeom prst="rect">
            <a:avLst/>
          </a:prstGeom>
          <a:noFill/>
        </p:spPr>
        <p:txBody>
          <a:bodyPr wrap="none" lIns="179285" tIns="143428" rIns="179285" bIns="143428" rtlCol="0">
            <a:spAutoFit/>
          </a:bodyPr>
          <a:lstStyle/>
          <a:p>
            <a:pPr>
              <a:lnSpc>
                <a:spcPct val="90000"/>
              </a:lnSpc>
            </a:pPr>
            <a:r>
              <a:rPr lang="en-US" sz="1078" i="1" dirty="0">
                <a:solidFill>
                  <a:schemeClr val="bg1">
                    <a:lumMod val="65000"/>
                    <a:lumOff val="35000"/>
                  </a:schemeClr>
                </a:solidFill>
              </a:rPr>
              <a:t>Pain – moderate to unbearable pain</a:t>
            </a:r>
          </a:p>
          <a:p>
            <a:pPr>
              <a:lnSpc>
                <a:spcPct val="90000"/>
              </a:lnSpc>
            </a:pPr>
            <a:r>
              <a:rPr lang="en-US" sz="1078" i="1" dirty="0">
                <a:solidFill>
                  <a:schemeClr val="bg1">
                    <a:lumMod val="65000"/>
                    <a:lumOff val="35000"/>
                  </a:schemeClr>
                </a:solidFill>
              </a:rPr>
              <a:t>Worry – Extremely, very, somewhat worried the risk will happen again</a:t>
            </a:r>
          </a:p>
          <a:p>
            <a:pPr>
              <a:lnSpc>
                <a:spcPct val="90000"/>
              </a:lnSpc>
            </a:pPr>
            <a:r>
              <a:rPr lang="en-US" sz="1078" i="1" dirty="0">
                <a:solidFill>
                  <a:schemeClr val="bg1">
                    <a:lumMod val="65000"/>
                    <a:lumOff val="35000"/>
                  </a:schemeClr>
                </a:solidFill>
              </a:rPr>
              <a:t>Past week/month – when the most recent risk happened</a:t>
            </a:r>
          </a:p>
        </p:txBody>
      </p:sp>
    </p:spTree>
    <p:extLst>
      <p:ext uri="{BB962C8B-B14F-4D97-AF65-F5344CB8AC3E}">
        <p14:creationId xmlns:p14="http://schemas.microsoft.com/office/powerpoint/2010/main" val="1389605953"/>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1" name="Group 30">
            <a:extLst>
              <a:ext uri="{FF2B5EF4-FFF2-40B4-BE49-F238E27FC236}">
                <a16:creationId xmlns:a16="http://schemas.microsoft.com/office/drawing/2014/main" id="{3B5280C8-32B6-4219-B347-CB9D92622A44}"/>
              </a:ext>
            </a:extLst>
          </p:cNvPr>
          <p:cNvGrpSpPr/>
          <p:nvPr/>
        </p:nvGrpSpPr>
        <p:grpSpPr>
          <a:xfrm>
            <a:off x="1491091" y="1183130"/>
            <a:ext cx="9064265" cy="5486400"/>
            <a:chOff x="1706360" y="1178594"/>
            <a:chExt cx="8701361" cy="5486400"/>
          </a:xfrm>
        </p:grpSpPr>
        <p:graphicFrame>
          <p:nvGraphicFramePr>
            <p:cNvPr id="5" name="Chart 4">
              <a:extLst>
                <a:ext uri="{FF2B5EF4-FFF2-40B4-BE49-F238E27FC236}">
                  <a16:creationId xmlns:a16="http://schemas.microsoft.com/office/drawing/2014/main" id="{A5EC6032-F463-4273-9CCC-56B0272FE3BA}"/>
                </a:ext>
              </a:extLst>
            </p:cNvPr>
            <p:cNvGraphicFramePr>
              <a:graphicFrameLocks/>
            </p:cNvGraphicFramePr>
            <p:nvPr>
              <p:extLst>
                <p:ext uri="{D42A27DB-BD31-4B8C-83A1-F6EECF244321}">
                  <p14:modId xmlns:p14="http://schemas.microsoft.com/office/powerpoint/2010/main" val="2833834513"/>
                </p:ext>
              </p:extLst>
            </p:nvPr>
          </p:nvGraphicFramePr>
          <p:xfrm>
            <a:off x="6933001" y="1178594"/>
            <a:ext cx="3474720" cy="5486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 name="Chart 3">
              <a:extLst>
                <a:ext uri="{FF2B5EF4-FFF2-40B4-BE49-F238E27FC236}">
                  <a16:creationId xmlns:a16="http://schemas.microsoft.com/office/drawing/2014/main" id="{6DBCC649-FFB0-4914-BF04-E9F264362734}"/>
                </a:ext>
              </a:extLst>
            </p:cNvPr>
            <p:cNvGraphicFramePr>
              <a:graphicFrameLocks/>
            </p:cNvGraphicFramePr>
            <p:nvPr>
              <p:extLst>
                <p:ext uri="{D42A27DB-BD31-4B8C-83A1-F6EECF244321}">
                  <p14:modId xmlns:p14="http://schemas.microsoft.com/office/powerpoint/2010/main" val="3110897269"/>
                </p:ext>
              </p:extLst>
            </p:nvPr>
          </p:nvGraphicFramePr>
          <p:xfrm>
            <a:off x="1706360" y="1178594"/>
            <a:ext cx="3474720" cy="5486400"/>
          </p:xfrm>
          <a:graphic>
            <a:graphicData uri="http://schemas.openxmlformats.org/drawingml/2006/chart">
              <c:chart xmlns:c="http://schemas.openxmlformats.org/drawingml/2006/chart" xmlns:r="http://schemas.openxmlformats.org/officeDocument/2006/relationships" r:id="rId4"/>
            </a:graphicData>
          </a:graphic>
        </p:graphicFrame>
      </p:grpSp>
      <p:sp>
        <p:nvSpPr>
          <p:cNvPr id="27" name="Rectangle 26">
            <a:extLst>
              <a:ext uri="{FF2B5EF4-FFF2-40B4-BE49-F238E27FC236}">
                <a16:creationId xmlns:a16="http://schemas.microsoft.com/office/drawing/2014/main" id="{344485C7-1D9A-4594-9CB4-0EA9835D125A}"/>
              </a:ext>
            </a:extLst>
          </p:cNvPr>
          <p:cNvSpPr/>
          <p:nvPr/>
        </p:nvSpPr>
        <p:spPr bwMode="auto">
          <a:xfrm>
            <a:off x="5181078" y="1816579"/>
            <a:ext cx="1751921" cy="4627473"/>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A2F609FB-E122-49E3-87D7-49A11F4DAE25}"/>
              </a:ext>
            </a:extLst>
          </p:cNvPr>
          <p:cNvSpPr>
            <a:spLocks noGrp="1"/>
          </p:cNvSpPr>
          <p:nvPr>
            <p:ph type="body" sz="quarter" idx="10"/>
          </p:nvPr>
        </p:nvSpPr>
        <p:spPr>
          <a:xfrm>
            <a:off x="323529" y="38814"/>
            <a:ext cx="11858929" cy="1403461"/>
          </a:xfrm>
        </p:spPr>
        <p:txBody>
          <a:bodyPr/>
          <a:lstStyle/>
          <a:p>
            <a:pPr algn="l"/>
            <a:r>
              <a:rPr lang="en-US" dirty="0"/>
              <a:t>Politics drives the most Adult incivility, physical appearance for Teens</a:t>
            </a:r>
          </a:p>
        </p:txBody>
      </p:sp>
      <p:grpSp>
        <p:nvGrpSpPr>
          <p:cNvPr id="6" name="Group 5">
            <a:extLst>
              <a:ext uri="{FF2B5EF4-FFF2-40B4-BE49-F238E27FC236}">
                <a16:creationId xmlns:a16="http://schemas.microsoft.com/office/drawing/2014/main" id="{E1CF0777-8E19-42C5-82AC-5365E1BDF7AB}"/>
              </a:ext>
            </a:extLst>
          </p:cNvPr>
          <p:cNvGrpSpPr/>
          <p:nvPr/>
        </p:nvGrpSpPr>
        <p:grpSpPr>
          <a:xfrm>
            <a:off x="5259001" y="1816579"/>
            <a:ext cx="1770647" cy="4541506"/>
            <a:chOff x="5259001" y="2019779"/>
            <a:chExt cx="1770647" cy="4541506"/>
          </a:xfrm>
        </p:grpSpPr>
        <p:sp>
          <p:nvSpPr>
            <p:cNvPr id="7" name="TextBox 6">
              <a:extLst>
                <a:ext uri="{FF2B5EF4-FFF2-40B4-BE49-F238E27FC236}">
                  <a16:creationId xmlns:a16="http://schemas.microsoft.com/office/drawing/2014/main" id="{C29DCF72-E48F-4227-97E7-898B5B990E97}"/>
                </a:ext>
              </a:extLst>
            </p:cNvPr>
            <p:cNvSpPr txBox="1"/>
            <p:nvPr/>
          </p:nvSpPr>
          <p:spPr>
            <a:xfrm>
              <a:off x="5431396" y="2019779"/>
              <a:ext cx="1183657"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Politics</a:t>
              </a:r>
            </a:p>
          </p:txBody>
        </p:sp>
        <p:sp>
          <p:nvSpPr>
            <p:cNvPr id="8" name="TextBox 7">
              <a:extLst>
                <a:ext uri="{FF2B5EF4-FFF2-40B4-BE49-F238E27FC236}">
                  <a16:creationId xmlns:a16="http://schemas.microsoft.com/office/drawing/2014/main" id="{D791F5CC-BEC5-441E-9C13-8F5BE75AE111}"/>
                </a:ext>
              </a:extLst>
            </p:cNvPr>
            <p:cNvSpPr txBox="1"/>
            <p:nvPr/>
          </p:nvSpPr>
          <p:spPr>
            <a:xfrm>
              <a:off x="5457429" y="3977752"/>
              <a:ext cx="1299074"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Religion</a:t>
              </a:r>
            </a:p>
          </p:txBody>
        </p:sp>
        <p:sp>
          <p:nvSpPr>
            <p:cNvPr id="9" name="TextBox 8">
              <a:extLst>
                <a:ext uri="{FF2B5EF4-FFF2-40B4-BE49-F238E27FC236}">
                  <a16:creationId xmlns:a16="http://schemas.microsoft.com/office/drawing/2014/main" id="{2F7006CA-8545-494C-A832-B74F2BA911EB}"/>
                </a:ext>
              </a:extLst>
            </p:cNvPr>
            <p:cNvSpPr txBox="1"/>
            <p:nvPr/>
          </p:nvSpPr>
          <p:spPr>
            <a:xfrm>
              <a:off x="5611572" y="4937418"/>
              <a:ext cx="968855"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Race</a:t>
              </a:r>
            </a:p>
          </p:txBody>
        </p:sp>
        <p:sp>
          <p:nvSpPr>
            <p:cNvPr id="10" name="TextBox 9">
              <a:extLst>
                <a:ext uri="{FF2B5EF4-FFF2-40B4-BE49-F238E27FC236}">
                  <a16:creationId xmlns:a16="http://schemas.microsoft.com/office/drawing/2014/main" id="{780E22CA-56CD-4287-9D17-B3914145FB92}"/>
                </a:ext>
              </a:extLst>
            </p:cNvPr>
            <p:cNvSpPr txBox="1"/>
            <p:nvPr/>
          </p:nvSpPr>
          <p:spPr>
            <a:xfrm>
              <a:off x="5276924" y="5711822"/>
              <a:ext cx="1752724" cy="849463"/>
            </a:xfrm>
            <a:prstGeom prst="rect">
              <a:avLst/>
            </a:prstGeom>
            <a:noFill/>
          </p:spPr>
          <p:txBody>
            <a:bodyPr wrap="none" lIns="182880" tIns="146304" rIns="182880" bIns="146304" rtlCol="0">
              <a:spAutoFit/>
            </a:bodyPr>
            <a:lstStyle/>
            <a:p>
              <a:pPr algn="ctr">
                <a:lnSpc>
                  <a:spcPct val="90000"/>
                </a:lnSpc>
              </a:pPr>
              <a:r>
                <a:rPr lang="en-US" sz="2000" dirty="0">
                  <a:latin typeface="Arial" panose="020B0604020202020204" pitchFamily="34" charset="0"/>
                  <a:cs typeface="Arial" panose="020B0604020202020204" pitchFamily="34" charset="0"/>
                </a:rPr>
                <a:t>Physical </a:t>
              </a:r>
            </a:p>
            <a:p>
              <a:pPr algn="ctr">
                <a:lnSpc>
                  <a:spcPct val="90000"/>
                </a:lnSpc>
              </a:pPr>
              <a:r>
                <a:rPr lang="en-US" sz="2000" dirty="0">
                  <a:latin typeface="Arial" panose="020B0604020202020204" pitchFamily="34" charset="0"/>
                  <a:cs typeface="Arial" panose="020B0604020202020204" pitchFamily="34" charset="0"/>
                </a:rPr>
                <a:t>Appearance</a:t>
              </a:r>
            </a:p>
          </p:txBody>
        </p:sp>
        <p:sp>
          <p:nvSpPr>
            <p:cNvPr id="26" name="TextBox 25">
              <a:extLst>
                <a:ext uri="{FF2B5EF4-FFF2-40B4-BE49-F238E27FC236}">
                  <a16:creationId xmlns:a16="http://schemas.microsoft.com/office/drawing/2014/main" id="{26007384-D953-4DB9-849E-C071FF5C1BE5}"/>
                </a:ext>
              </a:extLst>
            </p:cNvPr>
            <p:cNvSpPr txBox="1"/>
            <p:nvPr/>
          </p:nvSpPr>
          <p:spPr>
            <a:xfrm>
              <a:off x="5259001" y="2860266"/>
              <a:ext cx="1751921" cy="849463"/>
            </a:xfrm>
            <a:prstGeom prst="rect">
              <a:avLst/>
            </a:prstGeom>
            <a:noFill/>
          </p:spPr>
          <p:txBody>
            <a:bodyPr wrap="square" lIns="182880" tIns="146304" rIns="182880" bIns="146304" rtlCol="0">
              <a:spAutoFit/>
            </a:bodyPr>
            <a:lstStyle/>
            <a:p>
              <a:pPr algn="ctr">
                <a:lnSpc>
                  <a:spcPct val="90000"/>
                </a:lnSpc>
              </a:pPr>
              <a:r>
                <a:rPr lang="en-US" sz="2000" dirty="0">
                  <a:latin typeface="Arial" panose="020B0604020202020204" pitchFamily="34" charset="0"/>
                  <a:cs typeface="Arial" panose="020B0604020202020204" pitchFamily="34" charset="0"/>
                </a:rPr>
                <a:t>Sexual Orientation</a:t>
              </a:r>
            </a:p>
          </p:txBody>
        </p:sp>
      </p:grpSp>
      <p:sp>
        <p:nvSpPr>
          <p:cNvPr id="28" name="Oval 27">
            <a:extLst>
              <a:ext uri="{FF2B5EF4-FFF2-40B4-BE49-F238E27FC236}">
                <a16:creationId xmlns:a16="http://schemas.microsoft.com/office/drawing/2014/main" id="{EEE192C5-C4E9-4276-A5D4-4A7AE9D77875}"/>
              </a:ext>
            </a:extLst>
          </p:cNvPr>
          <p:cNvSpPr>
            <a:spLocks noChangeAspect="1"/>
          </p:cNvSpPr>
          <p:nvPr/>
        </p:nvSpPr>
        <p:spPr bwMode="auto">
          <a:xfrm>
            <a:off x="199765" y="1915325"/>
            <a:ext cx="1199540" cy="502529"/>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15</a:t>
            </a:r>
          </a:p>
        </p:txBody>
      </p:sp>
      <p:sp>
        <p:nvSpPr>
          <p:cNvPr id="32" name="Slide Number Placeholder 2">
            <a:extLst>
              <a:ext uri="{FF2B5EF4-FFF2-40B4-BE49-F238E27FC236}">
                <a16:creationId xmlns:a16="http://schemas.microsoft.com/office/drawing/2014/main" id="{1E9EFCDB-2286-4C14-BB1D-15CD72D9AD52}"/>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
        <p:nvSpPr>
          <p:cNvPr id="3" name="TextBox 2">
            <a:extLst>
              <a:ext uri="{FF2B5EF4-FFF2-40B4-BE49-F238E27FC236}">
                <a16:creationId xmlns:a16="http://schemas.microsoft.com/office/drawing/2014/main" id="{27009BE6-A026-4CB7-8369-2ED06BBEF7E7}"/>
              </a:ext>
            </a:extLst>
          </p:cNvPr>
          <p:cNvSpPr txBox="1"/>
          <p:nvPr/>
        </p:nvSpPr>
        <p:spPr>
          <a:xfrm>
            <a:off x="52364" y="2869603"/>
            <a:ext cx="2266122" cy="627864"/>
          </a:xfrm>
          <a:prstGeom prst="rect">
            <a:avLst/>
          </a:prstGeom>
          <a:noFill/>
        </p:spPr>
        <p:txBody>
          <a:bodyPr wrap="square" lIns="182880" tIns="146304" rIns="182880" bIns="146304" rtlCol="0">
            <a:spAutoFit/>
          </a:bodyPr>
          <a:lstStyle/>
          <a:p>
            <a:pPr>
              <a:lnSpc>
                <a:spcPct val="90000"/>
              </a:lnSpc>
            </a:pPr>
            <a:r>
              <a:rPr lang="en-US" sz="2400" b="1" dirty="0">
                <a:solidFill>
                  <a:srgbClr val="0070C0"/>
                </a:solidFill>
              </a:rPr>
              <a:t>Adults</a:t>
            </a:r>
          </a:p>
        </p:txBody>
      </p:sp>
      <p:sp>
        <p:nvSpPr>
          <p:cNvPr id="33" name="TextBox 32">
            <a:extLst>
              <a:ext uri="{FF2B5EF4-FFF2-40B4-BE49-F238E27FC236}">
                <a16:creationId xmlns:a16="http://schemas.microsoft.com/office/drawing/2014/main" id="{1FF76DE2-790A-4A6C-8951-7A111144C4FF}"/>
              </a:ext>
            </a:extLst>
          </p:cNvPr>
          <p:cNvSpPr txBox="1"/>
          <p:nvPr/>
        </p:nvSpPr>
        <p:spPr>
          <a:xfrm>
            <a:off x="10368389" y="2794600"/>
            <a:ext cx="2266122" cy="627864"/>
          </a:xfrm>
          <a:prstGeom prst="rect">
            <a:avLst/>
          </a:prstGeom>
          <a:noFill/>
        </p:spPr>
        <p:txBody>
          <a:bodyPr wrap="square" lIns="182880" tIns="146304" rIns="182880" bIns="146304" rtlCol="0">
            <a:spAutoFit/>
          </a:bodyPr>
          <a:lstStyle/>
          <a:p>
            <a:pPr>
              <a:lnSpc>
                <a:spcPct val="90000"/>
              </a:lnSpc>
            </a:pPr>
            <a:r>
              <a:rPr lang="en-US" sz="2400" b="1" dirty="0">
                <a:solidFill>
                  <a:srgbClr val="2CB8AE"/>
                </a:solidFill>
              </a:rPr>
              <a:t>Teens</a:t>
            </a:r>
          </a:p>
        </p:txBody>
      </p:sp>
      <p:sp>
        <p:nvSpPr>
          <p:cNvPr id="34" name="Oval 33">
            <a:extLst>
              <a:ext uri="{FF2B5EF4-FFF2-40B4-BE49-F238E27FC236}">
                <a16:creationId xmlns:a16="http://schemas.microsoft.com/office/drawing/2014/main" id="{8459511C-B644-4212-8280-DBDB403599E7}"/>
              </a:ext>
            </a:extLst>
          </p:cNvPr>
          <p:cNvSpPr>
            <a:spLocks noChangeAspect="1"/>
          </p:cNvSpPr>
          <p:nvPr/>
        </p:nvSpPr>
        <p:spPr bwMode="auto">
          <a:xfrm>
            <a:off x="239167" y="3926330"/>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7</a:t>
            </a:r>
          </a:p>
        </p:txBody>
      </p:sp>
      <p:sp>
        <p:nvSpPr>
          <p:cNvPr id="25" name="Oval 24">
            <a:extLst>
              <a:ext uri="{FF2B5EF4-FFF2-40B4-BE49-F238E27FC236}">
                <a16:creationId xmlns:a16="http://schemas.microsoft.com/office/drawing/2014/main" id="{9F1BEF91-9C04-4C77-90B0-4C36BD23B1AF}"/>
              </a:ext>
            </a:extLst>
          </p:cNvPr>
          <p:cNvSpPr>
            <a:spLocks noChangeAspect="1"/>
          </p:cNvSpPr>
          <p:nvPr/>
        </p:nvSpPr>
        <p:spPr bwMode="auto">
          <a:xfrm>
            <a:off x="10700909" y="5682088"/>
            <a:ext cx="1224381" cy="502529"/>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0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15</a:t>
            </a:r>
          </a:p>
        </p:txBody>
      </p:sp>
      <p:sp>
        <p:nvSpPr>
          <p:cNvPr id="29" name="TextBox 28">
            <a:extLst>
              <a:ext uri="{FF2B5EF4-FFF2-40B4-BE49-F238E27FC236}">
                <a16:creationId xmlns:a16="http://schemas.microsoft.com/office/drawing/2014/main" id="{567D309A-0D31-43EA-8664-AFA4FFACCDB3}"/>
              </a:ext>
            </a:extLst>
          </p:cNvPr>
          <p:cNvSpPr txBox="1"/>
          <p:nvPr/>
        </p:nvSpPr>
        <p:spPr>
          <a:xfrm>
            <a:off x="-29568" y="6411766"/>
            <a:ext cx="7056212" cy="425400"/>
          </a:xfrm>
          <a:prstGeom prst="rect">
            <a:avLst/>
          </a:prstGeom>
          <a:noFill/>
        </p:spPr>
        <p:txBody>
          <a:bodyPr wrap="none" lIns="179285" tIns="143428" rIns="179285" bIns="143428" rtlCol="0">
            <a:spAutoFit/>
          </a:bodyPr>
          <a:lstStyle/>
          <a:p>
            <a:pPr>
              <a:lnSpc>
                <a:spcPct val="90000"/>
              </a:lnSpc>
            </a:pPr>
            <a:r>
              <a:rPr lang="en-US" sz="1000" i="1" dirty="0">
                <a:solidFill>
                  <a:schemeClr val="bg1">
                    <a:lumMod val="50000"/>
                  </a:schemeClr>
                </a:solidFill>
              </a:rPr>
              <a:t> Q2B Thinking about your online interactions, which topics have generated the most rude, uncivil or abusive behavior?</a:t>
            </a:r>
          </a:p>
        </p:txBody>
      </p:sp>
    </p:spTree>
    <p:extLst>
      <p:ext uri="{BB962C8B-B14F-4D97-AF65-F5344CB8AC3E}">
        <p14:creationId xmlns:p14="http://schemas.microsoft.com/office/powerpoint/2010/main" val="4271922789"/>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06381AD-4C2B-4745-99B1-0BBCE6131A71}"/>
              </a:ext>
            </a:extLst>
          </p:cNvPr>
          <p:cNvSpPr>
            <a:spLocks noGrp="1"/>
          </p:cNvSpPr>
          <p:nvPr>
            <p:ph type="body" sz="quarter" idx="10"/>
          </p:nvPr>
        </p:nvSpPr>
        <p:spPr/>
        <p:txBody>
          <a:bodyPr/>
          <a:lstStyle/>
          <a:p>
            <a:pPr algn="l"/>
            <a:r>
              <a:rPr lang="en-US" dirty="0"/>
              <a:t>Places that drive the most incivility</a:t>
            </a:r>
          </a:p>
        </p:txBody>
      </p:sp>
      <p:sp>
        <p:nvSpPr>
          <p:cNvPr id="7" name="TextBox 6">
            <a:extLst>
              <a:ext uri="{FF2B5EF4-FFF2-40B4-BE49-F238E27FC236}">
                <a16:creationId xmlns:a16="http://schemas.microsoft.com/office/drawing/2014/main" id="{C30F0F04-C0E2-48FA-91B1-5D1A3ADEFE6C}"/>
              </a:ext>
            </a:extLst>
          </p:cNvPr>
          <p:cNvSpPr txBox="1"/>
          <p:nvPr/>
        </p:nvSpPr>
        <p:spPr>
          <a:xfrm>
            <a:off x="9604306" y="4531138"/>
            <a:ext cx="1796570" cy="954107"/>
          </a:xfrm>
          <a:prstGeom prst="rect">
            <a:avLst/>
          </a:prstGeom>
          <a:noFill/>
        </p:spPr>
        <p:txBody>
          <a:bodyPr wrap="square" rtlCol="0">
            <a:spAutoFit/>
          </a:bodyPr>
          <a:lstStyle/>
          <a:p>
            <a:pPr algn="ctr"/>
            <a:r>
              <a:rPr lang="en-US" altLang="ko-KR" sz="2800" b="1" dirty="0">
                <a:solidFill>
                  <a:schemeClr val="accent4"/>
                </a:solidFill>
                <a:cs typeface="Arial" pitchFamily="34" charset="0"/>
              </a:rPr>
              <a:t>Gaming sites</a:t>
            </a:r>
            <a:endParaRPr lang="ko-KR" altLang="en-US" sz="2800" b="1" dirty="0">
              <a:solidFill>
                <a:schemeClr val="accent4"/>
              </a:solidFill>
              <a:cs typeface="Arial" pitchFamily="34" charset="0"/>
            </a:endParaRPr>
          </a:p>
        </p:txBody>
      </p:sp>
      <p:grpSp>
        <p:nvGrpSpPr>
          <p:cNvPr id="8" name="Group 7">
            <a:extLst>
              <a:ext uri="{FF2B5EF4-FFF2-40B4-BE49-F238E27FC236}">
                <a16:creationId xmlns:a16="http://schemas.microsoft.com/office/drawing/2014/main" id="{F42391C7-66A3-4C12-B4C5-DCFACDD11A5C}"/>
              </a:ext>
            </a:extLst>
          </p:cNvPr>
          <p:cNvGrpSpPr/>
          <p:nvPr/>
        </p:nvGrpSpPr>
        <p:grpSpPr>
          <a:xfrm>
            <a:off x="261027" y="3519894"/>
            <a:ext cx="2367029" cy="954107"/>
            <a:chOff x="3017859" y="4283314"/>
            <a:chExt cx="1890849" cy="954107"/>
          </a:xfrm>
        </p:grpSpPr>
        <p:sp>
          <p:nvSpPr>
            <p:cNvPr id="9" name="TextBox 8">
              <a:extLst>
                <a:ext uri="{FF2B5EF4-FFF2-40B4-BE49-F238E27FC236}">
                  <a16:creationId xmlns:a16="http://schemas.microsoft.com/office/drawing/2014/main" id="{0895E63C-89D2-4050-A069-71DA9D84F301}"/>
                </a:ext>
              </a:extLst>
            </p:cNvPr>
            <p:cNvSpPr txBox="1"/>
            <p:nvPr/>
          </p:nvSpPr>
          <p:spPr>
            <a:xfrm>
              <a:off x="3021856" y="4560313"/>
              <a:ext cx="1886852" cy="276999"/>
            </a:xfrm>
            <a:prstGeom prst="rect">
              <a:avLst/>
            </a:prstGeom>
            <a:noFill/>
          </p:spPr>
          <p:txBody>
            <a:bodyPr wrap="square" rtlCol="0">
              <a:spAutoFit/>
            </a:bodyPr>
            <a:lstStyle/>
            <a:p>
              <a:pPr algn="ctr"/>
              <a:endParaRPr lang="ko-KR" altLang="en-US" sz="1200" dirty="0">
                <a:solidFill>
                  <a:schemeClr val="tx1">
                    <a:lumMod val="65000"/>
                    <a:lumOff val="35000"/>
                  </a:schemeClr>
                </a:solidFill>
                <a:cs typeface="Arial" pitchFamily="34" charset="0"/>
              </a:endParaRPr>
            </a:p>
          </p:txBody>
        </p:sp>
        <p:sp>
          <p:nvSpPr>
            <p:cNvPr id="10" name="TextBox 9">
              <a:extLst>
                <a:ext uri="{FF2B5EF4-FFF2-40B4-BE49-F238E27FC236}">
                  <a16:creationId xmlns:a16="http://schemas.microsoft.com/office/drawing/2014/main" id="{652667C1-D1D0-48D8-B57A-7E0B58AC5B0B}"/>
                </a:ext>
              </a:extLst>
            </p:cNvPr>
            <p:cNvSpPr txBox="1"/>
            <p:nvPr/>
          </p:nvSpPr>
          <p:spPr>
            <a:xfrm>
              <a:off x="3017859" y="4283314"/>
              <a:ext cx="1870812" cy="954107"/>
            </a:xfrm>
            <a:prstGeom prst="rect">
              <a:avLst/>
            </a:prstGeom>
            <a:noFill/>
          </p:spPr>
          <p:txBody>
            <a:bodyPr wrap="square" rtlCol="0">
              <a:spAutoFit/>
            </a:bodyPr>
            <a:lstStyle/>
            <a:p>
              <a:pPr algn="ctr"/>
              <a:r>
                <a:rPr lang="en-US" altLang="ko-KR" sz="2800" b="1" dirty="0">
                  <a:solidFill>
                    <a:schemeClr val="accent6"/>
                  </a:solidFill>
                  <a:cs typeface="Arial" pitchFamily="34" charset="0"/>
                </a:rPr>
                <a:t>Social media</a:t>
              </a:r>
              <a:endParaRPr lang="ko-KR" altLang="en-US" sz="2800" b="1" dirty="0">
                <a:solidFill>
                  <a:schemeClr val="accent6"/>
                </a:solidFill>
                <a:cs typeface="Arial" pitchFamily="34" charset="0"/>
              </a:endParaRPr>
            </a:p>
          </p:txBody>
        </p:sp>
      </p:grpSp>
      <p:grpSp>
        <p:nvGrpSpPr>
          <p:cNvPr id="11" name="Group 10">
            <a:extLst>
              <a:ext uri="{FF2B5EF4-FFF2-40B4-BE49-F238E27FC236}">
                <a16:creationId xmlns:a16="http://schemas.microsoft.com/office/drawing/2014/main" id="{5D5E6FD4-3B83-455D-AA25-33ED7BBDF7DA}"/>
              </a:ext>
            </a:extLst>
          </p:cNvPr>
          <p:cNvGrpSpPr/>
          <p:nvPr/>
        </p:nvGrpSpPr>
        <p:grpSpPr>
          <a:xfrm>
            <a:off x="3168038" y="5074101"/>
            <a:ext cx="1815812" cy="1384995"/>
            <a:chOff x="3017859" y="4283314"/>
            <a:chExt cx="1890849" cy="1384995"/>
          </a:xfrm>
        </p:grpSpPr>
        <p:sp>
          <p:nvSpPr>
            <p:cNvPr id="12" name="TextBox 11">
              <a:extLst>
                <a:ext uri="{FF2B5EF4-FFF2-40B4-BE49-F238E27FC236}">
                  <a16:creationId xmlns:a16="http://schemas.microsoft.com/office/drawing/2014/main" id="{67F411F5-3CA7-4B38-BEA1-4BA2B38903E8}"/>
                </a:ext>
              </a:extLst>
            </p:cNvPr>
            <p:cNvSpPr txBox="1"/>
            <p:nvPr/>
          </p:nvSpPr>
          <p:spPr>
            <a:xfrm>
              <a:off x="3021856" y="4560313"/>
              <a:ext cx="1886852" cy="276999"/>
            </a:xfrm>
            <a:prstGeom prst="rect">
              <a:avLst/>
            </a:prstGeom>
            <a:noFill/>
          </p:spPr>
          <p:txBody>
            <a:bodyPr wrap="square" rtlCol="0">
              <a:spAutoFit/>
            </a:bodyPr>
            <a:lstStyle/>
            <a:p>
              <a:pPr algn="ctr"/>
              <a:endParaRPr lang="ko-KR" altLang="en-US" sz="1200" dirty="0">
                <a:solidFill>
                  <a:schemeClr val="tx1">
                    <a:lumMod val="65000"/>
                    <a:lumOff val="35000"/>
                  </a:schemeClr>
                </a:solidFill>
                <a:cs typeface="Arial" pitchFamily="34" charset="0"/>
              </a:endParaRPr>
            </a:p>
          </p:txBody>
        </p:sp>
        <p:sp>
          <p:nvSpPr>
            <p:cNvPr id="13" name="TextBox 12">
              <a:extLst>
                <a:ext uri="{FF2B5EF4-FFF2-40B4-BE49-F238E27FC236}">
                  <a16:creationId xmlns:a16="http://schemas.microsoft.com/office/drawing/2014/main" id="{E3E9CEBF-3FEB-4099-9B0F-E8D271D1FA6D}"/>
                </a:ext>
              </a:extLst>
            </p:cNvPr>
            <p:cNvSpPr txBox="1"/>
            <p:nvPr/>
          </p:nvSpPr>
          <p:spPr>
            <a:xfrm>
              <a:off x="3017859" y="4283314"/>
              <a:ext cx="1870812" cy="1384995"/>
            </a:xfrm>
            <a:prstGeom prst="rect">
              <a:avLst/>
            </a:prstGeom>
            <a:noFill/>
          </p:spPr>
          <p:txBody>
            <a:bodyPr wrap="square" rtlCol="0">
              <a:spAutoFit/>
            </a:bodyPr>
            <a:lstStyle/>
            <a:p>
              <a:pPr algn="ctr"/>
              <a:r>
                <a:rPr lang="en-US" altLang="ko-KR" sz="2800" b="1" dirty="0">
                  <a:solidFill>
                    <a:schemeClr val="accent1"/>
                  </a:solidFill>
                  <a:cs typeface="Arial" pitchFamily="34" charset="0"/>
                </a:rPr>
                <a:t>Media sharing sites</a:t>
              </a:r>
              <a:endParaRPr lang="ko-KR" altLang="en-US" sz="2800" b="1" dirty="0">
                <a:solidFill>
                  <a:schemeClr val="accent1"/>
                </a:solidFill>
                <a:cs typeface="Arial" pitchFamily="34" charset="0"/>
              </a:endParaRPr>
            </a:p>
          </p:txBody>
        </p:sp>
      </p:grpSp>
      <p:sp>
        <p:nvSpPr>
          <p:cNvPr id="16" name="TextBox 15">
            <a:extLst>
              <a:ext uri="{FF2B5EF4-FFF2-40B4-BE49-F238E27FC236}">
                <a16:creationId xmlns:a16="http://schemas.microsoft.com/office/drawing/2014/main" id="{431862EA-A845-4FD9-8903-823A12CBD958}"/>
              </a:ext>
            </a:extLst>
          </p:cNvPr>
          <p:cNvSpPr txBox="1"/>
          <p:nvPr/>
        </p:nvSpPr>
        <p:spPr>
          <a:xfrm>
            <a:off x="5022971" y="4156407"/>
            <a:ext cx="2263566" cy="954107"/>
          </a:xfrm>
          <a:prstGeom prst="rect">
            <a:avLst/>
          </a:prstGeom>
          <a:noFill/>
        </p:spPr>
        <p:txBody>
          <a:bodyPr wrap="square" rtlCol="0">
            <a:spAutoFit/>
          </a:bodyPr>
          <a:lstStyle/>
          <a:p>
            <a:pPr algn="ctr"/>
            <a:r>
              <a:rPr lang="en-US" altLang="ko-KR" sz="2800" b="1" dirty="0">
                <a:solidFill>
                  <a:schemeClr val="accent2"/>
                </a:solidFill>
                <a:cs typeface="Arial" pitchFamily="34" charset="0"/>
              </a:rPr>
              <a:t>Discussion forums</a:t>
            </a:r>
            <a:endParaRPr lang="ko-KR" altLang="en-US" sz="2800" b="1" dirty="0">
              <a:solidFill>
                <a:schemeClr val="accent2"/>
              </a:solidFill>
              <a:cs typeface="Arial" pitchFamily="34" charset="0"/>
            </a:endParaRPr>
          </a:p>
        </p:txBody>
      </p:sp>
      <p:sp>
        <p:nvSpPr>
          <p:cNvPr id="19" name="TextBox 18">
            <a:extLst>
              <a:ext uri="{FF2B5EF4-FFF2-40B4-BE49-F238E27FC236}">
                <a16:creationId xmlns:a16="http://schemas.microsoft.com/office/drawing/2014/main" id="{A657097F-4B5B-45EE-A474-3CE322343EA7}"/>
              </a:ext>
            </a:extLst>
          </p:cNvPr>
          <p:cNvSpPr txBox="1"/>
          <p:nvPr/>
        </p:nvSpPr>
        <p:spPr>
          <a:xfrm>
            <a:off x="7392983" y="5132290"/>
            <a:ext cx="2006908" cy="1200329"/>
          </a:xfrm>
          <a:prstGeom prst="rect">
            <a:avLst/>
          </a:prstGeom>
          <a:noFill/>
        </p:spPr>
        <p:txBody>
          <a:bodyPr wrap="square" rtlCol="0">
            <a:spAutoFit/>
          </a:bodyPr>
          <a:lstStyle/>
          <a:p>
            <a:pPr algn="ctr"/>
            <a:r>
              <a:rPr lang="en-US" altLang="ko-KR" sz="2400" b="1" dirty="0">
                <a:solidFill>
                  <a:schemeClr val="accent3"/>
                </a:solidFill>
                <a:cs typeface="Arial" pitchFamily="34" charset="0"/>
              </a:rPr>
              <a:t>Anonymous social media</a:t>
            </a:r>
            <a:endParaRPr lang="ko-KR" altLang="en-US" sz="2400" b="1" dirty="0">
              <a:solidFill>
                <a:schemeClr val="accent3"/>
              </a:solidFill>
              <a:cs typeface="Arial" pitchFamily="34" charset="0"/>
            </a:endParaRPr>
          </a:p>
        </p:txBody>
      </p:sp>
      <p:sp>
        <p:nvSpPr>
          <p:cNvPr id="21" name="Oval 20">
            <a:extLst>
              <a:ext uri="{FF2B5EF4-FFF2-40B4-BE49-F238E27FC236}">
                <a16:creationId xmlns:a16="http://schemas.microsoft.com/office/drawing/2014/main" id="{34B5EC39-B9E4-4A25-A0DB-5AEC508B1993}"/>
              </a:ext>
            </a:extLst>
          </p:cNvPr>
          <p:cNvSpPr/>
          <p:nvPr/>
        </p:nvSpPr>
        <p:spPr>
          <a:xfrm>
            <a:off x="628000" y="1727351"/>
            <a:ext cx="1633084" cy="1633084"/>
          </a:xfrm>
          <a:prstGeom prst="ellipse">
            <a:avLst/>
          </a:prstGeom>
          <a:solidFill>
            <a:schemeClr val="bg1"/>
          </a:solidFill>
          <a:ln w="6350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dirty="0"/>
          </a:p>
        </p:txBody>
      </p:sp>
      <p:sp>
        <p:nvSpPr>
          <p:cNvPr id="24" name="Oval 23">
            <a:extLst>
              <a:ext uri="{FF2B5EF4-FFF2-40B4-BE49-F238E27FC236}">
                <a16:creationId xmlns:a16="http://schemas.microsoft.com/office/drawing/2014/main" id="{BC04F64A-58B1-4BCD-B18E-6A8758AE7C48}"/>
              </a:ext>
            </a:extLst>
          </p:cNvPr>
          <p:cNvSpPr/>
          <p:nvPr/>
        </p:nvSpPr>
        <p:spPr>
          <a:xfrm>
            <a:off x="3262067" y="3059781"/>
            <a:ext cx="1633083" cy="1633083"/>
          </a:xfrm>
          <a:prstGeom prst="ellipse">
            <a:avLst/>
          </a:prstGeom>
          <a:solidFill>
            <a:schemeClr val="bg1"/>
          </a:solidFill>
          <a:ln w="635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27" name="Oval 26">
            <a:extLst>
              <a:ext uri="{FF2B5EF4-FFF2-40B4-BE49-F238E27FC236}">
                <a16:creationId xmlns:a16="http://schemas.microsoft.com/office/drawing/2014/main" id="{F819AF3E-629F-4345-AC0E-CC7015A51E87}"/>
              </a:ext>
            </a:extLst>
          </p:cNvPr>
          <p:cNvSpPr/>
          <p:nvPr/>
        </p:nvSpPr>
        <p:spPr>
          <a:xfrm>
            <a:off x="5300690" y="2363864"/>
            <a:ext cx="1633084" cy="1633084"/>
          </a:xfrm>
          <a:prstGeom prst="ellipse">
            <a:avLst/>
          </a:prstGeom>
          <a:solidFill>
            <a:schemeClr val="bg1"/>
          </a:solidFill>
          <a:ln w="635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0" name="Oval 29">
            <a:extLst>
              <a:ext uri="{FF2B5EF4-FFF2-40B4-BE49-F238E27FC236}">
                <a16:creationId xmlns:a16="http://schemas.microsoft.com/office/drawing/2014/main" id="{3AA3BA34-9735-45EB-BBA4-727226D239B3}"/>
              </a:ext>
            </a:extLst>
          </p:cNvPr>
          <p:cNvSpPr/>
          <p:nvPr/>
        </p:nvSpPr>
        <p:spPr>
          <a:xfrm>
            <a:off x="9695670" y="2534465"/>
            <a:ext cx="1633084" cy="1633083"/>
          </a:xfrm>
          <a:prstGeom prst="ellipse">
            <a:avLst/>
          </a:prstGeom>
          <a:solidFill>
            <a:schemeClr val="bg1"/>
          </a:solidFill>
          <a:ln w="635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3" name="Oval 32">
            <a:extLst>
              <a:ext uri="{FF2B5EF4-FFF2-40B4-BE49-F238E27FC236}">
                <a16:creationId xmlns:a16="http://schemas.microsoft.com/office/drawing/2014/main" id="{626D569C-3583-40F1-A020-9A816AE5554E}"/>
              </a:ext>
            </a:extLst>
          </p:cNvPr>
          <p:cNvSpPr/>
          <p:nvPr/>
        </p:nvSpPr>
        <p:spPr>
          <a:xfrm>
            <a:off x="7474726" y="3123539"/>
            <a:ext cx="1633084" cy="1633084"/>
          </a:xfrm>
          <a:prstGeom prst="ellipse">
            <a:avLst/>
          </a:prstGeom>
          <a:solidFill>
            <a:schemeClr val="bg1"/>
          </a:solidFill>
          <a:ln w="635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p>
        </p:txBody>
      </p:sp>
      <p:sp>
        <p:nvSpPr>
          <p:cNvPr id="35" name="TextBox 34">
            <a:extLst>
              <a:ext uri="{FF2B5EF4-FFF2-40B4-BE49-F238E27FC236}">
                <a16:creationId xmlns:a16="http://schemas.microsoft.com/office/drawing/2014/main" id="{0F140DB4-471E-43A7-AB79-8F7A5E84C6CC}"/>
              </a:ext>
            </a:extLst>
          </p:cNvPr>
          <p:cNvSpPr txBox="1"/>
          <p:nvPr/>
        </p:nvSpPr>
        <p:spPr>
          <a:xfrm>
            <a:off x="936820" y="2288735"/>
            <a:ext cx="1015444" cy="769441"/>
          </a:xfrm>
          <a:prstGeom prst="rect">
            <a:avLst/>
          </a:prstGeom>
          <a:noFill/>
        </p:spPr>
        <p:txBody>
          <a:bodyPr wrap="square" rtlCol="0">
            <a:spAutoFit/>
          </a:bodyPr>
          <a:lstStyle/>
          <a:p>
            <a:pPr algn="ctr"/>
            <a:r>
              <a:rPr lang="en-US" altLang="ko-KR" sz="4400" dirty="0">
                <a:solidFill>
                  <a:schemeClr val="accent6"/>
                </a:solidFill>
                <a:latin typeface="Impact" panose="020B0806030902050204" pitchFamily="34" charset="0"/>
                <a:cs typeface="Arial" pitchFamily="34" charset="0"/>
              </a:rPr>
              <a:t>66</a:t>
            </a:r>
            <a:r>
              <a:rPr lang="en-US" altLang="ko-KR" sz="1600" dirty="0">
                <a:solidFill>
                  <a:schemeClr val="accent6"/>
                </a:solidFill>
                <a:latin typeface="Impact" panose="020B0806030902050204" pitchFamily="34" charset="0"/>
                <a:cs typeface="Arial" pitchFamily="34" charset="0"/>
              </a:rPr>
              <a:t>%</a:t>
            </a:r>
            <a:endParaRPr lang="ko-KR" altLang="en-US" sz="1600" dirty="0">
              <a:solidFill>
                <a:schemeClr val="accent6"/>
              </a:solidFill>
              <a:latin typeface="Impact" panose="020B0806030902050204" pitchFamily="34" charset="0"/>
              <a:cs typeface="Arial" pitchFamily="34" charset="0"/>
            </a:endParaRPr>
          </a:p>
        </p:txBody>
      </p:sp>
      <p:sp>
        <p:nvSpPr>
          <p:cNvPr id="36" name="TextBox 35">
            <a:extLst>
              <a:ext uri="{FF2B5EF4-FFF2-40B4-BE49-F238E27FC236}">
                <a16:creationId xmlns:a16="http://schemas.microsoft.com/office/drawing/2014/main" id="{8E3FBA6C-EB1B-4F31-8E20-0CA84BBE4E3E}"/>
              </a:ext>
            </a:extLst>
          </p:cNvPr>
          <p:cNvSpPr txBox="1"/>
          <p:nvPr/>
        </p:nvSpPr>
        <p:spPr>
          <a:xfrm>
            <a:off x="3575611" y="3603581"/>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7</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sp>
        <p:nvSpPr>
          <p:cNvPr id="37" name="TextBox 36">
            <a:extLst>
              <a:ext uri="{FF2B5EF4-FFF2-40B4-BE49-F238E27FC236}">
                <a16:creationId xmlns:a16="http://schemas.microsoft.com/office/drawing/2014/main" id="{7508AB5E-AB63-484B-BC1F-4618FA029E63}"/>
              </a:ext>
            </a:extLst>
          </p:cNvPr>
          <p:cNvSpPr txBox="1"/>
          <p:nvPr/>
        </p:nvSpPr>
        <p:spPr>
          <a:xfrm>
            <a:off x="5617320" y="292524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4</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sp>
        <p:nvSpPr>
          <p:cNvPr id="38" name="TextBox 37">
            <a:extLst>
              <a:ext uri="{FF2B5EF4-FFF2-40B4-BE49-F238E27FC236}">
                <a16:creationId xmlns:a16="http://schemas.microsoft.com/office/drawing/2014/main" id="{788FB364-9226-47D1-8B99-DF72B6151BD2}"/>
              </a:ext>
            </a:extLst>
          </p:cNvPr>
          <p:cNvSpPr txBox="1"/>
          <p:nvPr/>
        </p:nvSpPr>
        <p:spPr>
          <a:xfrm>
            <a:off x="7794441" y="3667340"/>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3</a:t>
            </a:r>
            <a:r>
              <a:rPr lang="en-US" altLang="ko-KR" sz="1600" dirty="0">
                <a:solidFill>
                  <a:schemeClr val="accent1"/>
                </a:solidFill>
                <a:latin typeface="Impact" panose="020B0806030902050204" pitchFamily="34" charset="0"/>
                <a:cs typeface="Arial" pitchFamily="34" charset="0"/>
              </a:rPr>
              <a:t>%</a:t>
            </a:r>
            <a:endParaRPr lang="ko-KR" altLang="en-US" sz="1600" dirty="0">
              <a:solidFill>
                <a:schemeClr val="accent1"/>
              </a:solidFill>
              <a:latin typeface="Impact" panose="020B0806030902050204" pitchFamily="34" charset="0"/>
              <a:cs typeface="Arial" pitchFamily="34" charset="0"/>
            </a:endParaRPr>
          </a:p>
        </p:txBody>
      </p:sp>
      <p:sp>
        <p:nvSpPr>
          <p:cNvPr id="39" name="TextBox 38">
            <a:extLst>
              <a:ext uri="{FF2B5EF4-FFF2-40B4-BE49-F238E27FC236}">
                <a16:creationId xmlns:a16="http://schemas.microsoft.com/office/drawing/2014/main" id="{D012FFEF-39B0-49B3-8572-0E0A239632B6}"/>
              </a:ext>
            </a:extLst>
          </p:cNvPr>
          <p:cNvSpPr txBox="1"/>
          <p:nvPr/>
        </p:nvSpPr>
        <p:spPr>
          <a:xfrm>
            <a:off x="10004490" y="3095848"/>
            <a:ext cx="1015444" cy="769441"/>
          </a:xfrm>
          <a:prstGeom prst="rect">
            <a:avLst/>
          </a:prstGeom>
          <a:noFill/>
        </p:spPr>
        <p:txBody>
          <a:bodyPr wrap="square" rtlCol="0">
            <a:spAutoFit/>
          </a:bodyPr>
          <a:lstStyle/>
          <a:p>
            <a:pPr algn="ctr"/>
            <a:r>
              <a:rPr lang="en-US" altLang="ko-KR" sz="4400" dirty="0">
                <a:solidFill>
                  <a:schemeClr val="accent1"/>
                </a:solidFill>
                <a:latin typeface="Impact" panose="020B0806030902050204" pitchFamily="34" charset="0"/>
                <a:cs typeface="Arial" pitchFamily="34" charset="0"/>
              </a:rPr>
              <a:t>20</a:t>
            </a:r>
            <a:r>
              <a:rPr lang="en-US" altLang="ko-KR" sz="2200" dirty="0">
                <a:solidFill>
                  <a:schemeClr val="accent1"/>
                </a:solidFill>
                <a:latin typeface="Impact" panose="020B0806030902050204" pitchFamily="34" charset="0"/>
                <a:cs typeface="Arial" pitchFamily="34" charset="0"/>
              </a:rPr>
              <a:t>%</a:t>
            </a:r>
            <a:endParaRPr lang="ko-KR" altLang="en-US" sz="2200" dirty="0">
              <a:solidFill>
                <a:schemeClr val="accent1"/>
              </a:solidFill>
              <a:latin typeface="Impact" panose="020B0806030902050204" pitchFamily="34" charset="0"/>
              <a:cs typeface="Arial" pitchFamily="34" charset="0"/>
            </a:endParaRPr>
          </a:p>
        </p:txBody>
      </p:sp>
      <p:sp>
        <p:nvSpPr>
          <p:cNvPr id="45" name="TextBox 44">
            <a:extLst>
              <a:ext uri="{FF2B5EF4-FFF2-40B4-BE49-F238E27FC236}">
                <a16:creationId xmlns:a16="http://schemas.microsoft.com/office/drawing/2014/main" id="{7E1B7C0D-65BE-48B9-84FE-A208939B9CE7}"/>
              </a:ext>
            </a:extLst>
          </p:cNvPr>
          <p:cNvSpPr txBox="1"/>
          <p:nvPr/>
        </p:nvSpPr>
        <p:spPr>
          <a:xfrm>
            <a:off x="-29568" y="6411766"/>
            <a:ext cx="6475925" cy="428157"/>
          </a:xfrm>
          <a:prstGeom prst="rect">
            <a:avLst/>
          </a:prstGeom>
          <a:noFill/>
        </p:spPr>
        <p:txBody>
          <a:bodyPr wrap="none" lIns="179285" tIns="143428" rIns="179285" bIns="143428" rtlCol="0">
            <a:spAutoFit/>
          </a:bodyPr>
          <a:lstStyle/>
          <a:p>
            <a:pPr>
              <a:lnSpc>
                <a:spcPct val="90000"/>
              </a:lnSpc>
            </a:pPr>
            <a:r>
              <a:rPr lang="en-US" sz="1000" i="1" dirty="0">
                <a:solidFill>
                  <a:schemeClr val="bg1">
                    <a:lumMod val="50000"/>
                  </a:schemeClr>
                </a:solidFill>
              </a:rPr>
              <a:t> Q5_2B: Which places where people interact online have you experienced rude, uncivil or abusive behavior</a:t>
            </a:r>
          </a:p>
        </p:txBody>
      </p:sp>
      <p:sp>
        <p:nvSpPr>
          <p:cNvPr id="41" name="Slide Number Placeholder 2">
            <a:extLst>
              <a:ext uri="{FF2B5EF4-FFF2-40B4-BE49-F238E27FC236}">
                <a16:creationId xmlns:a16="http://schemas.microsoft.com/office/drawing/2014/main" id="{90909416-D9E9-4EF3-BCE0-AD922D464276}"/>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1404098367"/>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44485C7-1D9A-4594-9CB4-0EA9835D125A}"/>
              </a:ext>
            </a:extLst>
          </p:cNvPr>
          <p:cNvSpPr/>
          <p:nvPr/>
        </p:nvSpPr>
        <p:spPr bwMode="auto">
          <a:xfrm>
            <a:off x="5181080" y="1265412"/>
            <a:ext cx="1751921" cy="5003341"/>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A2F609FB-E122-49E3-87D7-49A11F4DAE25}"/>
              </a:ext>
            </a:extLst>
          </p:cNvPr>
          <p:cNvSpPr>
            <a:spLocks noGrp="1"/>
          </p:cNvSpPr>
          <p:nvPr>
            <p:ph type="body" sz="quarter" idx="10"/>
          </p:nvPr>
        </p:nvSpPr>
        <p:spPr>
          <a:xfrm>
            <a:off x="323529" y="304601"/>
            <a:ext cx="11573197" cy="794064"/>
          </a:xfrm>
        </p:spPr>
        <p:txBody>
          <a:bodyPr/>
          <a:lstStyle/>
          <a:p>
            <a:pPr algn="l"/>
            <a:r>
              <a:rPr lang="en-US" dirty="0"/>
              <a:t>People hope for more Respect &amp; Safety</a:t>
            </a:r>
          </a:p>
        </p:txBody>
      </p:sp>
      <p:grpSp>
        <p:nvGrpSpPr>
          <p:cNvPr id="31" name="Group 30">
            <a:extLst>
              <a:ext uri="{FF2B5EF4-FFF2-40B4-BE49-F238E27FC236}">
                <a16:creationId xmlns:a16="http://schemas.microsoft.com/office/drawing/2014/main" id="{3B5280C8-32B6-4219-B347-CB9D92622A44}"/>
              </a:ext>
            </a:extLst>
          </p:cNvPr>
          <p:cNvGrpSpPr/>
          <p:nvPr/>
        </p:nvGrpSpPr>
        <p:grpSpPr>
          <a:xfrm>
            <a:off x="1706360" y="975394"/>
            <a:ext cx="8701361" cy="5486400"/>
            <a:chOff x="1706360" y="1178594"/>
            <a:chExt cx="8701361" cy="5486400"/>
          </a:xfrm>
        </p:grpSpPr>
        <p:graphicFrame>
          <p:nvGraphicFramePr>
            <p:cNvPr id="4" name="Chart 3">
              <a:extLst>
                <a:ext uri="{FF2B5EF4-FFF2-40B4-BE49-F238E27FC236}">
                  <a16:creationId xmlns:a16="http://schemas.microsoft.com/office/drawing/2014/main" id="{6DBCC649-FFB0-4914-BF04-E9F264362734}"/>
                </a:ext>
              </a:extLst>
            </p:cNvPr>
            <p:cNvGraphicFramePr>
              <a:graphicFrameLocks/>
            </p:cNvGraphicFramePr>
            <p:nvPr>
              <p:extLst>
                <p:ext uri="{D42A27DB-BD31-4B8C-83A1-F6EECF244321}">
                  <p14:modId xmlns:p14="http://schemas.microsoft.com/office/powerpoint/2010/main" val="2473723416"/>
                </p:ext>
              </p:extLst>
            </p:nvPr>
          </p:nvGraphicFramePr>
          <p:xfrm>
            <a:off x="1706360" y="1178594"/>
            <a:ext cx="3474720" cy="5486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A5EC6032-F463-4273-9CCC-56B0272FE3BA}"/>
                </a:ext>
              </a:extLst>
            </p:cNvPr>
            <p:cNvGraphicFramePr>
              <a:graphicFrameLocks/>
            </p:cNvGraphicFramePr>
            <p:nvPr>
              <p:extLst>
                <p:ext uri="{D42A27DB-BD31-4B8C-83A1-F6EECF244321}">
                  <p14:modId xmlns:p14="http://schemas.microsoft.com/office/powerpoint/2010/main" val="989364208"/>
                </p:ext>
              </p:extLst>
            </p:nvPr>
          </p:nvGraphicFramePr>
          <p:xfrm>
            <a:off x="6933001" y="1178594"/>
            <a:ext cx="3474720" cy="5486400"/>
          </p:xfrm>
          <a:graphic>
            <a:graphicData uri="http://schemas.openxmlformats.org/drawingml/2006/chart">
              <c:chart xmlns:c="http://schemas.openxmlformats.org/drawingml/2006/chart" xmlns:r="http://schemas.openxmlformats.org/officeDocument/2006/relationships" r:id="rId4"/>
            </a:graphicData>
          </a:graphic>
        </p:graphicFrame>
      </p:grpSp>
      <p:sp>
        <p:nvSpPr>
          <p:cNvPr id="24" name="Donut 87">
            <a:extLst>
              <a:ext uri="{FF2B5EF4-FFF2-40B4-BE49-F238E27FC236}">
                <a16:creationId xmlns:a16="http://schemas.microsoft.com/office/drawing/2014/main" id="{62FCDC54-47EB-4620-BBD0-1960151267CD}"/>
              </a:ext>
            </a:extLst>
          </p:cNvPr>
          <p:cNvSpPr>
            <a:spLocks noChangeAspect="1"/>
          </p:cNvSpPr>
          <p:nvPr/>
        </p:nvSpPr>
        <p:spPr>
          <a:xfrm>
            <a:off x="1299251" y="4197129"/>
            <a:ext cx="1690563" cy="1737360"/>
          </a:xfrm>
          <a:custGeom>
            <a:avLst/>
            <a:gdLst/>
            <a:ahLst/>
            <a:cxnLst/>
            <a:rect l="l" t="t" r="r" b="b"/>
            <a:pathLst>
              <a:path w="356471" h="366339">
                <a:moveTo>
                  <a:pt x="144025" y="123680"/>
                </a:moveTo>
                <a:cubicBezTo>
                  <a:pt x="89551" y="123680"/>
                  <a:pt x="45391" y="167840"/>
                  <a:pt x="45391" y="222314"/>
                </a:cubicBezTo>
                <a:cubicBezTo>
                  <a:pt x="45391" y="276788"/>
                  <a:pt x="89551" y="320948"/>
                  <a:pt x="144025" y="320948"/>
                </a:cubicBezTo>
                <a:cubicBezTo>
                  <a:pt x="198499" y="320948"/>
                  <a:pt x="242659" y="276788"/>
                  <a:pt x="242659" y="222314"/>
                </a:cubicBezTo>
                <a:cubicBezTo>
                  <a:pt x="242659" y="167840"/>
                  <a:pt x="198499" y="123680"/>
                  <a:pt x="144025" y="123680"/>
                </a:cubicBezTo>
                <a:close/>
                <a:moveTo>
                  <a:pt x="354808" y="0"/>
                </a:moveTo>
                <a:lnTo>
                  <a:pt x="356471" y="85288"/>
                </a:lnTo>
                <a:lnTo>
                  <a:pt x="334733" y="64382"/>
                </a:lnTo>
                <a:lnTo>
                  <a:pt x="260258" y="141819"/>
                </a:lnTo>
                <a:cubicBezTo>
                  <a:pt x="278587" y="163579"/>
                  <a:pt x="288050" y="191841"/>
                  <a:pt x="288050" y="222314"/>
                </a:cubicBezTo>
                <a:cubicBezTo>
                  <a:pt x="288050" y="301857"/>
                  <a:pt x="223568" y="366339"/>
                  <a:pt x="144025" y="366339"/>
                </a:cubicBezTo>
                <a:cubicBezTo>
                  <a:pt x="64482" y="366339"/>
                  <a:pt x="0" y="301857"/>
                  <a:pt x="0" y="222314"/>
                </a:cubicBezTo>
                <a:cubicBezTo>
                  <a:pt x="0" y="142771"/>
                  <a:pt x="64482" y="78289"/>
                  <a:pt x="144025" y="78289"/>
                </a:cubicBezTo>
                <a:cubicBezTo>
                  <a:pt x="170876" y="78289"/>
                  <a:pt x="196011" y="85637"/>
                  <a:pt x="216282" y="100527"/>
                </a:cubicBezTo>
                <a:lnTo>
                  <a:pt x="291257" y="22569"/>
                </a:lnTo>
                <a:lnTo>
                  <a:pt x="269519" y="1663"/>
                </a:lnTo>
                <a:close/>
              </a:path>
            </a:pathLst>
          </a:custGeom>
          <a:solidFill>
            <a:srgbClr val="5CBE7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sp>
        <p:nvSpPr>
          <p:cNvPr id="25" name="Donut 90">
            <a:extLst>
              <a:ext uri="{FF2B5EF4-FFF2-40B4-BE49-F238E27FC236}">
                <a16:creationId xmlns:a16="http://schemas.microsoft.com/office/drawing/2014/main" id="{89DBB9E1-EBB4-4F43-8E45-BBA2310AF32A}"/>
              </a:ext>
            </a:extLst>
          </p:cNvPr>
          <p:cNvSpPr>
            <a:spLocks noChangeAspect="1"/>
          </p:cNvSpPr>
          <p:nvPr/>
        </p:nvSpPr>
        <p:spPr>
          <a:xfrm>
            <a:off x="9557740" y="4203442"/>
            <a:ext cx="1699961" cy="1737360"/>
          </a:xfrm>
          <a:custGeom>
            <a:avLst/>
            <a:gdLst/>
            <a:ahLst/>
            <a:cxnLst/>
            <a:rect l="l" t="t" r="r" b="b"/>
            <a:pathLst>
              <a:path w="373598" h="381817">
                <a:moveTo>
                  <a:pt x="229573" y="45391"/>
                </a:moveTo>
                <a:cubicBezTo>
                  <a:pt x="175099" y="45391"/>
                  <a:pt x="130939" y="89551"/>
                  <a:pt x="130939" y="144025"/>
                </a:cubicBezTo>
                <a:cubicBezTo>
                  <a:pt x="130939" y="198499"/>
                  <a:pt x="175099" y="242659"/>
                  <a:pt x="229573" y="242659"/>
                </a:cubicBezTo>
                <a:cubicBezTo>
                  <a:pt x="284047" y="242659"/>
                  <a:pt x="328207" y="198499"/>
                  <a:pt x="328207" y="144025"/>
                </a:cubicBezTo>
                <a:cubicBezTo>
                  <a:pt x="328207" y="89551"/>
                  <a:pt x="284047" y="45391"/>
                  <a:pt x="229573" y="45391"/>
                </a:cubicBezTo>
                <a:close/>
                <a:moveTo>
                  <a:pt x="229573" y="0"/>
                </a:moveTo>
                <a:cubicBezTo>
                  <a:pt x="309116" y="0"/>
                  <a:pt x="373598" y="64482"/>
                  <a:pt x="373598" y="144025"/>
                </a:cubicBezTo>
                <a:cubicBezTo>
                  <a:pt x="373598" y="223568"/>
                  <a:pt x="309116" y="288050"/>
                  <a:pt x="229573" y="288050"/>
                </a:cubicBezTo>
                <a:cubicBezTo>
                  <a:pt x="202172" y="288050"/>
                  <a:pt x="176558" y="280398"/>
                  <a:pt x="156060" y="264966"/>
                </a:cubicBezTo>
                <a:lnTo>
                  <a:pt x="128993" y="292033"/>
                </a:lnTo>
                <a:lnTo>
                  <a:pt x="160228" y="323268"/>
                </a:lnTo>
                <a:cubicBezTo>
                  <a:pt x="171055" y="334095"/>
                  <a:pt x="171055" y="351650"/>
                  <a:pt x="160228" y="362477"/>
                </a:cubicBezTo>
                <a:cubicBezTo>
                  <a:pt x="149401" y="373304"/>
                  <a:pt x="131846" y="373304"/>
                  <a:pt x="121019" y="362477"/>
                </a:cubicBezTo>
                <a:lnTo>
                  <a:pt x="89784" y="331242"/>
                </a:lnTo>
                <a:lnTo>
                  <a:pt x="39209" y="381817"/>
                </a:lnTo>
                <a:cubicBezTo>
                  <a:pt x="28381" y="392644"/>
                  <a:pt x="10827" y="392644"/>
                  <a:pt x="0" y="381817"/>
                </a:cubicBezTo>
                <a:cubicBezTo>
                  <a:pt x="-10828" y="370989"/>
                  <a:pt x="-10828" y="353435"/>
                  <a:pt x="0" y="342608"/>
                </a:cubicBezTo>
                <a:lnTo>
                  <a:pt x="50575" y="292033"/>
                </a:lnTo>
                <a:lnTo>
                  <a:pt x="16166" y="257624"/>
                </a:lnTo>
                <a:cubicBezTo>
                  <a:pt x="5339" y="246797"/>
                  <a:pt x="5339" y="229242"/>
                  <a:pt x="16166" y="218415"/>
                </a:cubicBezTo>
                <a:cubicBezTo>
                  <a:pt x="26993" y="207588"/>
                  <a:pt x="44548" y="207588"/>
                  <a:pt x="55375" y="218415"/>
                </a:cubicBezTo>
                <a:lnTo>
                  <a:pt x="89784" y="252824"/>
                </a:lnTo>
                <a:lnTo>
                  <a:pt x="115252" y="227356"/>
                </a:lnTo>
                <a:cubicBezTo>
                  <a:pt x="95803" y="205073"/>
                  <a:pt x="85548" y="175747"/>
                  <a:pt x="85548" y="144025"/>
                </a:cubicBezTo>
                <a:cubicBezTo>
                  <a:pt x="85548" y="64482"/>
                  <a:pt x="150030" y="0"/>
                  <a:pt x="229573" y="0"/>
                </a:cubicBezTo>
                <a:close/>
              </a:path>
            </a:pathLst>
          </a:custGeom>
          <a:solidFill>
            <a:srgbClr val="2CB8A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sz="2700">
              <a:solidFill>
                <a:schemeClr val="tx1"/>
              </a:solidFill>
            </a:endParaRPr>
          </a:p>
        </p:txBody>
      </p:sp>
      <p:grpSp>
        <p:nvGrpSpPr>
          <p:cNvPr id="6" name="Group 5">
            <a:extLst>
              <a:ext uri="{FF2B5EF4-FFF2-40B4-BE49-F238E27FC236}">
                <a16:creationId xmlns:a16="http://schemas.microsoft.com/office/drawing/2014/main" id="{E1CF0777-8E19-42C5-82AC-5365E1BDF7AB}"/>
              </a:ext>
            </a:extLst>
          </p:cNvPr>
          <p:cNvGrpSpPr/>
          <p:nvPr/>
        </p:nvGrpSpPr>
        <p:grpSpPr>
          <a:xfrm>
            <a:off x="5262401" y="1499040"/>
            <a:ext cx="1578189" cy="4880737"/>
            <a:chOff x="5262401" y="1702240"/>
            <a:chExt cx="1578189" cy="4880737"/>
          </a:xfrm>
        </p:grpSpPr>
        <p:sp>
          <p:nvSpPr>
            <p:cNvPr id="7" name="TextBox 6">
              <a:extLst>
                <a:ext uri="{FF2B5EF4-FFF2-40B4-BE49-F238E27FC236}">
                  <a16:creationId xmlns:a16="http://schemas.microsoft.com/office/drawing/2014/main" id="{C29DCF72-E48F-4227-97E7-898B5B990E97}"/>
                </a:ext>
              </a:extLst>
            </p:cNvPr>
            <p:cNvSpPr txBox="1"/>
            <p:nvPr/>
          </p:nvSpPr>
          <p:spPr>
            <a:xfrm>
              <a:off x="5396348" y="1702240"/>
              <a:ext cx="1310295"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Respect</a:t>
              </a:r>
            </a:p>
          </p:txBody>
        </p:sp>
        <p:sp>
          <p:nvSpPr>
            <p:cNvPr id="8" name="TextBox 7">
              <a:extLst>
                <a:ext uri="{FF2B5EF4-FFF2-40B4-BE49-F238E27FC236}">
                  <a16:creationId xmlns:a16="http://schemas.microsoft.com/office/drawing/2014/main" id="{D791F5CC-BEC5-441E-9C13-8F5BE75AE111}"/>
                </a:ext>
              </a:extLst>
            </p:cNvPr>
            <p:cNvSpPr txBox="1"/>
            <p:nvPr/>
          </p:nvSpPr>
          <p:spPr>
            <a:xfrm>
              <a:off x="5503749" y="2736541"/>
              <a:ext cx="1113125"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Civility</a:t>
              </a:r>
            </a:p>
          </p:txBody>
        </p:sp>
        <p:sp>
          <p:nvSpPr>
            <p:cNvPr id="9" name="TextBox 8">
              <a:extLst>
                <a:ext uri="{FF2B5EF4-FFF2-40B4-BE49-F238E27FC236}">
                  <a16:creationId xmlns:a16="http://schemas.microsoft.com/office/drawing/2014/main" id="{2F7006CA-8545-494C-A832-B74F2BA911EB}"/>
                </a:ext>
              </a:extLst>
            </p:cNvPr>
            <p:cNvSpPr txBox="1"/>
            <p:nvPr/>
          </p:nvSpPr>
          <p:spPr>
            <a:xfrm>
              <a:off x="5353868" y="3282203"/>
              <a:ext cx="1395254"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Freedom</a:t>
              </a:r>
            </a:p>
          </p:txBody>
        </p:sp>
        <p:sp>
          <p:nvSpPr>
            <p:cNvPr id="10" name="TextBox 9">
              <a:extLst>
                <a:ext uri="{FF2B5EF4-FFF2-40B4-BE49-F238E27FC236}">
                  <a16:creationId xmlns:a16="http://schemas.microsoft.com/office/drawing/2014/main" id="{780E22CA-56CD-4287-9D17-B3914145FB92}"/>
                </a:ext>
              </a:extLst>
            </p:cNvPr>
            <p:cNvSpPr txBox="1"/>
            <p:nvPr/>
          </p:nvSpPr>
          <p:spPr>
            <a:xfrm>
              <a:off x="5338640" y="3827865"/>
              <a:ext cx="1425711"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Kindness</a:t>
              </a:r>
            </a:p>
          </p:txBody>
        </p:sp>
        <p:sp>
          <p:nvSpPr>
            <p:cNvPr id="11" name="TextBox 10">
              <a:extLst>
                <a:ext uri="{FF2B5EF4-FFF2-40B4-BE49-F238E27FC236}">
                  <a16:creationId xmlns:a16="http://schemas.microsoft.com/office/drawing/2014/main" id="{B53508F8-BF79-4384-B3C4-BEA1AEAD4D2C}"/>
                </a:ext>
              </a:extLst>
            </p:cNvPr>
            <p:cNvSpPr txBox="1"/>
            <p:nvPr/>
          </p:nvSpPr>
          <p:spPr>
            <a:xfrm>
              <a:off x="5361082" y="4373527"/>
              <a:ext cx="1380827"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Empathy</a:t>
              </a:r>
            </a:p>
          </p:txBody>
        </p:sp>
        <p:sp>
          <p:nvSpPr>
            <p:cNvPr id="12" name="TextBox 11">
              <a:extLst>
                <a:ext uri="{FF2B5EF4-FFF2-40B4-BE49-F238E27FC236}">
                  <a16:creationId xmlns:a16="http://schemas.microsoft.com/office/drawing/2014/main" id="{3E80127D-96E5-4D6F-8B1E-2ECE0538151C}"/>
                </a:ext>
              </a:extLst>
            </p:cNvPr>
            <p:cNvSpPr txBox="1"/>
            <p:nvPr/>
          </p:nvSpPr>
          <p:spPr>
            <a:xfrm>
              <a:off x="5262401" y="4919189"/>
              <a:ext cx="1578189"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Well-being</a:t>
              </a:r>
            </a:p>
          </p:txBody>
        </p:sp>
        <p:sp>
          <p:nvSpPr>
            <p:cNvPr id="13" name="TextBox 12">
              <a:extLst>
                <a:ext uri="{FF2B5EF4-FFF2-40B4-BE49-F238E27FC236}">
                  <a16:creationId xmlns:a16="http://schemas.microsoft.com/office/drawing/2014/main" id="{1E5E52BD-A002-4AC7-9B01-0F91EFB24D55}"/>
                </a:ext>
              </a:extLst>
            </p:cNvPr>
            <p:cNvSpPr txBox="1"/>
            <p:nvPr/>
          </p:nvSpPr>
          <p:spPr>
            <a:xfrm>
              <a:off x="5495734" y="5464851"/>
              <a:ext cx="111152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Health</a:t>
              </a:r>
            </a:p>
          </p:txBody>
        </p:sp>
        <p:sp>
          <p:nvSpPr>
            <p:cNvPr id="14" name="TextBox 13">
              <a:extLst>
                <a:ext uri="{FF2B5EF4-FFF2-40B4-BE49-F238E27FC236}">
                  <a16:creationId xmlns:a16="http://schemas.microsoft.com/office/drawing/2014/main" id="{4C28D2CC-6A4E-4A85-BD15-3C95549CC317}"/>
                </a:ext>
              </a:extLst>
            </p:cNvPr>
            <p:cNvSpPr txBox="1"/>
            <p:nvPr/>
          </p:nvSpPr>
          <p:spPr>
            <a:xfrm>
              <a:off x="5367494" y="6010513"/>
              <a:ext cx="136800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Curiosity</a:t>
              </a:r>
            </a:p>
          </p:txBody>
        </p:sp>
        <p:sp>
          <p:nvSpPr>
            <p:cNvPr id="26" name="TextBox 25">
              <a:extLst>
                <a:ext uri="{FF2B5EF4-FFF2-40B4-BE49-F238E27FC236}">
                  <a16:creationId xmlns:a16="http://schemas.microsoft.com/office/drawing/2014/main" id="{26007384-D953-4DB9-849E-C071FF5C1BE5}"/>
                </a:ext>
              </a:extLst>
            </p:cNvPr>
            <p:cNvSpPr txBox="1"/>
            <p:nvPr/>
          </p:nvSpPr>
          <p:spPr>
            <a:xfrm>
              <a:off x="5494933" y="2247902"/>
              <a:ext cx="109549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Safety</a:t>
              </a:r>
            </a:p>
          </p:txBody>
        </p:sp>
      </p:grpSp>
      <p:sp>
        <p:nvSpPr>
          <p:cNvPr id="28" name="Oval 27">
            <a:extLst>
              <a:ext uri="{FF2B5EF4-FFF2-40B4-BE49-F238E27FC236}">
                <a16:creationId xmlns:a16="http://schemas.microsoft.com/office/drawing/2014/main" id="{EEE192C5-C4E9-4276-A5D4-4A7AE9D77875}"/>
              </a:ext>
            </a:extLst>
          </p:cNvPr>
          <p:cNvSpPr>
            <a:spLocks noChangeAspect="1"/>
          </p:cNvSpPr>
          <p:nvPr/>
        </p:nvSpPr>
        <p:spPr bwMode="auto">
          <a:xfrm>
            <a:off x="1784279" y="3148938"/>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5</a:t>
            </a:r>
          </a:p>
        </p:txBody>
      </p:sp>
      <p:sp>
        <p:nvSpPr>
          <p:cNvPr id="29" name="Oval 28">
            <a:extLst>
              <a:ext uri="{FF2B5EF4-FFF2-40B4-BE49-F238E27FC236}">
                <a16:creationId xmlns:a16="http://schemas.microsoft.com/office/drawing/2014/main" id="{781B4A94-36E6-437A-B98C-C1DEA2F9BA4D}"/>
              </a:ext>
            </a:extLst>
          </p:cNvPr>
          <p:cNvSpPr>
            <a:spLocks noChangeAspect="1"/>
          </p:cNvSpPr>
          <p:nvPr/>
        </p:nvSpPr>
        <p:spPr bwMode="auto">
          <a:xfrm>
            <a:off x="10517379" y="1531557"/>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4</a:t>
            </a:r>
          </a:p>
        </p:txBody>
      </p:sp>
      <p:sp>
        <p:nvSpPr>
          <p:cNvPr id="30" name="Oval 29">
            <a:extLst>
              <a:ext uri="{FF2B5EF4-FFF2-40B4-BE49-F238E27FC236}">
                <a16:creationId xmlns:a16="http://schemas.microsoft.com/office/drawing/2014/main" id="{1DE90174-2401-48F4-B01C-2E452C05373C}"/>
              </a:ext>
            </a:extLst>
          </p:cNvPr>
          <p:cNvSpPr>
            <a:spLocks noChangeAspect="1"/>
          </p:cNvSpPr>
          <p:nvPr/>
        </p:nvSpPr>
        <p:spPr bwMode="auto">
          <a:xfrm>
            <a:off x="10107084" y="2064870"/>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4</a:t>
            </a:r>
          </a:p>
        </p:txBody>
      </p:sp>
      <p:sp>
        <p:nvSpPr>
          <p:cNvPr id="23" name="TextBox 22">
            <a:extLst>
              <a:ext uri="{FF2B5EF4-FFF2-40B4-BE49-F238E27FC236}">
                <a16:creationId xmlns:a16="http://schemas.microsoft.com/office/drawing/2014/main" id="{B5068319-4ACA-49AB-9A89-1EF581745BC8}"/>
              </a:ext>
            </a:extLst>
          </p:cNvPr>
          <p:cNvSpPr txBox="1"/>
          <p:nvPr/>
        </p:nvSpPr>
        <p:spPr>
          <a:xfrm>
            <a:off x="0" y="6522918"/>
            <a:ext cx="9042400" cy="246221"/>
          </a:xfrm>
          <a:prstGeom prst="rect">
            <a:avLst/>
          </a:prstGeom>
          <a:noFill/>
        </p:spPr>
        <p:txBody>
          <a:bodyPr wrap="square" rtlCol="0">
            <a:spAutoFit/>
          </a:bodyPr>
          <a:lstStyle/>
          <a:p>
            <a:r>
              <a:rPr lang="en-US" sz="1000" i="1" dirty="0">
                <a:solidFill>
                  <a:schemeClr val="bg1"/>
                </a:solidFill>
              </a:rPr>
              <a:t> Q12G:  Which three words best describe what you hope will come to define online experiences and interactions during the next decade?</a:t>
            </a:r>
          </a:p>
        </p:txBody>
      </p:sp>
      <p:sp>
        <p:nvSpPr>
          <p:cNvPr id="32" name="Slide Number Placeholder 2">
            <a:extLst>
              <a:ext uri="{FF2B5EF4-FFF2-40B4-BE49-F238E27FC236}">
                <a16:creationId xmlns:a16="http://schemas.microsoft.com/office/drawing/2014/main" id="{1E9EFCDB-2286-4C14-BB1D-15CD72D9AD52}"/>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13765215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t="-10000" b="-10000"/>
          </a:stretch>
        </a:blip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D0A080E9-DC05-4179-8463-4E95FBDFCA99}"/>
              </a:ext>
            </a:extLst>
          </p:cNvPr>
          <p:cNvSpPr/>
          <p:nvPr/>
        </p:nvSpPr>
        <p:spPr>
          <a:xfrm>
            <a:off x="2864430" y="1306286"/>
            <a:ext cx="9326880" cy="5549493"/>
          </a:xfrm>
          <a:prstGeom prst="rect">
            <a:avLst/>
          </a:prstGeom>
          <a:solidFill>
            <a:srgbClr val="3282BE"/>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2" name="Rectangle 21">
            <a:extLst>
              <a:ext uri="{FF2B5EF4-FFF2-40B4-BE49-F238E27FC236}">
                <a16:creationId xmlns:a16="http://schemas.microsoft.com/office/drawing/2014/main" id="{766D4ABD-0085-490A-A641-633837B7D1BE}"/>
              </a:ext>
            </a:extLst>
          </p:cNvPr>
          <p:cNvSpPr/>
          <p:nvPr/>
        </p:nvSpPr>
        <p:spPr>
          <a:xfrm>
            <a:off x="0" y="2221"/>
            <a:ext cx="12192000" cy="1304065"/>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white"/>
              </a:solidFill>
              <a:effectLst/>
              <a:uLnTx/>
              <a:uFillTx/>
              <a:latin typeface="Arial"/>
              <a:cs typeface="+mn-cs"/>
            </a:endParaRPr>
          </a:p>
        </p:txBody>
      </p:sp>
      <p:sp>
        <p:nvSpPr>
          <p:cNvPr id="3" name="Rectangle 2">
            <a:extLst>
              <a:ext uri="{FF2B5EF4-FFF2-40B4-BE49-F238E27FC236}">
                <a16:creationId xmlns:a16="http://schemas.microsoft.com/office/drawing/2014/main" id="{F87E07B7-EBCD-47F5-8498-A769B04E8827}"/>
              </a:ext>
            </a:extLst>
          </p:cNvPr>
          <p:cNvSpPr/>
          <p:nvPr/>
        </p:nvSpPr>
        <p:spPr>
          <a:xfrm>
            <a:off x="3101100" y="3699179"/>
            <a:ext cx="9052560" cy="130406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spcAft>
                <a:spcPts val="300"/>
              </a:spcAft>
              <a:defRPr/>
            </a:pPr>
            <a:r>
              <a:rPr lang="en-US" altLang="ko-KR" sz="2000" b="1" dirty="0">
                <a:solidFill>
                  <a:prstClr val="white"/>
                </a:solidFill>
                <a:cs typeface="Arial" pitchFamily="34" charset="0"/>
              </a:rPr>
              <a:t>People hold a pessimistic view on the state of digital civility.</a:t>
            </a:r>
            <a:r>
              <a:rPr lang="en-US" altLang="ko-KR" sz="2000" dirty="0">
                <a:solidFill>
                  <a:prstClr val="white"/>
                </a:solidFill>
                <a:cs typeface="Arial" pitchFamily="34" charset="0"/>
              </a:rPr>
              <a:t> </a:t>
            </a:r>
            <a:r>
              <a:rPr lang="en-US" altLang="ko-KR" dirty="0">
                <a:solidFill>
                  <a:prstClr val="white"/>
                </a:solidFill>
                <a:latin typeface="Arial Narrow" panose="020B0606020202030204" pitchFamily="34" charset="0"/>
                <a:cs typeface="Arial" pitchFamily="34" charset="0"/>
              </a:rPr>
              <a:t>More than half of respondents rated the current state of online civility as bad and did not foresee major improvements in the coming year. Respondents were more optimistic when asked about the prospects for civility improving in the decade ahead. </a:t>
            </a:r>
            <a:endParaRPr lang="en-US" altLang="ko-KR" sz="1050" dirty="0">
              <a:solidFill>
                <a:prstClr val="white"/>
              </a:solidFill>
              <a:latin typeface="Arial Narrow" panose="020B0606020202030204" pitchFamily="34" charset="0"/>
              <a:cs typeface="Arial" pitchFamily="34" charset="0"/>
            </a:endParaRPr>
          </a:p>
        </p:txBody>
      </p:sp>
      <p:sp>
        <p:nvSpPr>
          <p:cNvPr id="23" name="TextBox 22">
            <a:extLst>
              <a:ext uri="{FF2B5EF4-FFF2-40B4-BE49-F238E27FC236}">
                <a16:creationId xmlns:a16="http://schemas.microsoft.com/office/drawing/2014/main" id="{EC29A9CA-17C1-46A5-AB37-3BBAE6A74CA8}"/>
              </a:ext>
            </a:extLst>
          </p:cNvPr>
          <p:cNvSpPr txBox="1"/>
          <p:nvPr/>
        </p:nvSpPr>
        <p:spPr>
          <a:xfrm>
            <a:off x="241160" y="88124"/>
            <a:ext cx="10602437" cy="1077218"/>
          </a:xfrm>
          <a:prstGeom prst="rect">
            <a:avLst/>
          </a:prstGeom>
          <a:noFill/>
        </p:spPr>
        <p:txBody>
          <a:bodyPr wrap="square" rtlCol="0" anchor="ctr">
            <a:spAutoFit/>
          </a:bodyPr>
          <a:lstStyle/>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3600" b="1" i="0" u="none" strike="noStrike" kern="1200" cap="none" spc="0" normalizeH="0" baseline="0" noProof="0" dirty="0">
                <a:ln>
                  <a:noFill/>
                </a:ln>
                <a:solidFill>
                  <a:prstClr val="black"/>
                </a:solidFill>
                <a:effectLst/>
                <a:uLnTx/>
                <a:uFillTx/>
                <a:latin typeface="Arial"/>
                <a:cs typeface="Arial" pitchFamily="34" charset="0"/>
              </a:rPr>
              <a:t>The Rising Tide of Incivility</a:t>
            </a:r>
          </a:p>
          <a:p>
            <a:pPr marL="0" marR="0" lvl="0" indent="0" algn="l" defTabSz="914286" rtl="0" eaLnBrk="1" fontAlgn="auto" latinLnBrk="0" hangingPunct="1">
              <a:lnSpc>
                <a:spcPct val="100000"/>
              </a:lnSpc>
              <a:spcBef>
                <a:spcPts val="0"/>
              </a:spcBef>
              <a:spcAft>
                <a:spcPts val="0"/>
              </a:spcAft>
              <a:buClrTx/>
              <a:buSzTx/>
              <a:buFontTx/>
              <a:buNone/>
              <a:tabLst/>
              <a:defRPr/>
            </a:pPr>
            <a:r>
              <a:rPr kumimoji="0" lang="en-US" altLang="ko-KR" sz="2800" b="1" i="0" u="none" strike="noStrike" kern="1200" cap="none" spc="0" normalizeH="0" baseline="0" noProof="0" dirty="0">
                <a:ln>
                  <a:noFill/>
                </a:ln>
                <a:solidFill>
                  <a:prstClr val="black"/>
                </a:solidFill>
                <a:effectLst/>
                <a:uLnTx/>
                <a:uFillTx/>
                <a:latin typeface="Arial"/>
                <a:cs typeface="Arial" pitchFamily="34" charset="0"/>
              </a:rPr>
              <a:t>Pessimism and Hope</a:t>
            </a:r>
          </a:p>
        </p:txBody>
      </p:sp>
      <p:sp>
        <p:nvSpPr>
          <p:cNvPr id="25" name="TextBox 24">
            <a:extLst>
              <a:ext uri="{FF2B5EF4-FFF2-40B4-BE49-F238E27FC236}">
                <a16:creationId xmlns:a16="http://schemas.microsoft.com/office/drawing/2014/main" id="{EB55F2B3-AF0C-486F-B394-1742A647A867}"/>
              </a:ext>
            </a:extLst>
          </p:cNvPr>
          <p:cNvSpPr txBox="1"/>
          <p:nvPr/>
        </p:nvSpPr>
        <p:spPr>
          <a:xfrm>
            <a:off x="3101100" y="1390348"/>
            <a:ext cx="9052560" cy="1446550"/>
          </a:xfrm>
          <a:prstGeom prst="rect">
            <a:avLst/>
          </a:prstGeom>
          <a:noFill/>
        </p:spPr>
        <p:txBody>
          <a:bodyPr wrap="square" rtlCol="0" anchor="ctr">
            <a:noAutofit/>
          </a:bodyPr>
          <a:lstStyle/>
          <a:p>
            <a:pPr>
              <a:spcAft>
                <a:spcPts val="300"/>
              </a:spcAft>
            </a:pPr>
            <a:r>
              <a:rPr lang="en-US" altLang="ko-KR" sz="2000" b="1" dirty="0">
                <a:solidFill>
                  <a:prstClr val="white"/>
                </a:solidFill>
                <a:cs typeface="Arial" pitchFamily="34" charset="0"/>
              </a:rPr>
              <a:t>The Digital Civility Index increased 4-points to 70%. </a:t>
            </a:r>
            <a:r>
              <a:rPr lang="en-US" altLang="ko-KR" sz="1700" dirty="0">
                <a:solidFill>
                  <a:prstClr val="white"/>
                </a:solidFill>
                <a:latin typeface="Arial Narrow" panose="020B0606020202030204" pitchFamily="34" charset="0"/>
                <a:cs typeface="Arial" pitchFamily="34" charset="0"/>
              </a:rPr>
              <a:t>About half of the twenty-five country DCI scores rose significantly, with fifteen countries registering their worst DCI since the study began in 2016. Many countries in the study have seen a rise of populist movements or politicians who employ incendiary rhetoric, fueling confrontational discourse that extends into the online world. Nearly four in ten adults said politics was at the center of rude, uncivil or abusive interactions online. </a:t>
            </a:r>
            <a:endParaRPr lang="en-US" altLang="ko-KR" sz="1000" b="1" dirty="0">
              <a:solidFill>
                <a:prstClr val="white"/>
              </a:solidFill>
              <a:cs typeface="Arial" pitchFamily="34" charset="0"/>
            </a:endParaRPr>
          </a:p>
        </p:txBody>
      </p:sp>
      <p:graphicFrame>
        <p:nvGraphicFramePr>
          <p:cNvPr id="10" name="Diagram 9">
            <a:extLst>
              <a:ext uri="{FF2B5EF4-FFF2-40B4-BE49-F238E27FC236}">
                <a16:creationId xmlns:a16="http://schemas.microsoft.com/office/drawing/2014/main" id="{E5EBBE6A-3D9E-4604-9A60-EA2A034ACFD4}"/>
              </a:ext>
            </a:extLst>
          </p:cNvPr>
          <p:cNvGraphicFramePr/>
          <p:nvPr>
            <p:extLst>
              <p:ext uri="{D42A27DB-BD31-4B8C-83A1-F6EECF244321}">
                <p14:modId xmlns:p14="http://schemas.microsoft.com/office/powerpoint/2010/main" val="3964448069"/>
              </p:ext>
            </p:extLst>
          </p:nvPr>
        </p:nvGraphicFramePr>
        <p:xfrm>
          <a:off x="-419674" y="1778721"/>
          <a:ext cx="3629127" cy="4594463"/>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Rectangle 1">
            <a:extLst>
              <a:ext uri="{FF2B5EF4-FFF2-40B4-BE49-F238E27FC236}">
                <a16:creationId xmlns:a16="http://schemas.microsoft.com/office/drawing/2014/main" id="{39DD555C-AF99-4041-905A-64B407485351}"/>
              </a:ext>
            </a:extLst>
          </p:cNvPr>
          <p:cNvSpPr/>
          <p:nvPr/>
        </p:nvSpPr>
        <p:spPr>
          <a:xfrm>
            <a:off x="3101100" y="2790985"/>
            <a:ext cx="9052560" cy="954107"/>
          </a:xfrm>
          <a:prstGeom prst="rect">
            <a:avLst/>
          </a:prstGeom>
        </p:spPr>
        <p:txBody>
          <a:bodyPr wrap="square">
            <a:noAutofit/>
          </a:bodyPr>
          <a:lstStyle/>
          <a:p>
            <a:pPr lvl="0">
              <a:spcAft>
                <a:spcPts val="300"/>
              </a:spcAft>
            </a:pPr>
            <a:r>
              <a:rPr lang="en-US" altLang="ko-KR" sz="2000" b="1" dirty="0">
                <a:solidFill>
                  <a:prstClr val="white"/>
                </a:solidFill>
                <a:cs typeface="Arial" pitchFamily="34" charset="0"/>
              </a:rPr>
              <a:t>Harm from online risks rose. </a:t>
            </a:r>
            <a:r>
              <a:rPr lang="en-US" altLang="ko-KR" dirty="0">
                <a:solidFill>
                  <a:prstClr val="white"/>
                </a:solidFill>
                <a:latin typeface="Arial Narrow" panose="020B0606020202030204" pitchFamily="34" charset="0"/>
                <a:cs typeface="Arial" pitchFamily="34" charset="0"/>
              </a:rPr>
              <a:t>The pain, anxiety and real-world consequences associated with risks accelerated in 2019. There has been a global decline in people taking positive actions including elements of the Digital Civility Challenge. </a:t>
            </a:r>
            <a:endParaRPr lang="en-US" altLang="ko-KR" sz="1050" dirty="0">
              <a:solidFill>
                <a:prstClr val="white"/>
              </a:solidFill>
              <a:latin typeface="Arial Narrow" panose="020B0606020202030204" pitchFamily="34" charset="0"/>
              <a:cs typeface="Arial" pitchFamily="34" charset="0"/>
            </a:endParaRPr>
          </a:p>
        </p:txBody>
      </p:sp>
      <p:sp>
        <p:nvSpPr>
          <p:cNvPr id="4" name="Rectangle 3">
            <a:extLst>
              <a:ext uri="{FF2B5EF4-FFF2-40B4-BE49-F238E27FC236}">
                <a16:creationId xmlns:a16="http://schemas.microsoft.com/office/drawing/2014/main" id="{B2E7A6CE-9197-4B05-A0B9-0C1EEC7416B8}"/>
              </a:ext>
            </a:extLst>
          </p:cNvPr>
          <p:cNvSpPr/>
          <p:nvPr/>
        </p:nvSpPr>
        <p:spPr>
          <a:xfrm>
            <a:off x="3101100" y="4957331"/>
            <a:ext cx="9052560" cy="1231106"/>
          </a:xfrm>
          <a:prstGeom prst="rect">
            <a:avLst/>
          </a:prstGeom>
        </p:spPr>
        <p:txBody>
          <a:bodyPr wrap="square">
            <a:noAutofit/>
          </a:bodyPr>
          <a:lstStyle/>
          <a:p>
            <a:pPr lvl="0">
              <a:spcAft>
                <a:spcPts val="300"/>
              </a:spcAft>
              <a:defRPr/>
            </a:pPr>
            <a:r>
              <a:rPr lang="en-US" altLang="ko-KR" sz="2000" b="1" dirty="0">
                <a:solidFill>
                  <a:prstClr val="white"/>
                </a:solidFill>
                <a:cs typeface="Arial" pitchFamily="34" charset="0"/>
              </a:rPr>
              <a:t>Hope and expectations that Technology can help. </a:t>
            </a:r>
            <a:r>
              <a:rPr lang="en-US" altLang="ko-KR" dirty="0">
                <a:solidFill>
                  <a:prstClr val="white"/>
                </a:solidFill>
                <a:latin typeface="Arial Narrow" panose="020B0606020202030204" pitchFamily="34" charset="0"/>
                <a:cs typeface="Arial" pitchFamily="34" charset="0"/>
              </a:rPr>
              <a:t>Half of respondents believe technology and social media companies will create tools and policies that encourage respectful and civil behavior. Respondents have an expectation that technology will give them ways to better protect their personal information and privacy in the future.</a:t>
            </a:r>
          </a:p>
        </p:txBody>
      </p:sp>
      <p:sp>
        <p:nvSpPr>
          <p:cNvPr id="5" name="Rectangle 4">
            <a:extLst>
              <a:ext uri="{FF2B5EF4-FFF2-40B4-BE49-F238E27FC236}">
                <a16:creationId xmlns:a16="http://schemas.microsoft.com/office/drawing/2014/main" id="{A0539A6F-77D3-4501-ABA2-20799BF6EB3F}"/>
              </a:ext>
            </a:extLst>
          </p:cNvPr>
          <p:cNvSpPr/>
          <p:nvPr/>
        </p:nvSpPr>
        <p:spPr>
          <a:xfrm>
            <a:off x="3101100" y="6142525"/>
            <a:ext cx="9052560" cy="677108"/>
          </a:xfrm>
          <a:prstGeom prst="rect">
            <a:avLst/>
          </a:prstGeom>
        </p:spPr>
        <p:txBody>
          <a:bodyPr wrap="square">
            <a:noAutofit/>
          </a:bodyPr>
          <a:lstStyle/>
          <a:p>
            <a:pPr>
              <a:spcAft>
                <a:spcPts val="300"/>
              </a:spcAft>
              <a:defRPr/>
            </a:pPr>
            <a:r>
              <a:rPr lang="en-US" altLang="ko-KR" sz="2000" b="1" dirty="0">
                <a:solidFill>
                  <a:prstClr val="white"/>
                </a:solidFill>
                <a:cs typeface="Arial" pitchFamily="34" charset="0"/>
              </a:rPr>
              <a:t>A desire for a more civil online world. </a:t>
            </a:r>
            <a:r>
              <a:rPr lang="en-US" altLang="ko-KR" dirty="0">
                <a:solidFill>
                  <a:prstClr val="white"/>
                </a:solidFill>
                <a:latin typeface="Arial Narrow" panose="020B0606020202030204" pitchFamily="34" charset="0"/>
                <a:cs typeface="Arial" pitchFamily="34" charset="0"/>
              </a:rPr>
              <a:t>Users hoped that the online world of the 2020’s would be characterized by respect and safety, along with freedom and civility.</a:t>
            </a:r>
          </a:p>
        </p:txBody>
      </p:sp>
    </p:spTree>
    <p:extLst>
      <p:ext uri="{BB962C8B-B14F-4D97-AF65-F5344CB8AC3E}">
        <p14:creationId xmlns:p14="http://schemas.microsoft.com/office/powerpoint/2010/main" val="215661321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anim calcmode="lin" valueType="num">
                                      <p:cBhvr additive="base">
                                        <p:cTn id="7" dur="500" fill="hold"/>
                                        <p:tgtEl>
                                          <p:spTgt spid="25"/>
                                        </p:tgtEl>
                                        <p:attrNameLst>
                                          <p:attrName>ppt_x</p:attrName>
                                        </p:attrNameLst>
                                      </p:cBhvr>
                                      <p:tavLst>
                                        <p:tav tm="0">
                                          <p:val>
                                            <p:strVal val="#ppt_x"/>
                                          </p:val>
                                        </p:tav>
                                        <p:tav tm="100000">
                                          <p:val>
                                            <p:strVal val="#ppt_x"/>
                                          </p:val>
                                        </p:tav>
                                      </p:tavLst>
                                    </p:anim>
                                    <p:anim calcmode="lin" valueType="num">
                                      <p:cBhvr additive="base">
                                        <p:cTn id="8" dur="500" fill="hold"/>
                                        <p:tgtEl>
                                          <p:spTgt spid="25"/>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2"/>
                                        </p:tgtEl>
                                        <p:attrNameLst>
                                          <p:attrName>style.visibility</p:attrName>
                                        </p:attrNameLst>
                                      </p:cBhvr>
                                      <p:to>
                                        <p:strVal val="visible"/>
                                      </p:to>
                                    </p:set>
                                    <p:anim calcmode="lin" valueType="num">
                                      <p:cBhvr additive="base">
                                        <p:cTn id="13" dur="500" fill="hold"/>
                                        <p:tgtEl>
                                          <p:spTgt spid="2"/>
                                        </p:tgtEl>
                                        <p:attrNameLst>
                                          <p:attrName>ppt_x</p:attrName>
                                        </p:attrNameLst>
                                      </p:cBhvr>
                                      <p:tavLst>
                                        <p:tav tm="0">
                                          <p:val>
                                            <p:strVal val="#ppt_x"/>
                                          </p:val>
                                        </p:tav>
                                        <p:tav tm="100000">
                                          <p:val>
                                            <p:strVal val="#ppt_x"/>
                                          </p:val>
                                        </p:tav>
                                      </p:tavLst>
                                    </p:anim>
                                    <p:anim calcmode="lin" valueType="num">
                                      <p:cBhvr additive="base">
                                        <p:cTn id="14" dur="500" fill="hold"/>
                                        <p:tgtEl>
                                          <p:spTgt spid="2"/>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3"/>
                                        </p:tgtEl>
                                        <p:attrNameLst>
                                          <p:attrName>style.visibility</p:attrName>
                                        </p:attrNameLst>
                                      </p:cBhvr>
                                      <p:to>
                                        <p:strVal val="visible"/>
                                      </p:to>
                                    </p:set>
                                    <p:anim calcmode="lin" valueType="num">
                                      <p:cBhvr additive="base">
                                        <p:cTn id="19" dur="500" fill="hold"/>
                                        <p:tgtEl>
                                          <p:spTgt spid="3"/>
                                        </p:tgtEl>
                                        <p:attrNameLst>
                                          <p:attrName>ppt_x</p:attrName>
                                        </p:attrNameLst>
                                      </p:cBhvr>
                                      <p:tavLst>
                                        <p:tav tm="0">
                                          <p:val>
                                            <p:strVal val="#ppt_x"/>
                                          </p:val>
                                        </p:tav>
                                        <p:tav tm="100000">
                                          <p:val>
                                            <p:strVal val="#ppt_x"/>
                                          </p:val>
                                        </p:tav>
                                      </p:tavLst>
                                    </p:anim>
                                    <p:anim calcmode="lin" valueType="num">
                                      <p:cBhvr additive="base">
                                        <p:cTn id="20" dur="500" fill="hold"/>
                                        <p:tgtEl>
                                          <p:spTgt spid="3"/>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4"/>
                                        </p:tgtEl>
                                        <p:attrNameLst>
                                          <p:attrName>style.visibility</p:attrName>
                                        </p:attrNameLst>
                                      </p:cBhvr>
                                      <p:to>
                                        <p:strVal val="visible"/>
                                      </p:to>
                                    </p:set>
                                    <p:anim calcmode="lin" valueType="num">
                                      <p:cBhvr additive="base">
                                        <p:cTn id="25" dur="500" fill="hold"/>
                                        <p:tgtEl>
                                          <p:spTgt spid="4"/>
                                        </p:tgtEl>
                                        <p:attrNameLst>
                                          <p:attrName>ppt_x</p:attrName>
                                        </p:attrNameLst>
                                      </p:cBhvr>
                                      <p:tavLst>
                                        <p:tav tm="0">
                                          <p:val>
                                            <p:strVal val="#ppt_x"/>
                                          </p:val>
                                        </p:tav>
                                        <p:tav tm="100000">
                                          <p:val>
                                            <p:strVal val="#ppt_x"/>
                                          </p:val>
                                        </p:tav>
                                      </p:tavLst>
                                    </p:anim>
                                    <p:anim calcmode="lin" valueType="num">
                                      <p:cBhvr additive="base">
                                        <p:cTn id="26"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5"/>
                                        </p:tgtEl>
                                        <p:attrNameLst>
                                          <p:attrName>style.visibility</p:attrName>
                                        </p:attrNameLst>
                                      </p:cBhvr>
                                      <p:to>
                                        <p:strVal val="visible"/>
                                      </p:to>
                                    </p:set>
                                    <p:anim calcmode="lin" valueType="num">
                                      <p:cBhvr additive="base">
                                        <p:cTn id="31" dur="500" fill="hold"/>
                                        <p:tgtEl>
                                          <p:spTgt spid="5"/>
                                        </p:tgtEl>
                                        <p:attrNameLst>
                                          <p:attrName>ppt_x</p:attrName>
                                        </p:attrNameLst>
                                      </p:cBhvr>
                                      <p:tavLst>
                                        <p:tav tm="0">
                                          <p:val>
                                            <p:strVal val="#ppt_x"/>
                                          </p:val>
                                        </p:tav>
                                        <p:tav tm="100000">
                                          <p:val>
                                            <p:strVal val="#ppt_x"/>
                                          </p:val>
                                        </p:tav>
                                      </p:tavLst>
                                    </p:anim>
                                    <p:anim calcmode="lin" valueType="num">
                                      <p:cBhvr additive="base">
                                        <p:cTn id="32" dur="500" fill="hold"/>
                                        <p:tgtEl>
                                          <p:spTgt spid="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25" grpId="0"/>
      <p:bldP spid="2" grpId="0"/>
      <p:bldP spid="4" grpId="0"/>
      <p:bldP spid="5" grpId="0"/>
    </p:bld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344485C7-1D9A-4594-9CB4-0EA9835D125A}"/>
              </a:ext>
            </a:extLst>
          </p:cNvPr>
          <p:cNvSpPr/>
          <p:nvPr/>
        </p:nvSpPr>
        <p:spPr bwMode="auto">
          <a:xfrm>
            <a:off x="5181080" y="1499040"/>
            <a:ext cx="1751921" cy="4769713"/>
          </a:xfrm>
          <a:prstGeom prst="rect">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ext Placeholder 1">
            <a:extLst>
              <a:ext uri="{FF2B5EF4-FFF2-40B4-BE49-F238E27FC236}">
                <a16:creationId xmlns:a16="http://schemas.microsoft.com/office/drawing/2014/main" id="{A2F609FB-E122-49E3-87D7-49A11F4DAE25}"/>
              </a:ext>
            </a:extLst>
          </p:cNvPr>
          <p:cNvSpPr>
            <a:spLocks noGrp="1"/>
          </p:cNvSpPr>
          <p:nvPr>
            <p:ph type="body" sz="quarter" idx="10"/>
          </p:nvPr>
        </p:nvSpPr>
        <p:spPr>
          <a:xfrm>
            <a:off x="323529" y="304601"/>
            <a:ext cx="11573197" cy="794064"/>
          </a:xfrm>
        </p:spPr>
        <p:txBody>
          <a:bodyPr/>
          <a:lstStyle/>
          <a:p>
            <a:pPr algn="l"/>
            <a:r>
              <a:rPr lang="en-US" dirty="0"/>
              <a:t>Teens higher on Kindness &amp; Safety</a:t>
            </a:r>
          </a:p>
        </p:txBody>
      </p:sp>
      <p:grpSp>
        <p:nvGrpSpPr>
          <p:cNvPr id="31" name="Group 30">
            <a:extLst>
              <a:ext uri="{FF2B5EF4-FFF2-40B4-BE49-F238E27FC236}">
                <a16:creationId xmlns:a16="http://schemas.microsoft.com/office/drawing/2014/main" id="{3B5280C8-32B6-4219-B347-CB9D92622A44}"/>
              </a:ext>
            </a:extLst>
          </p:cNvPr>
          <p:cNvGrpSpPr/>
          <p:nvPr/>
        </p:nvGrpSpPr>
        <p:grpSpPr>
          <a:xfrm>
            <a:off x="1706360" y="975394"/>
            <a:ext cx="8701361" cy="5486400"/>
            <a:chOff x="1706360" y="1178594"/>
            <a:chExt cx="8701361" cy="5486400"/>
          </a:xfrm>
        </p:grpSpPr>
        <p:graphicFrame>
          <p:nvGraphicFramePr>
            <p:cNvPr id="4" name="Chart 3">
              <a:extLst>
                <a:ext uri="{FF2B5EF4-FFF2-40B4-BE49-F238E27FC236}">
                  <a16:creationId xmlns:a16="http://schemas.microsoft.com/office/drawing/2014/main" id="{6DBCC649-FFB0-4914-BF04-E9F264362734}"/>
                </a:ext>
              </a:extLst>
            </p:cNvPr>
            <p:cNvGraphicFramePr>
              <a:graphicFrameLocks/>
            </p:cNvGraphicFramePr>
            <p:nvPr>
              <p:extLst>
                <p:ext uri="{D42A27DB-BD31-4B8C-83A1-F6EECF244321}">
                  <p14:modId xmlns:p14="http://schemas.microsoft.com/office/powerpoint/2010/main" val="1355023953"/>
                </p:ext>
              </p:extLst>
            </p:nvPr>
          </p:nvGraphicFramePr>
          <p:xfrm>
            <a:off x="1706360" y="1178594"/>
            <a:ext cx="3474720" cy="54864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5" name="Chart 4">
              <a:extLst>
                <a:ext uri="{FF2B5EF4-FFF2-40B4-BE49-F238E27FC236}">
                  <a16:creationId xmlns:a16="http://schemas.microsoft.com/office/drawing/2014/main" id="{A5EC6032-F463-4273-9CCC-56B0272FE3BA}"/>
                </a:ext>
              </a:extLst>
            </p:cNvPr>
            <p:cNvGraphicFramePr>
              <a:graphicFrameLocks/>
            </p:cNvGraphicFramePr>
            <p:nvPr>
              <p:extLst>
                <p:ext uri="{D42A27DB-BD31-4B8C-83A1-F6EECF244321}">
                  <p14:modId xmlns:p14="http://schemas.microsoft.com/office/powerpoint/2010/main" val="670353369"/>
                </p:ext>
              </p:extLst>
            </p:nvPr>
          </p:nvGraphicFramePr>
          <p:xfrm>
            <a:off x="6933001" y="1178594"/>
            <a:ext cx="3474720" cy="5486400"/>
          </p:xfrm>
          <a:graphic>
            <a:graphicData uri="http://schemas.openxmlformats.org/drawingml/2006/chart">
              <c:chart xmlns:c="http://schemas.openxmlformats.org/drawingml/2006/chart" xmlns:r="http://schemas.openxmlformats.org/officeDocument/2006/relationships" r:id="rId4"/>
            </a:graphicData>
          </a:graphic>
        </p:graphicFrame>
      </p:grpSp>
      <p:grpSp>
        <p:nvGrpSpPr>
          <p:cNvPr id="6" name="Group 5">
            <a:extLst>
              <a:ext uri="{FF2B5EF4-FFF2-40B4-BE49-F238E27FC236}">
                <a16:creationId xmlns:a16="http://schemas.microsoft.com/office/drawing/2014/main" id="{E1CF0777-8E19-42C5-82AC-5365E1BDF7AB}"/>
              </a:ext>
            </a:extLst>
          </p:cNvPr>
          <p:cNvGrpSpPr/>
          <p:nvPr/>
        </p:nvGrpSpPr>
        <p:grpSpPr>
          <a:xfrm>
            <a:off x="5262401" y="1499040"/>
            <a:ext cx="1578189" cy="4880737"/>
            <a:chOff x="5262401" y="1702240"/>
            <a:chExt cx="1578189" cy="4880737"/>
          </a:xfrm>
        </p:grpSpPr>
        <p:sp>
          <p:nvSpPr>
            <p:cNvPr id="7" name="TextBox 6">
              <a:extLst>
                <a:ext uri="{FF2B5EF4-FFF2-40B4-BE49-F238E27FC236}">
                  <a16:creationId xmlns:a16="http://schemas.microsoft.com/office/drawing/2014/main" id="{C29DCF72-E48F-4227-97E7-898B5B990E97}"/>
                </a:ext>
              </a:extLst>
            </p:cNvPr>
            <p:cNvSpPr txBox="1"/>
            <p:nvPr/>
          </p:nvSpPr>
          <p:spPr>
            <a:xfrm>
              <a:off x="5396348" y="1702240"/>
              <a:ext cx="1310295"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Respect</a:t>
              </a:r>
            </a:p>
          </p:txBody>
        </p:sp>
        <p:sp>
          <p:nvSpPr>
            <p:cNvPr id="8" name="TextBox 7">
              <a:extLst>
                <a:ext uri="{FF2B5EF4-FFF2-40B4-BE49-F238E27FC236}">
                  <a16:creationId xmlns:a16="http://schemas.microsoft.com/office/drawing/2014/main" id="{D791F5CC-BEC5-441E-9C13-8F5BE75AE111}"/>
                </a:ext>
              </a:extLst>
            </p:cNvPr>
            <p:cNvSpPr txBox="1"/>
            <p:nvPr/>
          </p:nvSpPr>
          <p:spPr>
            <a:xfrm>
              <a:off x="5503749" y="2736541"/>
              <a:ext cx="1113125"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Civility</a:t>
              </a:r>
            </a:p>
          </p:txBody>
        </p:sp>
        <p:sp>
          <p:nvSpPr>
            <p:cNvPr id="9" name="TextBox 8">
              <a:extLst>
                <a:ext uri="{FF2B5EF4-FFF2-40B4-BE49-F238E27FC236}">
                  <a16:creationId xmlns:a16="http://schemas.microsoft.com/office/drawing/2014/main" id="{2F7006CA-8545-494C-A832-B74F2BA911EB}"/>
                </a:ext>
              </a:extLst>
            </p:cNvPr>
            <p:cNvSpPr txBox="1"/>
            <p:nvPr/>
          </p:nvSpPr>
          <p:spPr>
            <a:xfrm>
              <a:off x="5353868" y="3282203"/>
              <a:ext cx="1395254"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Freedom</a:t>
              </a:r>
            </a:p>
          </p:txBody>
        </p:sp>
        <p:sp>
          <p:nvSpPr>
            <p:cNvPr id="10" name="TextBox 9">
              <a:extLst>
                <a:ext uri="{FF2B5EF4-FFF2-40B4-BE49-F238E27FC236}">
                  <a16:creationId xmlns:a16="http://schemas.microsoft.com/office/drawing/2014/main" id="{780E22CA-56CD-4287-9D17-B3914145FB92}"/>
                </a:ext>
              </a:extLst>
            </p:cNvPr>
            <p:cNvSpPr txBox="1"/>
            <p:nvPr/>
          </p:nvSpPr>
          <p:spPr>
            <a:xfrm>
              <a:off x="5338640" y="3827865"/>
              <a:ext cx="1425711"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Kindness</a:t>
              </a:r>
            </a:p>
          </p:txBody>
        </p:sp>
        <p:sp>
          <p:nvSpPr>
            <p:cNvPr id="11" name="TextBox 10">
              <a:extLst>
                <a:ext uri="{FF2B5EF4-FFF2-40B4-BE49-F238E27FC236}">
                  <a16:creationId xmlns:a16="http://schemas.microsoft.com/office/drawing/2014/main" id="{B53508F8-BF79-4384-B3C4-BEA1AEAD4D2C}"/>
                </a:ext>
              </a:extLst>
            </p:cNvPr>
            <p:cNvSpPr txBox="1"/>
            <p:nvPr/>
          </p:nvSpPr>
          <p:spPr>
            <a:xfrm>
              <a:off x="5361082" y="4373527"/>
              <a:ext cx="1380827"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Empathy</a:t>
              </a:r>
            </a:p>
          </p:txBody>
        </p:sp>
        <p:sp>
          <p:nvSpPr>
            <p:cNvPr id="12" name="TextBox 11">
              <a:extLst>
                <a:ext uri="{FF2B5EF4-FFF2-40B4-BE49-F238E27FC236}">
                  <a16:creationId xmlns:a16="http://schemas.microsoft.com/office/drawing/2014/main" id="{3E80127D-96E5-4D6F-8B1E-2ECE0538151C}"/>
                </a:ext>
              </a:extLst>
            </p:cNvPr>
            <p:cNvSpPr txBox="1"/>
            <p:nvPr/>
          </p:nvSpPr>
          <p:spPr>
            <a:xfrm>
              <a:off x="5262401" y="4919189"/>
              <a:ext cx="1578189"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Well-being</a:t>
              </a:r>
            </a:p>
          </p:txBody>
        </p:sp>
        <p:sp>
          <p:nvSpPr>
            <p:cNvPr id="13" name="TextBox 12">
              <a:extLst>
                <a:ext uri="{FF2B5EF4-FFF2-40B4-BE49-F238E27FC236}">
                  <a16:creationId xmlns:a16="http://schemas.microsoft.com/office/drawing/2014/main" id="{1E5E52BD-A002-4AC7-9B01-0F91EFB24D55}"/>
                </a:ext>
              </a:extLst>
            </p:cNvPr>
            <p:cNvSpPr txBox="1"/>
            <p:nvPr/>
          </p:nvSpPr>
          <p:spPr>
            <a:xfrm>
              <a:off x="5495734" y="5464851"/>
              <a:ext cx="111152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Health</a:t>
              </a:r>
            </a:p>
          </p:txBody>
        </p:sp>
        <p:sp>
          <p:nvSpPr>
            <p:cNvPr id="14" name="TextBox 13">
              <a:extLst>
                <a:ext uri="{FF2B5EF4-FFF2-40B4-BE49-F238E27FC236}">
                  <a16:creationId xmlns:a16="http://schemas.microsoft.com/office/drawing/2014/main" id="{4C28D2CC-6A4E-4A85-BD15-3C95549CC317}"/>
                </a:ext>
              </a:extLst>
            </p:cNvPr>
            <p:cNvSpPr txBox="1"/>
            <p:nvPr/>
          </p:nvSpPr>
          <p:spPr>
            <a:xfrm>
              <a:off x="5367494" y="6010513"/>
              <a:ext cx="136800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Curiosity</a:t>
              </a:r>
            </a:p>
          </p:txBody>
        </p:sp>
        <p:sp>
          <p:nvSpPr>
            <p:cNvPr id="26" name="TextBox 25">
              <a:extLst>
                <a:ext uri="{FF2B5EF4-FFF2-40B4-BE49-F238E27FC236}">
                  <a16:creationId xmlns:a16="http://schemas.microsoft.com/office/drawing/2014/main" id="{26007384-D953-4DB9-849E-C071FF5C1BE5}"/>
                </a:ext>
              </a:extLst>
            </p:cNvPr>
            <p:cNvSpPr txBox="1"/>
            <p:nvPr/>
          </p:nvSpPr>
          <p:spPr>
            <a:xfrm>
              <a:off x="5494933" y="2247902"/>
              <a:ext cx="1095493" cy="572464"/>
            </a:xfrm>
            <a:prstGeom prst="rect">
              <a:avLst/>
            </a:prstGeom>
            <a:noFill/>
          </p:spPr>
          <p:txBody>
            <a:bodyPr wrap="none" lIns="182880" tIns="146304" rIns="182880" bIns="146304" rtlCol="0">
              <a:spAutoFit/>
            </a:bodyPr>
            <a:lstStyle/>
            <a:p>
              <a:pPr>
                <a:lnSpc>
                  <a:spcPct val="90000"/>
                </a:lnSpc>
              </a:pPr>
              <a:r>
                <a:rPr lang="en-US" sz="2000" dirty="0">
                  <a:latin typeface="Arial" panose="020B0604020202020204" pitchFamily="34" charset="0"/>
                  <a:cs typeface="Arial" panose="020B0604020202020204" pitchFamily="34" charset="0"/>
                </a:rPr>
                <a:t>Safety</a:t>
              </a:r>
            </a:p>
          </p:txBody>
        </p:sp>
      </p:grpSp>
      <p:sp>
        <p:nvSpPr>
          <p:cNvPr id="28" name="Oval 27">
            <a:extLst>
              <a:ext uri="{FF2B5EF4-FFF2-40B4-BE49-F238E27FC236}">
                <a16:creationId xmlns:a16="http://schemas.microsoft.com/office/drawing/2014/main" id="{EEE192C5-C4E9-4276-A5D4-4A7AE9D77875}"/>
              </a:ext>
            </a:extLst>
          </p:cNvPr>
          <p:cNvSpPr>
            <a:spLocks noChangeAspect="1"/>
          </p:cNvSpPr>
          <p:nvPr/>
        </p:nvSpPr>
        <p:spPr bwMode="auto">
          <a:xfrm>
            <a:off x="437103" y="1568975"/>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2</a:t>
            </a:r>
          </a:p>
        </p:txBody>
      </p:sp>
      <p:sp>
        <p:nvSpPr>
          <p:cNvPr id="30" name="Oval 29">
            <a:extLst>
              <a:ext uri="{FF2B5EF4-FFF2-40B4-BE49-F238E27FC236}">
                <a16:creationId xmlns:a16="http://schemas.microsoft.com/office/drawing/2014/main" id="{1DE90174-2401-48F4-B01C-2E452C05373C}"/>
              </a:ext>
            </a:extLst>
          </p:cNvPr>
          <p:cNvSpPr>
            <a:spLocks noChangeAspect="1"/>
          </p:cNvSpPr>
          <p:nvPr/>
        </p:nvSpPr>
        <p:spPr bwMode="auto">
          <a:xfrm>
            <a:off x="10107084" y="2064870"/>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2</a:t>
            </a:r>
          </a:p>
        </p:txBody>
      </p:sp>
      <p:sp>
        <p:nvSpPr>
          <p:cNvPr id="23" name="TextBox 22">
            <a:extLst>
              <a:ext uri="{FF2B5EF4-FFF2-40B4-BE49-F238E27FC236}">
                <a16:creationId xmlns:a16="http://schemas.microsoft.com/office/drawing/2014/main" id="{B5068319-4ACA-49AB-9A89-1EF581745BC8}"/>
              </a:ext>
            </a:extLst>
          </p:cNvPr>
          <p:cNvSpPr txBox="1"/>
          <p:nvPr/>
        </p:nvSpPr>
        <p:spPr>
          <a:xfrm>
            <a:off x="0" y="6522918"/>
            <a:ext cx="9042400" cy="246221"/>
          </a:xfrm>
          <a:prstGeom prst="rect">
            <a:avLst/>
          </a:prstGeom>
          <a:noFill/>
        </p:spPr>
        <p:txBody>
          <a:bodyPr wrap="square" rtlCol="0">
            <a:spAutoFit/>
          </a:bodyPr>
          <a:lstStyle/>
          <a:p>
            <a:r>
              <a:rPr lang="en-US" sz="1000" i="1" dirty="0">
                <a:solidFill>
                  <a:schemeClr val="bg1"/>
                </a:solidFill>
              </a:rPr>
              <a:t> Q12G:  Which three words best describe what you hope will come to define online experiences and interactions during the next decade?</a:t>
            </a:r>
          </a:p>
        </p:txBody>
      </p:sp>
      <p:sp>
        <p:nvSpPr>
          <p:cNvPr id="32" name="Slide Number Placeholder 2">
            <a:extLst>
              <a:ext uri="{FF2B5EF4-FFF2-40B4-BE49-F238E27FC236}">
                <a16:creationId xmlns:a16="http://schemas.microsoft.com/office/drawing/2014/main" id="{1E9EFCDB-2286-4C14-BB1D-15CD72D9AD52}"/>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
        <p:nvSpPr>
          <p:cNvPr id="3" name="TextBox 2">
            <a:extLst>
              <a:ext uri="{FF2B5EF4-FFF2-40B4-BE49-F238E27FC236}">
                <a16:creationId xmlns:a16="http://schemas.microsoft.com/office/drawing/2014/main" id="{27009BE6-A026-4CB7-8369-2ED06BBEF7E7}"/>
              </a:ext>
            </a:extLst>
          </p:cNvPr>
          <p:cNvSpPr txBox="1"/>
          <p:nvPr/>
        </p:nvSpPr>
        <p:spPr>
          <a:xfrm>
            <a:off x="425541" y="4188215"/>
            <a:ext cx="2266122" cy="627864"/>
          </a:xfrm>
          <a:prstGeom prst="rect">
            <a:avLst/>
          </a:prstGeom>
          <a:noFill/>
        </p:spPr>
        <p:txBody>
          <a:bodyPr wrap="square" lIns="182880" tIns="146304" rIns="182880" bIns="146304" rtlCol="0">
            <a:spAutoFit/>
          </a:bodyPr>
          <a:lstStyle/>
          <a:p>
            <a:pPr>
              <a:lnSpc>
                <a:spcPct val="90000"/>
              </a:lnSpc>
            </a:pPr>
            <a:r>
              <a:rPr lang="en-US" sz="2400" b="1" dirty="0">
                <a:solidFill>
                  <a:srgbClr val="0070C0"/>
                </a:solidFill>
              </a:rPr>
              <a:t>Adults</a:t>
            </a:r>
          </a:p>
        </p:txBody>
      </p:sp>
      <p:sp>
        <p:nvSpPr>
          <p:cNvPr id="33" name="TextBox 32">
            <a:extLst>
              <a:ext uri="{FF2B5EF4-FFF2-40B4-BE49-F238E27FC236}">
                <a16:creationId xmlns:a16="http://schemas.microsoft.com/office/drawing/2014/main" id="{1FF76DE2-790A-4A6C-8951-7A111144C4FF}"/>
              </a:ext>
            </a:extLst>
          </p:cNvPr>
          <p:cNvSpPr txBox="1"/>
          <p:nvPr/>
        </p:nvSpPr>
        <p:spPr>
          <a:xfrm>
            <a:off x="9893520" y="4142627"/>
            <a:ext cx="2266122" cy="627864"/>
          </a:xfrm>
          <a:prstGeom prst="rect">
            <a:avLst/>
          </a:prstGeom>
          <a:noFill/>
        </p:spPr>
        <p:txBody>
          <a:bodyPr wrap="square" lIns="182880" tIns="146304" rIns="182880" bIns="146304" rtlCol="0">
            <a:spAutoFit/>
          </a:bodyPr>
          <a:lstStyle/>
          <a:p>
            <a:pPr>
              <a:lnSpc>
                <a:spcPct val="90000"/>
              </a:lnSpc>
            </a:pPr>
            <a:r>
              <a:rPr lang="en-US" sz="2400" b="1" dirty="0">
                <a:solidFill>
                  <a:srgbClr val="2CB8AE"/>
                </a:solidFill>
              </a:rPr>
              <a:t>Teens</a:t>
            </a:r>
          </a:p>
        </p:txBody>
      </p:sp>
      <p:sp>
        <p:nvSpPr>
          <p:cNvPr id="34" name="Oval 33">
            <a:extLst>
              <a:ext uri="{FF2B5EF4-FFF2-40B4-BE49-F238E27FC236}">
                <a16:creationId xmlns:a16="http://schemas.microsoft.com/office/drawing/2014/main" id="{8459511C-B644-4212-8280-DBDB403599E7}"/>
              </a:ext>
            </a:extLst>
          </p:cNvPr>
          <p:cNvSpPr>
            <a:spLocks noChangeAspect="1"/>
          </p:cNvSpPr>
          <p:nvPr/>
        </p:nvSpPr>
        <p:spPr bwMode="auto">
          <a:xfrm>
            <a:off x="425541" y="2685905"/>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3</a:t>
            </a:r>
          </a:p>
        </p:txBody>
      </p:sp>
      <p:sp>
        <p:nvSpPr>
          <p:cNvPr id="35" name="Oval 34">
            <a:extLst>
              <a:ext uri="{FF2B5EF4-FFF2-40B4-BE49-F238E27FC236}">
                <a16:creationId xmlns:a16="http://schemas.microsoft.com/office/drawing/2014/main" id="{265F5A04-D469-4765-9332-F9482D3DBF2C}"/>
              </a:ext>
            </a:extLst>
          </p:cNvPr>
          <p:cNvSpPr>
            <a:spLocks noChangeAspect="1"/>
          </p:cNvSpPr>
          <p:nvPr/>
        </p:nvSpPr>
        <p:spPr bwMode="auto">
          <a:xfrm>
            <a:off x="10071818" y="3597756"/>
            <a:ext cx="1053989" cy="432594"/>
          </a:xfrm>
          <a:prstGeom prst="ellipse">
            <a:avLst/>
          </a:prstGeom>
          <a:solidFill>
            <a:srgbClr val="26262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3</a:t>
            </a:r>
          </a:p>
        </p:txBody>
      </p:sp>
    </p:spTree>
    <p:extLst>
      <p:ext uri="{BB962C8B-B14F-4D97-AF65-F5344CB8AC3E}">
        <p14:creationId xmlns:p14="http://schemas.microsoft.com/office/powerpoint/2010/main" val="2972466362"/>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13000" r="-13000"/>
          </a:stretch>
        </a:blipFill>
        <a:effectLst/>
      </p:bgPr>
    </p:bg>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948A2979-A456-4286-B8FC-8FF4C0C58EFD}"/>
              </a:ext>
            </a:extLst>
          </p:cNvPr>
          <p:cNvSpPr txBox="1"/>
          <p:nvPr/>
        </p:nvSpPr>
        <p:spPr>
          <a:xfrm>
            <a:off x="1" y="2430907"/>
            <a:ext cx="6096000" cy="1754326"/>
          </a:xfrm>
          <a:prstGeom prst="rect">
            <a:avLst/>
          </a:prstGeom>
          <a:noFill/>
        </p:spPr>
        <p:txBody>
          <a:bodyPr wrap="square" rtlCol="0" anchor="ctr">
            <a:spAutoFit/>
          </a:bodyPr>
          <a:lstStyle/>
          <a:p>
            <a:pPr algn="r">
              <a:defRPr/>
            </a:pPr>
            <a:r>
              <a:rPr lang="en-US" altLang="ko-KR" sz="5400" dirty="0">
                <a:solidFill>
                  <a:prstClr val="white"/>
                </a:solidFill>
                <a:cs typeface="Arial" pitchFamily="34" charset="0"/>
              </a:rPr>
              <a:t>The Digital Civility Landscape</a:t>
            </a:r>
          </a:p>
        </p:txBody>
      </p:sp>
      <p:sp>
        <p:nvSpPr>
          <p:cNvPr id="6" name="Freeform: Shape 5">
            <a:extLst>
              <a:ext uri="{FF2B5EF4-FFF2-40B4-BE49-F238E27FC236}">
                <a16:creationId xmlns:a16="http://schemas.microsoft.com/office/drawing/2014/main" id="{6E2E9094-67D8-4A7C-B3AF-095F1FFF635E}"/>
              </a:ext>
            </a:extLst>
          </p:cNvPr>
          <p:cNvSpPr/>
          <p:nvPr/>
        </p:nvSpPr>
        <p:spPr>
          <a:xfrm>
            <a:off x="5377220" y="2050576"/>
            <a:ext cx="1528549" cy="2756848"/>
          </a:xfrm>
          <a:custGeom>
            <a:avLst/>
            <a:gdLst>
              <a:gd name="connsiteX0" fmla="*/ 0 w 1528549"/>
              <a:gd name="connsiteY0" fmla="*/ 0 h 2756848"/>
              <a:gd name="connsiteX1" fmla="*/ 1528549 w 1528549"/>
              <a:gd name="connsiteY1" fmla="*/ 0 h 2756848"/>
              <a:gd name="connsiteX2" fmla="*/ 1528549 w 1528549"/>
              <a:gd name="connsiteY2" fmla="*/ 2756848 h 2756848"/>
              <a:gd name="connsiteX3" fmla="*/ 0 w 1528549"/>
              <a:gd name="connsiteY3" fmla="*/ 2756848 h 2756848"/>
              <a:gd name="connsiteX4" fmla="*/ 0 w 1528549"/>
              <a:gd name="connsiteY4" fmla="*/ 2265528 h 2756848"/>
              <a:gd name="connsiteX5" fmla="*/ 191069 w 1528549"/>
              <a:gd name="connsiteY5" fmla="*/ 2265528 h 2756848"/>
              <a:gd name="connsiteX6" fmla="*/ 191069 w 1528549"/>
              <a:gd name="connsiteY6" fmla="*/ 2565779 h 2756848"/>
              <a:gd name="connsiteX7" fmla="*/ 1337480 w 1528549"/>
              <a:gd name="connsiteY7" fmla="*/ 2565779 h 2756848"/>
              <a:gd name="connsiteX8" fmla="*/ 1337480 w 1528549"/>
              <a:gd name="connsiteY8" fmla="*/ 191069 h 2756848"/>
              <a:gd name="connsiteX9" fmla="*/ 191069 w 1528549"/>
              <a:gd name="connsiteY9" fmla="*/ 191069 h 2756848"/>
              <a:gd name="connsiteX10" fmla="*/ 191069 w 1528549"/>
              <a:gd name="connsiteY10" fmla="*/ 460776 h 2756848"/>
              <a:gd name="connsiteX11" fmla="*/ 0 w 1528549"/>
              <a:gd name="connsiteY11" fmla="*/ 460776 h 27568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528549" h="2756848">
                <a:moveTo>
                  <a:pt x="0" y="0"/>
                </a:moveTo>
                <a:lnTo>
                  <a:pt x="1528549" y="0"/>
                </a:lnTo>
                <a:lnTo>
                  <a:pt x="1528549" y="2756848"/>
                </a:lnTo>
                <a:lnTo>
                  <a:pt x="0" y="2756848"/>
                </a:lnTo>
                <a:lnTo>
                  <a:pt x="0" y="2265528"/>
                </a:lnTo>
                <a:lnTo>
                  <a:pt x="191069" y="2265528"/>
                </a:lnTo>
                <a:lnTo>
                  <a:pt x="191069" y="2565779"/>
                </a:lnTo>
                <a:lnTo>
                  <a:pt x="1337480" y="2565779"/>
                </a:lnTo>
                <a:lnTo>
                  <a:pt x="1337480" y="191069"/>
                </a:lnTo>
                <a:lnTo>
                  <a:pt x="191069" y="191069"/>
                </a:lnTo>
                <a:lnTo>
                  <a:pt x="191069" y="460776"/>
                </a:lnTo>
                <a:lnTo>
                  <a:pt x="0" y="460776"/>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86" rtl="0" eaLnBrk="1" fontAlgn="auto" latinLnBrk="0" hangingPunct="1">
              <a:lnSpc>
                <a:spcPct val="100000"/>
              </a:lnSpc>
              <a:spcBef>
                <a:spcPts val="0"/>
              </a:spcBef>
              <a:spcAft>
                <a:spcPts val="0"/>
              </a:spcAft>
              <a:buClrTx/>
              <a:buSzTx/>
              <a:buFontTx/>
              <a:buNone/>
              <a:tabLst/>
              <a:defRPr/>
            </a:pPr>
            <a:endParaRPr kumimoji="0" lang="ko-KR" altLang="en-US" sz="1800" b="0" i="0" u="none" strike="noStrike" kern="1200" cap="none" spc="0" normalizeH="0" baseline="0" noProof="0">
              <a:ln>
                <a:noFill/>
              </a:ln>
              <a:solidFill>
                <a:prstClr val="black"/>
              </a:solidFill>
              <a:effectLst/>
              <a:uLnTx/>
              <a:uFillTx/>
              <a:latin typeface="Arial"/>
              <a:cs typeface="+mn-cs"/>
            </a:endParaRPr>
          </a:p>
        </p:txBody>
      </p:sp>
    </p:spTree>
    <p:extLst>
      <p:ext uri="{BB962C8B-B14F-4D97-AF65-F5344CB8AC3E}">
        <p14:creationId xmlns:p14="http://schemas.microsoft.com/office/powerpoint/2010/main" val="11005882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9069D7-243F-41B4-961C-3B0B9036E242}"/>
              </a:ext>
            </a:extLst>
          </p:cNvPr>
          <p:cNvSpPr>
            <a:spLocks noGrp="1"/>
          </p:cNvSpPr>
          <p:nvPr>
            <p:ph type="body" sz="quarter" idx="10"/>
          </p:nvPr>
        </p:nvSpPr>
        <p:spPr>
          <a:xfrm>
            <a:off x="323529" y="706521"/>
            <a:ext cx="11573197" cy="794064"/>
          </a:xfrm>
          <a:ln>
            <a:solidFill>
              <a:schemeClr val="bg1"/>
            </a:solidFill>
          </a:ln>
        </p:spPr>
        <p:txBody>
          <a:bodyPr/>
          <a:lstStyle/>
          <a:p>
            <a:pPr algn="l"/>
            <a:endParaRPr lang="en-US" dirty="0"/>
          </a:p>
        </p:txBody>
      </p:sp>
      <p:sp>
        <p:nvSpPr>
          <p:cNvPr id="3" name="Slide Number Placeholder 2">
            <a:extLst>
              <a:ext uri="{FF2B5EF4-FFF2-40B4-BE49-F238E27FC236}">
                <a16:creationId xmlns:a16="http://schemas.microsoft.com/office/drawing/2014/main" id="{5F999973-1B0A-4282-A82F-94E6CFFDC961}"/>
              </a:ext>
            </a:extLst>
          </p:cNvPr>
          <p:cNvSpPr>
            <a:spLocks noGrp="1"/>
          </p:cNvSpPr>
          <p:nvPr>
            <p:ph type="sldNum" sz="quarter" idx="4"/>
          </p:nvPr>
        </p:nvSpPr>
        <p:spPr/>
        <p:txBody>
          <a:bodyPr/>
          <a:lstStyle/>
          <a:p>
            <a:fld id="{7EFC24D6-DB8F-6B44-BA5A-9BEC68C15CAA}" type="slidenum">
              <a:rPr lang="en-US" smtClean="0"/>
              <a:pPr/>
              <a:t>7</a:t>
            </a:fld>
            <a:endParaRPr lang="en-US" dirty="0"/>
          </a:p>
        </p:txBody>
      </p:sp>
      <p:grpSp>
        <p:nvGrpSpPr>
          <p:cNvPr id="4" name="Group 3">
            <a:extLst>
              <a:ext uri="{FF2B5EF4-FFF2-40B4-BE49-F238E27FC236}">
                <a16:creationId xmlns:a16="http://schemas.microsoft.com/office/drawing/2014/main" id="{363D2262-AD99-4429-94DA-BC7C90B3F962}"/>
              </a:ext>
            </a:extLst>
          </p:cNvPr>
          <p:cNvGrpSpPr/>
          <p:nvPr/>
        </p:nvGrpSpPr>
        <p:grpSpPr>
          <a:xfrm>
            <a:off x="114301" y="1779066"/>
            <a:ext cx="9448800" cy="4429600"/>
            <a:chOff x="785019" y="1120549"/>
            <a:chExt cx="11139487" cy="5021261"/>
          </a:xfrm>
          <a:solidFill>
            <a:sysClr val="window" lastClr="FFFFFF">
              <a:lumMod val="85000"/>
            </a:sysClr>
          </a:solidFill>
        </p:grpSpPr>
        <p:sp>
          <p:nvSpPr>
            <p:cNvPr id="5" name="Afghanistan">
              <a:extLst>
                <a:ext uri="{FF2B5EF4-FFF2-40B4-BE49-F238E27FC236}">
                  <a16:creationId xmlns:a16="http://schemas.microsoft.com/office/drawing/2014/main" id="{1B1B6BA4-A7CF-4689-AB44-BC0528C033F4}"/>
                </a:ext>
              </a:extLst>
            </p:cNvPr>
            <p:cNvSpPr>
              <a:spLocks/>
            </p:cNvSpPr>
            <p:nvPr/>
          </p:nvSpPr>
          <p:spPr bwMode="auto">
            <a:xfrm>
              <a:off x="7906544" y="2608036"/>
              <a:ext cx="428625" cy="347663"/>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 name="Angola">
              <a:extLst>
                <a:ext uri="{FF2B5EF4-FFF2-40B4-BE49-F238E27FC236}">
                  <a16:creationId xmlns:a16="http://schemas.microsoft.com/office/drawing/2014/main" id="{9E86F7E9-FBD7-465D-9779-29D34D4AD514}"/>
                </a:ext>
              </a:extLst>
            </p:cNvPr>
            <p:cNvSpPr>
              <a:spLocks noEditPoints="1"/>
            </p:cNvSpPr>
            <p:nvPr/>
          </p:nvSpPr>
          <p:spPr bwMode="auto">
            <a:xfrm>
              <a:off x="6377781" y="4230460"/>
              <a:ext cx="414337" cy="508000"/>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 name="Albania">
              <a:extLst>
                <a:ext uri="{FF2B5EF4-FFF2-40B4-BE49-F238E27FC236}">
                  <a16:creationId xmlns:a16="http://schemas.microsoft.com/office/drawing/2014/main" id="{01DF10E8-A812-4BA3-B090-CCE42E848D30}"/>
                </a:ext>
              </a:extLst>
            </p:cNvPr>
            <p:cNvSpPr>
              <a:spLocks/>
            </p:cNvSpPr>
            <p:nvPr/>
          </p:nvSpPr>
          <p:spPr bwMode="auto">
            <a:xfrm>
              <a:off x="6580981" y="2450873"/>
              <a:ext cx="57150" cy="112713"/>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 name="United Arab Emirates">
              <a:extLst>
                <a:ext uri="{FF2B5EF4-FFF2-40B4-BE49-F238E27FC236}">
                  <a16:creationId xmlns:a16="http://schemas.microsoft.com/office/drawing/2014/main" id="{9FCF725C-4D6F-4792-94CF-859B886D5BDE}"/>
                </a:ext>
              </a:extLst>
            </p:cNvPr>
            <p:cNvSpPr>
              <a:spLocks/>
            </p:cNvSpPr>
            <p:nvPr/>
          </p:nvSpPr>
          <p:spPr bwMode="auto">
            <a:xfrm>
              <a:off x="7670006" y="3079523"/>
              <a:ext cx="155575" cy="133350"/>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 name="Argentina">
              <a:extLst>
                <a:ext uri="{FF2B5EF4-FFF2-40B4-BE49-F238E27FC236}">
                  <a16:creationId xmlns:a16="http://schemas.microsoft.com/office/drawing/2014/main" id="{2CB200BB-BFBC-407C-9ED2-5FA376102378}"/>
                </a:ext>
              </a:extLst>
            </p:cNvPr>
            <p:cNvSpPr>
              <a:spLocks noEditPoints="1"/>
            </p:cNvSpPr>
            <p:nvPr/>
          </p:nvSpPr>
          <p:spPr bwMode="auto">
            <a:xfrm>
              <a:off x="3748881" y="4884511"/>
              <a:ext cx="515937" cy="1246187"/>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 name="Armenia">
              <a:extLst>
                <a:ext uri="{FF2B5EF4-FFF2-40B4-BE49-F238E27FC236}">
                  <a16:creationId xmlns:a16="http://schemas.microsoft.com/office/drawing/2014/main" id="{129598F0-3A26-47FF-ADC1-0D1A300B05F2}"/>
                </a:ext>
              </a:extLst>
            </p:cNvPr>
            <p:cNvSpPr>
              <a:spLocks/>
            </p:cNvSpPr>
            <p:nvPr/>
          </p:nvSpPr>
          <p:spPr bwMode="auto">
            <a:xfrm>
              <a:off x="7327106" y="2504848"/>
              <a:ext cx="104775" cy="93663"/>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 name="Australia">
              <a:extLst>
                <a:ext uri="{FF2B5EF4-FFF2-40B4-BE49-F238E27FC236}">
                  <a16:creationId xmlns:a16="http://schemas.microsoft.com/office/drawing/2014/main" id="{C0E6E668-F940-4AAE-9738-CEA3486A3323}"/>
                </a:ext>
              </a:extLst>
            </p:cNvPr>
            <p:cNvSpPr>
              <a:spLocks noEditPoints="1"/>
            </p:cNvSpPr>
            <p:nvPr/>
          </p:nvSpPr>
          <p:spPr bwMode="auto">
            <a:xfrm>
              <a:off x="9619456" y="4463823"/>
              <a:ext cx="1328737" cy="1243012"/>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 name="Austria">
              <a:extLst>
                <a:ext uri="{FF2B5EF4-FFF2-40B4-BE49-F238E27FC236}">
                  <a16:creationId xmlns:a16="http://schemas.microsoft.com/office/drawing/2014/main" id="{EE780E72-69F3-4F33-B616-40F01C2299D9}"/>
                </a:ext>
              </a:extLst>
            </p:cNvPr>
            <p:cNvSpPr>
              <a:spLocks/>
            </p:cNvSpPr>
            <p:nvPr/>
          </p:nvSpPr>
          <p:spPr bwMode="auto">
            <a:xfrm>
              <a:off x="6274594" y="2219099"/>
              <a:ext cx="217487" cy="95250"/>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 name="Azerbaijan">
              <a:extLst>
                <a:ext uri="{FF2B5EF4-FFF2-40B4-BE49-F238E27FC236}">
                  <a16:creationId xmlns:a16="http://schemas.microsoft.com/office/drawing/2014/main" id="{2D56A44A-84E3-4710-9B58-CF16476E625D}"/>
                </a:ext>
              </a:extLst>
            </p:cNvPr>
            <p:cNvSpPr>
              <a:spLocks noEditPoints="1"/>
            </p:cNvSpPr>
            <p:nvPr/>
          </p:nvSpPr>
          <p:spPr bwMode="auto">
            <a:xfrm>
              <a:off x="7366794" y="2481036"/>
              <a:ext cx="174625" cy="134938"/>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 name="Burundi">
              <a:extLst>
                <a:ext uri="{FF2B5EF4-FFF2-40B4-BE49-F238E27FC236}">
                  <a16:creationId xmlns:a16="http://schemas.microsoft.com/office/drawing/2014/main" id="{A9DB2D4E-1CE6-47F4-B6D9-8CD11A766852}"/>
                </a:ext>
              </a:extLst>
            </p:cNvPr>
            <p:cNvSpPr>
              <a:spLocks/>
            </p:cNvSpPr>
            <p:nvPr/>
          </p:nvSpPr>
          <p:spPr bwMode="auto">
            <a:xfrm>
              <a:off x="6961981" y="4149498"/>
              <a:ext cx="58737" cy="80963"/>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 name="Belgium">
              <a:extLst>
                <a:ext uri="{FF2B5EF4-FFF2-40B4-BE49-F238E27FC236}">
                  <a16:creationId xmlns:a16="http://schemas.microsoft.com/office/drawing/2014/main" id="{8309815F-ACE4-455F-B27A-2BA5423B53AD}"/>
                </a:ext>
              </a:extLst>
            </p:cNvPr>
            <p:cNvSpPr>
              <a:spLocks/>
            </p:cNvSpPr>
            <p:nvPr/>
          </p:nvSpPr>
          <p:spPr bwMode="auto">
            <a:xfrm>
              <a:off x="6068219" y="2130198"/>
              <a:ext cx="104775" cy="71438"/>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 name="Benin">
              <a:extLst>
                <a:ext uri="{FF2B5EF4-FFF2-40B4-BE49-F238E27FC236}">
                  <a16:creationId xmlns:a16="http://schemas.microsoft.com/office/drawing/2014/main" id="{90B1268D-2E06-44D6-A790-3140FCDB8C7B}"/>
                </a:ext>
              </a:extLst>
            </p:cNvPr>
            <p:cNvSpPr>
              <a:spLocks/>
            </p:cNvSpPr>
            <p:nvPr/>
          </p:nvSpPr>
          <p:spPr bwMode="auto">
            <a:xfrm>
              <a:off x="6020594" y="3600223"/>
              <a:ext cx="101600" cy="230188"/>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 name="Burkina Faso">
              <a:extLst>
                <a:ext uri="{FF2B5EF4-FFF2-40B4-BE49-F238E27FC236}">
                  <a16:creationId xmlns:a16="http://schemas.microsoft.com/office/drawing/2014/main" id="{46BEB12F-B856-4F4E-AC21-D0EDFDBD6205}"/>
                </a:ext>
              </a:extLst>
            </p:cNvPr>
            <p:cNvSpPr>
              <a:spLocks/>
            </p:cNvSpPr>
            <p:nvPr/>
          </p:nvSpPr>
          <p:spPr bwMode="auto">
            <a:xfrm>
              <a:off x="5814219" y="3492273"/>
              <a:ext cx="252412" cy="207963"/>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 name="Bulgaria">
              <a:extLst>
                <a:ext uri="{FF2B5EF4-FFF2-40B4-BE49-F238E27FC236}">
                  <a16:creationId xmlns:a16="http://schemas.microsoft.com/office/drawing/2014/main" id="{C54EFF4F-98B5-4EB1-974C-2CDAB8AE9FE0}"/>
                </a:ext>
              </a:extLst>
            </p:cNvPr>
            <p:cNvSpPr>
              <a:spLocks/>
            </p:cNvSpPr>
            <p:nvPr/>
          </p:nvSpPr>
          <p:spPr bwMode="auto">
            <a:xfrm>
              <a:off x="6668294" y="2395312"/>
              <a:ext cx="185737" cy="109538"/>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 name="Bosnia and Herzegovina">
              <a:extLst>
                <a:ext uri="{FF2B5EF4-FFF2-40B4-BE49-F238E27FC236}">
                  <a16:creationId xmlns:a16="http://schemas.microsoft.com/office/drawing/2014/main" id="{A9B48D8E-626F-42EF-A7A2-1C84F19D150A}"/>
                </a:ext>
              </a:extLst>
            </p:cNvPr>
            <p:cNvSpPr>
              <a:spLocks/>
            </p:cNvSpPr>
            <p:nvPr/>
          </p:nvSpPr>
          <p:spPr bwMode="auto">
            <a:xfrm>
              <a:off x="6465094" y="2360386"/>
              <a:ext cx="119062" cy="92075"/>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 name="Belarus">
              <a:extLst>
                <a:ext uri="{FF2B5EF4-FFF2-40B4-BE49-F238E27FC236}">
                  <a16:creationId xmlns:a16="http://schemas.microsoft.com/office/drawing/2014/main" id="{EA1EDA3A-2688-4FF4-9291-5628C4D89D95}"/>
                </a:ext>
              </a:extLst>
            </p:cNvPr>
            <p:cNvSpPr>
              <a:spLocks/>
            </p:cNvSpPr>
            <p:nvPr/>
          </p:nvSpPr>
          <p:spPr bwMode="auto">
            <a:xfrm>
              <a:off x="6654006" y="1961923"/>
              <a:ext cx="263525" cy="174625"/>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 name="Belize">
              <a:extLst>
                <a:ext uri="{FF2B5EF4-FFF2-40B4-BE49-F238E27FC236}">
                  <a16:creationId xmlns:a16="http://schemas.microsoft.com/office/drawing/2014/main" id="{BCB15291-27BA-4353-BDE4-3CCFCBE6E00A}"/>
                </a:ext>
              </a:extLst>
            </p:cNvPr>
            <p:cNvSpPr>
              <a:spLocks/>
            </p:cNvSpPr>
            <p:nvPr/>
          </p:nvSpPr>
          <p:spPr bwMode="auto">
            <a:xfrm>
              <a:off x="3056731" y="3365273"/>
              <a:ext cx="47625" cy="96838"/>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2" name="Bolivia">
              <a:extLst>
                <a:ext uri="{FF2B5EF4-FFF2-40B4-BE49-F238E27FC236}">
                  <a16:creationId xmlns:a16="http://schemas.microsoft.com/office/drawing/2014/main" id="{E0DF4B28-3636-4A4B-BBC0-2DA186B56DD7}"/>
                </a:ext>
              </a:extLst>
            </p:cNvPr>
            <p:cNvSpPr>
              <a:spLocks/>
            </p:cNvSpPr>
            <p:nvPr/>
          </p:nvSpPr>
          <p:spPr bwMode="auto">
            <a:xfrm>
              <a:off x="3691731" y="4430486"/>
              <a:ext cx="415925" cy="495300"/>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3" name="Brazil">
              <a:extLst>
                <a:ext uri="{FF2B5EF4-FFF2-40B4-BE49-F238E27FC236}">
                  <a16:creationId xmlns:a16="http://schemas.microsoft.com/office/drawing/2014/main" id="{8FA20D83-3965-4F84-9EF1-80B90A4E2A16}"/>
                </a:ext>
              </a:extLst>
            </p:cNvPr>
            <p:cNvSpPr>
              <a:spLocks/>
            </p:cNvSpPr>
            <p:nvPr/>
          </p:nvSpPr>
          <p:spPr bwMode="auto">
            <a:xfrm>
              <a:off x="3536156" y="3863748"/>
              <a:ext cx="1304925" cy="1471612"/>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4" name="Brunei">
              <a:extLst>
                <a:ext uri="{FF2B5EF4-FFF2-40B4-BE49-F238E27FC236}">
                  <a16:creationId xmlns:a16="http://schemas.microsoft.com/office/drawing/2014/main" id="{76EF0B48-4DC9-438E-A117-787E9E2FB488}"/>
                </a:ext>
              </a:extLst>
            </p:cNvPr>
            <p:cNvSpPr>
              <a:spLocks/>
            </p:cNvSpPr>
            <p:nvPr/>
          </p:nvSpPr>
          <p:spPr bwMode="auto">
            <a:xfrm>
              <a:off x="9795669" y="3857398"/>
              <a:ext cx="41275" cy="53975"/>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5" name="Bhutan">
              <a:extLst>
                <a:ext uri="{FF2B5EF4-FFF2-40B4-BE49-F238E27FC236}">
                  <a16:creationId xmlns:a16="http://schemas.microsoft.com/office/drawing/2014/main" id="{ED713627-2DEF-4995-A109-519FB9B54958}"/>
                </a:ext>
              </a:extLst>
            </p:cNvPr>
            <p:cNvSpPr>
              <a:spLocks/>
            </p:cNvSpPr>
            <p:nvPr/>
          </p:nvSpPr>
          <p:spPr bwMode="auto">
            <a:xfrm>
              <a:off x="8859044" y="2993798"/>
              <a:ext cx="106362" cy="60325"/>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6" name="Bangladesh">
              <a:extLst>
                <a:ext uri="{FF2B5EF4-FFF2-40B4-BE49-F238E27FC236}">
                  <a16:creationId xmlns:a16="http://schemas.microsoft.com/office/drawing/2014/main" id="{08654487-6F14-4CF3-822F-901E2E1A74F6}"/>
                </a:ext>
              </a:extLst>
            </p:cNvPr>
            <p:cNvSpPr>
              <a:spLocks/>
            </p:cNvSpPr>
            <p:nvPr/>
          </p:nvSpPr>
          <p:spPr bwMode="auto">
            <a:xfrm>
              <a:off x="8851106" y="3065237"/>
              <a:ext cx="169862" cy="215899"/>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7" name="Botswana">
              <a:extLst>
                <a:ext uri="{FF2B5EF4-FFF2-40B4-BE49-F238E27FC236}">
                  <a16:creationId xmlns:a16="http://schemas.microsoft.com/office/drawing/2014/main" id="{1B8AD0BA-47D7-45E0-A4A5-D51D0DB0AD71}"/>
                </a:ext>
              </a:extLst>
            </p:cNvPr>
            <p:cNvSpPr>
              <a:spLocks/>
            </p:cNvSpPr>
            <p:nvPr/>
          </p:nvSpPr>
          <p:spPr bwMode="auto">
            <a:xfrm>
              <a:off x="6641306" y="4728935"/>
              <a:ext cx="314325" cy="346075"/>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8" name="Central African Republic">
              <a:extLst>
                <a:ext uri="{FF2B5EF4-FFF2-40B4-BE49-F238E27FC236}">
                  <a16:creationId xmlns:a16="http://schemas.microsoft.com/office/drawing/2014/main" id="{19345752-649B-45E0-8612-03DC0427B068}"/>
                </a:ext>
              </a:extLst>
            </p:cNvPr>
            <p:cNvSpPr>
              <a:spLocks/>
            </p:cNvSpPr>
            <p:nvPr/>
          </p:nvSpPr>
          <p:spPr bwMode="auto">
            <a:xfrm>
              <a:off x="6476206" y="3641498"/>
              <a:ext cx="430212" cy="334963"/>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9" name="Canada">
              <a:extLst>
                <a:ext uri="{FF2B5EF4-FFF2-40B4-BE49-F238E27FC236}">
                  <a16:creationId xmlns:a16="http://schemas.microsoft.com/office/drawing/2014/main" id="{E8763695-2D54-47AF-99B8-2D7E94A5C7AB}"/>
                </a:ext>
              </a:extLst>
            </p:cNvPr>
            <p:cNvSpPr>
              <a:spLocks noEditPoints="1"/>
            </p:cNvSpPr>
            <p:nvPr/>
          </p:nvSpPr>
          <p:spPr bwMode="auto">
            <a:xfrm>
              <a:off x="2243931" y="1128487"/>
              <a:ext cx="2525712" cy="1347787"/>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0" name="Switzerland">
              <a:extLst>
                <a:ext uri="{FF2B5EF4-FFF2-40B4-BE49-F238E27FC236}">
                  <a16:creationId xmlns:a16="http://schemas.microsoft.com/office/drawing/2014/main" id="{85414862-7BC1-48E0-BEB2-8AA9B1601FDC}"/>
                </a:ext>
              </a:extLst>
            </p:cNvPr>
            <p:cNvSpPr>
              <a:spLocks/>
            </p:cNvSpPr>
            <p:nvPr/>
          </p:nvSpPr>
          <p:spPr bwMode="auto">
            <a:xfrm>
              <a:off x="6172994" y="2263548"/>
              <a:ext cx="131762" cy="74613"/>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1" name="Chile">
              <a:extLst>
                <a:ext uri="{FF2B5EF4-FFF2-40B4-BE49-F238E27FC236}">
                  <a16:creationId xmlns:a16="http://schemas.microsoft.com/office/drawing/2014/main" id="{1296D40A-6A08-4E71-BE07-945DB2F82C9C}"/>
                </a:ext>
              </a:extLst>
            </p:cNvPr>
            <p:cNvSpPr>
              <a:spLocks noEditPoints="1"/>
            </p:cNvSpPr>
            <p:nvPr/>
          </p:nvSpPr>
          <p:spPr bwMode="auto">
            <a:xfrm>
              <a:off x="3685381" y="4725760"/>
              <a:ext cx="446087" cy="1416050"/>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2" name="China">
              <a:extLst>
                <a:ext uri="{FF2B5EF4-FFF2-40B4-BE49-F238E27FC236}">
                  <a16:creationId xmlns:a16="http://schemas.microsoft.com/office/drawing/2014/main" id="{A9E40377-A36A-4BF2-8A51-0111F333E6C4}"/>
                </a:ext>
              </a:extLst>
            </p:cNvPr>
            <p:cNvSpPr>
              <a:spLocks noEditPoints="1"/>
            </p:cNvSpPr>
            <p:nvPr/>
          </p:nvSpPr>
          <p:spPr bwMode="auto">
            <a:xfrm>
              <a:off x="8263731" y="2057174"/>
              <a:ext cx="1703387" cy="1319213"/>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3" name="Côte d'Ivoire">
              <a:extLst>
                <a:ext uri="{FF2B5EF4-FFF2-40B4-BE49-F238E27FC236}">
                  <a16:creationId xmlns:a16="http://schemas.microsoft.com/office/drawing/2014/main" id="{96EFA031-5AD1-473F-AAC3-A4878963F960}"/>
                </a:ext>
              </a:extLst>
            </p:cNvPr>
            <p:cNvSpPr>
              <a:spLocks/>
            </p:cNvSpPr>
            <p:nvPr/>
          </p:nvSpPr>
          <p:spPr bwMode="auto">
            <a:xfrm>
              <a:off x="5709444" y="3665311"/>
              <a:ext cx="200025" cy="233363"/>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4" name="Cameroon">
              <a:extLst>
                <a:ext uri="{FF2B5EF4-FFF2-40B4-BE49-F238E27FC236}">
                  <a16:creationId xmlns:a16="http://schemas.microsoft.com/office/drawing/2014/main" id="{B2A56661-2817-4A52-BEB2-DA9E6847C270}"/>
                </a:ext>
              </a:extLst>
            </p:cNvPr>
            <p:cNvSpPr>
              <a:spLocks/>
            </p:cNvSpPr>
            <p:nvPr/>
          </p:nvSpPr>
          <p:spPr bwMode="auto">
            <a:xfrm>
              <a:off x="6279356" y="3576411"/>
              <a:ext cx="250825" cy="420688"/>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5" name="Democratic Republic of Congo">
              <a:extLst>
                <a:ext uri="{FF2B5EF4-FFF2-40B4-BE49-F238E27FC236}">
                  <a16:creationId xmlns:a16="http://schemas.microsoft.com/office/drawing/2014/main" id="{CE686986-4F49-4595-9AC0-9F86B2F8C10E}"/>
                </a:ext>
              </a:extLst>
            </p:cNvPr>
            <p:cNvSpPr>
              <a:spLocks/>
            </p:cNvSpPr>
            <p:nvPr/>
          </p:nvSpPr>
          <p:spPr bwMode="auto">
            <a:xfrm>
              <a:off x="6400006" y="3863748"/>
              <a:ext cx="635000" cy="698500"/>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6" name="Congo">
              <a:extLst>
                <a:ext uri="{FF2B5EF4-FFF2-40B4-BE49-F238E27FC236}">
                  <a16:creationId xmlns:a16="http://schemas.microsoft.com/office/drawing/2014/main" id="{3365664B-965D-4D04-B8AF-B74684D769B5}"/>
                </a:ext>
              </a:extLst>
            </p:cNvPr>
            <p:cNvSpPr>
              <a:spLocks/>
            </p:cNvSpPr>
            <p:nvPr/>
          </p:nvSpPr>
          <p:spPr bwMode="auto">
            <a:xfrm>
              <a:off x="6365081" y="3922486"/>
              <a:ext cx="244475" cy="330200"/>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7" name="Colombia">
              <a:extLst>
                <a:ext uri="{FF2B5EF4-FFF2-40B4-BE49-F238E27FC236}">
                  <a16:creationId xmlns:a16="http://schemas.microsoft.com/office/drawing/2014/main" id="{72EAAE00-4182-4625-A62A-3EEC4D80C6FC}"/>
                </a:ext>
              </a:extLst>
            </p:cNvPr>
            <p:cNvSpPr>
              <a:spLocks/>
            </p:cNvSpPr>
            <p:nvPr/>
          </p:nvSpPr>
          <p:spPr bwMode="auto">
            <a:xfrm>
              <a:off x="3363119" y="3592286"/>
              <a:ext cx="404812" cy="631825"/>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8" name="Costa Rica">
              <a:extLst>
                <a:ext uri="{FF2B5EF4-FFF2-40B4-BE49-F238E27FC236}">
                  <a16:creationId xmlns:a16="http://schemas.microsoft.com/office/drawing/2014/main" id="{4F041A19-7E42-45F4-887F-8ED4FFDF4E37}"/>
                </a:ext>
              </a:extLst>
            </p:cNvPr>
            <p:cNvSpPr>
              <a:spLocks/>
            </p:cNvSpPr>
            <p:nvPr/>
          </p:nvSpPr>
          <p:spPr bwMode="auto">
            <a:xfrm>
              <a:off x="3147219" y="3638323"/>
              <a:ext cx="109537" cy="112713"/>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9" name="Cuba">
              <a:extLst>
                <a:ext uri="{FF2B5EF4-FFF2-40B4-BE49-F238E27FC236}">
                  <a16:creationId xmlns:a16="http://schemas.microsoft.com/office/drawing/2014/main" id="{CC3C4C29-4AE4-4EB0-B66A-1DD89B789622}"/>
                </a:ext>
              </a:extLst>
            </p:cNvPr>
            <p:cNvSpPr>
              <a:spLocks/>
            </p:cNvSpPr>
            <p:nvPr/>
          </p:nvSpPr>
          <p:spPr bwMode="auto">
            <a:xfrm>
              <a:off x="3223419" y="3185887"/>
              <a:ext cx="346075" cy="127000"/>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0" name="Czech Republic">
              <a:extLst>
                <a:ext uri="{FF2B5EF4-FFF2-40B4-BE49-F238E27FC236}">
                  <a16:creationId xmlns:a16="http://schemas.microsoft.com/office/drawing/2014/main" id="{A8A01D65-CDEB-44CD-8DBE-53D1ECD4F5CB}"/>
                </a:ext>
              </a:extLst>
            </p:cNvPr>
            <p:cNvSpPr>
              <a:spLocks/>
            </p:cNvSpPr>
            <p:nvPr/>
          </p:nvSpPr>
          <p:spPr bwMode="auto">
            <a:xfrm>
              <a:off x="6349206" y="2142898"/>
              <a:ext cx="193675" cy="93663"/>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1" name="Germany">
              <a:extLst>
                <a:ext uri="{FF2B5EF4-FFF2-40B4-BE49-F238E27FC236}">
                  <a16:creationId xmlns:a16="http://schemas.microsoft.com/office/drawing/2014/main" id="{CC3FB6AF-A067-4F73-BFEC-A712C92B33CB}"/>
                </a:ext>
              </a:extLst>
            </p:cNvPr>
            <p:cNvSpPr>
              <a:spLocks/>
            </p:cNvSpPr>
            <p:nvPr/>
          </p:nvSpPr>
          <p:spPr bwMode="auto">
            <a:xfrm>
              <a:off x="6166644" y="2003199"/>
              <a:ext cx="260350" cy="279399"/>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2" name="Djibouti">
              <a:extLst>
                <a:ext uri="{FF2B5EF4-FFF2-40B4-BE49-F238E27FC236}">
                  <a16:creationId xmlns:a16="http://schemas.microsoft.com/office/drawing/2014/main" id="{81AC3D76-DB29-4B10-BCE9-3F61CADB1E6E}"/>
                </a:ext>
              </a:extLst>
            </p:cNvPr>
            <p:cNvSpPr>
              <a:spLocks/>
            </p:cNvSpPr>
            <p:nvPr/>
          </p:nvSpPr>
          <p:spPr bwMode="auto">
            <a:xfrm>
              <a:off x="7376319" y="3584348"/>
              <a:ext cx="52387" cy="65088"/>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3" name="Denmark">
              <a:extLst>
                <a:ext uri="{FF2B5EF4-FFF2-40B4-BE49-F238E27FC236}">
                  <a16:creationId xmlns:a16="http://schemas.microsoft.com/office/drawing/2014/main" id="{31F779F5-2D49-43E8-8A42-A029F05C1CBE}"/>
                </a:ext>
              </a:extLst>
            </p:cNvPr>
            <p:cNvSpPr>
              <a:spLocks noEditPoints="1"/>
            </p:cNvSpPr>
            <p:nvPr/>
          </p:nvSpPr>
          <p:spPr bwMode="auto">
            <a:xfrm>
              <a:off x="6217444" y="1906362"/>
              <a:ext cx="130175" cy="103188"/>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4" name="Dominican Republic">
              <a:extLst>
                <a:ext uri="{FF2B5EF4-FFF2-40B4-BE49-F238E27FC236}">
                  <a16:creationId xmlns:a16="http://schemas.microsoft.com/office/drawing/2014/main" id="{F98E3CA4-7A93-4FCD-A1DD-363E15439823}"/>
                </a:ext>
              </a:extLst>
            </p:cNvPr>
            <p:cNvSpPr>
              <a:spLocks/>
            </p:cNvSpPr>
            <p:nvPr/>
          </p:nvSpPr>
          <p:spPr bwMode="auto">
            <a:xfrm>
              <a:off x="3634581" y="3311298"/>
              <a:ext cx="120650" cy="87313"/>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5" name="Algeria">
              <a:extLst>
                <a:ext uri="{FF2B5EF4-FFF2-40B4-BE49-F238E27FC236}">
                  <a16:creationId xmlns:a16="http://schemas.microsoft.com/office/drawing/2014/main" id="{FC221E05-8B53-4696-A891-D9265BD3276E}"/>
                </a:ext>
              </a:extLst>
            </p:cNvPr>
            <p:cNvSpPr>
              <a:spLocks/>
            </p:cNvSpPr>
            <p:nvPr/>
          </p:nvSpPr>
          <p:spPr bwMode="auto">
            <a:xfrm>
              <a:off x="5715794" y="2660424"/>
              <a:ext cx="669925" cy="682625"/>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6" name="Ecuador">
              <a:extLst>
                <a:ext uri="{FF2B5EF4-FFF2-40B4-BE49-F238E27FC236}">
                  <a16:creationId xmlns:a16="http://schemas.microsoft.com/office/drawing/2014/main" id="{18EEB711-60BD-4D40-83BB-E7DCEF979EF0}"/>
                </a:ext>
              </a:extLst>
            </p:cNvPr>
            <p:cNvSpPr>
              <a:spLocks/>
            </p:cNvSpPr>
            <p:nvPr/>
          </p:nvSpPr>
          <p:spPr bwMode="auto">
            <a:xfrm>
              <a:off x="3298031" y="4011386"/>
              <a:ext cx="192087" cy="238125"/>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7" name="Egypt">
              <a:extLst>
                <a:ext uri="{FF2B5EF4-FFF2-40B4-BE49-F238E27FC236}">
                  <a16:creationId xmlns:a16="http://schemas.microsoft.com/office/drawing/2014/main" id="{0F28E689-B31D-400D-A535-1A845F28696A}"/>
                </a:ext>
              </a:extLst>
            </p:cNvPr>
            <p:cNvSpPr>
              <a:spLocks/>
            </p:cNvSpPr>
            <p:nvPr/>
          </p:nvSpPr>
          <p:spPr bwMode="auto">
            <a:xfrm>
              <a:off x="6785769" y="2871562"/>
              <a:ext cx="412750" cy="360363"/>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8" name="Eritrea">
              <a:extLst>
                <a:ext uri="{FF2B5EF4-FFF2-40B4-BE49-F238E27FC236}">
                  <a16:creationId xmlns:a16="http://schemas.microsoft.com/office/drawing/2014/main" id="{E4D601CD-177A-46B0-983B-9A0FA95D1D20}"/>
                </a:ext>
              </a:extLst>
            </p:cNvPr>
            <p:cNvSpPr>
              <a:spLocks/>
            </p:cNvSpPr>
            <p:nvPr/>
          </p:nvSpPr>
          <p:spPr bwMode="auto">
            <a:xfrm>
              <a:off x="7195344" y="3384323"/>
              <a:ext cx="225425" cy="207963"/>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9" name="Estonia">
              <a:extLst>
                <a:ext uri="{FF2B5EF4-FFF2-40B4-BE49-F238E27FC236}">
                  <a16:creationId xmlns:a16="http://schemas.microsoft.com/office/drawing/2014/main" id="{FD1739DE-FCB5-42D8-A170-FC7AFC788504}"/>
                </a:ext>
              </a:extLst>
            </p:cNvPr>
            <p:cNvSpPr>
              <a:spLocks/>
            </p:cNvSpPr>
            <p:nvPr/>
          </p:nvSpPr>
          <p:spPr bwMode="auto">
            <a:xfrm>
              <a:off x="6620669" y="1841274"/>
              <a:ext cx="128587" cy="73025"/>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0" name="Ethipia">
              <a:extLst>
                <a:ext uri="{FF2B5EF4-FFF2-40B4-BE49-F238E27FC236}">
                  <a16:creationId xmlns:a16="http://schemas.microsoft.com/office/drawing/2014/main" id="{D8D03857-5481-441B-8F35-A2EA2C303AF6}"/>
                </a:ext>
              </a:extLst>
            </p:cNvPr>
            <p:cNvSpPr>
              <a:spLocks/>
            </p:cNvSpPr>
            <p:nvPr/>
          </p:nvSpPr>
          <p:spPr bwMode="auto">
            <a:xfrm>
              <a:off x="7090569" y="3498623"/>
              <a:ext cx="492125" cy="434975"/>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1" name="Finland">
              <a:extLst>
                <a:ext uri="{FF2B5EF4-FFF2-40B4-BE49-F238E27FC236}">
                  <a16:creationId xmlns:a16="http://schemas.microsoft.com/office/drawing/2014/main" id="{49076BD6-134C-4D21-AA4A-F338383F40E3}"/>
                </a:ext>
              </a:extLst>
            </p:cNvPr>
            <p:cNvSpPr>
              <a:spLocks/>
            </p:cNvSpPr>
            <p:nvPr/>
          </p:nvSpPr>
          <p:spPr bwMode="auto">
            <a:xfrm>
              <a:off x="6495256" y="1490436"/>
              <a:ext cx="315912" cy="341313"/>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2" name="Fiji">
              <a:extLst>
                <a:ext uri="{FF2B5EF4-FFF2-40B4-BE49-F238E27FC236}">
                  <a16:creationId xmlns:a16="http://schemas.microsoft.com/office/drawing/2014/main" id="{E6C7F59B-A132-4E84-AF71-D898C149B4C6}"/>
                </a:ext>
              </a:extLst>
            </p:cNvPr>
            <p:cNvSpPr>
              <a:spLocks noEditPoints="1"/>
            </p:cNvSpPr>
            <p:nvPr/>
          </p:nvSpPr>
          <p:spPr bwMode="auto">
            <a:xfrm>
              <a:off x="11819731" y="4668610"/>
              <a:ext cx="104775" cy="82550"/>
            </a:xfrm>
            <a:custGeom>
              <a:avLst/>
              <a:gdLst>
                <a:gd name="T0" fmla="*/ 66 w 66"/>
                <a:gd name="T1" fmla="*/ 0 h 52"/>
                <a:gd name="T2" fmla="*/ 52 w 66"/>
                <a:gd name="T3" fmla="*/ 8 h 52"/>
                <a:gd name="T4" fmla="*/ 45 w 66"/>
                <a:gd name="T5" fmla="*/ 9 h 52"/>
                <a:gd name="T6" fmla="*/ 33 w 66"/>
                <a:gd name="T7" fmla="*/ 13 h 52"/>
                <a:gd name="T8" fmla="*/ 34 w 66"/>
                <a:gd name="T9" fmla="*/ 23 h 52"/>
                <a:gd name="T10" fmla="*/ 48 w 66"/>
                <a:gd name="T11" fmla="*/ 17 h 52"/>
                <a:gd name="T12" fmla="*/ 63 w 66"/>
                <a:gd name="T13" fmla="*/ 11 h 52"/>
                <a:gd name="T14" fmla="*/ 66 w 66"/>
                <a:gd name="T15" fmla="*/ 0 h 52"/>
                <a:gd name="T16" fmla="*/ 66 w 66"/>
                <a:gd name="T17" fmla="*/ 0 h 52"/>
                <a:gd name="T18" fmla="*/ 25 w 66"/>
                <a:gd name="T19" fmla="*/ 30 h 52"/>
                <a:gd name="T20" fmla="*/ 18 w 66"/>
                <a:gd name="T21" fmla="*/ 34 h 52"/>
                <a:gd name="T22" fmla="*/ 10 w 66"/>
                <a:gd name="T23" fmla="*/ 31 h 52"/>
                <a:gd name="T24" fmla="*/ 0 w 66"/>
                <a:gd name="T25" fmla="*/ 39 h 52"/>
                <a:gd name="T26" fmla="*/ 0 w 66"/>
                <a:gd name="T27" fmla="*/ 50 h 52"/>
                <a:gd name="T28" fmla="*/ 10 w 66"/>
                <a:gd name="T29" fmla="*/ 52 h 52"/>
                <a:gd name="T30" fmla="*/ 24 w 66"/>
                <a:gd name="T31" fmla="*/ 49 h 52"/>
                <a:gd name="T32" fmla="*/ 31 w 66"/>
                <a:gd name="T33" fmla="*/ 37 h 52"/>
                <a:gd name="T34" fmla="*/ 25 w 66"/>
                <a:gd name="T35" fmla="*/ 30 h 52"/>
                <a:gd name="T36" fmla="*/ 25 w 66"/>
                <a:gd name="T37"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52">
                  <a:moveTo>
                    <a:pt x="66" y="0"/>
                  </a:moveTo>
                  <a:lnTo>
                    <a:pt x="52" y="8"/>
                  </a:lnTo>
                  <a:lnTo>
                    <a:pt x="45" y="9"/>
                  </a:lnTo>
                  <a:lnTo>
                    <a:pt x="33" y="13"/>
                  </a:lnTo>
                  <a:lnTo>
                    <a:pt x="34" y="23"/>
                  </a:lnTo>
                  <a:lnTo>
                    <a:pt x="48" y="17"/>
                  </a:lnTo>
                  <a:lnTo>
                    <a:pt x="63" y="11"/>
                  </a:lnTo>
                  <a:lnTo>
                    <a:pt x="66" y="0"/>
                  </a:lnTo>
                  <a:lnTo>
                    <a:pt x="66" y="0"/>
                  </a:lnTo>
                  <a:close/>
                  <a:moveTo>
                    <a:pt x="25" y="30"/>
                  </a:moveTo>
                  <a:lnTo>
                    <a:pt x="18" y="34"/>
                  </a:lnTo>
                  <a:lnTo>
                    <a:pt x="10" y="31"/>
                  </a:lnTo>
                  <a:lnTo>
                    <a:pt x="0" y="39"/>
                  </a:lnTo>
                  <a:lnTo>
                    <a:pt x="0" y="50"/>
                  </a:lnTo>
                  <a:lnTo>
                    <a:pt x="10" y="52"/>
                  </a:lnTo>
                  <a:lnTo>
                    <a:pt x="24" y="49"/>
                  </a:lnTo>
                  <a:lnTo>
                    <a:pt x="31" y="37"/>
                  </a:lnTo>
                  <a:lnTo>
                    <a:pt x="25" y="30"/>
                  </a:lnTo>
                  <a:lnTo>
                    <a:pt x="25" y="3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3" name="Gabon">
              <a:extLst>
                <a:ext uri="{FF2B5EF4-FFF2-40B4-BE49-F238E27FC236}">
                  <a16:creationId xmlns:a16="http://schemas.microsoft.com/office/drawing/2014/main" id="{7E09DBCD-DB0D-45E4-9E19-9221E849ED56}"/>
                </a:ext>
              </a:extLst>
            </p:cNvPr>
            <p:cNvSpPr>
              <a:spLocks/>
            </p:cNvSpPr>
            <p:nvPr/>
          </p:nvSpPr>
          <p:spPr bwMode="auto">
            <a:xfrm>
              <a:off x="6287294" y="3974873"/>
              <a:ext cx="188912" cy="238125"/>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4" name="United Kingdom">
              <a:extLst>
                <a:ext uri="{FF2B5EF4-FFF2-40B4-BE49-F238E27FC236}">
                  <a16:creationId xmlns:a16="http://schemas.microsoft.com/office/drawing/2014/main" id="{0C6D8F10-A371-41C1-92BF-80D54401CC19}"/>
                </a:ext>
              </a:extLst>
            </p:cNvPr>
            <p:cNvSpPr>
              <a:spLocks noEditPoints="1"/>
            </p:cNvSpPr>
            <p:nvPr/>
          </p:nvSpPr>
          <p:spPr bwMode="auto">
            <a:xfrm>
              <a:off x="5784056" y="1874612"/>
              <a:ext cx="258762" cy="309562"/>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5" name="Georgia">
              <a:extLst>
                <a:ext uri="{FF2B5EF4-FFF2-40B4-BE49-F238E27FC236}">
                  <a16:creationId xmlns:a16="http://schemas.microsoft.com/office/drawing/2014/main" id="{DEDEEA32-37E8-45B0-B5F2-876327085AA2}"/>
                </a:ext>
              </a:extLst>
            </p:cNvPr>
            <p:cNvSpPr>
              <a:spLocks/>
            </p:cNvSpPr>
            <p:nvPr/>
          </p:nvSpPr>
          <p:spPr bwMode="auto">
            <a:xfrm>
              <a:off x="7200106" y="2420711"/>
              <a:ext cx="219075" cy="90488"/>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6" name="Ghana">
              <a:extLst>
                <a:ext uri="{FF2B5EF4-FFF2-40B4-BE49-F238E27FC236}">
                  <a16:creationId xmlns:a16="http://schemas.microsoft.com/office/drawing/2014/main" id="{4F8AFE14-BBF7-4FE8-8272-B832E245C210}"/>
                </a:ext>
              </a:extLst>
            </p:cNvPr>
            <p:cNvSpPr>
              <a:spLocks/>
            </p:cNvSpPr>
            <p:nvPr/>
          </p:nvSpPr>
          <p:spPr bwMode="auto">
            <a:xfrm>
              <a:off x="5887244" y="3643086"/>
              <a:ext cx="142875" cy="241300"/>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7" name="Guinea">
              <a:extLst>
                <a:ext uri="{FF2B5EF4-FFF2-40B4-BE49-F238E27FC236}">
                  <a16:creationId xmlns:a16="http://schemas.microsoft.com/office/drawing/2014/main" id="{59CEDFF4-209E-45BE-A040-F091B23AD831}"/>
                </a:ext>
              </a:extLst>
            </p:cNvPr>
            <p:cNvSpPr>
              <a:spLocks/>
            </p:cNvSpPr>
            <p:nvPr/>
          </p:nvSpPr>
          <p:spPr bwMode="auto">
            <a:xfrm>
              <a:off x="5493544" y="3587524"/>
              <a:ext cx="241300" cy="200025"/>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8" name="Gambia">
              <a:extLst>
                <a:ext uri="{FF2B5EF4-FFF2-40B4-BE49-F238E27FC236}">
                  <a16:creationId xmlns:a16="http://schemas.microsoft.com/office/drawing/2014/main" id="{17967F04-3AD4-4316-9D3E-0CD1587BB597}"/>
                </a:ext>
              </a:extLst>
            </p:cNvPr>
            <p:cNvSpPr>
              <a:spLocks/>
            </p:cNvSpPr>
            <p:nvPr/>
          </p:nvSpPr>
          <p:spPr bwMode="auto">
            <a:xfrm>
              <a:off x="5437981" y="3539898"/>
              <a:ext cx="100012" cy="26988"/>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9" name="Guinea-Bissau">
              <a:extLst>
                <a:ext uri="{FF2B5EF4-FFF2-40B4-BE49-F238E27FC236}">
                  <a16:creationId xmlns:a16="http://schemas.microsoft.com/office/drawing/2014/main" id="{2411FE2F-B6DB-4317-8112-BFA82865C13D}"/>
                </a:ext>
              </a:extLst>
            </p:cNvPr>
            <p:cNvSpPr>
              <a:spLocks/>
            </p:cNvSpPr>
            <p:nvPr/>
          </p:nvSpPr>
          <p:spPr bwMode="auto">
            <a:xfrm>
              <a:off x="5442744" y="3585936"/>
              <a:ext cx="100012" cy="60325"/>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0" name="Equatorial Guinea">
              <a:extLst>
                <a:ext uri="{FF2B5EF4-FFF2-40B4-BE49-F238E27FC236}">
                  <a16:creationId xmlns:a16="http://schemas.microsoft.com/office/drawing/2014/main" id="{43189828-0095-4A0A-B480-F5CAB42C5AF5}"/>
                </a:ext>
              </a:extLst>
            </p:cNvPr>
            <p:cNvSpPr>
              <a:spLocks/>
            </p:cNvSpPr>
            <p:nvPr/>
          </p:nvSpPr>
          <p:spPr bwMode="auto">
            <a:xfrm>
              <a:off x="6306344" y="3974873"/>
              <a:ext cx="65087" cy="49213"/>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1" name="Greece">
              <a:extLst>
                <a:ext uri="{FF2B5EF4-FFF2-40B4-BE49-F238E27FC236}">
                  <a16:creationId xmlns:a16="http://schemas.microsoft.com/office/drawing/2014/main" id="{ACF995CC-EF7D-4E48-A5A2-6792590E75F0}"/>
                </a:ext>
              </a:extLst>
            </p:cNvPr>
            <p:cNvSpPr>
              <a:spLocks noEditPoints="1"/>
            </p:cNvSpPr>
            <p:nvPr/>
          </p:nvSpPr>
          <p:spPr bwMode="auto">
            <a:xfrm>
              <a:off x="6615906" y="2484211"/>
              <a:ext cx="204787" cy="260350"/>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2" name="Greenland">
              <a:extLst>
                <a:ext uri="{FF2B5EF4-FFF2-40B4-BE49-F238E27FC236}">
                  <a16:creationId xmlns:a16="http://schemas.microsoft.com/office/drawing/2014/main" id="{34FBC3B0-7DEB-482E-9A7A-31B32A3D9086}"/>
                </a:ext>
              </a:extLst>
            </p:cNvPr>
            <p:cNvSpPr>
              <a:spLocks/>
            </p:cNvSpPr>
            <p:nvPr/>
          </p:nvSpPr>
          <p:spPr bwMode="auto">
            <a:xfrm>
              <a:off x="4428331" y="1120549"/>
              <a:ext cx="1320800" cy="704849"/>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3" name="Guatemala">
              <a:extLst>
                <a:ext uri="{FF2B5EF4-FFF2-40B4-BE49-F238E27FC236}">
                  <a16:creationId xmlns:a16="http://schemas.microsoft.com/office/drawing/2014/main" id="{34C6FD80-6908-4CCF-8BFC-9A934CE72CB2}"/>
                </a:ext>
              </a:extLst>
            </p:cNvPr>
            <p:cNvSpPr>
              <a:spLocks/>
            </p:cNvSpPr>
            <p:nvPr/>
          </p:nvSpPr>
          <p:spPr bwMode="auto">
            <a:xfrm>
              <a:off x="2951956" y="3389086"/>
              <a:ext cx="136525" cy="155574"/>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4" name="Guyana">
              <a:extLst>
                <a:ext uri="{FF2B5EF4-FFF2-40B4-BE49-F238E27FC236}">
                  <a16:creationId xmlns:a16="http://schemas.microsoft.com/office/drawing/2014/main" id="{FD5C7C31-3430-4CC0-8816-5FB55E409FDC}"/>
                </a:ext>
              </a:extLst>
            </p:cNvPr>
            <p:cNvSpPr>
              <a:spLocks/>
            </p:cNvSpPr>
            <p:nvPr/>
          </p:nvSpPr>
          <p:spPr bwMode="auto">
            <a:xfrm>
              <a:off x="3953669" y="3746273"/>
              <a:ext cx="158750" cy="266700"/>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5" name="Honduras">
              <a:extLst>
                <a:ext uri="{FF2B5EF4-FFF2-40B4-BE49-F238E27FC236}">
                  <a16:creationId xmlns:a16="http://schemas.microsoft.com/office/drawing/2014/main" id="{220D0B49-6B07-4F2D-A1D1-72E470F55F3B}"/>
                </a:ext>
              </a:extLst>
            </p:cNvPr>
            <p:cNvSpPr>
              <a:spLocks/>
            </p:cNvSpPr>
            <p:nvPr/>
          </p:nvSpPr>
          <p:spPr bwMode="auto">
            <a:xfrm>
              <a:off x="3045619" y="3457348"/>
              <a:ext cx="206375" cy="114300"/>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6" name="Croatia">
              <a:extLst>
                <a:ext uri="{FF2B5EF4-FFF2-40B4-BE49-F238E27FC236}">
                  <a16:creationId xmlns:a16="http://schemas.microsoft.com/office/drawing/2014/main" id="{73D52BF5-39AE-41B8-8D92-77541B30FCE4}"/>
                </a:ext>
              </a:extLst>
            </p:cNvPr>
            <p:cNvSpPr>
              <a:spLocks/>
            </p:cNvSpPr>
            <p:nvPr/>
          </p:nvSpPr>
          <p:spPr bwMode="auto">
            <a:xfrm>
              <a:off x="6403181" y="2312762"/>
              <a:ext cx="171450" cy="146050"/>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7" name="Haiti">
              <a:extLst>
                <a:ext uri="{FF2B5EF4-FFF2-40B4-BE49-F238E27FC236}">
                  <a16:creationId xmlns:a16="http://schemas.microsoft.com/office/drawing/2014/main" id="{37F47F3A-233D-428E-872A-BD7324C6F907}"/>
                </a:ext>
              </a:extLst>
            </p:cNvPr>
            <p:cNvSpPr>
              <a:spLocks/>
            </p:cNvSpPr>
            <p:nvPr/>
          </p:nvSpPr>
          <p:spPr bwMode="auto">
            <a:xfrm>
              <a:off x="3552031" y="3311298"/>
              <a:ext cx="96837" cy="71438"/>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8" name="Hungary">
              <a:extLst>
                <a:ext uri="{FF2B5EF4-FFF2-40B4-BE49-F238E27FC236}">
                  <a16:creationId xmlns:a16="http://schemas.microsoft.com/office/drawing/2014/main" id="{5024FAE7-7E48-407A-907C-0FA76EB256CC}"/>
                </a:ext>
              </a:extLst>
            </p:cNvPr>
            <p:cNvSpPr>
              <a:spLocks/>
            </p:cNvSpPr>
            <p:nvPr/>
          </p:nvSpPr>
          <p:spPr bwMode="auto">
            <a:xfrm>
              <a:off x="6474619" y="2233386"/>
              <a:ext cx="187325" cy="104775"/>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9" name="Indonesia">
              <a:extLst>
                <a:ext uri="{FF2B5EF4-FFF2-40B4-BE49-F238E27FC236}">
                  <a16:creationId xmlns:a16="http://schemas.microsoft.com/office/drawing/2014/main" id="{DCEC336C-B551-4C19-A3E7-5ECE231A70F7}"/>
                </a:ext>
              </a:extLst>
            </p:cNvPr>
            <p:cNvSpPr>
              <a:spLocks noEditPoints="1"/>
            </p:cNvSpPr>
            <p:nvPr/>
          </p:nvSpPr>
          <p:spPr bwMode="auto">
            <a:xfrm>
              <a:off x="9167019" y="3855811"/>
              <a:ext cx="1524000" cy="596900"/>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0" name="India">
              <a:extLst>
                <a:ext uri="{FF2B5EF4-FFF2-40B4-BE49-F238E27FC236}">
                  <a16:creationId xmlns:a16="http://schemas.microsoft.com/office/drawing/2014/main" id="{72671D2E-173A-430A-BC6F-6C114718D433}"/>
                </a:ext>
              </a:extLst>
            </p:cNvPr>
            <p:cNvSpPr>
              <a:spLocks/>
            </p:cNvSpPr>
            <p:nvPr/>
          </p:nvSpPr>
          <p:spPr bwMode="auto">
            <a:xfrm>
              <a:off x="8211344" y="2722336"/>
              <a:ext cx="919162" cy="1039812"/>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1" name="Ireland">
              <a:extLst>
                <a:ext uri="{FF2B5EF4-FFF2-40B4-BE49-F238E27FC236}">
                  <a16:creationId xmlns:a16="http://schemas.microsoft.com/office/drawing/2014/main" id="{79F85EB5-4B9D-405C-9DC0-AF19CB0CE35A}"/>
                </a:ext>
              </a:extLst>
            </p:cNvPr>
            <p:cNvSpPr>
              <a:spLocks/>
            </p:cNvSpPr>
            <p:nvPr/>
          </p:nvSpPr>
          <p:spPr bwMode="auto">
            <a:xfrm>
              <a:off x="5711031" y="1998437"/>
              <a:ext cx="114300" cy="123825"/>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2" name="Iran">
              <a:extLst>
                <a:ext uri="{FF2B5EF4-FFF2-40B4-BE49-F238E27FC236}">
                  <a16:creationId xmlns:a16="http://schemas.microsoft.com/office/drawing/2014/main" id="{CF15BA7C-05F7-4CDE-9E93-6794A6BB2A0B}"/>
                </a:ext>
              </a:extLst>
            </p:cNvPr>
            <p:cNvSpPr>
              <a:spLocks/>
            </p:cNvSpPr>
            <p:nvPr/>
          </p:nvSpPr>
          <p:spPr bwMode="auto">
            <a:xfrm>
              <a:off x="7354094" y="2560412"/>
              <a:ext cx="685800" cy="555625"/>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3" name="Irak">
              <a:extLst>
                <a:ext uri="{FF2B5EF4-FFF2-40B4-BE49-F238E27FC236}">
                  <a16:creationId xmlns:a16="http://schemas.microsoft.com/office/drawing/2014/main" id="{BCA13BC6-56F7-42D9-9903-311FC7104424}"/>
                </a:ext>
              </a:extLst>
            </p:cNvPr>
            <p:cNvSpPr>
              <a:spLocks/>
            </p:cNvSpPr>
            <p:nvPr/>
          </p:nvSpPr>
          <p:spPr bwMode="auto">
            <a:xfrm>
              <a:off x="7222331" y="2650899"/>
              <a:ext cx="327025" cy="312738"/>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4" name="Iceland">
              <a:extLst>
                <a:ext uri="{FF2B5EF4-FFF2-40B4-BE49-F238E27FC236}">
                  <a16:creationId xmlns:a16="http://schemas.microsoft.com/office/drawing/2014/main" id="{8407C429-1C25-40E0-A812-CD8E7C50B146}"/>
                </a:ext>
              </a:extLst>
            </p:cNvPr>
            <p:cNvSpPr>
              <a:spLocks/>
            </p:cNvSpPr>
            <p:nvPr/>
          </p:nvSpPr>
          <p:spPr bwMode="auto">
            <a:xfrm>
              <a:off x="5384006" y="1607911"/>
              <a:ext cx="268287" cy="100013"/>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5" name="Israel">
              <a:extLst>
                <a:ext uri="{FF2B5EF4-FFF2-40B4-BE49-F238E27FC236}">
                  <a16:creationId xmlns:a16="http://schemas.microsoft.com/office/drawing/2014/main" id="{F074F213-2502-40BA-8E17-72AA4E035DA8}"/>
                </a:ext>
              </a:extLst>
            </p:cNvPr>
            <p:cNvSpPr>
              <a:spLocks/>
            </p:cNvSpPr>
            <p:nvPr/>
          </p:nvSpPr>
          <p:spPr bwMode="auto">
            <a:xfrm>
              <a:off x="7087394" y="2806473"/>
              <a:ext cx="42862" cy="142875"/>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6" name="Italy">
              <a:extLst>
                <a:ext uri="{FF2B5EF4-FFF2-40B4-BE49-F238E27FC236}">
                  <a16:creationId xmlns:a16="http://schemas.microsoft.com/office/drawing/2014/main" id="{E9EF09EE-E8F4-4408-88D2-DE09ECCEB85C}"/>
                </a:ext>
              </a:extLst>
            </p:cNvPr>
            <p:cNvSpPr>
              <a:spLocks noEditPoints="1"/>
            </p:cNvSpPr>
            <p:nvPr/>
          </p:nvSpPr>
          <p:spPr bwMode="auto">
            <a:xfrm>
              <a:off x="6196806" y="2290536"/>
              <a:ext cx="365125" cy="388938"/>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7" name="Jamaica">
              <a:extLst>
                <a:ext uri="{FF2B5EF4-FFF2-40B4-BE49-F238E27FC236}">
                  <a16:creationId xmlns:a16="http://schemas.microsoft.com/office/drawing/2014/main" id="{9A62EB9B-F2F7-4F22-A49A-A38412D859D8}"/>
                </a:ext>
              </a:extLst>
            </p:cNvPr>
            <p:cNvSpPr>
              <a:spLocks/>
            </p:cNvSpPr>
            <p:nvPr/>
          </p:nvSpPr>
          <p:spPr bwMode="auto">
            <a:xfrm>
              <a:off x="3425031" y="3363686"/>
              <a:ext cx="66675" cy="30163"/>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8" name="Jordan">
              <a:extLst>
                <a:ext uri="{FF2B5EF4-FFF2-40B4-BE49-F238E27FC236}">
                  <a16:creationId xmlns:a16="http://schemas.microsoft.com/office/drawing/2014/main" id="{6D731DA1-0CEE-4B3F-A95C-33CC6A8EA4D9}"/>
                </a:ext>
              </a:extLst>
            </p:cNvPr>
            <p:cNvSpPr>
              <a:spLocks/>
            </p:cNvSpPr>
            <p:nvPr/>
          </p:nvSpPr>
          <p:spPr bwMode="auto">
            <a:xfrm>
              <a:off x="7114381" y="2804887"/>
              <a:ext cx="125412" cy="157163"/>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9" name="Japan">
              <a:extLst>
                <a:ext uri="{FF2B5EF4-FFF2-40B4-BE49-F238E27FC236}">
                  <a16:creationId xmlns:a16="http://schemas.microsoft.com/office/drawing/2014/main" id="{125CFB5B-4A00-4317-A9A3-6BC1D9A526BB}"/>
                </a:ext>
              </a:extLst>
            </p:cNvPr>
            <p:cNvSpPr>
              <a:spLocks noEditPoints="1"/>
            </p:cNvSpPr>
            <p:nvPr/>
          </p:nvSpPr>
          <p:spPr bwMode="auto">
            <a:xfrm>
              <a:off x="10087769" y="2347686"/>
              <a:ext cx="314325" cy="544513"/>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0" name="Kazakhstan">
              <a:extLst>
                <a:ext uri="{FF2B5EF4-FFF2-40B4-BE49-F238E27FC236}">
                  <a16:creationId xmlns:a16="http://schemas.microsoft.com/office/drawing/2014/main" id="{408C671D-1DDB-4E81-808C-E662448F5873}"/>
                </a:ext>
              </a:extLst>
            </p:cNvPr>
            <p:cNvSpPr>
              <a:spLocks/>
            </p:cNvSpPr>
            <p:nvPr/>
          </p:nvSpPr>
          <p:spPr bwMode="auto">
            <a:xfrm>
              <a:off x="7354094" y="1988911"/>
              <a:ext cx="1181100" cy="536575"/>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1" name="Kenya">
              <a:extLst>
                <a:ext uri="{FF2B5EF4-FFF2-40B4-BE49-F238E27FC236}">
                  <a16:creationId xmlns:a16="http://schemas.microsoft.com/office/drawing/2014/main" id="{AD884B8C-4A50-4AC4-AD4B-924979B34890}"/>
                </a:ext>
              </a:extLst>
            </p:cNvPr>
            <p:cNvSpPr>
              <a:spLocks/>
            </p:cNvSpPr>
            <p:nvPr/>
          </p:nvSpPr>
          <p:spPr bwMode="auto">
            <a:xfrm>
              <a:off x="7125494" y="3854223"/>
              <a:ext cx="263525" cy="384175"/>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2" name="Kyrgyzstan">
              <a:extLst>
                <a:ext uri="{FF2B5EF4-FFF2-40B4-BE49-F238E27FC236}">
                  <a16:creationId xmlns:a16="http://schemas.microsoft.com/office/drawing/2014/main" id="{AA5AE6DD-6ADC-4956-8341-B3B6ABECC48A}"/>
                </a:ext>
              </a:extLst>
            </p:cNvPr>
            <p:cNvSpPr>
              <a:spLocks/>
            </p:cNvSpPr>
            <p:nvPr/>
          </p:nvSpPr>
          <p:spPr bwMode="auto">
            <a:xfrm>
              <a:off x="8130381" y="2428648"/>
              <a:ext cx="300037" cy="149225"/>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3" name="Cambodia">
              <a:extLst>
                <a:ext uri="{FF2B5EF4-FFF2-40B4-BE49-F238E27FC236}">
                  <a16:creationId xmlns:a16="http://schemas.microsoft.com/office/drawing/2014/main" id="{A0C23A42-3100-4563-9479-63C479549D58}"/>
                </a:ext>
              </a:extLst>
            </p:cNvPr>
            <p:cNvSpPr>
              <a:spLocks/>
            </p:cNvSpPr>
            <p:nvPr/>
          </p:nvSpPr>
          <p:spPr bwMode="auto">
            <a:xfrm>
              <a:off x="9378156" y="3512911"/>
              <a:ext cx="174625" cy="153988"/>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4" name="South Korea">
              <a:extLst>
                <a:ext uri="{FF2B5EF4-FFF2-40B4-BE49-F238E27FC236}">
                  <a16:creationId xmlns:a16="http://schemas.microsoft.com/office/drawing/2014/main" id="{4DF0DDA4-A3EB-495F-A1E6-A706A190DA09}"/>
                </a:ext>
              </a:extLst>
            </p:cNvPr>
            <p:cNvSpPr>
              <a:spLocks/>
            </p:cNvSpPr>
            <p:nvPr/>
          </p:nvSpPr>
          <p:spPr bwMode="auto">
            <a:xfrm>
              <a:off x="9911556" y="2603274"/>
              <a:ext cx="141287" cy="161925"/>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5" name="Kuwait">
              <a:extLst>
                <a:ext uri="{FF2B5EF4-FFF2-40B4-BE49-F238E27FC236}">
                  <a16:creationId xmlns:a16="http://schemas.microsoft.com/office/drawing/2014/main" id="{AE70ABE9-9266-4C26-B284-C9E747450803}"/>
                </a:ext>
              </a:extLst>
            </p:cNvPr>
            <p:cNvSpPr>
              <a:spLocks/>
            </p:cNvSpPr>
            <p:nvPr/>
          </p:nvSpPr>
          <p:spPr bwMode="auto">
            <a:xfrm>
              <a:off x="7490619" y="2928712"/>
              <a:ext cx="60325" cy="57150"/>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6" name="Laos">
              <a:extLst>
                <a:ext uri="{FF2B5EF4-FFF2-40B4-BE49-F238E27FC236}">
                  <a16:creationId xmlns:a16="http://schemas.microsoft.com/office/drawing/2014/main" id="{C100C32C-4F32-4433-A2E7-4FF6D17572F4}"/>
                </a:ext>
              </a:extLst>
            </p:cNvPr>
            <p:cNvSpPr>
              <a:spLocks/>
            </p:cNvSpPr>
            <p:nvPr/>
          </p:nvSpPr>
          <p:spPr bwMode="auto">
            <a:xfrm>
              <a:off x="9270206" y="3214461"/>
              <a:ext cx="273050" cy="323850"/>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7" name="Lebanon">
              <a:extLst>
                <a:ext uri="{FF2B5EF4-FFF2-40B4-BE49-F238E27FC236}">
                  <a16:creationId xmlns:a16="http://schemas.microsoft.com/office/drawing/2014/main" id="{CD04502C-2344-462B-982D-CA2A1F4ED649}"/>
                </a:ext>
              </a:extLst>
            </p:cNvPr>
            <p:cNvSpPr>
              <a:spLocks/>
            </p:cNvSpPr>
            <p:nvPr/>
          </p:nvSpPr>
          <p:spPr bwMode="auto">
            <a:xfrm>
              <a:off x="7108031" y="2755673"/>
              <a:ext cx="41275" cy="58738"/>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8" name="Liberia">
              <a:extLst>
                <a:ext uri="{FF2B5EF4-FFF2-40B4-BE49-F238E27FC236}">
                  <a16:creationId xmlns:a16="http://schemas.microsoft.com/office/drawing/2014/main" id="{9ECA5B3A-0C9A-4F35-A553-EFB9C361EE55}"/>
                </a:ext>
              </a:extLst>
            </p:cNvPr>
            <p:cNvSpPr>
              <a:spLocks/>
            </p:cNvSpPr>
            <p:nvPr/>
          </p:nvSpPr>
          <p:spPr bwMode="auto">
            <a:xfrm>
              <a:off x="5614194" y="3739923"/>
              <a:ext cx="131762" cy="158750"/>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9" name="Libya">
              <a:extLst>
                <a:ext uri="{FF2B5EF4-FFF2-40B4-BE49-F238E27FC236}">
                  <a16:creationId xmlns:a16="http://schemas.microsoft.com/office/drawing/2014/main" id="{602DAD99-8485-4741-8A36-C472A970BDBD}"/>
                </a:ext>
              </a:extLst>
            </p:cNvPr>
            <p:cNvSpPr>
              <a:spLocks/>
            </p:cNvSpPr>
            <p:nvPr/>
          </p:nvSpPr>
          <p:spPr bwMode="auto">
            <a:xfrm>
              <a:off x="6296819" y="2812823"/>
              <a:ext cx="517525" cy="509588"/>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0" name="Sri Lanka">
              <a:extLst>
                <a:ext uri="{FF2B5EF4-FFF2-40B4-BE49-F238E27FC236}">
                  <a16:creationId xmlns:a16="http://schemas.microsoft.com/office/drawing/2014/main" id="{CF772D5B-300C-4E77-A87F-6ADF894AE130}"/>
                </a:ext>
              </a:extLst>
            </p:cNvPr>
            <p:cNvSpPr>
              <a:spLocks/>
            </p:cNvSpPr>
            <p:nvPr/>
          </p:nvSpPr>
          <p:spPr bwMode="auto">
            <a:xfrm>
              <a:off x="8643144" y="3692298"/>
              <a:ext cx="69850" cy="144463"/>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1" name="Lesotho">
              <a:extLst>
                <a:ext uri="{FF2B5EF4-FFF2-40B4-BE49-F238E27FC236}">
                  <a16:creationId xmlns:a16="http://schemas.microsoft.com/office/drawing/2014/main" id="{B8F82431-8697-4F17-B987-F4A8FC3E60BF}"/>
                </a:ext>
              </a:extLst>
            </p:cNvPr>
            <p:cNvSpPr>
              <a:spLocks/>
            </p:cNvSpPr>
            <p:nvPr/>
          </p:nvSpPr>
          <p:spPr bwMode="auto">
            <a:xfrm>
              <a:off x="6860381" y="5143272"/>
              <a:ext cx="74612" cy="74613"/>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2" name="Lithuania">
              <a:extLst>
                <a:ext uri="{FF2B5EF4-FFF2-40B4-BE49-F238E27FC236}">
                  <a16:creationId xmlns:a16="http://schemas.microsoft.com/office/drawing/2014/main" id="{061E50BE-8262-4185-9DC0-C2FB452481A4}"/>
                </a:ext>
              </a:extLst>
            </p:cNvPr>
            <p:cNvSpPr>
              <a:spLocks/>
            </p:cNvSpPr>
            <p:nvPr/>
          </p:nvSpPr>
          <p:spPr bwMode="auto">
            <a:xfrm>
              <a:off x="6576219" y="1953987"/>
              <a:ext cx="157162" cy="88900"/>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3" name="Luxembourg">
              <a:extLst>
                <a:ext uri="{FF2B5EF4-FFF2-40B4-BE49-F238E27FC236}">
                  <a16:creationId xmlns:a16="http://schemas.microsoft.com/office/drawing/2014/main" id="{0ED5905E-8F1E-4DFD-A757-EA4BCE29CC58}"/>
                </a:ext>
              </a:extLst>
            </p:cNvPr>
            <p:cNvSpPr>
              <a:spLocks/>
            </p:cNvSpPr>
            <p:nvPr/>
          </p:nvSpPr>
          <p:spPr bwMode="auto">
            <a:xfrm>
              <a:off x="6160294" y="2179411"/>
              <a:ext cx="15875" cy="23813"/>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4" name="Latvia">
              <a:extLst>
                <a:ext uri="{FF2B5EF4-FFF2-40B4-BE49-F238E27FC236}">
                  <a16:creationId xmlns:a16="http://schemas.microsoft.com/office/drawing/2014/main" id="{7CB75E75-A9B1-47D6-AADB-6BC575CD1469}"/>
                </a:ext>
              </a:extLst>
            </p:cNvPr>
            <p:cNvSpPr>
              <a:spLocks/>
            </p:cNvSpPr>
            <p:nvPr/>
          </p:nvSpPr>
          <p:spPr bwMode="auto">
            <a:xfrm>
              <a:off x="6574631" y="1898423"/>
              <a:ext cx="196850" cy="82550"/>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5" name="Marocco">
              <a:extLst>
                <a:ext uri="{FF2B5EF4-FFF2-40B4-BE49-F238E27FC236}">
                  <a16:creationId xmlns:a16="http://schemas.microsoft.com/office/drawing/2014/main" id="{4605B5D5-950C-4889-ABCA-2050A5BF0C41}"/>
                </a:ext>
              </a:extLst>
            </p:cNvPr>
            <p:cNvSpPr>
              <a:spLocks/>
            </p:cNvSpPr>
            <p:nvPr/>
          </p:nvSpPr>
          <p:spPr bwMode="auto">
            <a:xfrm>
              <a:off x="5439569" y="2712811"/>
              <a:ext cx="520700" cy="541338"/>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6" name="Moldova">
              <a:extLst>
                <a:ext uri="{FF2B5EF4-FFF2-40B4-BE49-F238E27FC236}">
                  <a16:creationId xmlns:a16="http://schemas.microsoft.com/office/drawing/2014/main" id="{F841D913-7905-4F48-9B4B-DD3A6861B8CA}"/>
                </a:ext>
              </a:extLst>
            </p:cNvPr>
            <p:cNvSpPr>
              <a:spLocks/>
            </p:cNvSpPr>
            <p:nvPr/>
          </p:nvSpPr>
          <p:spPr bwMode="auto">
            <a:xfrm>
              <a:off x="6774656" y="2239736"/>
              <a:ext cx="109537" cy="109538"/>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7" name="Madagascar">
              <a:extLst>
                <a:ext uri="{FF2B5EF4-FFF2-40B4-BE49-F238E27FC236}">
                  <a16:creationId xmlns:a16="http://schemas.microsoft.com/office/drawing/2014/main" id="{806676B5-4B77-40F9-A7AD-A10E50EA7A7A}"/>
                </a:ext>
              </a:extLst>
            </p:cNvPr>
            <p:cNvSpPr>
              <a:spLocks/>
            </p:cNvSpPr>
            <p:nvPr/>
          </p:nvSpPr>
          <p:spPr bwMode="auto">
            <a:xfrm>
              <a:off x="7404894" y="4516211"/>
              <a:ext cx="255587" cy="511175"/>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8" name="Mexico">
              <a:extLst>
                <a:ext uri="{FF2B5EF4-FFF2-40B4-BE49-F238E27FC236}">
                  <a16:creationId xmlns:a16="http://schemas.microsoft.com/office/drawing/2014/main" id="{96C7576E-F53C-4085-B831-A2301BB76086}"/>
                </a:ext>
              </a:extLst>
            </p:cNvPr>
            <p:cNvSpPr>
              <a:spLocks/>
            </p:cNvSpPr>
            <p:nvPr/>
          </p:nvSpPr>
          <p:spPr bwMode="auto">
            <a:xfrm>
              <a:off x="2282031" y="2828698"/>
              <a:ext cx="877887" cy="685800"/>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9" name="Macedonia">
              <a:extLst>
                <a:ext uri="{FF2B5EF4-FFF2-40B4-BE49-F238E27FC236}">
                  <a16:creationId xmlns:a16="http://schemas.microsoft.com/office/drawing/2014/main" id="{2C4595C7-3EE4-4CC9-A52A-226C01AC10B6}"/>
                </a:ext>
              </a:extLst>
            </p:cNvPr>
            <p:cNvSpPr>
              <a:spLocks/>
            </p:cNvSpPr>
            <p:nvPr/>
          </p:nvSpPr>
          <p:spPr bwMode="auto">
            <a:xfrm>
              <a:off x="6620669" y="2465161"/>
              <a:ext cx="74612" cy="53975"/>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0" name="Malia">
              <a:extLst>
                <a:ext uri="{FF2B5EF4-FFF2-40B4-BE49-F238E27FC236}">
                  <a16:creationId xmlns:a16="http://schemas.microsoft.com/office/drawing/2014/main" id="{0DC5F050-803D-4FEE-829E-BD0BA6AFCBCF}"/>
                </a:ext>
              </a:extLst>
            </p:cNvPr>
            <p:cNvSpPr>
              <a:spLocks/>
            </p:cNvSpPr>
            <p:nvPr/>
          </p:nvSpPr>
          <p:spPr bwMode="auto">
            <a:xfrm>
              <a:off x="5593556" y="3119212"/>
              <a:ext cx="542925" cy="561975"/>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1" name="Myanmar">
              <a:extLst>
                <a:ext uri="{FF2B5EF4-FFF2-40B4-BE49-F238E27FC236}">
                  <a16:creationId xmlns:a16="http://schemas.microsoft.com/office/drawing/2014/main" id="{B8E3D1B5-56D8-4945-A511-8DB2F8E9DAEA}"/>
                </a:ext>
              </a:extLst>
            </p:cNvPr>
            <p:cNvSpPr>
              <a:spLocks/>
            </p:cNvSpPr>
            <p:nvPr/>
          </p:nvSpPr>
          <p:spPr bwMode="auto">
            <a:xfrm>
              <a:off x="9009856" y="2993798"/>
              <a:ext cx="290512" cy="693738"/>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2" name="Montenegro">
              <a:extLst>
                <a:ext uri="{FF2B5EF4-FFF2-40B4-BE49-F238E27FC236}">
                  <a16:creationId xmlns:a16="http://schemas.microsoft.com/office/drawing/2014/main" id="{D18CCF01-9B6A-478E-8B43-27C6C98FDE3B}"/>
                </a:ext>
              </a:extLst>
            </p:cNvPr>
            <p:cNvSpPr>
              <a:spLocks/>
            </p:cNvSpPr>
            <p:nvPr/>
          </p:nvSpPr>
          <p:spPr bwMode="auto">
            <a:xfrm>
              <a:off x="6553994" y="2422299"/>
              <a:ext cx="57150" cy="58738"/>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3" name="Mongolia">
              <a:extLst>
                <a:ext uri="{FF2B5EF4-FFF2-40B4-BE49-F238E27FC236}">
                  <a16:creationId xmlns:a16="http://schemas.microsoft.com/office/drawing/2014/main" id="{74BFEA06-FD4E-432D-B855-78A433FE7B21}"/>
                </a:ext>
              </a:extLst>
            </p:cNvPr>
            <p:cNvSpPr>
              <a:spLocks/>
            </p:cNvSpPr>
            <p:nvPr/>
          </p:nvSpPr>
          <p:spPr bwMode="auto">
            <a:xfrm>
              <a:off x="8544719" y="2109561"/>
              <a:ext cx="987425" cy="382588"/>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4" name="Mozambique">
              <a:extLst>
                <a:ext uri="{FF2B5EF4-FFF2-40B4-BE49-F238E27FC236}">
                  <a16:creationId xmlns:a16="http://schemas.microsoft.com/office/drawing/2014/main" id="{581E95E6-3AE8-44F1-800B-403EE068A44E}"/>
                </a:ext>
              </a:extLst>
            </p:cNvPr>
            <p:cNvSpPr>
              <a:spLocks/>
            </p:cNvSpPr>
            <p:nvPr/>
          </p:nvSpPr>
          <p:spPr bwMode="auto">
            <a:xfrm>
              <a:off x="6992144" y="4451122"/>
              <a:ext cx="349250" cy="619125"/>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5" name="Mauritania">
              <a:extLst>
                <a:ext uri="{FF2B5EF4-FFF2-40B4-BE49-F238E27FC236}">
                  <a16:creationId xmlns:a16="http://schemas.microsoft.com/office/drawing/2014/main" id="{4D60DA65-7BE0-4CD8-99AF-6E5D3E926C71}"/>
                </a:ext>
              </a:extLst>
            </p:cNvPr>
            <p:cNvSpPr>
              <a:spLocks/>
            </p:cNvSpPr>
            <p:nvPr/>
          </p:nvSpPr>
          <p:spPr bwMode="auto">
            <a:xfrm>
              <a:off x="5437981" y="3028724"/>
              <a:ext cx="398462" cy="48260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6" name="Malawi">
              <a:extLst>
                <a:ext uri="{FF2B5EF4-FFF2-40B4-BE49-F238E27FC236}">
                  <a16:creationId xmlns:a16="http://schemas.microsoft.com/office/drawing/2014/main" id="{E48DC04B-54C5-4A6F-A172-D1A2211DA489}"/>
                </a:ext>
              </a:extLst>
            </p:cNvPr>
            <p:cNvSpPr>
              <a:spLocks/>
            </p:cNvSpPr>
            <p:nvPr/>
          </p:nvSpPr>
          <p:spPr bwMode="auto">
            <a:xfrm>
              <a:off x="7076281" y="4411435"/>
              <a:ext cx="98425" cy="284163"/>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7" name="Malaysia">
              <a:extLst>
                <a:ext uri="{FF2B5EF4-FFF2-40B4-BE49-F238E27FC236}">
                  <a16:creationId xmlns:a16="http://schemas.microsoft.com/office/drawing/2014/main" id="{00AA2E9D-82AE-4289-A900-38F897EE988B}"/>
                </a:ext>
              </a:extLst>
            </p:cNvPr>
            <p:cNvSpPr>
              <a:spLocks noEditPoints="1"/>
            </p:cNvSpPr>
            <p:nvPr/>
          </p:nvSpPr>
          <p:spPr bwMode="auto">
            <a:xfrm>
              <a:off x="9324181" y="3800248"/>
              <a:ext cx="636587" cy="233363"/>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8" name="Namibia">
              <a:extLst>
                <a:ext uri="{FF2B5EF4-FFF2-40B4-BE49-F238E27FC236}">
                  <a16:creationId xmlns:a16="http://schemas.microsoft.com/office/drawing/2014/main" id="{D1D0D99F-A874-4B42-94D7-ECDED73D6D93}"/>
                </a:ext>
              </a:extLst>
            </p:cNvPr>
            <p:cNvSpPr>
              <a:spLocks/>
            </p:cNvSpPr>
            <p:nvPr/>
          </p:nvSpPr>
          <p:spPr bwMode="auto">
            <a:xfrm>
              <a:off x="6380956" y="4701947"/>
              <a:ext cx="439737" cy="455613"/>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9" name="Niger">
              <a:extLst>
                <a:ext uri="{FF2B5EF4-FFF2-40B4-BE49-F238E27FC236}">
                  <a16:creationId xmlns:a16="http://schemas.microsoft.com/office/drawing/2014/main" id="{FF5F4357-1112-4988-A15C-0BEA0B329666}"/>
                </a:ext>
              </a:extLst>
            </p:cNvPr>
            <p:cNvSpPr>
              <a:spLocks/>
            </p:cNvSpPr>
            <p:nvPr/>
          </p:nvSpPr>
          <p:spPr bwMode="auto">
            <a:xfrm>
              <a:off x="6004719" y="3176361"/>
              <a:ext cx="511175" cy="446088"/>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0" name="Nigeria">
              <a:extLst>
                <a:ext uri="{FF2B5EF4-FFF2-40B4-BE49-F238E27FC236}">
                  <a16:creationId xmlns:a16="http://schemas.microsoft.com/office/drawing/2014/main" id="{16770B8F-829D-4C6F-9ACE-CA59EDE5CF7A}"/>
                </a:ext>
              </a:extLst>
            </p:cNvPr>
            <p:cNvSpPr>
              <a:spLocks/>
            </p:cNvSpPr>
            <p:nvPr/>
          </p:nvSpPr>
          <p:spPr bwMode="auto">
            <a:xfrm>
              <a:off x="6084094" y="3539898"/>
              <a:ext cx="393700" cy="361950"/>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1" name="Nicaragua">
              <a:extLst>
                <a:ext uri="{FF2B5EF4-FFF2-40B4-BE49-F238E27FC236}">
                  <a16:creationId xmlns:a16="http://schemas.microsoft.com/office/drawing/2014/main" id="{B5ECECF8-E74A-457E-9A7D-9AEAFCE4F410}"/>
                </a:ext>
              </a:extLst>
            </p:cNvPr>
            <p:cNvSpPr>
              <a:spLocks/>
            </p:cNvSpPr>
            <p:nvPr/>
          </p:nvSpPr>
          <p:spPr bwMode="auto">
            <a:xfrm>
              <a:off x="3094831" y="3495448"/>
              <a:ext cx="157162" cy="161925"/>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2" name="Netherlands">
              <a:extLst>
                <a:ext uri="{FF2B5EF4-FFF2-40B4-BE49-F238E27FC236}">
                  <a16:creationId xmlns:a16="http://schemas.microsoft.com/office/drawing/2014/main" id="{81D251BC-1FBF-4E63-8743-5768E0C9FC14}"/>
                </a:ext>
              </a:extLst>
            </p:cNvPr>
            <p:cNvSpPr>
              <a:spLocks/>
            </p:cNvSpPr>
            <p:nvPr/>
          </p:nvSpPr>
          <p:spPr bwMode="auto">
            <a:xfrm>
              <a:off x="6090444" y="2055587"/>
              <a:ext cx="104775" cy="98425"/>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3" name="Norway">
              <a:extLst>
                <a:ext uri="{FF2B5EF4-FFF2-40B4-BE49-F238E27FC236}">
                  <a16:creationId xmlns:a16="http://schemas.microsoft.com/office/drawing/2014/main" id="{244D0AD5-3918-45A0-8946-8CDC87E2332E}"/>
                </a:ext>
              </a:extLst>
            </p:cNvPr>
            <p:cNvSpPr>
              <a:spLocks noEditPoints="1"/>
            </p:cNvSpPr>
            <p:nvPr/>
          </p:nvSpPr>
          <p:spPr bwMode="auto">
            <a:xfrm>
              <a:off x="6126956" y="1188812"/>
              <a:ext cx="617537" cy="704849"/>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4" name="New Zealand">
              <a:extLst>
                <a:ext uri="{FF2B5EF4-FFF2-40B4-BE49-F238E27FC236}">
                  <a16:creationId xmlns:a16="http://schemas.microsoft.com/office/drawing/2014/main" id="{7F301809-D368-476A-BB3C-09EAF4917E88}"/>
                </a:ext>
              </a:extLst>
            </p:cNvPr>
            <p:cNvSpPr>
              <a:spLocks noEditPoints="1"/>
            </p:cNvSpPr>
            <p:nvPr/>
          </p:nvSpPr>
          <p:spPr bwMode="auto">
            <a:xfrm>
              <a:off x="10935494" y="5360760"/>
              <a:ext cx="601662" cy="457200"/>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5" name="Nepal">
              <a:extLst>
                <a:ext uri="{FF2B5EF4-FFF2-40B4-BE49-F238E27FC236}">
                  <a16:creationId xmlns:a16="http://schemas.microsoft.com/office/drawing/2014/main" id="{49DE3D80-4FFE-4CCF-A506-0E97B88C2F34}"/>
                </a:ext>
              </a:extLst>
            </p:cNvPr>
            <p:cNvSpPr>
              <a:spLocks/>
            </p:cNvSpPr>
            <p:nvPr/>
          </p:nvSpPr>
          <p:spPr bwMode="auto">
            <a:xfrm>
              <a:off x="8566944" y="2914424"/>
              <a:ext cx="274637" cy="152400"/>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6" name="Oman">
              <a:extLst>
                <a:ext uri="{FF2B5EF4-FFF2-40B4-BE49-F238E27FC236}">
                  <a16:creationId xmlns:a16="http://schemas.microsoft.com/office/drawing/2014/main" id="{19C99AC2-910D-4389-BFBF-F1AC5DE653E1}"/>
                </a:ext>
              </a:extLst>
            </p:cNvPr>
            <p:cNvSpPr>
              <a:spLocks noEditPoints="1"/>
            </p:cNvSpPr>
            <p:nvPr/>
          </p:nvSpPr>
          <p:spPr bwMode="auto">
            <a:xfrm>
              <a:off x="7700169" y="3066823"/>
              <a:ext cx="244475" cy="366712"/>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7" name="Pakistan">
              <a:extLst>
                <a:ext uri="{FF2B5EF4-FFF2-40B4-BE49-F238E27FC236}">
                  <a16:creationId xmlns:a16="http://schemas.microsoft.com/office/drawing/2014/main" id="{D89CE344-9962-4E1E-B583-DDEDDB092C5B}"/>
                </a:ext>
              </a:extLst>
            </p:cNvPr>
            <p:cNvSpPr>
              <a:spLocks/>
            </p:cNvSpPr>
            <p:nvPr/>
          </p:nvSpPr>
          <p:spPr bwMode="auto">
            <a:xfrm>
              <a:off x="7943056" y="2660424"/>
              <a:ext cx="492125" cy="508000"/>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8" name="Panama">
              <a:extLst>
                <a:ext uri="{FF2B5EF4-FFF2-40B4-BE49-F238E27FC236}">
                  <a16:creationId xmlns:a16="http://schemas.microsoft.com/office/drawing/2014/main" id="{205110EC-AB65-4541-B5B3-8E718FF95FB5}"/>
                </a:ext>
              </a:extLst>
            </p:cNvPr>
            <p:cNvSpPr>
              <a:spLocks/>
            </p:cNvSpPr>
            <p:nvPr/>
          </p:nvSpPr>
          <p:spPr bwMode="auto">
            <a:xfrm>
              <a:off x="3240881" y="3700236"/>
              <a:ext cx="188912" cy="90488"/>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9" name="Peru">
              <a:extLst>
                <a:ext uri="{FF2B5EF4-FFF2-40B4-BE49-F238E27FC236}">
                  <a16:creationId xmlns:a16="http://schemas.microsoft.com/office/drawing/2014/main" id="{7A4923D2-F8A5-4EB6-8EEE-7B9C03F2DE12}"/>
                </a:ext>
              </a:extLst>
            </p:cNvPr>
            <p:cNvSpPr>
              <a:spLocks/>
            </p:cNvSpPr>
            <p:nvPr/>
          </p:nvSpPr>
          <p:spPr bwMode="auto">
            <a:xfrm>
              <a:off x="3286919" y="4063773"/>
              <a:ext cx="438150" cy="690563"/>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0" name="The Philippines">
              <a:extLst>
                <a:ext uri="{FF2B5EF4-FFF2-40B4-BE49-F238E27FC236}">
                  <a16:creationId xmlns:a16="http://schemas.microsoft.com/office/drawing/2014/main" id="{87EC1A21-24A9-492D-9B99-5B1E3AB12B67}"/>
                </a:ext>
              </a:extLst>
            </p:cNvPr>
            <p:cNvSpPr>
              <a:spLocks noEditPoints="1"/>
            </p:cNvSpPr>
            <p:nvPr/>
          </p:nvSpPr>
          <p:spPr bwMode="auto">
            <a:xfrm>
              <a:off x="9886156" y="3365273"/>
              <a:ext cx="314325" cy="487363"/>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1" name="Papua New Guinea">
              <a:extLst>
                <a:ext uri="{FF2B5EF4-FFF2-40B4-BE49-F238E27FC236}">
                  <a16:creationId xmlns:a16="http://schemas.microsoft.com/office/drawing/2014/main" id="{BB10E782-692E-4B19-984E-9EF4A89DF22C}"/>
                </a:ext>
              </a:extLst>
            </p:cNvPr>
            <p:cNvSpPr>
              <a:spLocks noEditPoints="1"/>
            </p:cNvSpPr>
            <p:nvPr/>
          </p:nvSpPr>
          <p:spPr bwMode="auto">
            <a:xfrm>
              <a:off x="10676731" y="4155848"/>
              <a:ext cx="504825" cy="307975"/>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2" name="Poland">
              <a:extLst>
                <a:ext uri="{FF2B5EF4-FFF2-40B4-BE49-F238E27FC236}">
                  <a16:creationId xmlns:a16="http://schemas.microsoft.com/office/drawing/2014/main" id="{BBA62AF0-6A2F-481D-BB47-141F4439E3D1}"/>
                </a:ext>
              </a:extLst>
            </p:cNvPr>
            <p:cNvSpPr>
              <a:spLocks/>
            </p:cNvSpPr>
            <p:nvPr/>
          </p:nvSpPr>
          <p:spPr bwMode="auto">
            <a:xfrm>
              <a:off x="6392069" y="2007962"/>
              <a:ext cx="295275" cy="211138"/>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3" name="North Korea">
              <a:extLst>
                <a:ext uri="{FF2B5EF4-FFF2-40B4-BE49-F238E27FC236}">
                  <a16:creationId xmlns:a16="http://schemas.microsoft.com/office/drawing/2014/main" id="{D94127A5-0347-4CCC-B3FE-295D5D1DC31C}"/>
                </a:ext>
              </a:extLst>
            </p:cNvPr>
            <p:cNvSpPr>
              <a:spLocks/>
            </p:cNvSpPr>
            <p:nvPr/>
          </p:nvSpPr>
          <p:spPr bwMode="auto">
            <a:xfrm>
              <a:off x="9813131" y="2441348"/>
              <a:ext cx="150812" cy="198438"/>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4" name="Portugal">
              <a:extLst>
                <a:ext uri="{FF2B5EF4-FFF2-40B4-BE49-F238E27FC236}">
                  <a16:creationId xmlns:a16="http://schemas.microsoft.com/office/drawing/2014/main" id="{65104AC5-AFE5-4876-B6CD-872E81F78603}"/>
                </a:ext>
              </a:extLst>
            </p:cNvPr>
            <p:cNvSpPr>
              <a:spLocks/>
            </p:cNvSpPr>
            <p:nvPr/>
          </p:nvSpPr>
          <p:spPr bwMode="auto">
            <a:xfrm>
              <a:off x="5701506" y="2466749"/>
              <a:ext cx="98425" cy="204788"/>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5" name="Paraguay">
              <a:extLst>
                <a:ext uri="{FF2B5EF4-FFF2-40B4-BE49-F238E27FC236}">
                  <a16:creationId xmlns:a16="http://schemas.microsoft.com/office/drawing/2014/main" id="{6155DBD2-4752-4F0B-887D-20D3ACEB45D0}"/>
                </a:ext>
              </a:extLst>
            </p:cNvPr>
            <p:cNvSpPr>
              <a:spLocks/>
            </p:cNvSpPr>
            <p:nvPr/>
          </p:nvSpPr>
          <p:spPr bwMode="auto">
            <a:xfrm>
              <a:off x="3952081" y="4792435"/>
              <a:ext cx="280987" cy="309562"/>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6" name="Cisjordania">
              <a:extLst>
                <a:ext uri="{FF2B5EF4-FFF2-40B4-BE49-F238E27FC236}">
                  <a16:creationId xmlns:a16="http://schemas.microsoft.com/office/drawing/2014/main" id="{389A95B7-F6DD-451F-BFAA-F80DD88C4F3F}"/>
                </a:ext>
              </a:extLst>
            </p:cNvPr>
            <p:cNvSpPr>
              <a:spLocks/>
            </p:cNvSpPr>
            <p:nvPr/>
          </p:nvSpPr>
          <p:spPr bwMode="auto">
            <a:xfrm>
              <a:off x="7108031" y="2835048"/>
              <a:ext cx="17462" cy="44450"/>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7" name="Bahrain">
              <a:extLst>
                <a:ext uri="{FF2B5EF4-FFF2-40B4-BE49-F238E27FC236}">
                  <a16:creationId xmlns:a16="http://schemas.microsoft.com/office/drawing/2014/main" id="{2C8C5162-FE89-49E1-82D4-8C32EE037DDE}"/>
                </a:ext>
              </a:extLst>
            </p:cNvPr>
            <p:cNvSpPr>
              <a:spLocks/>
            </p:cNvSpPr>
            <p:nvPr/>
          </p:nvSpPr>
          <p:spPr bwMode="auto">
            <a:xfrm>
              <a:off x="7639844" y="3076348"/>
              <a:ext cx="28575" cy="60325"/>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8" name="Romania">
              <a:extLst>
                <a:ext uri="{FF2B5EF4-FFF2-40B4-BE49-F238E27FC236}">
                  <a16:creationId xmlns:a16="http://schemas.microsoft.com/office/drawing/2014/main" id="{0C00FFBD-2F2C-4766-BCEA-EF1E2BEAE737}"/>
                </a:ext>
              </a:extLst>
            </p:cNvPr>
            <p:cNvSpPr>
              <a:spLocks/>
            </p:cNvSpPr>
            <p:nvPr/>
          </p:nvSpPr>
          <p:spPr bwMode="auto">
            <a:xfrm>
              <a:off x="6596856" y="2247673"/>
              <a:ext cx="284162" cy="168275"/>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9" name="Russia">
              <a:extLst>
                <a:ext uri="{FF2B5EF4-FFF2-40B4-BE49-F238E27FC236}">
                  <a16:creationId xmlns:a16="http://schemas.microsoft.com/office/drawing/2014/main" id="{E262E96C-B762-46D7-AA00-68F059C74918}"/>
                </a:ext>
              </a:extLst>
            </p:cNvPr>
            <p:cNvSpPr>
              <a:spLocks noEditPoints="1"/>
            </p:cNvSpPr>
            <p:nvPr/>
          </p:nvSpPr>
          <p:spPr bwMode="auto">
            <a:xfrm>
              <a:off x="6546056" y="1174525"/>
              <a:ext cx="4113212" cy="1333499"/>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0" name="Rwanda">
              <a:extLst>
                <a:ext uri="{FF2B5EF4-FFF2-40B4-BE49-F238E27FC236}">
                  <a16:creationId xmlns:a16="http://schemas.microsoft.com/office/drawing/2014/main" id="{D4506CDA-495F-4B1B-8E6A-E0474C4D3CF0}"/>
                </a:ext>
              </a:extLst>
            </p:cNvPr>
            <p:cNvSpPr>
              <a:spLocks/>
            </p:cNvSpPr>
            <p:nvPr/>
          </p:nvSpPr>
          <p:spPr bwMode="auto">
            <a:xfrm>
              <a:off x="6961981" y="4105049"/>
              <a:ext cx="60325" cy="66675"/>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1" name="Western Sahara">
              <a:extLst>
                <a:ext uri="{FF2B5EF4-FFF2-40B4-BE49-F238E27FC236}">
                  <a16:creationId xmlns:a16="http://schemas.microsoft.com/office/drawing/2014/main" id="{D1ABBC25-B123-44FD-AE94-20B6A2934CE3}"/>
                </a:ext>
              </a:extLst>
            </p:cNvPr>
            <p:cNvSpPr>
              <a:spLocks/>
            </p:cNvSpPr>
            <p:nvPr/>
          </p:nvSpPr>
          <p:spPr bwMode="auto">
            <a:xfrm>
              <a:off x="5437981" y="3019198"/>
              <a:ext cx="277812" cy="250825"/>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2" name="Saudi Arabia">
              <a:extLst>
                <a:ext uri="{FF2B5EF4-FFF2-40B4-BE49-F238E27FC236}">
                  <a16:creationId xmlns:a16="http://schemas.microsoft.com/office/drawing/2014/main" id="{1F3F2BE1-CBE3-4998-9BB6-8644FB5FCFA2}"/>
                </a:ext>
              </a:extLst>
            </p:cNvPr>
            <p:cNvSpPr>
              <a:spLocks/>
            </p:cNvSpPr>
            <p:nvPr/>
          </p:nvSpPr>
          <p:spPr bwMode="auto">
            <a:xfrm>
              <a:off x="7109619" y="2849337"/>
              <a:ext cx="701675" cy="596900"/>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3" name="Sudan">
              <a:extLst>
                <a:ext uri="{FF2B5EF4-FFF2-40B4-BE49-F238E27FC236}">
                  <a16:creationId xmlns:a16="http://schemas.microsoft.com/office/drawing/2014/main" id="{7D33937E-450D-4D2F-89B1-DC960C086177}"/>
                </a:ext>
              </a:extLst>
            </p:cNvPr>
            <p:cNvSpPr>
              <a:spLocks/>
            </p:cNvSpPr>
            <p:nvPr/>
          </p:nvSpPr>
          <p:spPr bwMode="auto">
            <a:xfrm>
              <a:off x="6720681" y="3231924"/>
              <a:ext cx="536575" cy="504825"/>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4" name="South Sudan">
              <a:extLst>
                <a:ext uri="{FF2B5EF4-FFF2-40B4-BE49-F238E27FC236}">
                  <a16:creationId xmlns:a16="http://schemas.microsoft.com/office/drawing/2014/main" id="{FE252EDF-97A1-4696-81E5-B1947EA2743D}"/>
                </a:ext>
              </a:extLst>
            </p:cNvPr>
            <p:cNvSpPr>
              <a:spLocks/>
            </p:cNvSpPr>
            <p:nvPr/>
          </p:nvSpPr>
          <p:spPr bwMode="auto">
            <a:xfrm>
              <a:off x="6788944" y="3600224"/>
              <a:ext cx="381000" cy="328613"/>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5" name="Senegal">
              <a:extLst>
                <a:ext uri="{FF2B5EF4-FFF2-40B4-BE49-F238E27FC236}">
                  <a16:creationId xmlns:a16="http://schemas.microsoft.com/office/drawing/2014/main" id="{26E5A239-835E-4CBF-BD49-FFF4C846F482}"/>
                </a:ext>
              </a:extLst>
            </p:cNvPr>
            <p:cNvSpPr>
              <a:spLocks/>
            </p:cNvSpPr>
            <p:nvPr/>
          </p:nvSpPr>
          <p:spPr bwMode="auto">
            <a:xfrm>
              <a:off x="5414169" y="3435124"/>
              <a:ext cx="201612" cy="161925"/>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6" name="Sierra Leone">
              <a:extLst>
                <a:ext uri="{FF2B5EF4-FFF2-40B4-BE49-F238E27FC236}">
                  <a16:creationId xmlns:a16="http://schemas.microsoft.com/office/drawing/2014/main" id="{EAC6B936-4107-4095-AB34-DF4A305E6305}"/>
                </a:ext>
              </a:extLst>
            </p:cNvPr>
            <p:cNvSpPr>
              <a:spLocks/>
            </p:cNvSpPr>
            <p:nvPr/>
          </p:nvSpPr>
          <p:spPr bwMode="auto">
            <a:xfrm>
              <a:off x="5555456" y="3682774"/>
              <a:ext cx="101600" cy="123825"/>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7" name="El Salvador">
              <a:extLst>
                <a:ext uri="{FF2B5EF4-FFF2-40B4-BE49-F238E27FC236}">
                  <a16:creationId xmlns:a16="http://schemas.microsoft.com/office/drawing/2014/main" id="{9396812F-B5D2-46C7-93CA-EB8A1A2445B4}"/>
                </a:ext>
              </a:extLst>
            </p:cNvPr>
            <p:cNvSpPr>
              <a:spLocks/>
            </p:cNvSpPr>
            <p:nvPr/>
          </p:nvSpPr>
          <p:spPr bwMode="auto">
            <a:xfrm>
              <a:off x="3018631" y="3519262"/>
              <a:ext cx="77787" cy="47625"/>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8" name="Serbia">
              <a:extLst>
                <a:ext uri="{FF2B5EF4-FFF2-40B4-BE49-F238E27FC236}">
                  <a16:creationId xmlns:a16="http://schemas.microsoft.com/office/drawing/2014/main" id="{80229AF6-F213-4668-B720-BBE29EF52D18}"/>
                </a:ext>
              </a:extLst>
            </p:cNvPr>
            <p:cNvSpPr>
              <a:spLocks/>
            </p:cNvSpPr>
            <p:nvPr/>
          </p:nvSpPr>
          <p:spPr bwMode="auto">
            <a:xfrm>
              <a:off x="6553994" y="2323874"/>
              <a:ext cx="134937" cy="144463"/>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9" name="Suriname">
              <a:extLst>
                <a:ext uri="{FF2B5EF4-FFF2-40B4-BE49-F238E27FC236}">
                  <a16:creationId xmlns:a16="http://schemas.microsoft.com/office/drawing/2014/main" id="{C24929D7-DA7B-4063-89BB-16268A2C764A}"/>
                </a:ext>
              </a:extLst>
            </p:cNvPr>
            <p:cNvSpPr>
              <a:spLocks/>
            </p:cNvSpPr>
            <p:nvPr/>
          </p:nvSpPr>
          <p:spPr bwMode="auto">
            <a:xfrm>
              <a:off x="4063206" y="3835174"/>
              <a:ext cx="138112" cy="157163"/>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0" name="Slovakia">
              <a:extLst>
                <a:ext uri="{FF2B5EF4-FFF2-40B4-BE49-F238E27FC236}">
                  <a16:creationId xmlns:a16="http://schemas.microsoft.com/office/drawing/2014/main" id="{232781A3-B508-4013-95E8-BCE55AB1150B}"/>
                </a:ext>
              </a:extLst>
            </p:cNvPr>
            <p:cNvSpPr>
              <a:spLocks/>
            </p:cNvSpPr>
            <p:nvPr/>
          </p:nvSpPr>
          <p:spPr bwMode="auto">
            <a:xfrm>
              <a:off x="6488906" y="2200049"/>
              <a:ext cx="163512" cy="66675"/>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1" name="Slovenia">
              <a:extLst>
                <a:ext uri="{FF2B5EF4-FFF2-40B4-BE49-F238E27FC236}">
                  <a16:creationId xmlns:a16="http://schemas.microsoft.com/office/drawing/2014/main" id="{95B6FDDA-763B-48AD-A8F3-4DF1296ACF8A}"/>
                </a:ext>
              </a:extLst>
            </p:cNvPr>
            <p:cNvSpPr>
              <a:spLocks/>
            </p:cNvSpPr>
            <p:nvPr/>
          </p:nvSpPr>
          <p:spPr bwMode="auto">
            <a:xfrm>
              <a:off x="6401594" y="2298474"/>
              <a:ext cx="84137" cy="52388"/>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2" name="Sweden">
              <a:extLst>
                <a:ext uri="{FF2B5EF4-FFF2-40B4-BE49-F238E27FC236}">
                  <a16:creationId xmlns:a16="http://schemas.microsoft.com/office/drawing/2014/main" id="{DAF2A54F-6E68-4B00-8C7E-E2E58F22A958}"/>
                </a:ext>
              </a:extLst>
            </p:cNvPr>
            <p:cNvSpPr>
              <a:spLocks/>
            </p:cNvSpPr>
            <p:nvPr/>
          </p:nvSpPr>
          <p:spPr bwMode="auto">
            <a:xfrm>
              <a:off x="6292056" y="1523774"/>
              <a:ext cx="303212" cy="466724"/>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3" name="Swaziland">
              <a:extLst>
                <a:ext uri="{FF2B5EF4-FFF2-40B4-BE49-F238E27FC236}">
                  <a16:creationId xmlns:a16="http://schemas.microsoft.com/office/drawing/2014/main" id="{703A3E72-669B-48E1-907B-6C39D11EEC28}"/>
                </a:ext>
              </a:extLst>
            </p:cNvPr>
            <p:cNvSpPr>
              <a:spLocks/>
            </p:cNvSpPr>
            <p:nvPr/>
          </p:nvSpPr>
          <p:spPr bwMode="auto">
            <a:xfrm>
              <a:off x="6985794" y="5030561"/>
              <a:ext cx="46037" cy="60325"/>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4" name="Syria">
              <a:extLst>
                <a:ext uri="{FF2B5EF4-FFF2-40B4-BE49-F238E27FC236}">
                  <a16:creationId xmlns:a16="http://schemas.microsoft.com/office/drawing/2014/main" id="{93B5F49D-178C-4088-AB68-7B7CE97FDE51}"/>
                </a:ext>
              </a:extLst>
            </p:cNvPr>
            <p:cNvSpPr>
              <a:spLocks/>
            </p:cNvSpPr>
            <p:nvPr/>
          </p:nvSpPr>
          <p:spPr bwMode="auto">
            <a:xfrm>
              <a:off x="7120731" y="2655662"/>
              <a:ext cx="192087" cy="187325"/>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5" name="Chad">
              <a:extLst>
                <a:ext uri="{FF2B5EF4-FFF2-40B4-BE49-F238E27FC236}">
                  <a16:creationId xmlns:a16="http://schemas.microsoft.com/office/drawing/2014/main" id="{9475128B-AE1D-40F8-893E-F5B5CF0726F6}"/>
                </a:ext>
              </a:extLst>
            </p:cNvPr>
            <p:cNvSpPr>
              <a:spLocks/>
            </p:cNvSpPr>
            <p:nvPr/>
          </p:nvSpPr>
          <p:spPr bwMode="auto">
            <a:xfrm>
              <a:off x="6441281" y="3179537"/>
              <a:ext cx="341312" cy="603250"/>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6" name="Togo">
              <a:extLst>
                <a:ext uri="{FF2B5EF4-FFF2-40B4-BE49-F238E27FC236}">
                  <a16:creationId xmlns:a16="http://schemas.microsoft.com/office/drawing/2014/main" id="{2B43EF06-1F3A-480A-82D2-D467DFB45A65}"/>
                </a:ext>
              </a:extLst>
            </p:cNvPr>
            <p:cNvSpPr>
              <a:spLocks/>
            </p:cNvSpPr>
            <p:nvPr/>
          </p:nvSpPr>
          <p:spPr bwMode="auto">
            <a:xfrm>
              <a:off x="5995194" y="3646262"/>
              <a:ext cx="63500" cy="192088"/>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7" name="Thailand">
              <a:extLst>
                <a:ext uri="{FF2B5EF4-FFF2-40B4-BE49-F238E27FC236}">
                  <a16:creationId xmlns:a16="http://schemas.microsoft.com/office/drawing/2014/main" id="{46ADA662-D9DC-442F-A51D-C8516D2C15CD}"/>
                </a:ext>
              </a:extLst>
            </p:cNvPr>
            <p:cNvSpPr>
              <a:spLocks/>
            </p:cNvSpPr>
            <p:nvPr/>
          </p:nvSpPr>
          <p:spPr bwMode="auto">
            <a:xfrm>
              <a:off x="9189244" y="3292249"/>
              <a:ext cx="290512" cy="555625"/>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8" name="Tajikistan">
              <a:extLst>
                <a:ext uri="{FF2B5EF4-FFF2-40B4-BE49-F238E27FC236}">
                  <a16:creationId xmlns:a16="http://schemas.microsoft.com/office/drawing/2014/main" id="{5FE04113-5751-4378-9FA5-C6832F124D6E}"/>
                </a:ext>
              </a:extLst>
            </p:cNvPr>
            <p:cNvSpPr>
              <a:spLocks/>
            </p:cNvSpPr>
            <p:nvPr/>
          </p:nvSpPr>
          <p:spPr bwMode="auto">
            <a:xfrm>
              <a:off x="8074819" y="2515962"/>
              <a:ext cx="252412" cy="158750"/>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9" name="Turkmenistan">
              <a:extLst>
                <a:ext uri="{FF2B5EF4-FFF2-40B4-BE49-F238E27FC236}">
                  <a16:creationId xmlns:a16="http://schemas.microsoft.com/office/drawing/2014/main" id="{2416B534-AC93-4684-97A3-B904FEE0AB9A}"/>
                </a:ext>
              </a:extLst>
            </p:cNvPr>
            <p:cNvSpPr>
              <a:spLocks/>
            </p:cNvSpPr>
            <p:nvPr/>
          </p:nvSpPr>
          <p:spPr bwMode="auto">
            <a:xfrm>
              <a:off x="7592219" y="2449287"/>
              <a:ext cx="471487" cy="282575"/>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0" name="Timor-Leste">
              <a:extLst>
                <a:ext uri="{FF2B5EF4-FFF2-40B4-BE49-F238E27FC236}">
                  <a16:creationId xmlns:a16="http://schemas.microsoft.com/office/drawing/2014/main" id="{DDF9CF53-0105-4E8D-9C58-2595E9567762}"/>
                </a:ext>
              </a:extLst>
            </p:cNvPr>
            <p:cNvSpPr>
              <a:spLocks/>
            </p:cNvSpPr>
            <p:nvPr/>
          </p:nvSpPr>
          <p:spPr bwMode="auto">
            <a:xfrm>
              <a:off x="10144919" y="4373337"/>
              <a:ext cx="79375" cy="4286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1" name="Tunisia">
              <a:extLst>
                <a:ext uri="{FF2B5EF4-FFF2-40B4-BE49-F238E27FC236}">
                  <a16:creationId xmlns:a16="http://schemas.microsoft.com/office/drawing/2014/main" id="{A9B18689-9B5A-49E5-95AA-F1FB5597F3A2}"/>
                </a:ext>
              </a:extLst>
            </p:cNvPr>
            <p:cNvSpPr>
              <a:spLocks/>
            </p:cNvSpPr>
            <p:nvPr/>
          </p:nvSpPr>
          <p:spPr bwMode="auto">
            <a:xfrm>
              <a:off x="6233319" y="2652220"/>
              <a:ext cx="125412" cy="264059"/>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2" name="Turkey">
              <a:extLst>
                <a:ext uri="{FF2B5EF4-FFF2-40B4-BE49-F238E27FC236}">
                  <a16:creationId xmlns:a16="http://schemas.microsoft.com/office/drawing/2014/main" id="{7B8092D1-3D85-41B2-A9BA-772857B1A74C}"/>
                </a:ext>
              </a:extLst>
            </p:cNvPr>
            <p:cNvSpPr>
              <a:spLocks noEditPoints="1"/>
            </p:cNvSpPr>
            <p:nvPr/>
          </p:nvSpPr>
          <p:spPr bwMode="auto">
            <a:xfrm>
              <a:off x="6790531" y="2471512"/>
              <a:ext cx="598487" cy="239713"/>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3" name="Taiwan">
              <a:extLst>
                <a:ext uri="{FF2B5EF4-FFF2-40B4-BE49-F238E27FC236}">
                  <a16:creationId xmlns:a16="http://schemas.microsoft.com/office/drawing/2014/main" id="{A2F946FA-28A9-4AA6-9191-6357D0547F26}"/>
                </a:ext>
              </a:extLst>
            </p:cNvPr>
            <p:cNvSpPr>
              <a:spLocks/>
            </p:cNvSpPr>
            <p:nvPr/>
          </p:nvSpPr>
          <p:spPr bwMode="auto">
            <a:xfrm>
              <a:off x="9902031" y="3108099"/>
              <a:ext cx="47625" cy="125413"/>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4" name="Tanzania">
              <a:extLst>
                <a:ext uri="{FF2B5EF4-FFF2-40B4-BE49-F238E27FC236}">
                  <a16:creationId xmlns:a16="http://schemas.microsoft.com/office/drawing/2014/main" id="{D3891615-0975-433B-9DC6-16FCAFF615B6}"/>
                </a:ext>
              </a:extLst>
            </p:cNvPr>
            <p:cNvSpPr>
              <a:spLocks/>
            </p:cNvSpPr>
            <p:nvPr/>
          </p:nvSpPr>
          <p:spPr bwMode="auto">
            <a:xfrm>
              <a:off x="6979444" y="4100286"/>
              <a:ext cx="354012" cy="404813"/>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5" name="Uganda">
              <a:extLst>
                <a:ext uri="{FF2B5EF4-FFF2-40B4-BE49-F238E27FC236}">
                  <a16:creationId xmlns:a16="http://schemas.microsoft.com/office/drawing/2014/main" id="{0F9627CE-A9F8-40F0-A570-578E7ADDFF6F}"/>
                </a:ext>
              </a:extLst>
            </p:cNvPr>
            <p:cNvSpPr>
              <a:spLocks/>
            </p:cNvSpPr>
            <p:nvPr/>
          </p:nvSpPr>
          <p:spPr bwMode="auto">
            <a:xfrm>
              <a:off x="6981031" y="3901849"/>
              <a:ext cx="180975" cy="214313"/>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6" name="Ukraine">
              <a:extLst>
                <a:ext uri="{FF2B5EF4-FFF2-40B4-BE49-F238E27FC236}">
                  <a16:creationId xmlns:a16="http://schemas.microsoft.com/office/drawing/2014/main" id="{FCA7E975-BC6B-4FC5-B0EB-840EC105D9A6}"/>
                </a:ext>
              </a:extLst>
            </p:cNvPr>
            <p:cNvSpPr>
              <a:spLocks/>
            </p:cNvSpPr>
            <p:nvPr/>
          </p:nvSpPr>
          <p:spPr bwMode="auto">
            <a:xfrm>
              <a:off x="6641306" y="2098449"/>
              <a:ext cx="520700" cy="292100"/>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7" name="Uruguay">
              <a:extLst>
                <a:ext uri="{FF2B5EF4-FFF2-40B4-BE49-F238E27FC236}">
                  <a16:creationId xmlns:a16="http://schemas.microsoft.com/office/drawing/2014/main" id="{34760C45-04E8-4CAB-86A5-19EF70ECE912}"/>
                </a:ext>
              </a:extLst>
            </p:cNvPr>
            <p:cNvSpPr>
              <a:spLocks/>
            </p:cNvSpPr>
            <p:nvPr/>
          </p:nvSpPr>
          <p:spPr bwMode="auto">
            <a:xfrm>
              <a:off x="4148931" y="5197248"/>
              <a:ext cx="161925" cy="182563"/>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8" name="United States of America">
              <a:extLst>
                <a:ext uri="{FF2B5EF4-FFF2-40B4-BE49-F238E27FC236}">
                  <a16:creationId xmlns:a16="http://schemas.microsoft.com/office/drawing/2014/main" id="{FAFBC36A-7BE8-4309-B5D9-8AE26398102F}"/>
                </a:ext>
              </a:extLst>
            </p:cNvPr>
            <p:cNvSpPr>
              <a:spLocks noEditPoints="1"/>
            </p:cNvSpPr>
            <p:nvPr/>
          </p:nvSpPr>
          <p:spPr bwMode="auto">
            <a:xfrm>
              <a:off x="785019" y="1453924"/>
              <a:ext cx="3211512" cy="1893888"/>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9" name="Uzbekistan">
              <a:extLst>
                <a:ext uri="{FF2B5EF4-FFF2-40B4-BE49-F238E27FC236}">
                  <a16:creationId xmlns:a16="http://schemas.microsoft.com/office/drawing/2014/main" id="{6AC933DA-3084-403D-9FD9-C3CC866E5ACF}"/>
                </a:ext>
              </a:extLst>
            </p:cNvPr>
            <p:cNvSpPr>
              <a:spLocks/>
            </p:cNvSpPr>
            <p:nvPr/>
          </p:nvSpPr>
          <p:spPr bwMode="auto">
            <a:xfrm>
              <a:off x="7666831" y="2346099"/>
              <a:ext cx="561975" cy="312738"/>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0" name="Venezuela">
              <a:extLst>
                <a:ext uri="{FF2B5EF4-FFF2-40B4-BE49-F238E27FC236}">
                  <a16:creationId xmlns:a16="http://schemas.microsoft.com/office/drawing/2014/main" id="{E4C16982-A32D-4BE2-A03E-CF69E3B5ECFF}"/>
                </a:ext>
              </a:extLst>
            </p:cNvPr>
            <p:cNvSpPr>
              <a:spLocks/>
            </p:cNvSpPr>
            <p:nvPr/>
          </p:nvSpPr>
          <p:spPr bwMode="auto">
            <a:xfrm>
              <a:off x="3561556" y="3603399"/>
              <a:ext cx="449262" cy="431800"/>
            </a:xfrm>
            <a:custGeom>
              <a:avLst/>
              <a:gdLst>
                <a:gd name="T0" fmla="*/ 275 w 283"/>
                <a:gd name="T1" fmla="*/ 85 h 272"/>
                <a:gd name="T2" fmla="*/ 262 w 283"/>
                <a:gd name="T3" fmla="*/ 66 h 272"/>
                <a:gd name="T4" fmla="*/ 230 w 283"/>
                <a:gd name="T5" fmla="*/ 53 h 272"/>
                <a:gd name="T6" fmla="*/ 241 w 283"/>
                <a:gd name="T7" fmla="*/ 34 h 272"/>
                <a:gd name="T8" fmla="*/ 190 w 283"/>
                <a:gd name="T9" fmla="*/ 36 h 272"/>
                <a:gd name="T10" fmla="*/ 178 w 283"/>
                <a:gd name="T11" fmla="*/ 49 h 272"/>
                <a:gd name="T12" fmla="*/ 151 w 283"/>
                <a:gd name="T13" fmla="*/ 36 h 272"/>
                <a:gd name="T14" fmla="*/ 110 w 283"/>
                <a:gd name="T15" fmla="*/ 38 h 272"/>
                <a:gd name="T16" fmla="*/ 96 w 283"/>
                <a:gd name="T17" fmla="*/ 18 h 272"/>
                <a:gd name="T18" fmla="*/ 75 w 283"/>
                <a:gd name="T19" fmla="*/ 0 h 272"/>
                <a:gd name="T20" fmla="*/ 69 w 283"/>
                <a:gd name="T21" fmla="*/ 19 h 272"/>
                <a:gd name="T22" fmla="*/ 42 w 283"/>
                <a:gd name="T23" fmla="*/ 47 h 272"/>
                <a:gd name="T24" fmla="*/ 43 w 283"/>
                <a:gd name="T25" fmla="*/ 72 h 272"/>
                <a:gd name="T26" fmla="*/ 27 w 283"/>
                <a:gd name="T27" fmla="*/ 55 h 272"/>
                <a:gd name="T28" fmla="*/ 39 w 283"/>
                <a:gd name="T29" fmla="*/ 29 h 272"/>
                <a:gd name="T30" fmla="*/ 44 w 283"/>
                <a:gd name="T31" fmla="*/ 15 h 272"/>
                <a:gd name="T32" fmla="*/ 31 w 283"/>
                <a:gd name="T33" fmla="*/ 13 h 272"/>
                <a:gd name="T34" fmla="*/ 17 w 283"/>
                <a:gd name="T35" fmla="*/ 32 h 272"/>
                <a:gd name="T36" fmla="*/ 7 w 283"/>
                <a:gd name="T37" fmla="*/ 58 h 272"/>
                <a:gd name="T38" fmla="*/ 12 w 283"/>
                <a:gd name="T39" fmla="*/ 74 h 272"/>
                <a:gd name="T40" fmla="*/ 18 w 283"/>
                <a:gd name="T41" fmla="*/ 89 h 272"/>
                <a:gd name="T42" fmla="*/ 16 w 283"/>
                <a:gd name="T43" fmla="*/ 107 h 272"/>
                <a:gd name="T44" fmla="*/ 22 w 283"/>
                <a:gd name="T45" fmla="*/ 115 h 272"/>
                <a:gd name="T46" fmla="*/ 54 w 283"/>
                <a:gd name="T47" fmla="*/ 120 h 272"/>
                <a:gd name="T48" fmla="*/ 80 w 283"/>
                <a:gd name="T49" fmla="*/ 145 h 272"/>
                <a:gd name="T50" fmla="*/ 103 w 283"/>
                <a:gd name="T51" fmla="*/ 143 h 272"/>
                <a:gd name="T52" fmla="*/ 123 w 283"/>
                <a:gd name="T53" fmla="*/ 145 h 272"/>
                <a:gd name="T54" fmla="*/ 113 w 283"/>
                <a:gd name="T55" fmla="*/ 165 h 272"/>
                <a:gd name="T56" fmla="*/ 115 w 283"/>
                <a:gd name="T57" fmla="*/ 198 h 272"/>
                <a:gd name="T58" fmla="*/ 122 w 283"/>
                <a:gd name="T59" fmla="*/ 210 h 272"/>
                <a:gd name="T60" fmla="*/ 118 w 283"/>
                <a:gd name="T61" fmla="*/ 227 h 272"/>
                <a:gd name="T62" fmla="*/ 130 w 283"/>
                <a:gd name="T63" fmla="*/ 259 h 272"/>
                <a:gd name="T64" fmla="*/ 157 w 283"/>
                <a:gd name="T65" fmla="*/ 270 h 272"/>
                <a:gd name="T66" fmla="*/ 177 w 283"/>
                <a:gd name="T67" fmla="*/ 258 h 272"/>
                <a:gd name="T68" fmla="*/ 188 w 283"/>
                <a:gd name="T69" fmla="*/ 244 h 272"/>
                <a:gd name="T70" fmla="*/ 203 w 283"/>
                <a:gd name="T71" fmla="*/ 231 h 272"/>
                <a:gd name="T72" fmla="*/ 182 w 283"/>
                <a:gd name="T73" fmla="*/ 215 h 272"/>
                <a:gd name="T74" fmla="*/ 174 w 283"/>
                <a:gd name="T75" fmla="*/ 193 h 272"/>
                <a:gd name="T76" fmla="*/ 194 w 283"/>
                <a:gd name="T77" fmla="*/ 193 h 272"/>
                <a:gd name="T78" fmla="*/ 216 w 283"/>
                <a:gd name="T79" fmla="*/ 194 h 272"/>
                <a:gd name="T80" fmla="*/ 255 w 283"/>
                <a:gd name="T81" fmla="*/ 181 h 272"/>
                <a:gd name="T82" fmla="*/ 261 w 283"/>
                <a:gd name="T83" fmla="*/ 165 h 272"/>
                <a:gd name="T84" fmla="*/ 252 w 283"/>
                <a:gd name="T85" fmla="*/ 141 h 272"/>
                <a:gd name="T86" fmla="*/ 266 w 283"/>
                <a:gd name="T87" fmla="*/ 126 h 272"/>
                <a:gd name="T88" fmla="*/ 264 w 283"/>
                <a:gd name="T89" fmla="*/ 113 h 272"/>
                <a:gd name="T90" fmla="*/ 283 w 283"/>
                <a:gd name="T91" fmla="*/ 90 h 2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83" h="272">
                  <a:moveTo>
                    <a:pt x="283" y="90"/>
                  </a:moveTo>
                  <a:lnTo>
                    <a:pt x="275" y="85"/>
                  </a:lnTo>
                  <a:lnTo>
                    <a:pt x="265" y="85"/>
                  </a:lnTo>
                  <a:lnTo>
                    <a:pt x="262" y="66"/>
                  </a:lnTo>
                  <a:lnTo>
                    <a:pt x="246" y="54"/>
                  </a:lnTo>
                  <a:lnTo>
                    <a:pt x="230" y="53"/>
                  </a:lnTo>
                  <a:lnTo>
                    <a:pt x="224" y="42"/>
                  </a:lnTo>
                  <a:lnTo>
                    <a:pt x="241" y="34"/>
                  </a:lnTo>
                  <a:lnTo>
                    <a:pt x="216" y="34"/>
                  </a:lnTo>
                  <a:lnTo>
                    <a:pt x="190" y="36"/>
                  </a:lnTo>
                  <a:lnTo>
                    <a:pt x="190" y="42"/>
                  </a:lnTo>
                  <a:lnTo>
                    <a:pt x="178" y="49"/>
                  </a:lnTo>
                  <a:lnTo>
                    <a:pt x="162" y="47"/>
                  </a:lnTo>
                  <a:lnTo>
                    <a:pt x="151" y="36"/>
                  </a:lnTo>
                  <a:lnTo>
                    <a:pt x="128" y="38"/>
                  </a:lnTo>
                  <a:lnTo>
                    <a:pt x="110" y="38"/>
                  </a:lnTo>
                  <a:lnTo>
                    <a:pt x="109" y="31"/>
                  </a:lnTo>
                  <a:lnTo>
                    <a:pt x="96" y="18"/>
                  </a:lnTo>
                  <a:lnTo>
                    <a:pt x="82" y="17"/>
                  </a:lnTo>
                  <a:lnTo>
                    <a:pt x="75" y="0"/>
                  </a:lnTo>
                  <a:lnTo>
                    <a:pt x="67" y="7"/>
                  </a:lnTo>
                  <a:lnTo>
                    <a:pt x="69" y="19"/>
                  </a:lnTo>
                  <a:lnTo>
                    <a:pt x="42" y="29"/>
                  </a:lnTo>
                  <a:lnTo>
                    <a:pt x="42" y="47"/>
                  </a:lnTo>
                  <a:lnTo>
                    <a:pt x="49" y="55"/>
                  </a:lnTo>
                  <a:lnTo>
                    <a:pt x="43" y="72"/>
                  </a:lnTo>
                  <a:lnTo>
                    <a:pt x="34" y="74"/>
                  </a:lnTo>
                  <a:lnTo>
                    <a:pt x="27" y="55"/>
                  </a:lnTo>
                  <a:lnTo>
                    <a:pt x="37" y="41"/>
                  </a:lnTo>
                  <a:lnTo>
                    <a:pt x="39" y="29"/>
                  </a:lnTo>
                  <a:lnTo>
                    <a:pt x="32" y="18"/>
                  </a:lnTo>
                  <a:lnTo>
                    <a:pt x="44" y="15"/>
                  </a:lnTo>
                  <a:lnTo>
                    <a:pt x="45" y="9"/>
                  </a:lnTo>
                  <a:lnTo>
                    <a:pt x="31" y="13"/>
                  </a:lnTo>
                  <a:lnTo>
                    <a:pt x="26" y="25"/>
                  </a:lnTo>
                  <a:lnTo>
                    <a:pt x="17" y="32"/>
                  </a:lnTo>
                  <a:lnTo>
                    <a:pt x="11" y="41"/>
                  </a:lnTo>
                  <a:lnTo>
                    <a:pt x="7" y="58"/>
                  </a:lnTo>
                  <a:lnTo>
                    <a:pt x="0" y="72"/>
                  </a:lnTo>
                  <a:lnTo>
                    <a:pt x="12" y="74"/>
                  </a:lnTo>
                  <a:lnTo>
                    <a:pt x="13" y="84"/>
                  </a:lnTo>
                  <a:lnTo>
                    <a:pt x="18" y="89"/>
                  </a:lnTo>
                  <a:lnTo>
                    <a:pt x="19" y="99"/>
                  </a:lnTo>
                  <a:lnTo>
                    <a:pt x="16" y="107"/>
                  </a:lnTo>
                  <a:lnTo>
                    <a:pt x="17" y="113"/>
                  </a:lnTo>
                  <a:lnTo>
                    <a:pt x="22" y="115"/>
                  </a:lnTo>
                  <a:lnTo>
                    <a:pt x="27" y="123"/>
                  </a:lnTo>
                  <a:lnTo>
                    <a:pt x="54" y="120"/>
                  </a:lnTo>
                  <a:lnTo>
                    <a:pt x="66" y="124"/>
                  </a:lnTo>
                  <a:lnTo>
                    <a:pt x="80" y="145"/>
                  </a:lnTo>
                  <a:lnTo>
                    <a:pt x="88" y="142"/>
                  </a:lnTo>
                  <a:lnTo>
                    <a:pt x="103" y="143"/>
                  </a:lnTo>
                  <a:lnTo>
                    <a:pt x="115" y="140"/>
                  </a:lnTo>
                  <a:lnTo>
                    <a:pt x="123" y="145"/>
                  </a:lnTo>
                  <a:lnTo>
                    <a:pt x="118" y="157"/>
                  </a:lnTo>
                  <a:lnTo>
                    <a:pt x="113" y="165"/>
                  </a:lnTo>
                  <a:lnTo>
                    <a:pt x="111" y="182"/>
                  </a:lnTo>
                  <a:lnTo>
                    <a:pt x="115" y="198"/>
                  </a:lnTo>
                  <a:lnTo>
                    <a:pt x="121" y="204"/>
                  </a:lnTo>
                  <a:lnTo>
                    <a:pt x="122" y="210"/>
                  </a:lnTo>
                  <a:lnTo>
                    <a:pt x="111" y="222"/>
                  </a:lnTo>
                  <a:lnTo>
                    <a:pt x="118" y="227"/>
                  </a:lnTo>
                  <a:lnTo>
                    <a:pt x="124" y="235"/>
                  </a:lnTo>
                  <a:lnTo>
                    <a:pt x="130" y="259"/>
                  </a:lnTo>
                  <a:lnTo>
                    <a:pt x="141" y="272"/>
                  </a:lnTo>
                  <a:lnTo>
                    <a:pt x="157" y="270"/>
                  </a:lnTo>
                  <a:lnTo>
                    <a:pt x="162" y="263"/>
                  </a:lnTo>
                  <a:lnTo>
                    <a:pt x="177" y="258"/>
                  </a:lnTo>
                  <a:lnTo>
                    <a:pt x="186" y="254"/>
                  </a:lnTo>
                  <a:lnTo>
                    <a:pt x="188" y="244"/>
                  </a:lnTo>
                  <a:lnTo>
                    <a:pt x="204" y="237"/>
                  </a:lnTo>
                  <a:lnTo>
                    <a:pt x="203" y="231"/>
                  </a:lnTo>
                  <a:lnTo>
                    <a:pt x="184" y="230"/>
                  </a:lnTo>
                  <a:lnTo>
                    <a:pt x="182" y="215"/>
                  </a:lnTo>
                  <a:lnTo>
                    <a:pt x="183" y="199"/>
                  </a:lnTo>
                  <a:lnTo>
                    <a:pt x="174" y="193"/>
                  </a:lnTo>
                  <a:lnTo>
                    <a:pt x="178" y="190"/>
                  </a:lnTo>
                  <a:lnTo>
                    <a:pt x="194" y="193"/>
                  </a:lnTo>
                  <a:lnTo>
                    <a:pt x="210" y="200"/>
                  </a:lnTo>
                  <a:lnTo>
                    <a:pt x="216" y="194"/>
                  </a:lnTo>
                  <a:lnTo>
                    <a:pt x="231" y="190"/>
                  </a:lnTo>
                  <a:lnTo>
                    <a:pt x="255" y="181"/>
                  </a:lnTo>
                  <a:lnTo>
                    <a:pt x="263" y="173"/>
                  </a:lnTo>
                  <a:lnTo>
                    <a:pt x="261" y="165"/>
                  </a:lnTo>
                  <a:lnTo>
                    <a:pt x="247" y="147"/>
                  </a:lnTo>
                  <a:lnTo>
                    <a:pt x="252" y="141"/>
                  </a:lnTo>
                  <a:lnTo>
                    <a:pt x="252" y="130"/>
                  </a:lnTo>
                  <a:lnTo>
                    <a:pt x="266" y="126"/>
                  </a:lnTo>
                  <a:lnTo>
                    <a:pt x="271" y="121"/>
                  </a:lnTo>
                  <a:lnTo>
                    <a:pt x="264" y="113"/>
                  </a:lnTo>
                  <a:lnTo>
                    <a:pt x="266" y="104"/>
                  </a:lnTo>
                  <a:lnTo>
                    <a:pt x="283" y="90"/>
                  </a:lnTo>
                  <a:lnTo>
                    <a:pt x="283" y="9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1" name="Vietnam">
              <a:extLst>
                <a:ext uri="{FF2B5EF4-FFF2-40B4-BE49-F238E27FC236}">
                  <a16:creationId xmlns:a16="http://schemas.microsoft.com/office/drawing/2014/main" id="{227CF67C-D611-4CF5-B39E-82A30B49D838}"/>
                </a:ext>
              </a:extLst>
            </p:cNvPr>
            <p:cNvSpPr>
              <a:spLocks/>
            </p:cNvSpPr>
            <p:nvPr/>
          </p:nvSpPr>
          <p:spPr bwMode="auto">
            <a:xfrm>
              <a:off x="9324181" y="3181124"/>
              <a:ext cx="288925" cy="557212"/>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2" name="Vanuatu">
              <a:extLst>
                <a:ext uri="{FF2B5EF4-FFF2-40B4-BE49-F238E27FC236}">
                  <a16:creationId xmlns:a16="http://schemas.microsoft.com/office/drawing/2014/main" id="{DF76DA39-2E87-4F8B-9DAC-B5BEE0C96E91}"/>
                </a:ext>
              </a:extLst>
            </p:cNvPr>
            <p:cNvSpPr>
              <a:spLocks noEditPoints="1"/>
            </p:cNvSpPr>
            <p:nvPr/>
          </p:nvSpPr>
          <p:spPr bwMode="auto">
            <a:xfrm>
              <a:off x="11491119" y="4614637"/>
              <a:ext cx="28575" cy="73025"/>
            </a:xfrm>
            <a:custGeom>
              <a:avLst/>
              <a:gdLst>
                <a:gd name="T0" fmla="*/ 18 w 18"/>
                <a:gd name="T1" fmla="*/ 44 h 46"/>
                <a:gd name="T2" fmla="*/ 9 w 18"/>
                <a:gd name="T3" fmla="*/ 30 h 46"/>
                <a:gd name="T4" fmla="*/ 6 w 18"/>
                <a:gd name="T5" fmla="*/ 36 h 46"/>
                <a:gd name="T6" fmla="*/ 11 w 18"/>
                <a:gd name="T7" fmla="*/ 46 h 46"/>
                <a:gd name="T8" fmla="*/ 18 w 18"/>
                <a:gd name="T9" fmla="*/ 44 h 46"/>
                <a:gd name="T10" fmla="*/ 18 w 18"/>
                <a:gd name="T11" fmla="*/ 44 h 46"/>
                <a:gd name="T12" fmla="*/ 11 w 18"/>
                <a:gd name="T13" fmla="*/ 7 h 46"/>
                <a:gd name="T14" fmla="*/ 2 w 18"/>
                <a:gd name="T15" fmla="*/ 0 h 46"/>
                <a:gd name="T16" fmla="*/ 0 w 18"/>
                <a:gd name="T17" fmla="*/ 17 h 46"/>
                <a:gd name="T18" fmla="*/ 1 w 18"/>
                <a:gd name="T19" fmla="*/ 25 h 46"/>
                <a:gd name="T20" fmla="*/ 5 w 18"/>
                <a:gd name="T21" fmla="*/ 23 h 46"/>
                <a:gd name="T22" fmla="*/ 11 w 18"/>
                <a:gd name="T23" fmla="*/ 26 h 46"/>
                <a:gd name="T24" fmla="*/ 11 w 18"/>
                <a:gd name="T25" fmla="*/ 7 h 46"/>
                <a:gd name="T26" fmla="*/ 11 w 18"/>
                <a:gd name="T27"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18" y="44"/>
                  </a:moveTo>
                  <a:lnTo>
                    <a:pt x="9" y="30"/>
                  </a:lnTo>
                  <a:lnTo>
                    <a:pt x="6" y="36"/>
                  </a:lnTo>
                  <a:lnTo>
                    <a:pt x="11" y="46"/>
                  </a:lnTo>
                  <a:lnTo>
                    <a:pt x="18" y="44"/>
                  </a:lnTo>
                  <a:lnTo>
                    <a:pt x="18" y="44"/>
                  </a:lnTo>
                  <a:close/>
                  <a:moveTo>
                    <a:pt x="11" y="7"/>
                  </a:moveTo>
                  <a:lnTo>
                    <a:pt x="2" y="0"/>
                  </a:lnTo>
                  <a:lnTo>
                    <a:pt x="0" y="17"/>
                  </a:lnTo>
                  <a:lnTo>
                    <a:pt x="1" y="25"/>
                  </a:lnTo>
                  <a:lnTo>
                    <a:pt x="5" y="23"/>
                  </a:lnTo>
                  <a:lnTo>
                    <a:pt x="11" y="26"/>
                  </a:lnTo>
                  <a:lnTo>
                    <a:pt x="11" y="7"/>
                  </a:lnTo>
                  <a:lnTo>
                    <a:pt x="11"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3" name="Yemen">
              <a:extLst>
                <a:ext uri="{FF2B5EF4-FFF2-40B4-BE49-F238E27FC236}">
                  <a16:creationId xmlns:a16="http://schemas.microsoft.com/office/drawing/2014/main" id="{05966A5D-7545-40DC-87F4-A3B14A849783}"/>
                </a:ext>
              </a:extLst>
            </p:cNvPr>
            <p:cNvSpPr>
              <a:spLocks/>
            </p:cNvSpPr>
            <p:nvPr/>
          </p:nvSpPr>
          <p:spPr bwMode="auto">
            <a:xfrm>
              <a:off x="7401719" y="3344637"/>
              <a:ext cx="341312" cy="242888"/>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4" name="South Africa">
              <a:extLst>
                <a:ext uri="{FF2B5EF4-FFF2-40B4-BE49-F238E27FC236}">
                  <a16:creationId xmlns:a16="http://schemas.microsoft.com/office/drawing/2014/main" id="{583DE929-3327-4773-AEA4-2748B0F9A7A4}"/>
                </a:ext>
              </a:extLst>
            </p:cNvPr>
            <p:cNvSpPr>
              <a:spLocks noEditPoints="1"/>
            </p:cNvSpPr>
            <p:nvPr/>
          </p:nvSpPr>
          <p:spPr bwMode="auto">
            <a:xfrm>
              <a:off x="6520656" y="4895624"/>
              <a:ext cx="534987" cy="481013"/>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5" name="Zambia">
              <a:extLst>
                <a:ext uri="{FF2B5EF4-FFF2-40B4-BE49-F238E27FC236}">
                  <a16:creationId xmlns:a16="http://schemas.microsoft.com/office/drawing/2014/main" id="{6FB29043-A304-4D9E-BE1A-E06B3A766CFD}"/>
                </a:ext>
              </a:extLst>
            </p:cNvPr>
            <p:cNvSpPr>
              <a:spLocks/>
            </p:cNvSpPr>
            <p:nvPr/>
          </p:nvSpPr>
          <p:spPr bwMode="auto">
            <a:xfrm>
              <a:off x="6715919" y="4371748"/>
              <a:ext cx="390525" cy="368300"/>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6" name="Zimbabwe">
              <a:extLst>
                <a:ext uri="{FF2B5EF4-FFF2-40B4-BE49-F238E27FC236}">
                  <a16:creationId xmlns:a16="http://schemas.microsoft.com/office/drawing/2014/main" id="{F6D7F303-9D66-4521-9A94-1A979AA345BF}"/>
                </a:ext>
              </a:extLst>
            </p:cNvPr>
            <p:cNvSpPr>
              <a:spLocks/>
            </p:cNvSpPr>
            <p:nvPr/>
          </p:nvSpPr>
          <p:spPr bwMode="auto">
            <a:xfrm>
              <a:off x="6825456" y="4646386"/>
              <a:ext cx="250825" cy="257175"/>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7" name="Somalia">
              <a:extLst>
                <a:ext uri="{FF2B5EF4-FFF2-40B4-BE49-F238E27FC236}">
                  <a16:creationId xmlns:a16="http://schemas.microsoft.com/office/drawing/2014/main" id="{6E8B86D2-D547-475E-B9BC-53A1B49ED1A2}"/>
                </a:ext>
              </a:extLst>
            </p:cNvPr>
            <p:cNvSpPr>
              <a:spLocks/>
            </p:cNvSpPr>
            <p:nvPr/>
          </p:nvSpPr>
          <p:spPr bwMode="auto">
            <a:xfrm>
              <a:off x="7360444" y="3609749"/>
              <a:ext cx="328612" cy="515938"/>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8" name="Spain">
              <a:extLst>
                <a:ext uri="{FF2B5EF4-FFF2-40B4-BE49-F238E27FC236}">
                  <a16:creationId xmlns:a16="http://schemas.microsoft.com/office/drawing/2014/main" id="{4E2F1FDA-E11A-4471-9467-CB75749B2991}"/>
                </a:ext>
              </a:extLst>
            </p:cNvPr>
            <p:cNvSpPr>
              <a:spLocks noEditPoints="1"/>
            </p:cNvSpPr>
            <p:nvPr/>
          </p:nvSpPr>
          <p:spPr bwMode="auto">
            <a:xfrm>
              <a:off x="5711031" y="2412774"/>
              <a:ext cx="417512" cy="293688"/>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9" name="Aruba">
              <a:extLst>
                <a:ext uri="{FF2B5EF4-FFF2-40B4-BE49-F238E27FC236}">
                  <a16:creationId xmlns:a16="http://schemas.microsoft.com/office/drawing/2014/main" id="{83785FB5-0FB4-4EF3-9CD4-D72FA1FD7B92}"/>
                </a:ext>
              </a:extLst>
            </p:cNvPr>
            <p:cNvSpPr>
              <a:spLocks/>
            </p:cNvSpPr>
            <p:nvPr/>
          </p:nvSpPr>
          <p:spPr bwMode="auto">
            <a:xfrm>
              <a:off x="3677444" y="3587524"/>
              <a:ext cx="4762" cy="4763"/>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0" name="Andorra">
              <a:extLst>
                <a:ext uri="{FF2B5EF4-FFF2-40B4-BE49-F238E27FC236}">
                  <a16:creationId xmlns:a16="http://schemas.microsoft.com/office/drawing/2014/main" id="{501A2193-A811-4D9F-AF3F-9EBC6EBBCE75}"/>
                </a:ext>
              </a:extLst>
            </p:cNvPr>
            <p:cNvSpPr>
              <a:spLocks/>
            </p:cNvSpPr>
            <p:nvPr/>
          </p:nvSpPr>
          <p:spPr bwMode="auto">
            <a:xfrm>
              <a:off x="6039644" y="2452462"/>
              <a:ext cx="7937" cy="7938"/>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1" name="Antigua and Barbuda">
              <a:extLst>
                <a:ext uri="{FF2B5EF4-FFF2-40B4-BE49-F238E27FC236}">
                  <a16:creationId xmlns:a16="http://schemas.microsoft.com/office/drawing/2014/main" id="{C663625E-BF5C-4EC7-8F9D-A3A774DB0F63}"/>
                </a:ext>
              </a:extLst>
            </p:cNvPr>
            <p:cNvSpPr>
              <a:spLocks noEditPoints="1"/>
            </p:cNvSpPr>
            <p:nvPr/>
          </p:nvSpPr>
          <p:spPr bwMode="auto">
            <a:xfrm>
              <a:off x="3961606" y="3393848"/>
              <a:ext cx="4762" cy="26988"/>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2" name="The Bahamas">
              <a:extLst>
                <a:ext uri="{FF2B5EF4-FFF2-40B4-BE49-F238E27FC236}">
                  <a16:creationId xmlns:a16="http://schemas.microsoft.com/office/drawing/2014/main" id="{2543D9E8-8F16-4029-90DE-5AD03DC39D14}"/>
                </a:ext>
              </a:extLst>
            </p:cNvPr>
            <p:cNvSpPr>
              <a:spLocks noEditPoints="1"/>
            </p:cNvSpPr>
            <p:nvPr/>
          </p:nvSpPr>
          <p:spPr bwMode="auto">
            <a:xfrm>
              <a:off x="3445669" y="3046186"/>
              <a:ext cx="179387" cy="227013"/>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3" name="Bermuda">
              <a:extLst>
                <a:ext uri="{FF2B5EF4-FFF2-40B4-BE49-F238E27FC236}">
                  <a16:creationId xmlns:a16="http://schemas.microsoft.com/office/drawing/2014/main" id="{A5811FD5-2302-4833-89DF-5EC5823862AB}"/>
                </a:ext>
              </a:extLst>
            </p:cNvPr>
            <p:cNvSpPr>
              <a:spLocks/>
            </p:cNvSpPr>
            <p:nvPr/>
          </p:nvSpPr>
          <p:spPr bwMode="auto">
            <a:xfrm>
              <a:off x="3937794" y="2841399"/>
              <a:ext cx="4762" cy="4763"/>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4" name="Barbados">
              <a:extLst>
                <a:ext uri="{FF2B5EF4-FFF2-40B4-BE49-F238E27FC236}">
                  <a16:creationId xmlns:a16="http://schemas.microsoft.com/office/drawing/2014/main" id="{A7BC0502-A8FF-4EBB-982D-E5FC2AF41E25}"/>
                </a:ext>
              </a:extLst>
            </p:cNvPr>
            <p:cNvSpPr>
              <a:spLocks/>
            </p:cNvSpPr>
            <p:nvPr/>
          </p:nvSpPr>
          <p:spPr bwMode="auto">
            <a:xfrm>
              <a:off x="4023519" y="3560537"/>
              <a:ext cx="6350" cy="7938"/>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5" name="Comoros">
              <a:extLst>
                <a:ext uri="{FF2B5EF4-FFF2-40B4-BE49-F238E27FC236}">
                  <a16:creationId xmlns:a16="http://schemas.microsoft.com/office/drawing/2014/main" id="{B692901B-9D46-47C2-9DA7-AE905566F175}"/>
                </a:ext>
              </a:extLst>
            </p:cNvPr>
            <p:cNvSpPr>
              <a:spLocks noEditPoints="1"/>
            </p:cNvSpPr>
            <p:nvPr/>
          </p:nvSpPr>
          <p:spPr bwMode="auto">
            <a:xfrm>
              <a:off x="7425531" y="4490812"/>
              <a:ext cx="42862" cy="38100"/>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6" name="Cape Verde">
              <a:extLst>
                <a:ext uri="{FF2B5EF4-FFF2-40B4-BE49-F238E27FC236}">
                  <a16:creationId xmlns:a16="http://schemas.microsoft.com/office/drawing/2014/main" id="{375699C2-FB2B-414D-9265-B9A74F625DEF}"/>
                </a:ext>
              </a:extLst>
            </p:cNvPr>
            <p:cNvSpPr>
              <a:spLocks noEditPoints="1"/>
            </p:cNvSpPr>
            <p:nvPr/>
          </p:nvSpPr>
          <p:spPr bwMode="auto">
            <a:xfrm>
              <a:off x="5161756" y="3412899"/>
              <a:ext cx="87312" cy="90488"/>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7" name="Cayman Islands">
              <a:extLst>
                <a:ext uri="{FF2B5EF4-FFF2-40B4-BE49-F238E27FC236}">
                  <a16:creationId xmlns:a16="http://schemas.microsoft.com/office/drawing/2014/main" id="{9519199E-8563-4E4B-AD44-58EEE5E5F133}"/>
                </a:ext>
              </a:extLst>
            </p:cNvPr>
            <p:cNvSpPr>
              <a:spLocks noEditPoints="1"/>
            </p:cNvSpPr>
            <p:nvPr/>
          </p:nvSpPr>
          <p:spPr bwMode="auto">
            <a:xfrm>
              <a:off x="3328194" y="3317648"/>
              <a:ext cx="55562" cy="17463"/>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8" name="Dominica">
              <a:extLst>
                <a:ext uri="{FF2B5EF4-FFF2-40B4-BE49-F238E27FC236}">
                  <a16:creationId xmlns:a16="http://schemas.microsoft.com/office/drawing/2014/main" id="{0C891C4E-DA3E-4849-B730-269285E846BE}"/>
                </a:ext>
              </a:extLst>
            </p:cNvPr>
            <p:cNvSpPr>
              <a:spLocks/>
            </p:cNvSpPr>
            <p:nvPr/>
          </p:nvSpPr>
          <p:spPr bwMode="auto">
            <a:xfrm>
              <a:off x="3969544" y="3473224"/>
              <a:ext cx="6350" cy="14288"/>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9" name="Falkland Islands">
              <a:extLst>
                <a:ext uri="{FF2B5EF4-FFF2-40B4-BE49-F238E27FC236}">
                  <a16:creationId xmlns:a16="http://schemas.microsoft.com/office/drawing/2014/main" id="{C45A9535-41FA-4563-A897-FEB2E7AD31F7}"/>
                </a:ext>
              </a:extLst>
            </p:cNvPr>
            <p:cNvSpPr>
              <a:spLocks noEditPoints="1"/>
            </p:cNvSpPr>
            <p:nvPr/>
          </p:nvSpPr>
          <p:spPr bwMode="auto">
            <a:xfrm>
              <a:off x="4252119" y="5987823"/>
              <a:ext cx="90487" cy="36513"/>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0" name="Faroe Islands">
              <a:extLst>
                <a:ext uri="{FF2B5EF4-FFF2-40B4-BE49-F238E27FC236}">
                  <a16:creationId xmlns:a16="http://schemas.microsoft.com/office/drawing/2014/main" id="{24F5DD01-BFB6-4946-8A99-E34D047A6001}"/>
                </a:ext>
              </a:extLst>
            </p:cNvPr>
            <p:cNvSpPr>
              <a:spLocks noEditPoints="1"/>
            </p:cNvSpPr>
            <p:nvPr/>
          </p:nvSpPr>
          <p:spPr bwMode="auto">
            <a:xfrm>
              <a:off x="5801519" y="1746024"/>
              <a:ext cx="26987" cy="31750"/>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1" name="Grenada">
              <a:extLst>
                <a:ext uri="{FF2B5EF4-FFF2-40B4-BE49-F238E27FC236}">
                  <a16:creationId xmlns:a16="http://schemas.microsoft.com/office/drawing/2014/main" id="{0DAF9DE3-2522-4538-B4B9-21143C2B0BC9}"/>
                </a:ext>
              </a:extLst>
            </p:cNvPr>
            <p:cNvSpPr>
              <a:spLocks/>
            </p:cNvSpPr>
            <p:nvPr/>
          </p:nvSpPr>
          <p:spPr bwMode="auto">
            <a:xfrm>
              <a:off x="3950494" y="3600224"/>
              <a:ext cx="6350" cy="9525"/>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2" name="Hong-Kong">
              <a:extLst>
                <a:ext uri="{FF2B5EF4-FFF2-40B4-BE49-F238E27FC236}">
                  <a16:creationId xmlns:a16="http://schemas.microsoft.com/office/drawing/2014/main" id="{11BF69CE-3057-4118-907A-865E6D79A684}"/>
                </a:ext>
              </a:extLst>
            </p:cNvPr>
            <p:cNvSpPr>
              <a:spLocks noEditPoints="1"/>
            </p:cNvSpPr>
            <p:nvPr/>
          </p:nvSpPr>
          <p:spPr bwMode="auto">
            <a:xfrm>
              <a:off x="9706769" y="3209698"/>
              <a:ext cx="15875" cy="15875"/>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3" name="Saint Kitts and Nevis">
              <a:extLst>
                <a:ext uri="{FF2B5EF4-FFF2-40B4-BE49-F238E27FC236}">
                  <a16:creationId xmlns:a16="http://schemas.microsoft.com/office/drawing/2014/main" id="{253ADBB3-2187-4CE3-9C94-948F8A6F2661}"/>
                </a:ext>
              </a:extLst>
            </p:cNvPr>
            <p:cNvSpPr>
              <a:spLocks noEditPoints="1"/>
            </p:cNvSpPr>
            <p:nvPr/>
          </p:nvSpPr>
          <p:spPr bwMode="auto">
            <a:xfrm>
              <a:off x="3929856" y="3406549"/>
              <a:ext cx="9525" cy="11113"/>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4" name="Saint Lucia">
              <a:extLst>
                <a:ext uri="{FF2B5EF4-FFF2-40B4-BE49-F238E27FC236}">
                  <a16:creationId xmlns:a16="http://schemas.microsoft.com/office/drawing/2014/main" id="{6E69D334-C7FE-481A-80DC-E3A544421B66}"/>
                </a:ext>
              </a:extLst>
            </p:cNvPr>
            <p:cNvSpPr>
              <a:spLocks/>
            </p:cNvSpPr>
            <p:nvPr/>
          </p:nvSpPr>
          <p:spPr bwMode="auto">
            <a:xfrm>
              <a:off x="3979069" y="3530374"/>
              <a:ext cx="4762" cy="14288"/>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5" name="Liechtenstein">
              <a:extLst>
                <a:ext uri="{FF2B5EF4-FFF2-40B4-BE49-F238E27FC236}">
                  <a16:creationId xmlns:a16="http://schemas.microsoft.com/office/drawing/2014/main" id="{86D45269-DF59-4650-94B6-E908D55D3387}"/>
                </a:ext>
              </a:extLst>
            </p:cNvPr>
            <p:cNvSpPr>
              <a:spLocks/>
            </p:cNvSpPr>
            <p:nvPr/>
          </p:nvSpPr>
          <p:spPr bwMode="auto">
            <a:xfrm>
              <a:off x="6274594" y="2284187"/>
              <a:ext cx="4762" cy="7938"/>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6" name="Maldives">
              <a:extLst>
                <a:ext uri="{FF2B5EF4-FFF2-40B4-BE49-F238E27FC236}">
                  <a16:creationId xmlns:a16="http://schemas.microsoft.com/office/drawing/2014/main" id="{54A7709D-1FEA-49B2-89AC-0C09843E02C0}"/>
                </a:ext>
              </a:extLst>
            </p:cNvPr>
            <p:cNvSpPr>
              <a:spLocks noEditPoints="1"/>
            </p:cNvSpPr>
            <p:nvPr/>
          </p:nvSpPr>
          <p:spPr bwMode="auto">
            <a:xfrm>
              <a:off x="8439944" y="3901849"/>
              <a:ext cx="3175" cy="38100"/>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7" name="Malta">
              <a:extLst>
                <a:ext uri="{FF2B5EF4-FFF2-40B4-BE49-F238E27FC236}">
                  <a16:creationId xmlns:a16="http://schemas.microsoft.com/office/drawing/2014/main" id="{ED41B9EE-D2B3-4F46-82B2-248F7F2C0759}"/>
                </a:ext>
              </a:extLst>
            </p:cNvPr>
            <p:cNvSpPr>
              <a:spLocks noEditPoints="1"/>
            </p:cNvSpPr>
            <p:nvPr/>
          </p:nvSpPr>
          <p:spPr bwMode="auto">
            <a:xfrm>
              <a:off x="6439694" y="2700112"/>
              <a:ext cx="11112" cy="11113"/>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8" name="Montserrat">
              <a:extLst>
                <a:ext uri="{FF2B5EF4-FFF2-40B4-BE49-F238E27FC236}">
                  <a16:creationId xmlns:a16="http://schemas.microsoft.com/office/drawing/2014/main" id="{B4779D8D-7D42-4C66-A39F-C585C29D776C}"/>
                </a:ext>
              </a:extLst>
            </p:cNvPr>
            <p:cNvSpPr>
              <a:spLocks/>
            </p:cNvSpPr>
            <p:nvPr/>
          </p:nvSpPr>
          <p:spPr bwMode="auto">
            <a:xfrm>
              <a:off x="3948906" y="3428774"/>
              <a:ext cx="1587" cy="3175"/>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9" name="Mauritius">
              <a:extLst>
                <a:ext uri="{FF2B5EF4-FFF2-40B4-BE49-F238E27FC236}">
                  <a16:creationId xmlns:a16="http://schemas.microsoft.com/office/drawing/2014/main" id="{37F30451-D576-4D86-97E7-0DAFA597CD93}"/>
                </a:ext>
              </a:extLst>
            </p:cNvPr>
            <p:cNvSpPr>
              <a:spLocks/>
            </p:cNvSpPr>
            <p:nvPr/>
          </p:nvSpPr>
          <p:spPr bwMode="auto">
            <a:xfrm>
              <a:off x="7871619" y="4816248"/>
              <a:ext cx="14287" cy="20638"/>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0" name="New Caledonia">
              <a:extLst>
                <a:ext uri="{FF2B5EF4-FFF2-40B4-BE49-F238E27FC236}">
                  <a16:creationId xmlns:a16="http://schemas.microsoft.com/office/drawing/2014/main" id="{7C9D784C-4CAF-4A37-8B2C-577658120CA3}"/>
                </a:ext>
              </a:extLst>
            </p:cNvPr>
            <p:cNvSpPr>
              <a:spLocks noEditPoints="1"/>
            </p:cNvSpPr>
            <p:nvPr/>
          </p:nvSpPr>
          <p:spPr bwMode="auto">
            <a:xfrm>
              <a:off x="11235531" y="4782911"/>
              <a:ext cx="249237" cy="133350"/>
            </a:xfrm>
            <a:custGeom>
              <a:avLst/>
              <a:gdLst>
                <a:gd name="T0" fmla="*/ 136 w 157"/>
                <a:gd name="T1" fmla="*/ 81 h 84"/>
                <a:gd name="T2" fmla="*/ 136 w 157"/>
                <a:gd name="T3" fmla="*/ 84 h 84"/>
                <a:gd name="T4" fmla="*/ 137 w 157"/>
                <a:gd name="T5" fmla="*/ 83 h 84"/>
                <a:gd name="T6" fmla="*/ 154 w 157"/>
                <a:gd name="T7" fmla="*/ 53 h 84"/>
                <a:gd name="T8" fmla="*/ 151 w 157"/>
                <a:gd name="T9" fmla="*/ 54 h 84"/>
                <a:gd name="T10" fmla="*/ 152 w 157"/>
                <a:gd name="T11" fmla="*/ 59 h 84"/>
                <a:gd name="T12" fmla="*/ 156 w 157"/>
                <a:gd name="T13" fmla="*/ 60 h 84"/>
                <a:gd name="T14" fmla="*/ 155 w 157"/>
                <a:gd name="T15" fmla="*/ 55 h 84"/>
                <a:gd name="T16" fmla="*/ 145 w 157"/>
                <a:gd name="T17" fmla="*/ 47 h 84"/>
                <a:gd name="T18" fmla="*/ 143 w 157"/>
                <a:gd name="T19" fmla="*/ 42 h 84"/>
                <a:gd name="T20" fmla="*/ 142 w 157"/>
                <a:gd name="T21" fmla="*/ 37 h 84"/>
                <a:gd name="T22" fmla="*/ 140 w 157"/>
                <a:gd name="T23" fmla="*/ 39 h 84"/>
                <a:gd name="T24" fmla="*/ 137 w 157"/>
                <a:gd name="T25" fmla="*/ 43 h 84"/>
                <a:gd name="T26" fmla="*/ 141 w 157"/>
                <a:gd name="T27" fmla="*/ 48 h 84"/>
                <a:gd name="T28" fmla="*/ 129 w 157"/>
                <a:gd name="T29" fmla="*/ 38 h 84"/>
                <a:gd name="T30" fmla="*/ 131 w 157"/>
                <a:gd name="T31" fmla="*/ 35 h 84"/>
                <a:gd name="T32" fmla="*/ 133 w 157"/>
                <a:gd name="T33" fmla="*/ 32 h 84"/>
                <a:gd name="T34" fmla="*/ 131 w 157"/>
                <a:gd name="T35" fmla="*/ 32 h 84"/>
                <a:gd name="T36" fmla="*/ 128 w 157"/>
                <a:gd name="T37" fmla="*/ 38 h 84"/>
                <a:gd name="T38" fmla="*/ 83 w 157"/>
                <a:gd name="T39" fmla="*/ 27 h 84"/>
                <a:gd name="T40" fmla="*/ 80 w 157"/>
                <a:gd name="T41" fmla="*/ 27 h 84"/>
                <a:gd name="T42" fmla="*/ 81 w 157"/>
                <a:gd name="T43" fmla="*/ 29 h 84"/>
                <a:gd name="T44" fmla="*/ 83 w 157"/>
                <a:gd name="T45" fmla="*/ 36 h 84"/>
                <a:gd name="T46" fmla="*/ 87 w 157"/>
                <a:gd name="T47" fmla="*/ 43 h 84"/>
                <a:gd name="T48" fmla="*/ 91 w 157"/>
                <a:gd name="T49" fmla="*/ 51 h 84"/>
                <a:gd name="T50" fmla="*/ 99 w 157"/>
                <a:gd name="T51" fmla="*/ 59 h 84"/>
                <a:gd name="T52" fmla="*/ 105 w 157"/>
                <a:gd name="T53" fmla="*/ 64 h 84"/>
                <a:gd name="T54" fmla="*/ 112 w 157"/>
                <a:gd name="T55" fmla="*/ 68 h 84"/>
                <a:gd name="T56" fmla="*/ 113 w 157"/>
                <a:gd name="T57" fmla="*/ 71 h 84"/>
                <a:gd name="T58" fmla="*/ 118 w 157"/>
                <a:gd name="T59" fmla="*/ 74 h 84"/>
                <a:gd name="T60" fmla="*/ 119 w 157"/>
                <a:gd name="T61" fmla="*/ 75 h 84"/>
                <a:gd name="T62" fmla="*/ 126 w 157"/>
                <a:gd name="T63" fmla="*/ 78 h 84"/>
                <a:gd name="T64" fmla="*/ 129 w 157"/>
                <a:gd name="T65" fmla="*/ 71 h 84"/>
                <a:gd name="T66" fmla="*/ 122 w 157"/>
                <a:gd name="T67" fmla="*/ 65 h 84"/>
                <a:gd name="T68" fmla="*/ 114 w 157"/>
                <a:gd name="T69" fmla="*/ 56 h 84"/>
                <a:gd name="T70" fmla="*/ 110 w 157"/>
                <a:gd name="T71" fmla="*/ 53 h 84"/>
                <a:gd name="T72" fmla="*/ 106 w 157"/>
                <a:gd name="T73" fmla="*/ 50 h 84"/>
                <a:gd name="T74" fmla="*/ 104 w 157"/>
                <a:gd name="T75" fmla="*/ 45 h 84"/>
                <a:gd name="T76" fmla="*/ 101 w 157"/>
                <a:gd name="T77" fmla="*/ 40 h 84"/>
                <a:gd name="T78" fmla="*/ 96 w 157"/>
                <a:gd name="T79" fmla="*/ 37 h 84"/>
                <a:gd name="T80" fmla="*/ 85 w 157"/>
                <a:gd name="T81" fmla="*/ 29 h 84"/>
                <a:gd name="T82" fmla="*/ 1 w 157"/>
                <a:gd name="T83" fmla="*/ 5 h 84"/>
                <a:gd name="T84" fmla="*/ 1 w 157"/>
                <a:gd name="T85"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84">
                  <a:moveTo>
                    <a:pt x="137" y="83"/>
                  </a:moveTo>
                  <a:lnTo>
                    <a:pt x="137" y="82"/>
                  </a:lnTo>
                  <a:lnTo>
                    <a:pt x="136" y="81"/>
                  </a:lnTo>
                  <a:lnTo>
                    <a:pt x="135" y="83"/>
                  </a:lnTo>
                  <a:lnTo>
                    <a:pt x="135" y="84"/>
                  </a:lnTo>
                  <a:lnTo>
                    <a:pt x="136" y="84"/>
                  </a:lnTo>
                  <a:lnTo>
                    <a:pt x="136" y="84"/>
                  </a:lnTo>
                  <a:lnTo>
                    <a:pt x="137" y="83"/>
                  </a:lnTo>
                  <a:lnTo>
                    <a:pt x="137" y="83"/>
                  </a:lnTo>
                  <a:close/>
                  <a:moveTo>
                    <a:pt x="155" y="55"/>
                  </a:moveTo>
                  <a:lnTo>
                    <a:pt x="154" y="55"/>
                  </a:lnTo>
                  <a:lnTo>
                    <a:pt x="154" y="53"/>
                  </a:lnTo>
                  <a:lnTo>
                    <a:pt x="155" y="53"/>
                  </a:lnTo>
                  <a:lnTo>
                    <a:pt x="153" y="53"/>
                  </a:lnTo>
                  <a:lnTo>
                    <a:pt x="151" y="54"/>
                  </a:lnTo>
                  <a:lnTo>
                    <a:pt x="151" y="57"/>
                  </a:lnTo>
                  <a:lnTo>
                    <a:pt x="151" y="59"/>
                  </a:lnTo>
                  <a:lnTo>
                    <a:pt x="152" y="59"/>
                  </a:lnTo>
                  <a:lnTo>
                    <a:pt x="152" y="61"/>
                  </a:lnTo>
                  <a:lnTo>
                    <a:pt x="153" y="61"/>
                  </a:lnTo>
                  <a:lnTo>
                    <a:pt x="156" y="60"/>
                  </a:lnTo>
                  <a:lnTo>
                    <a:pt x="157" y="55"/>
                  </a:lnTo>
                  <a:lnTo>
                    <a:pt x="155" y="55"/>
                  </a:lnTo>
                  <a:lnTo>
                    <a:pt x="155" y="55"/>
                  </a:lnTo>
                  <a:lnTo>
                    <a:pt x="155" y="55"/>
                  </a:lnTo>
                  <a:close/>
                  <a:moveTo>
                    <a:pt x="144" y="49"/>
                  </a:moveTo>
                  <a:lnTo>
                    <a:pt x="145" y="47"/>
                  </a:lnTo>
                  <a:lnTo>
                    <a:pt x="145" y="46"/>
                  </a:lnTo>
                  <a:lnTo>
                    <a:pt x="144" y="44"/>
                  </a:lnTo>
                  <a:lnTo>
                    <a:pt x="143" y="42"/>
                  </a:lnTo>
                  <a:lnTo>
                    <a:pt x="144" y="38"/>
                  </a:lnTo>
                  <a:lnTo>
                    <a:pt x="144" y="38"/>
                  </a:lnTo>
                  <a:lnTo>
                    <a:pt x="142" y="37"/>
                  </a:lnTo>
                  <a:lnTo>
                    <a:pt x="139" y="38"/>
                  </a:lnTo>
                  <a:lnTo>
                    <a:pt x="138" y="39"/>
                  </a:lnTo>
                  <a:lnTo>
                    <a:pt x="140" y="39"/>
                  </a:lnTo>
                  <a:lnTo>
                    <a:pt x="141" y="40"/>
                  </a:lnTo>
                  <a:lnTo>
                    <a:pt x="139" y="43"/>
                  </a:lnTo>
                  <a:lnTo>
                    <a:pt x="137" y="43"/>
                  </a:lnTo>
                  <a:lnTo>
                    <a:pt x="138" y="45"/>
                  </a:lnTo>
                  <a:lnTo>
                    <a:pt x="138" y="47"/>
                  </a:lnTo>
                  <a:lnTo>
                    <a:pt x="141" y="48"/>
                  </a:lnTo>
                  <a:lnTo>
                    <a:pt x="142" y="49"/>
                  </a:lnTo>
                  <a:lnTo>
                    <a:pt x="144" y="49"/>
                  </a:lnTo>
                  <a:close/>
                  <a:moveTo>
                    <a:pt x="129" y="38"/>
                  </a:moveTo>
                  <a:lnTo>
                    <a:pt x="130" y="36"/>
                  </a:lnTo>
                  <a:lnTo>
                    <a:pt x="131" y="36"/>
                  </a:lnTo>
                  <a:lnTo>
                    <a:pt x="131" y="35"/>
                  </a:lnTo>
                  <a:lnTo>
                    <a:pt x="131" y="34"/>
                  </a:lnTo>
                  <a:lnTo>
                    <a:pt x="132" y="33"/>
                  </a:lnTo>
                  <a:lnTo>
                    <a:pt x="133" y="32"/>
                  </a:lnTo>
                  <a:lnTo>
                    <a:pt x="132" y="31"/>
                  </a:lnTo>
                  <a:lnTo>
                    <a:pt x="131" y="31"/>
                  </a:lnTo>
                  <a:lnTo>
                    <a:pt x="131" y="32"/>
                  </a:lnTo>
                  <a:lnTo>
                    <a:pt x="130" y="35"/>
                  </a:lnTo>
                  <a:lnTo>
                    <a:pt x="130" y="36"/>
                  </a:lnTo>
                  <a:lnTo>
                    <a:pt x="128" y="38"/>
                  </a:lnTo>
                  <a:lnTo>
                    <a:pt x="129" y="38"/>
                  </a:lnTo>
                  <a:lnTo>
                    <a:pt x="129" y="38"/>
                  </a:lnTo>
                  <a:close/>
                  <a:moveTo>
                    <a:pt x="83" y="27"/>
                  </a:moveTo>
                  <a:lnTo>
                    <a:pt x="80" y="24"/>
                  </a:lnTo>
                  <a:lnTo>
                    <a:pt x="80" y="25"/>
                  </a:lnTo>
                  <a:lnTo>
                    <a:pt x="80" y="27"/>
                  </a:lnTo>
                  <a:lnTo>
                    <a:pt x="80" y="28"/>
                  </a:lnTo>
                  <a:lnTo>
                    <a:pt x="81" y="29"/>
                  </a:lnTo>
                  <a:lnTo>
                    <a:pt x="81" y="29"/>
                  </a:lnTo>
                  <a:lnTo>
                    <a:pt x="81" y="31"/>
                  </a:lnTo>
                  <a:lnTo>
                    <a:pt x="81" y="33"/>
                  </a:lnTo>
                  <a:lnTo>
                    <a:pt x="83" y="36"/>
                  </a:lnTo>
                  <a:lnTo>
                    <a:pt x="84" y="38"/>
                  </a:lnTo>
                  <a:lnTo>
                    <a:pt x="85" y="41"/>
                  </a:lnTo>
                  <a:lnTo>
                    <a:pt x="87" y="43"/>
                  </a:lnTo>
                  <a:lnTo>
                    <a:pt x="88" y="45"/>
                  </a:lnTo>
                  <a:lnTo>
                    <a:pt x="91" y="50"/>
                  </a:lnTo>
                  <a:lnTo>
                    <a:pt x="91" y="51"/>
                  </a:lnTo>
                  <a:lnTo>
                    <a:pt x="93" y="53"/>
                  </a:lnTo>
                  <a:lnTo>
                    <a:pt x="97" y="57"/>
                  </a:lnTo>
                  <a:lnTo>
                    <a:pt x="99" y="59"/>
                  </a:lnTo>
                  <a:lnTo>
                    <a:pt x="100" y="60"/>
                  </a:lnTo>
                  <a:lnTo>
                    <a:pt x="104" y="63"/>
                  </a:lnTo>
                  <a:lnTo>
                    <a:pt x="105" y="64"/>
                  </a:lnTo>
                  <a:lnTo>
                    <a:pt x="106" y="65"/>
                  </a:lnTo>
                  <a:lnTo>
                    <a:pt x="109" y="66"/>
                  </a:lnTo>
                  <a:lnTo>
                    <a:pt x="112" y="68"/>
                  </a:lnTo>
                  <a:lnTo>
                    <a:pt x="112" y="68"/>
                  </a:lnTo>
                  <a:lnTo>
                    <a:pt x="112" y="70"/>
                  </a:lnTo>
                  <a:lnTo>
                    <a:pt x="113" y="71"/>
                  </a:lnTo>
                  <a:lnTo>
                    <a:pt x="115" y="72"/>
                  </a:lnTo>
                  <a:lnTo>
                    <a:pt x="117" y="74"/>
                  </a:lnTo>
                  <a:lnTo>
                    <a:pt x="118" y="74"/>
                  </a:lnTo>
                  <a:lnTo>
                    <a:pt x="118" y="75"/>
                  </a:lnTo>
                  <a:lnTo>
                    <a:pt x="119" y="75"/>
                  </a:lnTo>
                  <a:lnTo>
                    <a:pt x="119" y="75"/>
                  </a:lnTo>
                  <a:lnTo>
                    <a:pt x="123" y="78"/>
                  </a:lnTo>
                  <a:lnTo>
                    <a:pt x="125" y="78"/>
                  </a:lnTo>
                  <a:lnTo>
                    <a:pt x="126" y="78"/>
                  </a:lnTo>
                  <a:lnTo>
                    <a:pt x="128" y="77"/>
                  </a:lnTo>
                  <a:lnTo>
                    <a:pt x="129" y="75"/>
                  </a:lnTo>
                  <a:lnTo>
                    <a:pt x="129" y="71"/>
                  </a:lnTo>
                  <a:lnTo>
                    <a:pt x="127" y="69"/>
                  </a:lnTo>
                  <a:lnTo>
                    <a:pt x="124" y="67"/>
                  </a:lnTo>
                  <a:lnTo>
                    <a:pt x="122" y="65"/>
                  </a:lnTo>
                  <a:lnTo>
                    <a:pt x="121" y="64"/>
                  </a:lnTo>
                  <a:lnTo>
                    <a:pt x="118" y="60"/>
                  </a:lnTo>
                  <a:lnTo>
                    <a:pt x="114" y="56"/>
                  </a:lnTo>
                  <a:lnTo>
                    <a:pt x="112" y="55"/>
                  </a:lnTo>
                  <a:lnTo>
                    <a:pt x="111" y="54"/>
                  </a:lnTo>
                  <a:lnTo>
                    <a:pt x="110" y="53"/>
                  </a:lnTo>
                  <a:lnTo>
                    <a:pt x="109" y="52"/>
                  </a:lnTo>
                  <a:lnTo>
                    <a:pt x="107" y="51"/>
                  </a:lnTo>
                  <a:lnTo>
                    <a:pt x="106" y="50"/>
                  </a:lnTo>
                  <a:lnTo>
                    <a:pt x="104" y="47"/>
                  </a:lnTo>
                  <a:lnTo>
                    <a:pt x="104" y="46"/>
                  </a:lnTo>
                  <a:lnTo>
                    <a:pt x="104" y="45"/>
                  </a:lnTo>
                  <a:lnTo>
                    <a:pt x="104" y="44"/>
                  </a:lnTo>
                  <a:lnTo>
                    <a:pt x="102" y="42"/>
                  </a:lnTo>
                  <a:lnTo>
                    <a:pt x="101" y="40"/>
                  </a:lnTo>
                  <a:lnTo>
                    <a:pt x="101" y="39"/>
                  </a:lnTo>
                  <a:lnTo>
                    <a:pt x="99" y="38"/>
                  </a:lnTo>
                  <a:lnTo>
                    <a:pt x="96" y="37"/>
                  </a:lnTo>
                  <a:lnTo>
                    <a:pt x="90" y="30"/>
                  </a:lnTo>
                  <a:lnTo>
                    <a:pt x="88" y="28"/>
                  </a:lnTo>
                  <a:lnTo>
                    <a:pt x="85" y="29"/>
                  </a:lnTo>
                  <a:lnTo>
                    <a:pt x="83" y="27"/>
                  </a:lnTo>
                  <a:lnTo>
                    <a:pt x="83" y="27"/>
                  </a:lnTo>
                  <a:close/>
                  <a:moveTo>
                    <a:pt x="1" y="5"/>
                  </a:moveTo>
                  <a:lnTo>
                    <a:pt x="2" y="3"/>
                  </a:lnTo>
                  <a:lnTo>
                    <a:pt x="2" y="0"/>
                  </a:lnTo>
                  <a:lnTo>
                    <a:pt x="1" y="2"/>
                  </a:lnTo>
                  <a:lnTo>
                    <a:pt x="0" y="6"/>
                  </a:lnTo>
                  <a:lnTo>
                    <a:pt x="1"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1" name="Marshall Islands">
              <a:extLst>
                <a:ext uri="{FF2B5EF4-FFF2-40B4-BE49-F238E27FC236}">
                  <a16:creationId xmlns:a16="http://schemas.microsoft.com/office/drawing/2014/main" id="{90EB2646-725D-4925-970F-0FFAF7B934FE}"/>
                </a:ext>
              </a:extLst>
            </p:cNvPr>
            <p:cNvSpPr>
              <a:spLocks/>
            </p:cNvSpPr>
            <p:nvPr/>
          </p:nvSpPr>
          <p:spPr bwMode="auto">
            <a:xfrm>
              <a:off x="11557794" y="4081237"/>
              <a:ext cx="0" cy="1588"/>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2" name="Pitcaim Islands">
              <a:extLst>
                <a:ext uri="{FF2B5EF4-FFF2-40B4-BE49-F238E27FC236}">
                  <a16:creationId xmlns:a16="http://schemas.microsoft.com/office/drawing/2014/main" id="{43C0CF56-5656-4BBD-81CA-BF49A1508FEA}"/>
                </a:ext>
              </a:extLst>
            </p:cNvPr>
            <p:cNvSpPr>
              <a:spLocks/>
            </p:cNvSpPr>
            <p:nvPr/>
          </p:nvSpPr>
          <p:spPr bwMode="auto">
            <a:xfrm>
              <a:off x="1828006" y="4979761"/>
              <a:ext cx="3175" cy="3175"/>
            </a:xfrm>
            <a:custGeom>
              <a:avLst/>
              <a:gdLst>
                <a:gd name="T0" fmla="*/ 2 w 2"/>
                <a:gd name="T1" fmla="*/ 2 h 2"/>
                <a:gd name="T2" fmla="*/ 2 w 2"/>
                <a:gd name="T3" fmla="*/ 1 h 2"/>
                <a:gd name="T4" fmla="*/ 1 w 2"/>
                <a:gd name="T5" fmla="*/ 0 h 2"/>
                <a:gd name="T6" fmla="*/ 1 w 2"/>
                <a:gd name="T7" fmla="*/ 0 h 2"/>
                <a:gd name="T8" fmla="*/ 0 w 2"/>
                <a:gd name="T9" fmla="*/ 0 h 2"/>
                <a:gd name="T10" fmla="*/ 1 w 2"/>
                <a:gd name="T11" fmla="*/ 1 h 2"/>
                <a:gd name="T12" fmla="*/ 1 w 2"/>
                <a:gd name="T13" fmla="*/ 2 h 2"/>
                <a:gd name="T14" fmla="*/ 2 w 2"/>
                <a:gd name="T15" fmla="*/ 2 h 2"/>
                <a:gd name="T16" fmla="*/ 2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2"/>
                  </a:moveTo>
                  <a:lnTo>
                    <a:pt x="2" y="1"/>
                  </a:lnTo>
                  <a:lnTo>
                    <a:pt x="1" y="0"/>
                  </a:lnTo>
                  <a:lnTo>
                    <a:pt x="1" y="0"/>
                  </a:lnTo>
                  <a:lnTo>
                    <a:pt x="0" y="0"/>
                  </a:lnTo>
                  <a:lnTo>
                    <a:pt x="1" y="1"/>
                  </a:lnTo>
                  <a:lnTo>
                    <a:pt x="1" y="2"/>
                  </a:lnTo>
                  <a:lnTo>
                    <a:pt x="2" y="2"/>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3" name="Puerto Rico">
              <a:extLst>
                <a:ext uri="{FF2B5EF4-FFF2-40B4-BE49-F238E27FC236}">
                  <a16:creationId xmlns:a16="http://schemas.microsoft.com/office/drawing/2014/main" id="{488BB6C3-4873-49F7-B89E-4AD4909E51F9}"/>
                </a:ext>
              </a:extLst>
            </p:cNvPr>
            <p:cNvSpPr>
              <a:spLocks noEditPoints="1"/>
            </p:cNvSpPr>
            <p:nvPr/>
          </p:nvSpPr>
          <p:spPr bwMode="auto">
            <a:xfrm>
              <a:off x="3764756" y="3363686"/>
              <a:ext cx="85725" cy="22225"/>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4" name="Singapore">
              <a:extLst>
                <a:ext uri="{FF2B5EF4-FFF2-40B4-BE49-F238E27FC236}">
                  <a16:creationId xmlns:a16="http://schemas.microsoft.com/office/drawing/2014/main" id="{8FF5ED45-B10D-4789-8E10-0F4AD8152FE0}"/>
                </a:ext>
              </a:extLst>
            </p:cNvPr>
            <p:cNvSpPr>
              <a:spLocks/>
            </p:cNvSpPr>
            <p:nvPr/>
          </p:nvSpPr>
          <p:spPr bwMode="auto">
            <a:xfrm>
              <a:off x="9449594" y="4008212"/>
              <a:ext cx="9525" cy="4763"/>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5" name="Solomon Islands">
              <a:extLst>
                <a:ext uri="{FF2B5EF4-FFF2-40B4-BE49-F238E27FC236}">
                  <a16:creationId xmlns:a16="http://schemas.microsoft.com/office/drawing/2014/main" id="{307C1D36-EC21-42A8-8890-108BA66B9D4E}"/>
                </a:ext>
              </a:extLst>
            </p:cNvPr>
            <p:cNvSpPr>
              <a:spLocks noEditPoints="1"/>
            </p:cNvSpPr>
            <p:nvPr/>
          </p:nvSpPr>
          <p:spPr bwMode="auto">
            <a:xfrm>
              <a:off x="11170444" y="4311423"/>
              <a:ext cx="352425" cy="196850"/>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6" name="Sao Tome and Principe">
              <a:extLst>
                <a:ext uri="{FF2B5EF4-FFF2-40B4-BE49-F238E27FC236}">
                  <a16:creationId xmlns:a16="http://schemas.microsoft.com/office/drawing/2014/main" id="{62B7DA3B-A111-4DC9-92F8-02F6656F7D16}"/>
                </a:ext>
              </a:extLst>
            </p:cNvPr>
            <p:cNvSpPr>
              <a:spLocks noEditPoints="1"/>
            </p:cNvSpPr>
            <p:nvPr/>
          </p:nvSpPr>
          <p:spPr bwMode="auto">
            <a:xfrm>
              <a:off x="6211094" y="3998687"/>
              <a:ext cx="31750" cy="61913"/>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nvGrpSpPr>
            <p:cNvPr id="197" name="Anguilla">
              <a:extLst>
                <a:ext uri="{FF2B5EF4-FFF2-40B4-BE49-F238E27FC236}">
                  <a16:creationId xmlns:a16="http://schemas.microsoft.com/office/drawing/2014/main" id="{4A74710F-847A-4D6D-9202-7ED07C6E4601}"/>
                </a:ext>
              </a:extLst>
            </p:cNvPr>
            <p:cNvGrpSpPr/>
            <p:nvPr/>
          </p:nvGrpSpPr>
          <p:grpSpPr>
            <a:xfrm>
              <a:off x="3921919" y="3373212"/>
              <a:ext cx="6350" cy="9525"/>
              <a:chOff x="3927475" y="3794126"/>
              <a:chExt cx="6350" cy="9525"/>
            </a:xfrm>
            <a:grpFill/>
          </p:grpSpPr>
          <p:sp>
            <p:nvSpPr>
              <p:cNvPr id="215" name="Freeform 2013">
                <a:extLst>
                  <a:ext uri="{FF2B5EF4-FFF2-40B4-BE49-F238E27FC236}">
                    <a16:creationId xmlns:a16="http://schemas.microsoft.com/office/drawing/2014/main" id="{50CA11B9-C706-4423-A626-5C83A27D2A8D}"/>
                  </a:ext>
                </a:extLst>
              </p:cNvPr>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6" name="Freeform 202">
                <a:extLst>
                  <a:ext uri="{FF2B5EF4-FFF2-40B4-BE49-F238E27FC236}">
                    <a16:creationId xmlns:a16="http://schemas.microsoft.com/office/drawing/2014/main" id="{7BCD1AF0-AC3A-4911-959F-023BF35AC1E6}"/>
                  </a:ext>
                </a:extLst>
              </p:cNvPr>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sp>
          <p:nvSpPr>
            <p:cNvPr id="198" name="Seychelles">
              <a:extLst>
                <a:ext uri="{FF2B5EF4-FFF2-40B4-BE49-F238E27FC236}">
                  <a16:creationId xmlns:a16="http://schemas.microsoft.com/office/drawing/2014/main" id="{FE4E5458-B85A-41E6-9A2A-DF2075179E9A}"/>
                </a:ext>
              </a:extLst>
            </p:cNvPr>
            <p:cNvSpPr>
              <a:spLocks/>
            </p:cNvSpPr>
            <p:nvPr/>
          </p:nvSpPr>
          <p:spPr bwMode="auto">
            <a:xfrm>
              <a:off x="7838281" y="4235223"/>
              <a:ext cx="6350" cy="6350"/>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9" name="Turks and Caicos Islands">
              <a:extLst>
                <a:ext uri="{FF2B5EF4-FFF2-40B4-BE49-F238E27FC236}">
                  <a16:creationId xmlns:a16="http://schemas.microsoft.com/office/drawing/2014/main" id="{0E2864EE-4AAF-4DAE-AAD5-9C3613B1E178}"/>
                </a:ext>
              </a:extLst>
            </p:cNvPr>
            <p:cNvSpPr>
              <a:spLocks noEditPoints="1"/>
            </p:cNvSpPr>
            <p:nvPr/>
          </p:nvSpPr>
          <p:spPr bwMode="auto">
            <a:xfrm>
              <a:off x="3634581" y="3233511"/>
              <a:ext cx="23812" cy="7938"/>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0" name="Trinidad and Tobago">
              <a:extLst>
                <a:ext uri="{FF2B5EF4-FFF2-40B4-BE49-F238E27FC236}">
                  <a16:creationId xmlns:a16="http://schemas.microsoft.com/office/drawing/2014/main" id="{8AADF590-AB00-48F8-8F89-357EA7A9B9AE}"/>
                </a:ext>
              </a:extLst>
            </p:cNvPr>
            <p:cNvSpPr>
              <a:spLocks noEditPoints="1"/>
            </p:cNvSpPr>
            <p:nvPr/>
          </p:nvSpPr>
          <p:spPr bwMode="auto">
            <a:xfrm>
              <a:off x="3942557" y="3633562"/>
              <a:ext cx="47625" cy="47625"/>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1" name="Saint Vincent and the Grenadines">
              <a:extLst>
                <a:ext uri="{FF2B5EF4-FFF2-40B4-BE49-F238E27FC236}">
                  <a16:creationId xmlns:a16="http://schemas.microsoft.com/office/drawing/2014/main" id="{3A8D10B9-5767-4027-9426-8EF99A72FF1D}"/>
                </a:ext>
              </a:extLst>
            </p:cNvPr>
            <p:cNvSpPr>
              <a:spLocks noEditPoints="1"/>
            </p:cNvSpPr>
            <p:nvPr/>
          </p:nvSpPr>
          <p:spPr bwMode="auto">
            <a:xfrm>
              <a:off x="3966369" y="3558948"/>
              <a:ext cx="9525" cy="25400"/>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2" name="British Virgin Islands">
              <a:extLst>
                <a:ext uri="{FF2B5EF4-FFF2-40B4-BE49-F238E27FC236}">
                  <a16:creationId xmlns:a16="http://schemas.microsoft.com/office/drawing/2014/main" id="{B00F3A35-81E9-4CD9-86D0-A95784223876}"/>
                </a:ext>
              </a:extLst>
            </p:cNvPr>
            <p:cNvSpPr>
              <a:spLocks noEditPoints="1"/>
            </p:cNvSpPr>
            <p:nvPr/>
          </p:nvSpPr>
          <p:spPr bwMode="auto">
            <a:xfrm>
              <a:off x="3872707" y="3355749"/>
              <a:ext cx="14287" cy="11113"/>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3" name="Virgin Islands">
              <a:extLst>
                <a:ext uri="{FF2B5EF4-FFF2-40B4-BE49-F238E27FC236}">
                  <a16:creationId xmlns:a16="http://schemas.microsoft.com/office/drawing/2014/main" id="{0A525671-045A-492A-91BA-7A3D82C57E24}"/>
                </a:ext>
              </a:extLst>
            </p:cNvPr>
            <p:cNvSpPr>
              <a:spLocks noEditPoints="1"/>
            </p:cNvSpPr>
            <p:nvPr/>
          </p:nvSpPr>
          <p:spPr bwMode="auto">
            <a:xfrm>
              <a:off x="3861594" y="3368448"/>
              <a:ext cx="12700" cy="25400"/>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4" name="Cyprus">
              <a:extLst>
                <a:ext uri="{FF2B5EF4-FFF2-40B4-BE49-F238E27FC236}">
                  <a16:creationId xmlns:a16="http://schemas.microsoft.com/office/drawing/2014/main" id="{56C40BD6-906B-4EC9-9D46-116740CB9F33}"/>
                </a:ext>
              </a:extLst>
            </p:cNvPr>
            <p:cNvSpPr>
              <a:spLocks/>
            </p:cNvSpPr>
            <p:nvPr/>
          </p:nvSpPr>
          <p:spPr bwMode="auto">
            <a:xfrm>
              <a:off x="7009607" y="2717574"/>
              <a:ext cx="68262" cy="41275"/>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nvGrpSpPr>
            <p:cNvPr id="205" name="France">
              <a:extLst>
                <a:ext uri="{FF2B5EF4-FFF2-40B4-BE49-F238E27FC236}">
                  <a16:creationId xmlns:a16="http://schemas.microsoft.com/office/drawing/2014/main" id="{CBB3B7F2-832F-4283-8A53-17347323D0DE}"/>
                </a:ext>
              </a:extLst>
            </p:cNvPr>
            <p:cNvGrpSpPr/>
            <p:nvPr/>
          </p:nvGrpSpPr>
          <p:grpSpPr>
            <a:xfrm>
              <a:off x="1008856" y="2141312"/>
              <a:ext cx="6810376" cy="2725737"/>
              <a:chOff x="1014412" y="2562226"/>
              <a:chExt cx="6810376" cy="2725738"/>
            </a:xfrm>
            <a:grpFill/>
          </p:grpSpPr>
          <p:sp>
            <p:nvSpPr>
              <p:cNvPr id="208" name="Freeform 198">
                <a:extLst>
                  <a:ext uri="{FF2B5EF4-FFF2-40B4-BE49-F238E27FC236}">
                    <a16:creationId xmlns:a16="http://schemas.microsoft.com/office/drawing/2014/main" id="{EA3896D5-8D5F-4675-9166-B0492503047A}"/>
                  </a:ext>
                </a:extLst>
              </p:cNvPr>
              <p:cNvSpPr>
                <a:spLocks noEditPoints="1"/>
              </p:cNvSpPr>
              <p:nvPr/>
            </p:nvSpPr>
            <p:spPr bwMode="auto">
              <a:xfrm>
                <a:off x="1014412" y="4814888"/>
                <a:ext cx="515937" cy="455613"/>
              </a:xfrm>
              <a:custGeom>
                <a:avLst/>
                <a:gdLst>
                  <a:gd name="T0" fmla="*/ 288 w 325"/>
                  <a:gd name="T1" fmla="*/ 285 h 287"/>
                  <a:gd name="T2" fmla="*/ 290 w 325"/>
                  <a:gd name="T3" fmla="*/ 287 h 287"/>
                  <a:gd name="T4" fmla="*/ 322 w 325"/>
                  <a:gd name="T5" fmla="*/ 230 h 287"/>
                  <a:gd name="T6" fmla="*/ 321 w 325"/>
                  <a:gd name="T7" fmla="*/ 230 h 287"/>
                  <a:gd name="T8" fmla="*/ 325 w 325"/>
                  <a:gd name="T9" fmla="*/ 232 h 287"/>
                  <a:gd name="T10" fmla="*/ 231 w 325"/>
                  <a:gd name="T11" fmla="*/ 226 h 287"/>
                  <a:gd name="T12" fmla="*/ 233 w 325"/>
                  <a:gd name="T13" fmla="*/ 227 h 287"/>
                  <a:gd name="T14" fmla="*/ 307 w 325"/>
                  <a:gd name="T15" fmla="*/ 225 h 287"/>
                  <a:gd name="T16" fmla="*/ 227 w 325"/>
                  <a:gd name="T17" fmla="*/ 222 h 287"/>
                  <a:gd name="T18" fmla="*/ 227 w 325"/>
                  <a:gd name="T19" fmla="*/ 222 h 287"/>
                  <a:gd name="T20" fmla="*/ 227 w 325"/>
                  <a:gd name="T21" fmla="*/ 215 h 287"/>
                  <a:gd name="T22" fmla="*/ 228 w 325"/>
                  <a:gd name="T23" fmla="*/ 212 h 287"/>
                  <a:gd name="T24" fmla="*/ 229 w 325"/>
                  <a:gd name="T25" fmla="*/ 211 h 287"/>
                  <a:gd name="T26" fmla="*/ 227 w 325"/>
                  <a:gd name="T27" fmla="*/ 214 h 287"/>
                  <a:gd name="T28" fmla="*/ 227 w 325"/>
                  <a:gd name="T29" fmla="*/ 215 h 287"/>
                  <a:gd name="T30" fmla="*/ 49 w 325"/>
                  <a:gd name="T31" fmla="*/ 207 h 287"/>
                  <a:gd name="T32" fmla="*/ 44 w 325"/>
                  <a:gd name="T33" fmla="*/ 210 h 287"/>
                  <a:gd name="T34" fmla="*/ 52 w 325"/>
                  <a:gd name="T35" fmla="*/ 214 h 287"/>
                  <a:gd name="T36" fmla="*/ 54 w 325"/>
                  <a:gd name="T37" fmla="*/ 212 h 287"/>
                  <a:gd name="T38" fmla="*/ 41 w 325"/>
                  <a:gd name="T39" fmla="*/ 207 h 287"/>
                  <a:gd name="T40" fmla="*/ 38 w 325"/>
                  <a:gd name="T41" fmla="*/ 208 h 287"/>
                  <a:gd name="T42" fmla="*/ 40 w 325"/>
                  <a:gd name="T43" fmla="*/ 208 h 287"/>
                  <a:gd name="T44" fmla="*/ 2 w 325"/>
                  <a:gd name="T45" fmla="*/ 189 h 287"/>
                  <a:gd name="T46" fmla="*/ 3 w 325"/>
                  <a:gd name="T47" fmla="*/ 192 h 287"/>
                  <a:gd name="T48" fmla="*/ 166 w 325"/>
                  <a:gd name="T49" fmla="*/ 186 h 287"/>
                  <a:gd name="T50" fmla="*/ 168 w 325"/>
                  <a:gd name="T51" fmla="*/ 186 h 287"/>
                  <a:gd name="T52" fmla="*/ 162 w 325"/>
                  <a:gd name="T53" fmla="*/ 185 h 287"/>
                  <a:gd name="T54" fmla="*/ 2 w 325"/>
                  <a:gd name="T55" fmla="*/ 186 h 287"/>
                  <a:gd name="T56" fmla="*/ 1 w 325"/>
                  <a:gd name="T57" fmla="*/ 186 h 287"/>
                  <a:gd name="T58" fmla="*/ 2 w 325"/>
                  <a:gd name="T59" fmla="*/ 186 h 287"/>
                  <a:gd name="T60" fmla="*/ 121 w 325"/>
                  <a:gd name="T61" fmla="*/ 175 h 287"/>
                  <a:gd name="T62" fmla="*/ 121 w 325"/>
                  <a:gd name="T63" fmla="*/ 176 h 287"/>
                  <a:gd name="T64" fmla="*/ 124 w 325"/>
                  <a:gd name="T65" fmla="*/ 180 h 287"/>
                  <a:gd name="T66" fmla="*/ 185 w 325"/>
                  <a:gd name="T67" fmla="*/ 171 h 287"/>
                  <a:gd name="T68" fmla="*/ 185 w 325"/>
                  <a:gd name="T69" fmla="*/ 173 h 287"/>
                  <a:gd name="T70" fmla="*/ 129 w 325"/>
                  <a:gd name="T71" fmla="*/ 166 h 287"/>
                  <a:gd name="T72" fmla="*/ 130 w 325"/>
                  <a:gd name="T73" fmla="*/ 168 h 287"/>
                  <a:gd name="T74" fmla="*/ 246 w 325"/>
                  <a:gd name="T75" fmla="*/ 39 h 287"/>
                  <a:gd name="T76" fmla="*/ 246 w 325"/>
                  <a:gd name="T77" fmla="*/ 41 h 287"/>
                  <a:gd name="T78" fmla="*/ 234 w 325"/>
                  <a:gd name="T79" fmla="*/ 27 h 287"/>
                  <a:gd name="T80" fmla="*/ 236 w 325"/>
                  <a:gd name="T81" fmla="*/ 21 h 287"/>
                  <a:gd name="T82" fmla="*/ 236 w 325"/>
                  <a:gd name="T83" fmla="*/ 24 h 287"/>
                  <a:gd name="T84" fmla="*/ 236 w 325"/>
                  <a:gd name="T85" fmla="*/ 21 h 287"/>
                  <a:gd name="T86" fmla="*/ 213 w 325"/>
                  <a:gd name="T87" fmla="*/ 13 h 287"/>
                  <a:gd name="T88" fmla="*/ 213 w 325"/>
                  <a:gd name="T89" fmla="*/ 14 h 287"/>
                  <a:gd name="T90" fmla="*/ 224 w 325"/>
                  <a:gd name="T91" fmla="*/ 2 h 287"/>
                  <a:gd name="T92" fmla="*/ 222 w 325"/>
                  <a:gd name="T93" fmla="*/ 2 h 287"/>
                  <a:gd name="T94" fmla="*/ 213 w 325"/>
                  <a:gd name="T95" fmla="*/ 3 h 287"/>
                  <a:gd name="T96" fmla="*/ 209 w 325"/>
                  <a:gd name="T97" fmla="*/ 0 h 287"/>
                  <a:gd name="T98" fmla="*/ 211 w 325"/>
                  <a:gd name="T9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287">
                    <a:moveTo>
                      <a:pt x="290" y="287"/>
                    </a:moveTo>
                    <a:lnTo>
                      <a:pt x="289" y="285"/>
                    </a:lnTo>
                    <a:lnTo>
                      <a:pt x="289" y="284"/>
                    </a:lnTo>
                    <a:lnTo>
                      <a:pt x="288" y="285"/>
                    </a:lnTo>
                    <a:lnTo>
                      <a:pt x="289" y="285"/>
                    </a:lnTo>
                    <a:lnTo>
                      <a:pt x="289" y="286"/>
                    </a:lnTo>
                    <a:lnTo>
                      <a:pt x="289" y="287"/>
                    </a:lnTo>
                    <a:lnTo>
                      <a:pt x="290" y="287"/>
                    </a:lnTo>
                    <a:close/>
                    <a:moveTo>
                      <a:pt x="325" y="232"/>
                    </a:moveTo>
                    <a:lnTo>
                      <a:pt x="324" y="231"/>
                    </a:lnTo>
                    <a:lnTo>
                      <a:pt x="323" y="230"/>
                    </a:lnTo>
                    <a:lnTo>
                      <a:pt x="322" y="230"/>
                    </a:lnTo>
                    <a:lnTo>
                      <a:pt x="321" y="229"/>
                    </a:lnTo>
                    <a:lnTo>
                      <a:pt x="321" y="230"/>
                    </a:lnTo>
                    <a:lnTo>
                      <a:pt x="321" y="230"/>
                    </a:lnTo>
                    <a:lnTo>
                      <a:pt x="321" y="230"/>
                    </a:lnTo>
                    <a:lnTo>
                      <a:pt x="323" y="231"/>
                    </a:lnTo>
                    <a:lnTo>
                      <a:pt x="324" y="231"/>
                    </a:lnTo>
                    <a:lnTo>
                      <a:pt x="325" y="232"/>
                    </a:lnTo>
                    <a:lnTo>
                      <a:pt x="325" y="232"/>
                    </a:lnTo>
                    <a:lnTo>
                      <a:pt x="325" y="232"/>
                    </a:lnTo>
                    <a:lnTo>
                      <a:pt x="325" y="232"/>
                    </a:lnTo>
                    <a:close/>
                    <a:moveTo>
                      <a:pt x="233" y="227"/>
                    </a:moveTo>
                    <a:lnTo>
                      <a:pt x="231" y="226"/>
                    </a:lnTo>
                    <a:lnTo>
                      <a:pt x="231" y="227"/>
                    </a:lnTo>
                    <a:lnTo>
                      <a:pt x="233" y="228"/>
                    </a:lnTo>
                    <a:lnTo>
                      <a:pt x="233" y="228"/>
                    </a:lnTo>
                    <a:lnTo>
                      <a:pt x="233" y="227"/>
                    </a:lnTo>
                    <a:lnTo>
                      <a:pt x="233" y="227"/>
                    </a:lnTo>
                    <a:close/>
                    <a:moveTo>
                      <a:pt x="310" y="227"/>
                    </a:moveTo>
                    <a:lnTo>
                      <a:pt x="308" y="225"/>
                    </a:lnTo>
                    <a:lnTo>
                      <a:pt x="307" y="225"/>
                    </a:lnTo>
                    <a:lnTo>
                      <a:pt x="310" y="227"/>
                    </a:lnTo>
                    <a:lnTo>
                      <a:pt x="310" y="227"/>
                    </a:lnTo>
                    <a:close/>
                    <a:moveTo>
                      <a:pt x="229" y="224"/>
                    </a:moveTo>
                    <a:lnTo>
                      <a:pt x="227" y="222"/>
                    </a:lnTo>
                    <a:lnTo>
                      <a:pt x="227" y="221"/>
                    </a:lnTo>
                    <a:lnTo>
                      <a:pt x="226" y="220"/>
                    </a:lnTo>
                    <a:lnTo>
                      <a:pt x="226" y="221"/>
                    </a:lnTo>
                    <a:lnTo>
                      <a:pt x="227" y="222"/>
                    </a:lnTo>
                    <a:lnTo>
                      <a:pt x="228" y="224"/>
                    </a:lnTo>
                    <a:lnTo>
                      <a:pt x="229" y="224"/>
                    </a:lnTo>
                    <a:lnTo>
                      <a:pt x="229" y="224"/>
                    </a:lnTo>
                    <a:close/>
                    <a:moveTo>
                      <a:pt x="227" y="215"/>
                    </a:moveTo>
                    <a:lnTo>
                      <a:pt x="227" y="215"/>
                    </a:lnTo>
                    <a:lnTo>
                      <a:pt x="227" y="215"/>
                    </a:lnTo>
                    <a:lnTo>
                      <a:pt x="227" y="214"/>
                    </a:lnTo>
                    <a:lnTo>
                      <a:pt x="228" y="212"/>
                    </a:lnTo>
                    <a:lnTo>
                      <a:pt x="230" y="211"/>
                    </a:lnTo>
                    <a:lnTo>
                      <a:pt x="230" y="211"/>
                    </a:lnTo>
                    <a:lnTo>
                      <a:pt x="230" y="211"/>
                    </a:lnTo>
                    <a:lnTo>
                      <a:pt x="229" y="211"/>
                    </a:lnTo>
                    <a:lnTo>
                      <a:pt x="228" y="212"/>
                    </a:lnTo>
                    <a:lnTo>
                      <a:pt x="227" y="212"/>
                    </a:lnTo>
                    <a:lnTo>
                      <a:pt x="227" y="213"/>
                    </a:lnTo>
                    <a:lnTo>
                      <a:pt x="227" y="214"/>
                    </a:lnTo>
                    <a:lnTo>
                      <a:pt x="227" y="215"/>
                    </a:lnTo>
                    <a:lnTo>
                      <a:pt x="227" y="216"/>
                    </a:lnTo>
                    <a:lnTo>
                      <a:pt x="228" y="216"/>
                    </a:lnTo>
                    <a:lnTo>
                      <a:pt x="227" y="215"/>
                    </a:lnTo>
                    <a:lnTo>
                      <a:pt x="227" y="215"/>
                    </a:lnTo>
                    <a:close/>
                    <a:moveTo>
                      <a:pt x="51" y="211"/>
                    </a:moveTo>
                    <a:lnTo>
                      <a:pt x="50" y="209"/>
                    </a:lnTo>
                    <a:lnTo>
                      <a:pt x="49" y="207"/>
                    </a:lnTo>
                    <a:lnTo>
                      <a:pt x="46" y="207"/>
                    </a:lnTo>
                    <a:lnTo>
                      <a:pt x="44" y="208"/>
                    </a:lnTo>
                    <a:lnTo>
                      <a:pt x="44" y="209"/>
                    </a:lnTo>
                    <a:lnTo>
                      <a:pt x="44" y="210"/>
                    </a:lnTo>
                    <a:lnTo>
                      <a:pt x="46" y="212"/>
                    </a:lnTo>
                    <a:lnTo>
                      <a:pt x="48" y="212"/>
                    </a:lnTo>
                    <a:lnTo>
                      <a:pt x="51" y="212"/>
                    </a:lnTo>
                    <a:lnTo>
                      <a:pt x="52" y="214"/>
                    </a:lnTo>
                    <a:lnTo>
                      <a:pt x="53" y="215"/>
                    </a:lnTo>
                    <a:lnTo>
                      <a:pt x="55" y="215"/>
                    </a:lnTo>
                    <a:lnTo>
                      <a:pt x="55" y="214"/>
                    </a:lnTo>
                    <a:lnTo>
                      <a:pt x="54" y="212"/>
                    </a:lnTo>
                    <a:lnTo>
                      <a:pt x="51" y="211"/>
                    </a:lnTo>
                    <a:lnTo>
                      <a:pt x="51" y="211"/>
                    </a:lnTo>
                    <a:close/>
                    <a:moveTo>
                      <a:pt x="40" y="208"/>
                    </a:moveTo>
                    <a:lnTo>
                      <a:pt x="41" y="207"/>
                    </a:lnTo>
                    <a:lnTo>
                      <a:pt x="40" y="206"/>
                    </a:lnTo>
                    <a:lnTo>
                      <a:pt x="38" y="206"/>
                    </a:lnTo>
                    <a:lnTo>
                      <a:pt x="38" y="207"/>
                    </a:lnTo>
                    <a:lnTo>
                      <a:pt x="38" y="208"/>
                    </a:lnTo>
                    <a:lnTo>
                      <a:pt x="39" y="208"/>
                    </a:lnTo>
                    <a:lnTo>
                      <a:pt x="40" y="209"/>
                    </a:lnTo>
                    <a:lnTo>
                      <a:pt x="40" y="208"/>
                    </a:lnTo>
                    <a:lnTo>
                      <a:pt x="40" y="208"/>
                    </a:lnTo>
                    <a:close/>
                    <a:moveTo>
                      <a:pt x="3" y="192"/>
                    </a:moveTo>
                    <a:lnTo>
                      <a:pt x="4" y="192"/>
                    </a:lnTo>
                    <a:lnTo>
                      <a:pt x="3" y="190"/>
                    </a:lnTo>
                    <a:lnTo>
                      <a:pt x="2" y="189"/>
                    </a:lnTo>
                    <a:lnTo>
                      <a:pt x="2" y="189"/>
                    </a:lnTo>
                    <a:lnTo>
                      <a:pt x="2" y="192"/>
                    </a:lnTo>
                    <a:lnTo>
                      <a:pt x="3" y="192"/>
                    </a:lnTo>
                    <a:lnTo>
                      <a:pt x="3" y="192"/>
                    </a:lnTo>
                    <a:close/>
                    <a:moveTo>
                      <a:pt x="168" y="186"/>
                    </a:moveTo>
                    <a:lnTo>
                      <a:pt x="167" y="186"/>
                    </a:lnTo>
                    <a:lnTo>
                      <a:pt x="166" y="186"/>
                    </a:lnTo>
                    <a:lnTo>
                      <a:pt x="166" y="186"/>
                    </a:lnTo>
                    <a:lnTo>
                      <a:pt x="168" y="186"/>
                    </a:lnTo>
                    <a:lnTo>
                      <a:pt x="169" y="187"/>
                    </a:lnTo>
                    <a:lnTo>
                      <a:pt x="168" y="186"/>
                    </a:lnTo>
                    <a:lnTo>
                      <a:pt x="168" y="186"/>
                    </a:lnTo>
                    <a:close/>
                    <a:moveTo>
                      <a:pt x="165" y="186"/>
                    </a:moveTo>
                    <a:lnTo>
                      <a:pt x="164" y="186"/>
                    </a:lnTo>
                    <a:lnTo>
                      <a:pt x="163" y="185"/>
                    </a:lnTo>
                    <a:lnTo>
                      <a:pt x="162" y="185"/>
                    </a:lnTo>
                    <a:lnTo>
                      <a:pt x="164" y="186"/>
                    </a:lnTo>
                    <a:lnTo>
                      <a:pt x="165" y="186"/>
                    </a:lnTo>
                    <a:lnTo>
                      <a:pt x="165" y="186"/>
                    </a:lnTo>
                    <a:close/>
                    <a:moveTo>
                      <a:pt x="2" y="186"/>
                    </a:moveTo>
                    <a:lnTo>
                      <a:pt x="2" y="186"/>
                    </a:lnTo>
                    <a:lnTo>
                      <a:pt x="2" y="185"/>
                    </a:lnTo>
                    <a:lnTo>
                      <a:pt x="0" y="184"/>
                    </a:lnTo>
                    <a:lnTo>
                      <a:pt x="1" y="186"/>
                    </a:lnTo>
                    <a:lnTo>
                      <a:pt x="1" y="186"/>
                    </a:lnTo>
                    <a:lnTo>
                      <a:pt x="2" y="187"/>
                    </a:lnTo>
                    <a:lnTo>
                      <a:pt x="2" y="186"/>
                    </a:lnTo>
                    <a:lnTo>
                      <a:pt x="2" y="186"/>
                    </a:lnTo>
                    <a:close/>
                    <a:moveTo>
                      <a:pt x="124" y="179"/>
                    </a:moveTo>
                    <a:lnTo>
                      <a:pt x="123" y="178"/>
                    </a:lnTo>
                    <a:lnTo>
                      <a:pt x="122" y="177"/>
                    </a:lnTo>
                    <a:lnTo>
                      <a:pt x="121" y="175"/>
                    </a:lnTo>
                    <a:lnTo>
                      <a:pt x="120" y="173"/>
                    </a:lnTo>
                    <a:lnTo>
                      <a:pt x="120" y="174"/>
                    </a:lnTo>
                    <a:lnTo>
                      <a:pt x="121" y="175"/>
                    </a:lnTo>
                    <a:lnTo>
                      <a:pt x="121" y="176"/>
                    </a:lnTo>
                    <a:lnTo>
                      <a:pt x="122" y="177"/>
                    </a:lnTo>
                    <a:lnTo>
                      <a:pt x="123" y="178"/>
                    </a:lnTo>
                    <a:lnTo>
                      <a:pt x="124" y="180"/>
                    </a:lnTo>
                    <a:lnTo>
                      <a:pt x="124" y="180"/>
                    </a:lnTo>
                    <a:lnTo>
                      <a:pt x="124" y="179"/>
                    </a:lnTo>
                    <a:lnTo>
                      <a:pt x="124" y="179"/>
                    </a:lnTo>
                    <a:close/>
                    <a:moveTo>
                      <a:pt x="185" y="173"/>
                    </a:moveTo>
                    <a:lnTo>
                      <a:pt x="185" y="171"/>
                    </a:lnTo>
                    <a:lnTo>
                      <a:pt x="185" y="171"/>
                    </a:lnTo>
                    <a:lnTo>
                      <a:pt x="185" y="173"/>
                    </a:lnTo>
                    <a:lnTo>
                      <a:pt x="185" y="173"/>
                    </a:lnTo>
                    <a:lnTo>
                      <a:pt x="185" y="173"/>
                    </a:lnTo>
                    <a:close/>
                    <a:moveTo>
                      <a:pt x="130" y="168"/>
                    </a:moveTo>
                    <a:lnTo>
                      <a:pt x="129" y="166"/>
                    </a:lnTo>
                    <a:lnTo>
                      <a:pt x="129" y="166"/>
                    </a:lnTo>
                    <a:lnTo>
                      <a:pt x="129" y="166"/>
                    </a:lnTo>
                    <a:lnTo>
                      <a:pt x="130" y="168"/>
                    </a:lnTo>
                    <a:lnTo>
                      <a:pt x="130" y="169"/>
                    </a:lnTo>
                    <a:lnTo>
                      <a:pt x="130" y="168"/>
                    </a:lnTo>
                    <a:lnTo>
                      <a:pt x="130" y="168"/>
                    </a:lnTo>
                    <a:close/>
                    <a:moveTo>
                      <a:pt x="246" y="41"/>
                    </a:moveTo>
                    <a:lnTo>
                      <a:pt x="246" y="41"/>
                    </a:lnTo>
                    <a:lnTo>
                      <a:pt x="246" y="40"/>
                    </a:lnTo>
                    <a:lnTo>
                      <a:pt x="246" y="39"/>
                    </a:lnTo>
                    <a:lnTo>
                      <a:pt x="244" y="39"/>
                    </a:lnTo>
                    <a:lnTo>
                      <a:pt x="245" y="42"/>
                    </a:lnTo>
                    <a:lnTo>
                      <a:pt x="246" y="41"/>
                    </a:lnTo>
                    <a:lnTo>
                      <a:pt x="246" y="41"/>
                    </a:lnTo>
                    <a:close/>
                    <a:moveTo>
                      <a:pt x="236" y="28"/>
                    </a:moveTo>
                    <a:lnTo>
                      <a:pt x="235" y="27"/>
                    </a:lnTo>
                    <a:lnTo>
                      <a:pt x="235" y="27"/>
                    </a:lnTo>
                    <a:lnTo>
                      <a:pt x="234" y="27"/>
                    </a:lnTo>
                    <a:lnTo>
                      <a:pt x="234" y="28"/>
                    </a:lnTo>
                    <a:lnTo>
                      <a:pt x="236" y="28"/>
                    </a:lnTo>
                    <a:lnTo>
                      <a:pt x="236" y="28"/>
                    </a:lnTo>
                    <a:close/>
                    <a:moveTo>
                      <a:pt x="236" y="21"/>
                    </a:moveTo>
                    <a:lnTo>
                      <a:pt x="233" y="23"/>
                    </a:lnTo>
                    <a:lnTo>
                      <a:pt x="234" y="25"/>
                    </a:lnTo>
                    <a:lnTo>
                      <a:pt x="235" y="25"/>
                    </a:lnTo>
                    <a:lnTo>
                      <a:pt x="236" y="24"/>
                    </a:lnTo>
                    <a:lnTo>
                      <a:pt x="239" y="24"/>
                    </a:lnTo>
                    <a:lnTo>
                      <a:pt x="241" y="22"/>
                    </a:lnTo>
                    <a:lnTo>
                      <a:pt x="239" y="23"/>
                    </a:lnTo>
                    <a:lnTo>
                      <a:pt x="236" y="21"/>
                    </a:lnTo>
                    <a:lnTo>
                      <a:pt x="236" y="21"/>
                    </a:lnTo>
                    <a:close/>
                    <a:moveTo>
                      <a:pt x="213" y="14"/>
                    </a:moveTo>
                    <a:lnTo>
                      <a:pt x="214" y="13"/>
                    </a:lnTo>
                    <a:lnTo>
                      <a:pt x="213" y="13"/>
                    </a:lnTo>
                    <a:lnTo>
                      <a:pt x="212" y="14"/>
                    </a:lnTo>
                    <a:lnTo>
                      <a:pt x="212" y="14"/>
                    </a:lnTo>
                    <a:lnTo>
                      <a:pt x="213" y="15"/>
                    </a:lnTo>
                    <a:lnTo>
                      <a:pt x="213" y="14"/>
                    </a:lnTo>
                    <a:lnTo>
                      <a:pt x="213" y="14"/>
                    </a:lnTo>
                    <a:close/>
                    <a:moveTo>
                      <a:pt x="223" y="3"/>
                    </a:moveTo>
                    <a:lnTo>
                      <a:pt x="224" y="3"/>
                    </a:lnTo>
                    <a:lnTo>
                      <a:pt x="224" y="2"/>
                    </a:lnTo>
                    <a:lnTo>
                      <a:pt x="224" y="1"/>
                    </a:lnTo>
                    <a:lnTo>
                      <a:pt x="222" y="1"/>
                    </a:lnTo>
                    <a:lnTo>
                      <a:pt x="222" y="1"/>
                    </a:lnTo>
                    <a:lnTo>
                      <a:pt x="222" y="2"/>
                    </a:lnTo>
                    <a:lnTo>
                      <a:pt x="222" y="3"/>
                    </a:lnTo>
                    <a:lnTo>
                      <a:pt x="223" y="3"/>
                    </a:lnTo>
                    <a:lnTo>
                      <a:pt x="223" y="3"/>
                    </a:lnTo>
                    <a:close/>
                    <a:moveTo>
                      <a:pt x="213" y="3"/>
                    </a:moveTo>
                    <a:lnTo>
                      <a:pt x="213" y="1"/>
                    </a:lnTo>
                    <a:lnTo>
                      <a:pt x="213" y="1"/>
                    </a:lnTo>
                    <a:lnTo>
                      <a:pt x="213" y="0"/>
                    </a:lnTo>
                    <a:lnTo>
                      <a:pt x="209" y="0"/>
                    </a:lnTo>
                    <a:lnTo>
                      <a:pt x="209" y="0"/>
                    </a:lnTo>
                    <a:lnTo>
                      <a:pt x="209" y="1"/>
                    </a:lnTo>
                    <a:lnTo>
                      <a:pt x="209" y="3"/>
                    </a:lnTo>
                    <a:lnTo>
                      <a:pt x="211" y="3"/>
                    </a:lnTo>
                    <a:lnTo>
                      <a:pt x="21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9" name="Freeform 213">
                <a:extLst>
                  <a:ext uri="{FF2B5EF4-FFF2-40B4-BE49-F238E27FC236}">
                    <a16:creationId xmlns:a16="http://schemas.microsoft.com/office/drawing/2014/main" id="{06F3CA8A-3AEB-4142-946A-C9F4E8C78B69}"/>
                  </a:ext>
                </a:extLst>
              </p:cNvPr>
              <p:cNvSpPr>
                <a:spLocks/>
              </p:cNvSpPr>
              <p:nvPr/>
            </p:nvSpPr>
            <p:spPr bwMode="auto">
              <a:xfrm>
                <a:off x="7491413" y="4960938"/>
                <a:ext cx="6350" cy="11113"/>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0" name="Freeform 169">
                <a:extLst>
                  <a:ext uri="{FF2B5EF4-FFF2-40B4-BE49-F238E27FC236}">
                    <a16:creationId xmlns:a16="http://schemas.microsoft.com/office/drawing/2014/main" id="{34E43910-FB73-4828-8C9B-56D5751E47C4}"/>
                  </a:ext>
                </a:extLst>
              </p:cNvPr>
              <p:cNvSpPr>
                <a:spLocks/>
              </p:cNvSpPr>
              <p:nvPr/>
            </p:nvSpPr>
            <p:spPr bwMode="auto">
              <a:xfrm>
                <a:off x="4186237" y="4265613"/>
                <a:ext cx="95250" cy="139700"/>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1" name="Freeform 213">
                <a:extLst>
                  <a:ext uri="{FF2B5EF4-FFF2-40B4-BE49-F238E27FC236}">
                    <a16:creationId xmlns:a16="http://schemas.microsoft.com/office/drawing/2014/main" id="{582D94E9-5126-48FF-B314-77197E4D54F4}"/>
                  </a:ext>
                </a:extLst>
              </p:cNvPr>
              <p:cNvSpPr>
                <a:spLocks noEditPoints="1"/>
              </p:cNvSpPr>
              <p:nvPr/>
            </p:nvSpPr>
            <p:spPr bwMode="auto">
              <a:xfrm>
                <a:off x="5865812" y="2562226"/>
                <a:ext cx="425450" cy="357188"/>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2" name="Freeform 212">
                <a:extLst>
                  <a:ext uri="{FF2B5EF4-FFF2-40B4-BE49-F238E27FC236}">
                    <a16:creationId xmlns:a16="http://schemas.microsoft.com/office/drawing/2014/main" id="{CCDB980F-E719-476E-9231-F7D2F6FCCE9E}"/>
                  </a:ext>
                </a:extLst>
              </p:cNvPr>
              <p:cNvSpPr>
                <a:spLocks/>
              </p:cNvSpPr>
              <p:nvPr/>
            </p:nvSpPr>
            <p:spPr bwMode="auto">
              <a:xfrm>
                <a:off x="7805738" y="5270501"/>
                <a:ext cx="19050" cy="17463"/>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3" name="Freeform 214">
                <a:extLst>
                  <a:ext uri="{FF2B5EF4-FFF2-40B4-BE49-F238E27FC236}">
                    <a16:creationId xmlns:a16="http://schemas.microsoft.com/office/drawing/2014/main" id="{5C13C32E-7F81-4C24-8332-758121F38283}"/>
                  </a:ext>
                </a:extLst>
              </p:cNvPr>
              <p:cNvSpPr>
                <a:spLocks/>
              </p:cNvSpPr>
              <p:nvPr/>
            </p:nvSpPr>
            <p:spPr bwMode="auto">
              <a:xfrm>
                <a:off x="3981450" y="3921126"/>
                <a:ext cx="11112" cy="19050"/>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4" name="Freeform 215">
                <a:extLst>
                  <a:ext uri="{FF2B5EF4-FFF2-40B4-BE49-F238E27FC236}">
                    <a16:creationId xmlns:a16="http://schemas.microsoft.com/office/drawing/2014/main" id="{42946842-1A11-4D0E-A423-0E69ECF7061F}"/>
                  </a:ext>
                </a:extLst>
              </p:cNvPr>
              <p:cNvSpPr>
                <a:spLocks noEditPoints="1"/>
              </p:cNvSpPr>
              <p:nvPr/>
            </p:nvSpPr>
            <p:spPr bwMode="auto">
              <a:xfrm>
                <a:off x="3967163" y="3859213"/>
                <a:ext cx="20637" cy="23813"/>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sp>
          <p:nvSpPr>
            <p:cNvPr id="206" name="Curacao">
              <a:extLst>
                <a:ext uri="{FF2B5EF4-FFF2-40B4-BE49-F238E27FC236}">
                  <a16:creationId xmlns:a16="http://schemas.microsoft.com/office/drawing/2014/main" id="{01A60209-9872-400C-A506-91142563B23F}"/>
                </a:ext>
              </a:extLst>
            </p:cNvPr>
            <p:cNvSpPr>
              <a:spLocks/>
            </p:cNvSpPr>
            <p:nvPr/>
          </p:nvSpPr>
          <p:spPr bwMode="auto">
            <a:xfrm>
              <a:off x="3733007" y="3598635"/>
              <a:ext cx="4762" cy="9525"/>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7" name="Las Palmas de Gran Canaria">
              <a:extLst>
                <a:ext uri="{FF2B5EF4-FFF2-40B4-BE49-F238E27FC236}">
                  <a16:creationId xmlns:a16="http://schemas.microsoft.com/office/drawing/2014/main" id="{A5B1DAE5-6427-4704-BB45-42E23B66DBC5}"/>
                </a:ext>
              </a:extLst>
            </p:cNvPr>
            <p:cNvSpPr>
              <a:spLocks noEditPoints="1"/>
            </p:cNvSpPr>
            <p:nvPr/>
          </p:nvSpPr>
          <p:spPr bwMode="auto">
            <a:xfrm>
              <a:off x="5410994" y="2958874"/>
              <a:ext cx="153987" cy="60325"/>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sp>
        <p:nvSpPr>
          <p:cNvPr id="229" name="TextBox 228">
            <a:extLst>
              <a:ext uri="{FF2B5EF4-FFF2-40B4-BE49-F238E27FC236}">
                <a16:creationId xmlns:a16="http://schemas.microsoft.com/office/drawing/2014/main" id="{EB646686-7692-455E-AA45-846C77C23A5F}"/>
              </a:ext>
            </a:extLst>
          </p:cNvPr>
          <p:cNvSpPr txBox="1">
            <a:spLocks/>
          </p:cNvSpPr>
          <p:nvPr/>
        </p:nvSpPr>
        <p:spPr>
          <a:xfrm rot="16200000">
            <a:off x="10200837" y="4337434"/>
            <a:ext cx="1075615" cy="169277"/>
          </a:xfrm>
          <a:prstGeom prst="rect">
            <a:avLst/>
          </a:prstGeom>
          <a:noFill/>
        </p:spPr>
        <p:txBody>
          <a:bodyPr wrap="none" lIns="0" tIns="0" rIns="0" bIns="0" rtlCol="0">
            <a:spAutoFit/>
          </a:bodyPr>
          <a:lstStyle>
            <a:defPPr>
              <a:defRPr lang="en-US"/>
            </a:defPPr>
            <a:lvl1pPr algn="ctr">
              <a:defRPr sz="1600">
                <a:latin typeface="+mn-lt"/>
                <a:ea typeface="Open Sans Condensed Light" panose="020B0306030504020204" pitchFamily="34" charset="0"/>
                <a:cs typeface="Open Sans Condensed Light" panose="020B0306030504020204" pitchFamily="34" charset="0"/>
              </a:defRPr>
            </a:lvl1pPr>
          </a:lstStyle>
          <a:p>
            <a:pPr algn="l" defTabSz="914400" fontAlgn="base">
              <a:spcBef>
                <a:spcPct val="0"/>
              </a:spcBef>
              <a:spcAft>
                <a:spcPct val="0"/>
              </a:spcAft>
              <a:defRPr/>
            </a:pPr>
            <a:r>
              <a:rPr lang="en-US" sz="1100" dirty="0">
                <a:solidFill>
                  <a:prstClr val="white"/>
                </a:solidFill>
                <a:latin typeface="Calibri" panose="020F0502020204030204"/>
              </a:rPr>
              <a:t>Add your text here</a:t>
            </a:r>
          </a:p>
        </p:txBody>
      </p:sp>
      <p:sp>
        <p:nvSpPr>
          <p:cNvPr id="230" name="Title 1">
            <a:extLst>
              <a:ext uri="{FF2B5EF4-FFF2-40B4-BE49-F238E27FC236}">
                <a16:creationId xmlns:a16="http://schemas.microsoft.com/office/drawing/2014/main" id="{1BC35D95-2517-4D7A-9C70-02A9DB490952}"/>
              </a:ext>
            </a:extLst>
          </p:cNvPr>
          <p:cNvSpPr txBox="1">
            <a:spLocks/>
          </p:cNvSpPr>
          <p:nvPr/>
        </p:nvSpPr>
        <p:spPr bwMode="auto">
          <a:xfrm>
            <a:off x="269240" y="289511"/>
            <a:ext cx="11655840" cy="1107996"/>
          </a:xfrm>
          <a:prstGeom prst="rect">
            <a:avLst/>
          </a:prstGeom>
        </p:spPr>
        <p:txBody>
          <a:bodyPr>
            <a:spAutoFit/>
          </a:bodyPr>
          <a:lstStyle>
            <a:lvl1pPr algn="l" defTabSz="913800" rtl="0" eaLnBrk="1" fontAlgn="base" hangingPunct="1">
              <a:spcBef>
                <a:spcPct val="0"/>
              </a:spcBef>
              <a:spcAft>
                <a:spcPct val="0"/>
              </a:spcAft>
              <a:tabLst>
                <a:tab pos="275436" algn="l"/>
              </a:tabLst>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913800" rtl="0" eaLnBrk="1" fontAlgn="base" hangingPunct="1">
              <a:spcBef>
                <a:spcPct val="0"/>
              </a:spcBef>
              <a:spcAft>
                <a:spcPct val="0"/>
              </a:spcAft>
              <a:defRPr sz="1940" b="1">
                <a:solidFill>
                  <a:schemeClr val="tx2"/>
                </a:solidFill>
                <a:latin typeface="Arial" charset="0"/>
              </a:defRPr>
            </a:lvl2pPr>
            <a:lvl3pPr algn="l" defTabSz="913800" rtl="0" eaLnBrk="1" fontAlgn="base" hangingPunct="1">
              <a:spcBef>
                <a:spcPct val="0"/>
              </a:spcBef>
              <a:spcAft>
                <a:spcPct val="0"/>
              </a:spcAft>
              <a:defRPr sz="1940" b="1">
                <a:solidFill>
                  <a:schemeClr val="tx2"/>
                </a:solidFill>
                <a:latin typeface="Arial" charset="0"/>
              </a:defRPr>
            </a:lvl3pPr>
            <a:lvl4pPr algn="l" defTabSz="913800" rtl="0" eaLnBrk="1" fontAlgn="base" hangingPunct="1">
              <a:spcBef>
                <a:spcPct val="0"/>
              </a:spcBef>
              <a:spcAft>
                <a:spcPct val="0"/>
              </a:spcAft>
              <a:defRPr sz="1940" b="1">
                <a:solidFill>
                  <a:schemeClr val="tx2"/>
                </a:solidFill>
                <a:latin typeface="Arial" charset="0"/>
              </a:defRPr>
            </a:lvl4pPr>
            <a:lvl5pPr algn="l" defTabSz="913800" rtl="0" eaLnBrk="1" fontAlgn="base" hangingPunct="1">
              <a:spcBef>
                <a:spcPct val="0"/>
              </a:spcBef>
              <a:spcAft>
                <a:spcPct val="0"/>
              </a:spcAft>
              <a:defRPr sz="1940" b="1">
                <a:solidFill>
                  <a:schemeClr val="tx2"/>
                </a:solidFill>
                <a:latin typeface="Arial" charset="0"/>
              </a:defRPr>
            </a:lvl5pPr>
            <a:lvl6pPr marL="466621" algn="l" defTabSz="913800" rtl="0" eaLnBrk="1" fontAlgn="base" hangingPunct="1">
              <a:spcBef>
                <a:spcPct val="0"/>
              </a:spcBef>
              <a:spcAft>
                <a:spcPct val="0"/>
              </a:spcAft>
              <a:defRPr sz="1940" b="1">
                <a:solidFill>
                  <a:schemeClr val="tx2"/>
                </a:solidFill>
                <a:latin typeface="Arial" charset="0"/>
              </a:defRPr>
            </a:lvl6pPr>
            <a:lvl7pPr marL="933242" algn="l" defTabSz="913800" rtl="0" eaLnBrk="1" fontAlgn="base" hangingPunct="1">
              <a:spcBef>
                <a:spcPct val="0"/>
              </a:spcBef>
              <a:spcAft>
                <a:spcPct val="0"/>
              </a:spcAft>
              <a:defRPr sz="1940" b="1">
                <a:solidFill>
                  <a:schemeClr val="tx2"/>
                </a:solidFill>
                <a:latin typeface="Arial" charset="0"/>
              </a:defRPr>
            </a:lvl7pPr>
            <a:lvl8pPr marL="1399863" algn="l" defTabSz="913800" rtl="0" eaLnBrk="1" fontAlgn="base" hangingPunct="1">
              <a:spcBef>
                <a:spcPct val="0"/>
              </a:spcBef>
              <a:spcAft>
                <a:spcPct val="0"/>
              </a:spcAft>
              <a:defRPr sz="1940" b="1">
                <a:solidFill>
                  <a:schemeClr val="tx2"/>
                </a:solidFill>
                <a:latin typeface="Arial" charset="0"/>
              </a:defRPr>
            </a:lvl8pPr>
            <a:lvl9pPr marL="1866485" algn="l" defTabSz="913800" rtl="0" eaLnBrk="1" fontAlgn="base" hangingPunct="1">
              <a:spcBef>
                <a:spcPct val="0"/>
              </a:spcBef>
              <a:spcAft>
                <a:spcPct val="0"/>
              </a:spcAft>
              <a:defRPr sz="1940" b="1">
                <a:solidFill>
                  <a:schemeClr val="tx2"/>
                </a:solidFill>
                <a:latin typeface="Arial" charset="0"/>
              </a:defRPr>
            </a:lvl9pPr>
          </a:lstStyle>
          <a:p>
            <a:r>
              <a:rPr lang="en-US" sz="4400" b="0" dirty="0">
                <a:latin typeface="Arial" panose="020B0604020202020204" pitchFamily="34" charset="0"/>
                <a:cs typeface="Arial" panose="020B0604020202020204" pitchFamily="34" charset="0"/>
              </a:rPr>
              <a:t>Digital Civility Index</a:t>
            </a:r>
          </a:p>
          <a:p>
            <a:r>
              <a:rPr lang="en-US" sz="2200" b="0" dirty="0">
                <a:latin typeface="Arial" panose="020B0604020202020204" pitchFamily="34" charset="0"/>
                <a:cs typeface="Arial" panose="020B0604020202020204" pitchFamily="34" charset="0"/>
              </a:rPr>
              <a:t>Top 5, Bottom 5 countries ranked by DCI</a:t>
            </a:r>
          </a:p>
        </p:txBody>
      </p:sp>
      <p:graphicFrame>
        <p:nvGraphicFramePr>
          <p:cNvPr id="231" name="Chart 230">
            <a:extLst>
              <a:ext uri="{FF2B5EF4-FFF2-40B4-BE49-F238E27FC236}">
                <a16:creationId xmlns:a16="http://schemas.microsoft.com/office/drawing/2014/main" id="{AE604E4D-4AA2-4B29-89EC-EC402E8AC5B5}"/>
              </a:ext>
            </a:extLst>
          </p:cNvPr>
          <p:cNvGraphicFramePr/>
          <p:nvPr>
            <p:extLst>
              <p:ext uri="{D42A27DB-BD31-4B8C-83A1-F6EECF244321}">
                <p14:modId xmlns:p14="http://schemas.microsoft.com/office/powerpoint/2010/main" val="223505552"/>
              </p:ext>
            </p:extLst>
          </p:nvPr>
        </p:nvGraphicFramePr>
        <p:xfrm>
          <a:off x="9413631" y="1222535"/>
          <a:ext cx="2567354" cy="4967491"/>
        </p:xfrm>
        <a:graphic>
          <a:graphicData uri="http://schemas.openxmlformats.org/drawingml/2006/chart">
            <c:chart xmlns:c="http://schemas.openxmlformats.org/drawingml/2006/chart" xmlns:r="http://schemas.openxmlformats.org/officeDocument/2006/relationships" r:id="rId3"/>
          </a:graphicData>
        </a:graphic>
      </p:graphicFrame>
      <p:grpSp>
        <p:nvGrpSpPr>
          <p:cNvPr id="486" name="Group 485">
            <a:extLst>
              <a:ext uri="{FF2B5EF4-FFF2-40B4-BE49-F238E27FC236}">
                <a16:creationId xmlns:a16="http://schemas.microsoft.com/office/drawing/2014/main" id="{ECB5104A-EA5C-4A1B-A18F-CED9CAAD1EF2}"/>
              </a:ext>
            </a:extLst>
          </p:cNvPr>
          <p:cNvGrpSpPr/>
          <p:nvPr/>
        </p:nvGrpSpPr>
        <p:grpSpPr>
          <a:xfrm>
            <a:off x="353093" y="5119675"/>
            <a:ext cx="2442618" cy="1755841"/>
            <a:chOff x="433477" y="4848375"/>
            <a:chExt cx="2190900" cy="1755841"/>
          </a:xfrm>
        </p:grpSpPr>
        <p:sp>
          <p:nvSpPr>
            <p:cNvPr id="487" name="TextBox 486">
              <a:extLst>
                <a:ext uri="{FF2B5EF4-FFF2-40B4-BE49-F238E27FC236}">
                  <a16:creationId xmlns:a16="http://schemas.microsoft.com/office/drawing/2014/main" id="{2FF5C2CC-5A7E-4A3D-98FF-00DA341F53B9}"/>
                </a:ext>
              </a:extLst>
            </p:cNvPr>
            <p:cNvSpPr txBox="1">
              <a:spLocks/>
            </p:cNvSpPr>
            <p:nvPr/>
          </p:nvSpPr>
          <p:spPr>
            <a:xfrm>
              <a:off x="433477" y="4848375"/>
              <a:ext cx="1841500" cy="55399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200" normalizeH="0" baseline="0" noProof="0" dirty="0">
                  <a:ln>
                    <a:noFill/>
                  </a:ln>
                  <a:solidFill>
                    <a:prstClr val="black"/>
                  </a:solidFill>
                  <a:effectLst/>
                  <a:uLnTx/>
                  <a:uFillTx/>
                  <a:latin typeface="+mj-lt"/>
                  <a:ea typeface="Titillium" charset="0"/>
                  <a:cs typeface="Titillium" charset="0"/>
                </a:rPr>
                <a:t>Top Risks 2019</a:t>
              </a:r>
            </a:p>
          </p:txBody>
        </p:sp>
        <p:sp>
          <p:nvSpPr>
            <p:cNvPr id="488" name="TextBox 487">
              <a:extLst>
                <a:ext uri="{FF2B5EF4-FFF2-40B4-BE49-F238E27FC236}">
                  <a16:creationId xmlns:a16="http://schemas.microsoft.com/office/drawing/2014/main" id="{5A7A769F-0BCD-484C-A237-D369FE2C04B3}"/>
                </a:ext>
              </a:extLst>
            </p:cNvPr>
            <p:cNvSpPr txBox="1">
              <a:spLocks/>
            </p:cNvSpPr>
            <p:nvPr/>
          </p:nvSpPr>
          <p:spPr>
            <a:xfrm>
              <a:off x="433477" y="5126888"/>
              <a:ext cx="2190900" cy="1477328"/>
            </a:xfrm>
            <a:prstGeom prst="rect">
              <a:avLst/>
            </a:prstGeom>
            <a:noFill/>
          </p:spPr>
          <p:txBody>
            <a:bodyPr wrap="square" lIns="0" tIns="0" rIns="0" bIns="0" rtlCol="0">
              <a:spAutoFit/>
            </a:bodyPr>
            <a:lstStyle>
              <a:defPPr>
                <a:defRPr lang="en-US"/>
              </a:defPPr>
              <a:lvl1pPr algn="ctr">
                <a:defRPr sz="1600">
                  <a:latin typeface="+mn-lt"/>
                  <a:ea typeface="Open Sans Condensed Light" panose="020B0306030504020204" pitchFamily="34" charset="0"/>
                  <a:cs typeface="Open Sans Condensed Light" panose="020B0306030504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Unwanted contact</a:t>
              </a:r>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prstClr val="black"/>
                  </a:solidFill>
                  <a:latin typeface="+mj-lt"/>
                </a:rPr>
                <a:t>Hoaxes, frauds &amp; sca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Unwanted sexting</a:t>
              </a:r>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prstClr val="black"/>
                  </a:solidFill>
                  <a:latin typeface="+mj-lt"/>
                </a:rPr>
                <a:t>Treated mea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T</a:t>
              </a:r>
              <a:r>
                <a:rPr lang="en-US" dirty="0">
                  <a:solidFill>
                    <a:prstClr val="black"/>
                  </a:solidFill>
                  <a:latin typeface="+mj-lt"/>
                </a:rPr>
                <a:t>rolling</a:t>
              </a:r>
              <a:endParaRPr kumimoji="0" lang="en-US" sz="1600" b="0" i="0" u="none" strike="noStrike" kern="1200" cap="none" spc="0" normalizeH="0" baseline="0" noProof="0" dirty="0">
                <a:ln>
                  <a:noFill/>
                </a:ln>
                <a:solidFill>
                  <a:prstClr val="black"/>
                </a:solidFill>
                <a:effectLst/>
                <a:uLnTx/>
                <a:uFillTx/>
                <a:latin typeface="+mj-lt"/>
              </a:endParaRPr>
            </a:p>
          </p:txBody>
        </p:sp>
      </p:grpSp>
      <p:grpSp>
        <p:nvGrpSpPr>
          <p:cNvPr id="224" name="Group 223">
            <a:extLst>
              <a:ext uri="{FF2B5EF4-FFF2-40B4-BE49-F238E27FC236}">
                <a16:creationId xmlns:a16="http://schemas.microsoft.com/office/drawing/2014/main" id="{0B1CD96D-ED4D-4D3B-AC6C-924D5033EE30}"/>
              </a:ext>
            </a:extLst>
          </p:cNvPr>
          <p:cNvGrpSpPr/>
          <p:nvPr/>
        </p:nvGrpSpPr>
        <p:grpSpPr>
          <a:xfrm>
            <a:off x="1761553" y="1722110"/>
            <a:ext cx="5764326" cy="2324357"/>
            <a:chOff x="1761553" y="1722110"/>
            <a:chExt cx="5764326" cy="2324357"/>
          </a:xfrm>
        </p:grpSpPr>
        <p:grpSp>
          <p:nvGrpSpPr>
            <p:cNvPr id="219" name="Group 218">
              <a:extLst>
                <a:ext uri="{FF2B5EF4-FFF2-40B4-BE49-F238E27FC236}">
                  <a16:creationId xmlns:a16="http://schemas.microsoft.com/office/drawing/2014/main" id="{BA446852-4FD1-4F45-A6CA-4682F8C8329A}"/>
                </a:ext>
              </a:extLst>
            </p:cNvPr>
            <p:cNvGrpSpPr/>
            <p:nvPr/>
          </p:nvGrpSpPr>
          <p:grpSpPr>
            <a:xfrm>
              <a:off x="1761553" y="2731367"/>
              <a:ext cx="296082" cy="296082"/>
              <a:chOff x="2145493" y="2382866"/>
              <a:chExt cx="296082" cy="296082"/>
            </a:xfrm>
          </p:grpSpPr>
          <p:sp>
            <p:nvSpPr>
              <p:cNvPr id="220" name="Teardrop 219">
                <a:extLst>
                  <a:ext uri="{FF2B5EF4-FFF2-40B4-BE49-F238E27FC236}">
                    <a16:creationId xmlns:a16="http://schemas.microsoft.com/office/drawing/2014/main" id="{0C8B41C8-E543-4D0B-BAC5-DF0360B384C6}"/>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21" name="Oval 220">
                <a:extLst>
                  <a:ext uri="{FF2B5EF4-FFF2-40B4-BE49-F238E27FC236}">
                    <a16:creationId xmlns:a16="http://schemas.microsoft.com/office/drawing/2014/main" id="{41F675E5-5779-4AF7-A91B-D86CBAA5B699}"/>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22" name="Rectangle 221">
              <a:extLst>
                <a:ext uri="{FF2B5EF4-FFF2-40B4-BE49-F238E27FC236}">
                  <a16:creationId xmlns:a16="http://schemas.microsoft.com/office/drawing/2014/main" id="{0436BCA6-FAD4-4867-95DB-47C7B0774E0A}"/>
                </a:ext>
              </a:extLst>
            </p:cNvPr>
            <p:cNvSpPr/>
            <p:nvPr/>
          </p:nvSpPr>
          <p:spPr>
            <a:xfrm>
              <a:off x="2148200" y="2751911"/>
              <a:ext cx="1162830"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5. U.S.A, 60%</a:t>
              </a:r>
            </a:p>
          </p:txBody>
        </p:sp>
        <p:grpSp>
          <p:nvGrpSpPr>
            <p:cNvPr id="232" name="Group 231">
              <a:extLst>
                <a:ext uri="{FF2B5EF4-FFF2-40B4-BE49-F238E27FC236}">
                  <a16:creationId xmlns:a16="http://schemas.microsoft.com/office/drawing/2014/main" id="{C9EB79E4-D592-4821-B458-CD77F120F587}"/>
                </a:ext>
              </a:extLst>
            </p:cNvPr>
            <p:cNvGrpSpPr/>
            <p:nvPr/>
          </p:nvGrpSpPr>
          <p:grpSpPr>
            <a:xfrm>
              <a:off x="4263699" y="2151162"/>
              <a:ext cx="296082" cy="296082"/>
              <a:chOff x="4344083" y="1779386"/>
              <a:chExt cx="296082" cy="296082"/>
            </a:xfrm>
          </p:grpSpPr>
          <p:sp>
            <p:nvSpPr>
              <p:cNvPr id="233" name="Teardrop 232">
                <a:extLst>
                  <a:ext uri="{FF2B5EF4-FFF2-40B4-BE49-F238E27FC236}">
                    <a16:creationId xmlns:a16="http://schemas.microsoft.com/office/drawing/2014/main" id="{96831997-4FF0-48FE-8123-29C921DD1EDE}"/>
                  </a:ext>
                </a:extLst>
              </p:cNvPr>
              <p:cNvSpPr/>
              <p:nvPr/>
            </p:nvSpPr>
            <p:spPr>
              <a:xfrm rot="8100000">
                <a:off x="4344083" y="1779386"/>
                <a:ext cx="296082" cy="296082"/>
              </a:xfrm>
              <a:prstGeom prst="teardrop">
                <a:avLst>
                  <a:gd name="adj" fmla="val 200000"/>
                </a:avLst>
              </a:prstGeom>
              <a:solidFill>
                <a:srgbClr val="28608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34" name="Oval 233">
                <a:extLst>
                  <a:ext uri="{FF2B5EF4-FFF2-40B4-BE49-F238E27FC236}">
                    <a16:creationId xmlns:a16="http://schemas.microsoft.com/office/drawing/2014/main" id="{F0CFC94F-806C-4121-85AC-6AB4839B7885}"/>
                  </a:ext>
                </a:extLst>
              </p:cNvPr>
              <p:cNvSpPr/>
              <p:nvPr/>
            </p:nvSpPr>
            <p:spPr>
              <a:xfrm>
                <a:off x="4403082" y="183838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35" name="Rectangle 234">
              <a:extLst>
                <a:ext uri="{FF2B5EF4-FFF2-40B4-BE49-F238E27FC236}">
                  <a16:creationId xmlns:a16="http://schemas.microsoft.com/office/drawing/2014/main" id="{C950AC98-DA21-4B63-AC5A-BA19D53545C3}"/>
                </a:ext>
              </a:extLst>
            </p:cNvPr>
            <p:cNvSpPr/>
            <p:nvPr/>
          </p:nvSpPr>
          <p:spPr>
            <a:xfrm>
              <a:off x="3103705" y="2131424"/>
              <a:ext cx="1076405"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1. U.K., 52%</a:t>
              </a:r>
            </a:p>
          </p:txBody>
        </p:sp>
        <p:grpSp>
          <p:nvGrpSpPr>
            <p:cNvPr id="236" name="Group 235">
              <a:extLst>
                <a:ext uri="{FF2B5EF4-FFF2-40B4-BE49-F238E27FC236}">
                  <a16:creationId xmlns:a16="http://schemas.microsoft.com/office/drawing/2014/main" id="{1D9ABEA0-9165-4906-861D-C423F5E44AF6}"/>
                </a:ext>
              </a:extLst>
            </p:cNvPr>
            <p:cNvGrpSpPr/>
            <p:nvPr/>
          </p:nvGrpSpPr>
          <p:grpSpPr>
            <a:xfrm>
              <a:off x="4527134" y="2071852"/>
              <a:ext cx="296082" cy="296082"/>
              <a:chOff x="4344083" y="1779386"/>
              <a:chExt cx="296082" cy="296082"/>
            </a:xfrm>
          </p:grpSpPr>
          <p:sp>
            <p:nvSpPr>
              <p:cNvPr id="237" name="Teardrop 236">
                <a:extLst>
                  <a:ext uri="{FF2B5EF4-FFF2-40B4-BE49-F238E27FC236}">
                    <a16:creationId xmlns:a16="http://schemas.microsoft.com/office/drawing/2014/main" id="{BBC42DCF-8A61-419C-AF34-0D0CF6C9929A}"/>
                  </a:ext>
                </a:extLst>
              </p:cNvPr>
              <p:cNvSpPr/>
              <p:nvPr/>
            </p:nvSpPr>
            <p:spPr>
              <a:xfrm rot="8100000">
                <a:off x="4344083" y="1779386"/>
                <a:ext cx="296082" cy="296082"/>
              </a:xfrm>
              <a:prstGeom prst="teardrop">
                <a:avLst>
                  <a:gd name="adj" fmla="val 200000"/>
                </a:avLst>
              </a:prstGeom>
              <a:solidFill>
                <a:srgbClr val="28608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id="{6253EB25-0489-4345-AEDB-5646936A8447}"/>
                  </a:ext>
                </a:extLst>
              </p:cNvPr>
              <p:cNvSpPr/>
              <p:nvPr/>
            </p:nvSpPr>
            <p:spPr>
              <a:xfrm>
                <a:off x="4403082" y="183838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39" name="Rectangle 238">
              <a:extLst>
                <a:ext uri="{FF2B5EF4-FFF2-40B4-BE49-F238E27FC236}">
                  <a16:creationId xmlns:a16="http://schemas.microsoft.com/office/drawing/2014/main" id="{D6231609-499A-4D1B-B9D4-EE9408F6800D}"/>
                </a:ext>
              </a:extLst>
            </p:cNvPr>
            <p:cNvSpPr/>
            <p:nvPr/>
          </p:nvSpPr>
          <p:spPr>
            <a:xfrm>
              <a:off x="3830810" y="1722110"/>
              <a:ext cx="1699349"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 Netherlands, 56%</a:t>
              </a:r>
            </a:p>
          </p:txBody>
        </p:sp>
        <p:grpSp>
          <p:nvGrpSpPr>
            <p:cNvPr id="240" name="Group 239">
              <a:extLst>
                <a:ext uri="{FF2B5EF4-FFF2-40B4-BE49-F238E27FC236}">
                  <a16:creationId xmlns:a16="http://schemas.microsoft.com/office/drawing/2014/main" id="{91D71C9A-1269-47B0-AF5A-AA7A73465F6D}"/>
                </a:ext>
              </a:extLst>
            </p:cNvPr>
            <p:cNvGrpSpPr/>
            <p:nvPr/>
          </p:nvGrpSpPr>
          <p:grpSpPr>
            <a:xfrm>
              <a:off x="4669247" y="2224118"/>
              <a:ext cx="296082" cy="296082"/>
              <a:chOff x="4344083" y="1779386"/>
              <a:chExt cx="296082" cy="296082"/>
            </a:xfrm>
          </p:grpSpPr>
          <p:sp>
            <p:nvSpPr>
              <p:cNvPr id="241" name="Teardrop 240">
                <a:extLst>
                  <a:ext uri="{FF2B5EF4-FFF2-40B4-BE49-F238E27FC236}">
                    <a16:creationId xmlns:a16="http://schemas.microsoft.com/office/drawing/2014/main" id="{F9240FD8-4052-44CA-85B2-2D900B21EC2A}"/>
                  </a:ext>
                </a:extLst>
              </p:cNvPr>
              <p:cNvSpPr/>
              <p:nvPr/>
            </p:nvSpPr>
            <p:spPr>
              <a:xfrm rot="8100000">
                <a:off x="4344083" y="1779386"/>
                <a:ext cx="296082" cy="296082"/>
              </a:xfrm>
              <a:prstGeom prst="teardrop">
                <a:avLst>
                  <a:gd name="adj" fmla="val 200000"/>
                </a:avLst>
              </a:prstGeom>
              <a:solidFill>
                <a:srgbClr val="28608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E461B643-DC7C-4B2B-9EF3-5E87CB6501D2}"/>
                  </a:ext>
                </a:extLst>
              </p:cNvPr>
              <p:cNvSpPr/>
              <p:nvPr/>
            </p:nvSpPr>
            <p:spPr>
              <a:xfrm>
                <a:off x="4403082" y="183838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43" name="Rectangle 242">
              <a:extLst>
                <a:ext uri="{FF2B5EF4-FFF2-40B4-BE49-F238E27FC236}">
                  <a16:creationId xmlns:a16="http://schemas.microsoft.com/office/drawing/2014/main" id="{EE645E74-8921-4660-810A-5B287EBACFDC}"/>
                </a:ext>
              </a:extLst>
            </p:cNvPr>
            <p:cNvSpPr/>
            <p:nvPr/>
          </p:nvSpPr>
          <p:spPr>
            <a:xfrm>
              <a:off x="4476513" y="2778794"/>
              <a:ext cx="1439419"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3. Germany, 58%</a:t>
              </a:r>
            </a:p>
          </p:txBody>
        </p:sp>
        <p:sp>
          <p:nvSpPr>
            <p:cNvPr id="244" name="Rectangle 243">
              <a:extLst>
                <a:ext uri="{FF2B5EF4-FFF2-40B4-BE49-F238E27FC236}">
                  <a16:creationId xmlns:a16="http://schemas.microsoft.com/office/drawing/2014/main" id="{29D2A61A-BE92-473B-9405-9D2A09F358D6}"/>
                </a:ext>
              </a:extLst>
            </p:cNvPr>
            <p:cNvSpPr/>
            <p:nvPr/>
          </p:nvSpPr>
          <p:spPr>
            <a:xfrm>
              <a:off x="5753619" y="3723178"/>
              <a:ext cx="1396472"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4. Malaysia, 59%</a:t>
              </a:r>
            </a:p>
          </p:txBody>
        </p:sp>
        <p:grpSp>
          <p:nvGrpSpPr>
            <p:cNvPr id="508" name="Group 507">
              <a:extLst>
                <a:ext uri="{FF2B5EF4-FFF2-40B4-BE49-F238E27FC236}">
                  <a16:creationId xmlns:a16="http://schemas.microsoft.com/office/drawing/2014/main" id="{6936115F-2C89-417E-9992-C1B6EE5CD3C1}"/>
                </a:ext>
              </a:extLst>
            </p:cNvPr>
            <p:cNvGrpSpPr/>
            <p:nvPr/>
          </p:nvGrpSpPr>
          <p:grpSpPr>
            <a:xfrm>
              <a:off x="7229797" y="3717290"/>
              <a:ext cx="296082" cy="296082"/>
              <a:chOff x="2145493" y="2382866"/>
              <a:chExt cx="296082" cy="296082"/>
            </a:xfrm>
          </p:grpSpPr>
          <p:sp>
            <p:nvSpPr>
              <p:cNvPr id="509" name="Teardrop 508">
                <a:extLst>
                  <a:ext uri="{FF2B5EF4-FFF2-40B4-BE49-F238E27FC236}">
                    <a16:creationId xmlns:a16="http://schemas.microsoft.com/office/drawing/2014/main" id="{BC81E2C0-5E36-4B75-AF10-6D221375C394}"/>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10" name="Oval 509">
                <a:extLst>
                  <a:ext uri="{FF2B5EF4-FFF2-40B4-BE49-F238E27FC236}">
                    <a16:creationId xmlns:a16="http://schemas.microsoft.com/office/drawing/2014/main" id="{867F5A82-1B43-46A2-8296-6FA9D0DFA0DD}"/>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grpSp>
        <p:nvGrpSpPr>
          <p:cNvPr id="225" name="Group 224">
            <a:extLst>
              <a:ext uri="{FF2B5EF4-FFF2-40B4-BE49-F238E27FC236}">
                <a16:creationId xmlns:a16="http://schemas.microsoft.com/office/drawing/2014/main" id="{36B8BA7C-E216-4355-9C79-5A311394CB07}"/>
              </a:ext>
            </a:extLst>
          </p:cNvPr>
          <p:cNvGrpSpPr/>
          <p:nvPr/>
        </p:nvGrpSpPr>
        <p:grpSpPr>
          <a:xfrm>
            <a:off x="2279635" y="2160290"/>
            <a:ext cx="7043575" cy="3124892"/>
            <a:chOff x="2279635" y="2160290"/>
            <a:chExt cx="7043575" cy="3124892"/>
          </a:xfrm>
        </p:grpSpPr>
        <p:grpSp>
          <p:nvGrpSpPr>
            <p:cNvPr id="226" name="Group 225">
              <a:extLst>
                <a:ext uri="{FF2B5EF4-FFF2-40B4-BE49-F238E27FC236}">
                  <a16:creationId xmlns:a16="http://schemas.microsoft.com/office/drawing/2014/main" id="{78D4B831-E1D1-4918-8824-B82D411D97DE}"/>
                </a:ext>
              </a:extLst>
            </p:cNvPr>
            <p:cNvGrpSpPr/>
            <p:nvPr/>
          </p:nvGrpSpPr>
          <p:grpSpPr>
            <a:xfrm>
              <a:off x="7465183" y="3547549"/>
              <a:ext cx="296082" cy="296082"/>
              <a:chOff x="7121085" y="2782967"/>
              <a:chExt cx="296082" cy="296082"/>
            </a:xfrm>
          </p:grpSpPr>
          <p:sp>
            <p:nvSpPr>
              <p:cNvPr id="227" name="Teardrop 226">
                <a:extLst>
                  <a:ext uri="{FF2B5EF4-FFF2-40B4-BE49-F238E27FC236}">
                    <a16:creationId xmlns:a16="http://schemas.microsoft.com/office/drawing/2014/main" id="{CED24CFE-6435-44CB-B992-3B8DFD6F968A}"/>
                  </a:ext>
                </a:extLst>
              </p:cNvPr>
              <p:cNvSpPr/>
              <p:nvPr/>
            </p:nvSpPr>
            <p:spPr>
              <a:xfrm rot="8100000">
                <a:off x="7121085" y="2782967"/>
                <a:ext cx="296082" cy="296082"/>
              </a:xfrm>
              <a:prstGeom prst="teardrop">
                <a:avLst>
                  <a:gd name="adj" fmla="val 200000"/>
                </a:avLst>
              </a:prstGeom>
              <a:solidFill>
                <a:srgbClr val="ED7D31"/>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28" name="Oval 227">
                <a:extLst>
                  <a:ext uri="{FF2B5EF4-FFF2-40B4-BE49-F238E27FC236}">
                    <a16:creationId xmlns:a16="http://schemas.microsoft.com/office/drawing/2014/main" id="{285C9AF6-8166-4B61-A9C6-262CD1EF8632}"/>
                  </a:ext>
                </a:extLst>
              </p:cNvPr>
              <p:cNvSpPr/>
              <p:nvPr/>
            </p:nvSpPr>
            <p:spPr>
              <a:xfrm>
                <a:off x="7180084" y="2841966"/>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489" name="Group 488">
              <a:extLst>
                <a:ext uri="{FF2B5EF4-FFF2-40B4-BE49-F238E27FC236}">
                  <a16:creationId xmlns:a16="http://schemas.microsoft.com/office/drawing/2014/main" id="{1BD609B9-661D-4312-8864-A7B7DC8D376A}"/>
                </a:ext>
              </a:extLst>
            </p:cNvPr>
            <p:cNvGrpSpPr/>
            <p:nvPr/>
          </p:nvGrpSpPr>
          <p:grpSpPr>
            <a:xfrm>
              <a:off x="5001202" y="4964079"/>
              <a:ext cx="296082" cy="296082"/>
              <a:chOff x="7121085" y="2782967"/>
              <a:chExt cx="296082" cy="296082"/>
            </a:xfrm>
          </p:grpSpPr>
          <p:sp>
            <p:nvSpPr>
              <p:cNvPr id="490" name="Teardrop 489">
                <a:extLst>
                  <a:ext uri="{FF2B5EF4-FFF2-40B4-BE49-F238E27FC236}">
                    <a16:creationId xmlns:a16="http://schemas.microsoft.com/office/drawing/2014/main" id="{BF16C176-0290-4BE7-A54B-ECC0AFBC70A9}"/>
                  </a:ext>
                </a:extLst>
              </p:cNvPr>
              <p:cNvSpPr/>
              <p:nvPr/>
            </p:nvSpPr>
            <p:spPr>
              <a:xfrm rot="8100000">
                <a:off x="7121085" y="2782967"/>
                <a:ext cx="296082" cy="296082"/>
              </a:xfrm>
              <a:prstGeom prst="teardrop">
                <a:avLst>
                  <a:gd name="adj" fmla="val 200000"/>
                </a:avLst>
              </a:prstGeom>
              <a:solidFill>
                <a:srgbClr val="ED7D31"/>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491" name="Oval 490">
                <a:extLst>
                  <a:ext uri="{FF2B5EF4-FFF2-40B4-BE49-F238E27FC236}">
                    <a16:creationId xmlns:a16="http://schemas.microsoft.com/office/drawing/2014/main" id="{64818532-FBB5-43AF-B8F0-03622C12D3C7}"/>
                  </a:ext>
                </a:extLst>
              </p:cNvPr>
              <p:cNvSpPr/>
              <p:nvPr/>
            </p:nvSpPr>
            <p:spPr>
              <a:xfrm>
                <a:off x="7180084" y="2841966"/>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492" name="Rectangle 491">
              <a:extLst>
                <a:ext uri="{FF2B5EF4-FFF2-40B4-BE49-F238E27FC236}">
                  <a16:creationId xmlns:a16="http://schemas.microsoft.com/office/drawing/2014/main" id="{CA6C4237-9DD4-40D5-981F-B79AA138EF06}"/>
                </a:ext>
              </a:extLst>
            </p:cNvPr>
            <p:cNvSpPr/>
            <p:nvPr/>
          </p:nvSpPr>
          <p:spPr>
            <a:xfrm>
              <a:off x="5441821" y="4961893"/>
              <a:ext cx="1728775" cy="323289"/>
            </a:xfrm>
            <a:prstGeom prst="rect">
              <a:avLst/>
            </a:prstGeom>
            <a:solidFill>
              <a:srgbClr val="ED7D3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5. South Africa, 83%</a:t>
              </a:r>
            </a:p>
          </p:txBody>
        </p:sp>
        <p:grpSp>
          <p:nvGrpSpPr>
            <p:cNvPr id="493" name="Group 492">
              <a:extLst>
                <a:ext uri="{FF2B5EF4-FFF2-40B4-BE49-F238E27FC236}">
                  <a16:creationId xmlns:a16="http://schemas.microsoft.com/office/drawing/2014/main" id="{1D557CFF-7FE6-4DDB-92DA-5CD31891C92E}"/>
                </a:ext>
              </a:extLst>
            </p:cNvPr>
            <p:cNvGrpSpPr/>
            <p:nvPr/>
          </p:nvGrpSpPr>
          <p:grpSpPr>
            <a:xfrm>
              <a:off x="5311082" y="2162476"/>
              <a:ext cx="296082" cy="296082"/>
              <a:chOff x="7121085" y="2782967"/>
              <a:chExt cx="296082" cy="296082"/>
            </a:xfrm>
          </p:grpSpPr>
          <p:sp>
            <p:nvSpPr>
              <p:cNvPr id="494" name="Teardrop 493">
                <a:extLst>
                  <a:ext uri="{FF2B5EF4-FFF2-40B4-BE49-F238E27FC236}">
                    <a16:creationId xmlns:a16="http://schemas.microsoft.com/office/drawing/2014/main" id="{737AAC4C-3799-465D-AF82-FB5EB96689CB}"/>
                  </a:ext>
                </a:extLst>
              </p:cNvPr>
              <p:cNvSpPr/>
              <p:nvPr/>
            </p:nvSpPr>
            <p:spPr>
              <a:xfrm rot="8100000">
                <a:off x="7121085" y="2782967"/>
                <a:ext cx="296082" cy="296082"/>
              </a:xfrm>
              <a:prstGeom prst="teardrop">
                <a:avLst>
                  <a:gd name="adj" fmla="val 200000"/>
                </a:avLst>
              </a:prstGeom>
              <a:solidFill>
                <a:srgbClr val="ED7D31"/>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495" name="Oval 494">
                <a:extLst>
                  <a:ext uri="{FF2B5EF4-FFF2-40B4-BE49-F238E27FC236}">
                    <a16:creationId xmlns:a16="http://schemas.microsoft.com/office/drawing/2014/main" id="{65A74BDE-20DD-41AE-84FD-5CCB2EE86759}"/>
                  </a:ext>
                </a:extLst>
              </p:cNvPr>
              <p:cNvSpPr/>
              <p:nvPr/>
            </p:nvSpPr>
            <p:spPr>
              <a:xfrm>
                <a:off x="7180084" y="2841966"/>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496" name="Rectangle 495">
              <a:extLst>
                <a:ext uri="{FF2B5EF4-FFF2-40B4-BE49-F238E27FC236}">
                  <a16:creationId xmlns:a16="http://schemas.microsoft.com/office/drawing/2014/main" id="{8E793DA0-8B92-4940-9E87-792C1A99CC27}"/>
                </a:ext>
              </a:extLst>
            </p:cNvPr>
            <p:cNvSpPr/>
            <p:nvPr/>
          </p:nvSpPr>
          <p:spPr>
            <a:xfrm>
              <a:off x="5751701" y="2160290"/>
              <a:ext cx="1339119" cy="323289"/>
            </a:xfrm>
            <a:prstGeom prst="rect">
              <a:avLst/>
            </a:prstGeom>
            <a:solidFill>
              <a:srgbClr val="ED7D3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2. Russia, 79%</a:t>
              </a:r>
            </a:p>
          </p:txBody>
        </p:sp>
        <p:sp>
          <p:nvSpPr>
            <p:cNvPr id="500" name="Rectangle 499">
              <a:extLst>
                <a:ext uri="{FF2B5EF4-FFF2-40B4-BE49-F238E27FC236}">
                  <a16:creationId xmlns:a16="http://schemas.microsoft.com/office/drawing/2014/main" id="{0491CE2D-46D5-4577-A7F9-ACF90907CFAD}"/>
                </a:ext>
              </a:extLst>
            </p:cNvPr>
            <p:cNvSpPr/>
            <p:nvPr/>
          </p:nvSpPr>
          <p:spPr>
            <a:xfrm>
              <a:off x="2748662" y="3648651"/>
              <a:ext cx="1531607" cy="323289"/>
            </a:xfrm>
            <a:prstGeom prst="rect">
              <a:avLst/>
            </a:prstGeom>
            <a:solidFill>
              <a:srgbClr val="ED7D3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3. Colombia, 80%</a:t>
              </a:r>
            </a:p>
          </p:txBody>
        </p:sp>
        <p:sp>
          <p:nvSpPr>
            <p:cNvPr id="505" name="Rectangle 504">
              <a:extLst>
                <a:ext uri="{FF2B5EF4-FFF2-40B4-BE49-F238E27FC236}">
                  <a16:creationId xmlns:a16="http://schemas.microsoft.com/office/drawing/2014/main" id="{1E39DAC2-591A-45BC-B171-EA1CC1352EDB}"/>
                </a:ext>
              </a:extLst>
            </p:cNvPr>
            <p:cNvSpPr/>
            <p:nvPr/>
          </p:nvSpPr>
          <p:spPr>
            <a:xfrm>
              <a:off x="2632669" y="4354058"/>
              <a:ext cx="1293330" cy="323289"/>
            </a:xfrm>
            <a:prstGeom prst="rect">
              <a:avLst/>
            </a:prstGeom>
            <a:solidFill>
              <a:srgbClr val="ED7D3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4. Peru, 81%</a:t>
              </a:r>
            </a:p>
          </p:txBody>
        </p:sp>
        <p:sp>
          <p:nvSpPr>
            <p:cNvPr id="511" name="Rectangle 510">
              <a:extLst>
                <a:ext uri="{FF2B5EF4-FFF2-40B4-BE49-F238E27FC236}">
                  <a16:creationId xmlns:a16="http://schemas.microsoft.com/office/drawing/2014/main" id="{70FE8FB0-75AB-4ABE-8AB1-7854C5733010}"/>
                </a:ext>
              </a:extLst>
            </p:cNvPr>
            <p:cNvSpPr/>
            <p:nvPr/>
          </p:nvSpPr>
          <p:spPr>
            <a:xfrm>
              <a:off x="7834019" y="3546363"/>
              <a:ext cx="1489191" cy="323289"/>
            </a:xfrm>
            <a:prstGeom prst="rect">
              <a:avLst/>
            </a:prstGeom>
            <a:solidFill>
              <a:srgbClr val="ED7D31"/>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1. Vietnam, 78%</a:t>
              </a:r>
            </a:p>
          </p:txBody>
        </p:sp>
        <p:grpSp>
          <p:nvGrpSpPr>
            <p:cNvPr id="512" name="Group 511">
              <a:extLst>
                <a:ext uri="{FF2B5EF4-FFF2-40B4-BE49-F238E27FC236}">
                  <a16:creationId xmlns:a16="http://schemas.microsoft.com/office/drawing/2014/main" id="{A8C2CDFB-D74E-40EE-A38F-99445F66DE32}"/>
                </a:ext>
              </a:extLst>
            </p:cNvPr>
            <p:cNvGrpSpPr/>
            <p:nvPr/>
          </p:nvGrpSpPr>
          <p:grpSpPr>
            <a:xfrm>
              <a:off x="2279635" y="4332711"/>
              <a:ext cx="296082" cy="296082"/>
              <a:chOff x="7121085" y="2782967"/>
              <a:chExt cx="296082" cy="296082"/>
            </a:xfrm>
          </p:grpSpPr>
          <p:sp>
            <p:nvSpPr>
              <p:cNvPr id="513" name="Teardrop 512">
                <a:extLst>
                  <a:ext uri="{FF2B5EF4-FFF2-40B4-BE49-F238E27FC236}">
                    <a16:creationId xmlns:a16="http://schemas.microsoft.com/office/drawing/2014/main" id="{1B83B23B-E959-482C-8C66-B5AF7871599E}"/>
                  </a:ext>
                </a:extLst>
              </p:cNvPr>
              <p:cNvSpPr/>
              <p:nvPr/>
            </p:nvSpPr>
            <p:spPr>
              <a:xfrm rot="8100000">
                <a:off x="7121085" y="2782967"/>
                <a:ext cx="296082" cy="296082"/>
              </a:xfrm>
              <a:prstGeom prst="teardrop">
                <a:avLst>
                  <a:gd name="adj" fmla="val 200000"/>
                </a:avLst>
              </a:prstGeom>
              <a:solidFill>
                <a:srgbClr val="ED7D31"/>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14" name="Oval 513">
                <a:extLst>
                  <a:ext uri="{FF2B5EF4-FFF2-40B4-BE49-F238E27FC236}">
                    <a16:creationId xmlns:a16="http://schemas.microsoft.com/office/drawing/2014/main" id="{2FD973B7-1253-4EE0-AAC8-C04B0C6010D3}"/>
                  </a:ext>
                </a:extLst>
              </p:cNvPr>
              <p:cNvSpPr/>
              <p:nvPr/>
            </p:nvSpPr>
            <p:spPr>
              <a:xfrm>
                <a:off x="7180084" y="2841966"/>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515" name="Group 514">
              <a:extLst>
                <a:ext uri="{FF2B5EF4-FFF2-40B4-BE49-F238E27FC236}">
                  <a16:creationId xmlns:a16="http://schemas.microsoft.com/office/drawing/2014/main" id="{8674DB3C-74B4-4AA5-BAB1-6EE6664CBE49}"/>
                </a:ext>
              </a:extLst>
            </p:cNvPr>
            <p:cNvGrpSpPr/>
            <p:nvPr/>
          </p:nvGrpSpPr>
          <p:grpSpPr>
            <a:xfrm>
              <a:off x="2311594" y="3630805"/>
              <a:ext cx="296082" cy="296082"/>
              <a:chOff x="7121085" y="2782967"/>
              <a:chExt cx="296082" cy="296082"/>
            </a:xfrm>
          </p:grpSpPr>
          <p:sp>
            <p:nvSpPr>
              <p:cNvPr id="516" name="Teardrop 515">
                <a:extLst>
                  <a:ext uri="{FF2B5EF4-FFF2-40B4-BE49-F238E27FC236}">
                    <a16:creationId xmlns:a16="http://schemas.microsoft.com/office/drawing/2014/main" id="{88E47574-DCA6-40CD-A4D1-6CA9B6A64372}"/>
                  </a:ext>
                </a:extLst>
              </p:cNvPr>
              <p:cNvSpPr/>
              <p:nvPr/>
            </p:nvSpPr>
            <p:spPr>
              <a:xfrm rot="8100000">
                <a:off x="7121085" y="2782967"/>
                <a:ext cx="296082" cy="296082"/>
              </a:xfrm>
              <a:prstGeom prst="teardrop">
                <a:avLst>
                  <a:gd name="adj" fmla="val 200000"/>
                </a:avLst>
              </a:prstGeom>
              <a:solidFill>
                <a:srgbClr val="ED7D31"/>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17" name="Oval 516">
                <a:extLst>
                  <a:ext uri="{FF2B5EF4-FFF2-40B4-BE49-F238E27FC236}">
                    <a16:creationId xmlns:a16="http://schemas.microsoft.com/office/drawing/2014/main" id="{777E00AC-B62B-4296-944D-CB36D97C106A}"/>
                  </a:ext>
                </a:extLst>
              </p:cNvPr>
              <p:cNvSpPr/>
              <p:nvPr/>
            </p:nvSpPr>
            <p:spPr>
              <a:xfrm>
                <a:off x="7180084" y="2841966"/>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sp>
        <p:nvSpPr>
          <p:cNvPr id="518" name="TextBox 517">
            <a:extLst>
              <a:ext uri="{FF2B5EF4-FFF2-40B4-BE49-F238E27FC236}">
                <a16:creationId xmlns:a16="http://schemas.microsoft.com/office/drawing/2014/main" id="{E0ACCCB4-9C66-45F4-AA3E-A3325CC96414}"/>
              </a:ext>
            </a:extLst>
          </p:cNvPr>
          <p:cNvSpPr txBox="1"/>
          <p:nvPr/>
        </p:nvSpPr>
        <p:spPr>
          <a:xfrm>
            <a:off x="9360222" y="6208666"/>
            <a:ext cx="2841162" cy="433965"/>
          </a:xfrm>
          <a:prstGeom prst="rect">
            <a:avLst/>
          </a:prstGeom>
          <a:noFill/>
        </p:spPr>
        <p:txBody>
          <a:bodyPr wrap="none" lIns="182880" tIns="146304" rIns="182880" bIns="146304" rtlCol="0">
            <a:spAutoFit/>
          </a:bodyPr>
          <a:lstStyle/>
          <a:p>
            <a:pPr>
              <a:lnSpc>
                <a:spcPct val="90000"/>
              </a:lnSpc>
            </a:pPr>
            <a:r>
              <a:rPr lang="en-US" sz="1000" i="1" dirty="0">
                <a:solidFill>
                  <a:schemeClr val="bg1">
                    <a:lumMod val="50000"/>
                  </a:schemeClr>
                </a:solidFill>
                <a:latin typeface="Arial" panose="020B0604020202020204" pitchFamily="34" charset="0"/>
                <a:cs typeface="Arial" panose="020B0604020202020204" pitchFamily="34" charset="0"/>
              </a:rPr>
              <a:t>Adjusted for YOY country lineup differences</a:t>
            </a:r>
          </a:p>
        </p:txBody>
      </p:sp>
      <p:sp>
        <p:nvSpPr>
          <p:cNvPr id="264" name="Slide Number Placeholder 38">
            <a:extLst>
              <a:ext uri="{FF2B5EF4-FFF2-40B4-BE49-F238E27FC236}">
                <a16:creationId xmlns:a16="http://schemas.microsoft.com/office/drawing/2014/main" id="{2732CCCC-72F0-4732-84C3-BB82A95F78B7}"/>
              </a:ext>
            </a:extLst>
          </p:cNvPr>
          <p:cNvSpPr txBox="1">
            <a:spLocks/>
          </p:cNvSpPr>
          <p:nvPr/>
        </p:nvSpPr>
        <p:spPr>
          <a:xfrm>
            <a:off x="9291266" y="6520009"/>
            <a:ext cx="2901950" cy="371475"/>
          </a:xfrm>
          <a:prstGeom prst="rect">
            <a:avLst/>
          </a:prstGeom>
        </p:spPr>
        <p:txBody>
          <a:bodyPr/>
          <a:lstStyle>
            <a:defPPr>
              <a:defRPr lang="en-US"/>
            </a:defPPr>
            <a:lvl1pPr marL="0" algn="r" defTabSz="914286" rtl="0" eaLnBrk="1" latinLnBrk="0" hangingPunct="1">
              <a:defRPr sz="1200" kern="1200">
                <a:solidFill>
                  <a:schemeClr val="tx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7</a:t>
            </a:fld>
            <a:endParaRPr lang="en-US" dirty="0">
              <a:solidFill>
                <a:prstClr val="black">
                  <a:lumMod val="50000"/>
                  <a:lumOff val="50000"/>
                </a:prstClr>
              </a:solidFill>
              <a:latin typeface="Arial"/>
            </a:endParaRPr>
          </a:p>
        </p:txBody>
      </p:sp>
    </p:spTree>
    <p:extLst>
      <p:ext uri="{BB962C8B-B14F-4D97-AF65-F5344CB8AC3E}">
        <p14:creationId xmlns:p14="http://schemas.microsoft.com/office/powerpoint/2010/main" val="256907332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24"/>
                                        </p:tgtEl>
                                        <p:attrNameLst>
                                          <p:attrName>style.visibility</p:attrName>
                                        </p:attrNameLst>
                                      </p:cBhvr>
                                      <p:to>
                                        <p:strVal val="visible"/>
                                      </p:to>
                                    </p:set>
                                    <p:animEffect transition="in" filter="fade">
                                      <p:cBhvr>
                                        <p:cTn id="7" dur="500"/>
                                        <p:tgtEl>
                                          <p:spTgt spid="224"/>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225"/>
                                        </p:tgtEl>
                                        <p:attrNameLst>
                                          <p:attrName>style.visibility</p:attrName>
                                        </p:attrNameLst>
                                      </p:cBhvr>
                                      <p:to>
                                        <p:strVal val="visible"/>
                                      </p:to>
                                    </p:set>
                                    <p:animEffect transition="in" filter="fade">
                                      <p:cBhvr>
                                        <p:cTn id="12" dur="500"/>
                                        <p:tgtEl>
                                          <p:spTgt spid="225"/>
                                        </p:tgtEl>
                                      </p:cBhvr>
                                    </p:animEffect>
                                  </p:childTnLst>
                                </p:cTn>
                              </p:par>
                            </p:childTnLst>
                          </p:cTn>
                        </p:par>
                      </p:childTnLst>
                    </p:cTn>
                  </p:par>
                  <p:par>
                    <p:cTn id="13" fill="hold">
                      <p:stCondLst>
                        <p:cond delay="indefinite"/>
                      </p:stCondLst>
                      <p:childTnLst>
                        <p:par>
                          <p:cTn id="14" fill="hold">
                            <p:stCondLst>
                              <p:cond delay="0"/>
                            </p:stCondLst>
                            <p:childTnLst>
                              <p:par>
                                <p:cTn id="15" presetID="42" presetClass="entr" presetSubtype="0" fill="hold" nodeType="clickEffect">
                                  <p:stCondLst>
                                    <p:cond delay="0"/>
                                  </p:stCondLst>
                                  <p:childTnLst>
                                    <p:set>
                                      <p:cBhvr>
                                        <p:cTn id="16" dur="1" fill="hold">
                                          <p:stCondLst>
                                            <p:cond delay="0"/>
                                          </p:stCondLst>
                                        </p:cTn>
                                        <p:tgtEl>
                                          <p:spTgt spid="486"/>
                                        </p:tgtEl>
                                        <p:attrNameLst>
                                          <p:attrName>style.visibility</p:attrName>
                                        </p:attrNameLst>
                                      </p:cBhvr>
                                      <p:to>
                                        <p:strVal val="visible"/>
                                      </p:to>
                                    </p:set>
                                    <p:animEffect transition="in" filter="fade">
                                      <p:cBhvr>
                                        <p:cTn id="17" dur="1000"/>
                                        <p:tgtEl>
                                          <p:spTgt spid="486"/>
                                        </p:tgtEl>
                                      </p:cBhvr>
                                    </p:animEffect>
                                    <p:anim calcmode="lin" valueType="num">
                                      <p:cBhvr>
                                        <p:cTn id="18" dur="1000" fill="hold"/>
                                        <p:tgtEl>
                                          <p:spTgt spid="486"/>
                                        </p:tgtEl>
                                        <p:attrNameLst>
                                          <p:attrName>ppt_x</p:attrName>
                                        </p:attrNameLst>
                                      </p:cBhvr>
                                      <p:tavLst>
                                        <p:tav tm="0">
                                          <p:val>
                                            <p:strVal val="#ppt_x"/>
                                          </p:val>
                                        </p:tav>
                                        <p:tav tm="100000">
                                          <p:val>
                                            <p:strVal val="#ppt_x"/>
                                          </p:val>
                                        </p:tav>
                                      </p:tavLst>
                                    </p:anim>
                                    <p:anim calcmode="lin" valueType="num">
                                      <p:cBhvr>
                                        <p:cTn id="19" dur="1000" fill="hold"/>
                                        <p:tgtEl>
                                          <p:spTgt spid="486"/>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8D9069D7-243F-41B4-961C-3B0B9036E242}"/>
              </a:ext>
            </a:extLst>
          </p:cNvPr>
          <p:cNvSpPr>
            <a:spLocks noGrp="1"/>
          </p:cNvSpPr>
          <p:nvPr>
            <p:ph type="body" sz="quarter" idx="10"/>
          </p:nvPr>
        </p:nvSpPr>
        <p:spPr>
          <a:xfrm>
            <a:off x="323529" y="706521"/>
            <a:ext cx="11573197" cy="794064"/>
          </a:xfrm>
          <a:ln>
            <a:solidFill>
              <a:schemeClr val="bg1"/>
            </a:solidFill>
          </a:ln>
        </p:spPr>
        <p:txBody>
          <a:bodyPr/>
          <a:lstStyle/>
          <a:p>
            <a:pPr algn="l"/>
            <a:endParaRPr lang="en-US" dirty="0"/>
          </a:p>
        </p:txBody>
      </p:sp>
      <p:sp>
        <p:nvSpPr>
          <p:cNvPr id="3" name="Slide Number Placeholder 2">
            <a:extLst>
              <a:ext uri="{FF2B5EF4-FFF2-40B4-BE49-F238E27FC236}">
                <a16:creationId xmlns:a16="http://schemas.microsoft.com/office/drawing/2014/main" id="{5F999973-1B0A-4282-A82F-94E6CFFDC961}"/>
              </a:ext>
            </a:extLst>
          </p:cNvPr>
          <p:cNvSpPr>
            <a:spLocks noGrp="1"/>
          </p:cNvSpPr>
          <p:nvPr>
            <p:ph type="sldNum" sz="quarter" idx="4"/>
          </p:nvPr>
        </p:nvSpPr>
        <p:spPr/>
        <p:txBody>
          <a:bodyPr/>
          <a:lstStyle/>
          <a:p>
            <a:fld id="{7EFC24D6-DB8F-6B44-BA5A-9BEC68C15CAA}" type="slidenum">
              <a:rPr lang="en-US" smtClean="0"/>
              <a:pPr/>
              <a:t>8</a:t>
            </a:fld>
            <a:endParaRPr lang="en-US" dirty="0"/>
          </a:p>
        </p:txBody>
      </p:sp>
      <p:grpSp>
        <p:nvGrpSpPr>
          <p:cNvPr id="4" name="Group 3">
            <a:extLst>
              <a:ext uri="{FF2B5EF4-FFF2-40B4-BE49-F238E27FC236}">
                <a16:creationId xmlns:a16="http://schemas.microsoft.com/office/drawing/2014/main" id="{363D2262-AD99-4429-94DA-BC7C90B3F962}"/>
              </a:ext>
            </a:extLst>
          </p:cNvPr>
          <p:cNvGrpSpPr/>
          <p:nvPr/>
        </p:nvGrpSpPr>
        <p:grpSpPr>
          <a:xfrm>
            <a:off x="114301" y="1779066"/>
            <a:ext cx="9448800" cy="4429600"/>
            <a:chOff x="785019" y="1120549"/>
            <a:chExt cx="11139487" cy="5021261"/>
          </a:xfrm>
          <a:solidFill>
            <a:sysClr val="window" lastClr="FFFFFF">
              <a:lumMod val="85000"/>
            </a:sysClr>
          </a:solidFill>
        </p:grpSpPr>
        <p:sp>
          <p:nvSpPr>
            <p:cNvPr id="5" name="Afghanistan">
              <a:extLst>
                <a:ext uri="{FF2B5EF4-FFF2-40B4-BE49-F238E27FC236}">
                  <a16:creationId xmlns:a16="http://schemas.microsoft.com/office/drawing/2014/main" id="{1B1B6BA4-A7CF-4689-AB44-BC0528C033F4}"/>
                </a:ext>
              </a:extLst>
            </p:cNvPr>
            <p:cNvSpPr>
              <a:spLocks/>
            </p:cNvSpPr>
            <p:nvPr/>
          </p:nvSpPr>
          <p:spPr bwMode="auto">
            <a:xfrm>
              <a:off x="7906544" y="2608036"/>
              <a:ext cx="428625" cy="347663"/>
            </a:xfrm>
            <a:custGeom>
              <a:avLst/>
              <a:gdLst>
                <a:gd name="T0" fmla="*/ 245 w 270"/>
                <a:gd name="T1" fmla="*/ 26 h 219"/>
                <a:gd name="T2" fmla="*/ 221 w 270"/>
                <a:gd name="T3" fmla="*/ 35 h 219"/>
                <a:gd name="T4" fmla="*/ 207 w 270"/>
                <a:gd name="T5" fmla="*/ 42 h 219"/>
                <a:gd name="T6" fmla="*/ 194 w 270"/>
                <a:gd name="T7" fmla="*/ 14 h 219"/>
                <a:gd name="T8" fmla="*/ 189 w 270"/>
                <a:gd name="T9" fmla="*/ 6 h 219"/>
                <a:gd name="T10" fmla="*/ 170 w 270"/>
                <a:gd name="T11" fmla="*/ 9 h 219"/>
                <a:gd name="T12" fmla="*/ 168 w 270"/>
                <a:gd name="T13" fmla="*/ 22 h 219"/>
                <a:gd name="T14" fmla="*/ 153 w 270"/>
                <a:gd name="T15" fmla="*/ 32 h 219"/>
                <a:gd name="T16" fmla="*/ 133 w 270"/>
                <a:gd name="T17" fmla="*/ 36 h 219"/>
                <a:gd name="T18" fmla="*/ 110 w 270"/>
                <a:gd name="T19" fmla="*/ 27 h 219"/>
                <a:gd name="T20" fmla="*/ 93 w 270"/>
                <a:gd name="T21" fmla="*/ 27 h 219"/>
                <a:gd name="T22" fmla="*/ 81 w 270"/>
                <a:gd name="T23" fmla="*/ 28 h 219"/>
                <a:gd name="T24" fmla="*/ 66 w 270"/>
                <a:gd name="T25" fmla="*/ 53 h 219"/>
                <a:gd name="T26" fmla="*/ 42 w 270"/>
                <a:gd name="T27" fmla="*/ 64 h 219"/>
                <a:gd name="T28" fmla="*/ 26 w 270"/>
                <a:gd name="T29" fmla="*/ 78 h 219"/>
                <a:gd name="T30" fmla="*/ 2 w 270"/>
                <a:gd name="T31" fmla="*/ 98 h 219"/>
                <a:gd name="T32" fmla="*/ 9 w 270"/>
                <a:gd name="T33" fmla="*/ 120 h 219"/>
                <a:gd name="T34" fmla="*/ 14 w 270"/>
                <a:gd name="T35" fmla="*/ 152 h 219"/>
                <a:gd name="T36" fmla="*/ 34 w 270"/>
                <a:gd name="T37" fmla="*/ 170 h 219"/>
                <a:gd name="T38" fmla="*/ 23 w 270"/>
                <a:gd name="T39" fmla="*/ 208 h 219"/>
                <a:gd name="T40" fmla="*/ 79 w 270"/>
                <a:gd name="T41" fmla="*/ 216 h 219"/>
                <a:gd name="T42" fmla="*/ 95 w 270"/>
                <a:gd name="T43" fmla="*/ 213 h 219"/>
                <a:gd name="T44" fmla="*/ 133 w 270"/>
                <a:gd name="T45" fmla="*/ 206 h 219"/>
                <a:gd name="T46" fmla="*/ 139 w 270"/>
                <a:gd name="T47" fmla="*/ 172 h 219"/>
                <a:gd name="T48" fmla="*/ 155 w 270"/>
                <a:gd name="T49" fmla="*/ 166 h 219"/>
                <a:gd name="T50" fmla="*/ 177 w 270"/>
                <a:gd name="T51" fmla="*/ 165 h 219"/>
                <a:gd name="T52" fmla="*/ 180 w 270"/>
                <a:gd name="T53" fmla="*/ 144 h 219"/>
                <a:gd name="T54" fmla="*/ 197 w 270"/>
                <a:gd name="T55" fmla="*/ 124 h 219"/>
                <a:gd name="T56" fmla="*/ 204 w 270"/>
                <a:gd name="T57" fmla="*/ 109 h 219"/>
                <a:gd name="T58" fmla="*/ 205 w 270"/>
                <a:gd name="T59" fmla="*/ 91 h 219"/>
                <a:gd name="T60" fmla="*/ 207 w 270"/>
                <a:gd name="T61" fmla="*/ 69 h 219"/>
                <a:gd name="T62" fmla="*/ 209 w 270"/>
                <a:gd name="T63" fmla="*/ 48 h 219"/>
                <a:gd name="T64" fmla="*/ 250 w 270"/>
                <a:gd name="T65" fmla="*/ 40 h 219"/>
                <a:gd name="T66" fmla="*/ 270 w 270"/>
                <a:gd name="T67" fmla="*/ 33 h 219"/>
                <a:gd name="T68" fmla="*/ 265 w 270"/>
                <a:gd name="T69" fmla="*/ 26 h 2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0" h="219">
                  <a:moveTo>
                    <a:pt x="265" y="26"/>
                  </a:moveTo>
                  <a:lnTo>
                    <a:pt x="245" y="26"/>
                  </a:lnTo>
                  <a:lnTo>
                    <a:pt x="231" y="24"/>
                  </a:lnTo>
                  <a:lnTo>
                    <a:pt x="221" y="35"/>
                  </a:lnTo>
                  <a:lnTo>
                    <a:pt x="213" y="38"/>
                  </a:lnTo>
                  <a:lnTo>
                    <a:pt x="207" y="42"/>
                  </a:lnTo>
                  <a:lnTo>
                    <a:pt x="198" y="34"/>
                  </a:lnTo>
                  <a:lnTo>
                    <a:pt x="194" y="14"/>
                  </a:lnTo>
                  <a:lnTo>
                    <a:pt x="189" y="13"/>
                  </a:lnTo>
                  <a:lnTo>
                    <a:pt x="189" y="6"/>
                  </a:lnTo>
                  <a:lnTo>
                    <a:pt x="176" y="0"/>
                  </a:lnTo>
                  <a:lnTo>
                    <a:pt x="170" y="9"/>
                  </a:lnTo>
                  <a:lnTo>
                    <a:pt x="171" y="18"/>
                  </a:lnTo>
                  <a:lnTo>
                    <a:pt x="168" y="22"/>
                  </a:lnTo>
                  <a:lnTo>
                    <a:pt x="157" y="21"/>
                  </a:lnTo>
                  <a:lnTo>
                    <a:pt x="153" y="32"/>
                  </a:lnTo>
                  <a:lnTo>
                    <a:pt x="146" y="27"/>
                  </a:lnTo>
                  <a:lnTo>
                    <a:pt x="133" y="36"/>
                  </a:lnTo>
                  <a:lnTo>
                    <a:pt x="126" y="32"/>
                  </a:lnTo>
                  <a:lnTo>
                    <a:pt x="110" y="27"/>
                  </a:lnTo>
                  <a:lnTo>
                    <a:pt x="99" y="27"/>
                  </a:lnTo>
                  <a:lnTo>
                    <a:pt x="93" y="27"/>
                  </a:lnTo>
                  <a:lnTo>
                    <a:pt x="82" y="20"/>
                  </a:lnTo>
                  <a:lnTo>
                    <a:pt x="81" y="28"/>
                  </a:lnTo>
                  <a:lnTo>
                    <a:pt x="66" y="33"/>
                  </a:lnTo>
                  <a:lnTo>
                    <a:pt x="66" y="53"/>
                  </a:lnTo>
                  <a:lnTo>
                    <a:pt x="57" y="60"/>
                  </a:lnTo>
                  <a:lnTo>
                    <a:pt x="42" y="64"/>
                  </a:lnTo>
                  <a:lnTo>
                    <a:pt x="41" y="75"/>
                  </a:lnTo>
                  <a:lnTo>
                    <a:pt x="26" y="78"/>
                  </a:lnTo>
                  <a:lnTo>
                    <a:pt x="4" y="69"/>
                  </a:lnTo>
                  <a:lnTo>
                    <a:pt x="2" y="98"/>
                  </a:lnTo>
                  <a:lnTo>
                    <a:pt x="0" y="116"/>
                  </a:lnTo>
                  <a:lnTo>
                    <a:pt x="9" y="120"/>
                  </a:lnTo>
                  <a:lnTo>
                    <a:pt x="4" y="133"/>
                  </a:lnTo>
                  <a:lnTo>
                    <a:pt x="14" y="152"/>
                  </a:lnTo>
                  <a:lnTo>
                    <a:pt x="18" y="167"/>
                  </a:lnTo>
                  <a:lnTo>
                    <a:pt x="34" y="170"/>
                  </a:lnTo>
                  <a:lnTo>
                    <a:pt x="38" y="185"/>
                  </a:lnTo>
                  <a:lnTo>
                    <a:pt x="23" y="208"/>
                  </a:lnTo>
                  <a:lnTo>
                    <a:pt x="60" y="219"/>
                  </a:lnTo>
                  <a:lnTo>
                    <a:pt x="79" y="216"/>
                  </a:lnTo>
                  <a:lnTo>
                    <a:pt x="91" y="219"/>
                  </a:lnTo>
                  <a:lnTo>
                    <a:pt x="95" y="213"/>
                  </a:lnTo>
                  <a:lnTo>
                    <a:pt x="109" y="215"/>
                  </a:lnTo>
                  <a:lnTo>
                    <a:pt x="133" y="206"/>
                  </a:lnTo>
                  <a:lnTo>
                    <a:pt x="131" y="185"/>
                  </a:lnTo>
                  <a:lnTo>
                    <a:pt x="139" y="172"/>
                  </a:lnTo>
                  <a:lnTo>
                    <a:pt x="154" y="172"/>
                  </a:lnTo>
                  <a:lnTo>
                    <a:pt x="155" y="166"/>
                  </a:lnTo>
                  <a:lnTo>
                    <a:pt x="170" y="163"/>
                  </a:lnTo>
                  <a:lnTo>
                    <a:pt x="177" y="165"/>
                  </a:lnTo>
                  <a:lnTo>
                    <a:pt x="184" y="158"/>
                  </a:lnTo>
                  <a:lnTo>
                    <a:pt x="180" y="144"/>
                  </a:lnTo>
                  <a:lnTo>
                    <a:pt x="186" y="129"/>
                  </a:lnTo>
                  <a:lnTo>
                    <a:pt x="197" y="124"/>
                  </a:lnTo>
                  <a:lnTo>
                    <a:pt x="186" y="108"/>
                  </a:lnTo>
                  <a:lnTo>
                    <a:pt x="204" y="109"/>
                  </a:lnTo>
                  <a:lnTo>
                    <a:pt x="208" y="100"/>
                  </a:lnTo>
                  <a:lnTo>
                    <a:pt x="205" y="91"/>
                  </a:lnTo>
                  <a:lnTo>
                    <a:pt x="213" y="81"/>
                  </a:lnTo>
                  <a:lnTo>
                    <a:pt x="207" y="69"/>
                  </a:lnTo>
                  <a:lnTo>
                    <a:pt x="200" y="58"/>
                  </a:lnTo>
                  <a:lnTo>
                    <a:pt x="209" y="48"/>
                  </a:lnTo>
                  <a:lnTo>
                    <a:pt x="229" y="43"/>
                  </a:lnTo>
                  <a:lnTo>
                    <a:pt x="250" y="40"/>
                  </a:lnTo>
                  <a:lnTo>
                    <a:pt x="259" y="36"/>
                  </a:lnTo>
                  <a:lnTo>
                    <a:pt x="270" y="33"/>
                  </a:lnTo>
                  <a:lnTo>
                    <a:pt x="265" y="26"/>
                  </a:lnTo>
                  <a:lnTo>
                    <a:pt x="265" y="2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 name="Angola">
              <a:extLst>
                <a:ext uri="{FF2B5EF4-FFF2-40B4-BE49-F238E27FC236}">
                  <a16:creationId xmlns:a16="http://schemas.microsoft.com/office/drawing/2014/main" id="{9E86F7E9-FBD7-465D-9779-29D34D4AD514}"/>
                </a:ext>
              </a:extLst>
            </p:cNvPr>
            <p:cNvSpPr>
              <a:spLocks noEditPoints="1"/>
            </p:cNvSpPr>
            <p:nvPr/>
          </p:nvSpPr>
          <p:spPr bwMode="auto">
            <a:xfrm>
              <a:off x="6377781" y="4230460"/>
              <a:ext cx="414337" cy="508000"/>
            </a:xfrm>
            <a:custGeom>
              <a:avLst/>
              <a:gdLst>
                <a:gd name="T0" fmla="*/ 40 w 261"/>
                <a:gd name="T1" fmla="*/ 33 h 320"/>
                <a:gd name="T2" fmla="*/ 26 w 261"/>
                <a:gd name="T3" fmla="*/ 35 h 320"/>
                <a:gd name="T4" fmla="*/ 15 w 261"/>
                <a:gd name="T5" fmla="*/ 44 h 320"/>
                <a:gd name="T6" fmla="*/ 30 w 261"/>
                <a:gd name="T7" fmla="*/ 75 h 320"/>
                <a:gd name="T8" fmla="*/ 29 w 261"/>
                <a:gd name="T9" fmla="*/ 107 h 320"/>
                <a:gd name="T10" fmla="*/ 33 w 261"/>
                <a:gd name="T11" fmla="*/ 126 h 320"/>
                <a:gd name="T12" fmla="*/ 45 w 261"/>
                <a:gd name="T13" fmla="*/ 149 h 320"/>
                <a:gd name="T14" fmla="*/ 43 w 261"/>
                <a:gd name="T15" fmla="*/ 180 h 320"/>
                <a:gd name="T16" fmla="*/ 25 w 261"/>
                <a:gd name="T17" fmla="*/ 206 h 320"/>
                <a:gd name="T18" fmla="*/ 12 w 261"/>
                <a:gd name="T19" fmla="*/ 237 h 320"/>
                <a:gd name="T20" fmla="*/ 4 w 261"/>
                <a:gd name="T21" fmla="*/ 270 h 320"/>
                <a:gd name="T22" fmla="*/ 2 w 261"/>
                <a:gd name="T23" fmla="*/ 305 h 320"/>
                <a:gd name="T24" fmla="*/ 25 w 261"/>
                <a:gd name="T25" fmla="*/ 297 h 320"/>
                <a:gd name="T26" fmla="*/ 50 w 261"/>
                <a:gd name="T27" fmla="*/ 308 h 320"/>
                <a:gd name="T28" fmla="*/ 138 w 261"/>
                <a:gd name="T29" fmla="*/ 305 h 320"/>
                <a:gd name="T30" fmla="*/ 201 w 261"/>
                <a:gd name="T31" fmla="*/ 320 h 320"/>
                <a:gd name="T32" fmla="*/ 227 w 261"/>
                <a:gd name="T33" fmla="*/ 296 h 320"/>
                <a:gd name="T34" fmla="*/ 216 w 261"/>
                <a:gd name="T35" fmla="*/ 201 h 320"/>
                <a:gd name="T36" fmla="*/ 258 w 261"/>
                <a:gd name="T37" fmla="*/ 192 h 320"/>
                <a:gd name="T38" fmla="*/ 258 w 261"/>
                <a:gd name="T39" fmla="*/ 173 h 320"/>
                <a:gd name="T40" fmla="*/ 259 w 261"/>
                <a:gd name="T41" fmla="*/ 154 h 320"/>
                <a:gd name="T42" fmla="*/ 236 w 261"/>
                <a:gd name="T43" fmla="*/ 156 h 320"/>
                <a:gd name="T44" fmla="*/ 222 w 261"/>
                <a:gd name="T45" fmla="*/ 158 h 320"/>
                <a:gd name="T46" fmla="*/ 216 w 261"/>
                <a:gd name="T47" fmla="*/ 120 h 320"/>
                <a:gd name="T48" fmla="*/ 219 w 261"/>
                <a:gd name="T49" fmla="*/ 91 h 320"/>
                <a:gd name="T50" fmla="*/ 214 w 261"/>
                <a:gd name="T51" fmla="*/ 67 h 320"/>
                <a:gd name="T52" fmla="*/ 191 w 261"/>
                <a:gd name="T53" fmla="*/ 59 h 320"/>
                <a:gd name="T54" fmla="*/ 179 w 261"/>
                <a:gd name="T55" fmla="*/ 63 h 320"/>
                <a:gd name="T56" fmla="*/ 160 w 261"/>
                <a:gd name="T57" fmla="*/ 78 h 320"/>
                <a:gd name="T58" fmla="*/ 146 w 261"/>
                <a:gd name="T59" fmla="*/ 80 h 320"/>
                <a:gd name="T60" fmla="*/ 124 w 261"/>
                <a:gd name="T61" fmla="*/ 86 h 320"/>
                <a:gd name="T62" fmla="*/ 112 w 261"/>
                <a:gd name="T63" fmla="*/ 65 h 320"/>
                <a:gd name="T64" fmla="*/ 101 w 261"/>
                <a:gd name="T65" fmla="*/ 33 h 320"/>
                <a:gd name="T66" fmla="*/ 20 w 261"/>
                <a:gd name="T67" fmla="*/ 29 h 320"/>
                <a:gd name="T68" fmla="*/ 24 w 261"/>
                <a:gd name="T69" fmla="*/ 13 h 320"/>
                <a:gd name="T70" fmla="*/ 24 w 261"/>
                <a:gd name="T71" fmla="*/ 0 h 320"/>
                <a:gd name="T72" fmla="*/ 9 w 261"/>
                <a:gd name="T73" fmla="*/ 14 h 320"/>
                <a:gd name="T74" fmla="*/ 20 w 261"/>
                <a:gd name="T75" fmla="*/ 2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61" h="320">
                  <a:moveTo>
                    <a:pt x="101" y="33"/>
                  </a:moveTo>
                  <a:lnTo>
                    <a:pt x="40" y="33"/>
                  </a:lnTo>
                  <a:lnTo>
                    <a:pt x="32" y="36"/>
                  </a:lnTo>
                  <a:lnTo>
                    <a:pt x="26" y="35"/>
                  </a:lnTo>
                  <a:lnTo>
                    <a:pt x="17" y="39"/>
                  </a:lnTo>
                  <a:lnTo>
                    <a:pt x="15" y="44"/>
                  </a:lnTo>
                  <a:lnTo>
                    <a:pt x="26" y="59"/>
                  </a:lnTo>
                  <a:lnTo>
                    <a:pt x="30" y="75"/>
                  </a:lnTo>
                  <a:lnTo>
                    <a:pt x="36" y="97"/>
                  </a:lnTo>
                  <a:lnTo>
                    <a:pt x="29" y="107"/>
                  </a:lnTo>
                  <a:lnTo>
                    <a:pt x="28" y="112"/>
                  </a:lnTo>
                  <a:lnTo>
                    <a:pt x="33" y="126"/>
                  </a:lnTo>
                  <a:lnTo>
                    <a:pt x="39" y="141"/>
                  </a:lnTo>
                  <a:lnTo>
                    <a:pt x="45" y="149"/>
                  </a:lnTo>
                  <a:lnTo>
                    <a:pt x="46" y="162"/>
                  </a:lnTo>
                  <a:lnTo>
                    <a:pt x="43" y="180"/>
                  </a:lnTo>
                  <a:lnTo>
                    <a:pt x="37" y="190"/>
                  </a:lnTo>
                  <a:lnTo>
                    <a:pt x="25" y="206"/>
                  </a:lnTo>
                  <a:lnTo>
                    <a:pt x="20" y="216"/>
                  </a:lnTo>
                  <a:lnTo>
                    <a:pt x="12" y="237"/>
                  </a:lnTo>
                  <a:lnTo>
                    <a:pt x="12" y="247"/>
                  </a:lnTo>
                  <a:lnTo>
                    <a:pt x="4" y="270"/>
                  </a:lnTo>
                  <a:lnTo>
                    <a:pt x="0" y="290"/>
                  </a:lnTo>
                  <a:lnTo>
                    <a:pt x="2" y="305"/>
                  </a:lnTo>
                  <a:lnTo>
                    <a:pt x="12" y="300"/>
                  </a:lnTo>
                  <a:lnTo>
                    <a:pt x="25" y="297"/>
                  </a:lnTo>
                  <a:lnTo>
                    <a:pt x="39" y="297"/>
                  </a:lnTo>
                  <a:lnTo>
                    <a:pt x="50" y="308"/>
                  </a:lnTo>
                  <a:lnTo>
                    <a:pt x="54" y="306"/>
                  </a:lnTo>
                  <a:lnTo>
                    <a:pt x="138" y="305"/>
                  </a:lnTo>
                  <a:lnTo>
                    <a:pt x="152" y="316"/>
                  </a:lnTo>
                  <a:lnTo>
                    <a:pt x="201" y="320"/>
                  </a:lnTo>
                  <a:lnTo>
                    <a:pt x="240" y="311"/>
                  </a:lnTo>
                  <a:lnTo>
                    <a:pt x="227" y="296"/>
                  </a:lnTo>
                  <a:lnTo>
                    <a:pt x="213" y="276"/>
                  </a:lnTo>
                  <a:lnTo>
                    <a:pt x="216" y="201"/>
                  </a:lnTo>
                  <a:lnTo>
                    <a:pt x="260" y="201"/>
                  </a:lnTo>
                  <a:lnTo>
                    <a:pt x="258" y="192"/>
                  </a:lnTo>
                  <a:lnTo>
                    <a:pt x="261" y="184"/>
                  </a:lnTo>
                  <a:lnTo>
                    <a:pt x="258" y="173"/>
                  </a:lnTo>
                  <a:lnTo>
                    <a:pt x="261" y="161"/>
                  </a:lnTo>
                  <a:lnTo>
                    <a:pt x="259" y="154"/>
                  </a:lnTo>
                  <a:lnTo>
                    <a:pt x="249" y="152"/>
                  </a:lnTo>
                  <a:lnTo>
                    <a:pt x="236" y="156"/>
                  </a:lnTo>
                  <a:lnTo>
                    <a:pt x="227" y="155"/>
                  </a:lnTo>
                  <a:lnTo>
                    <a:pt x="222" y="158"/>
                  </a:lnTo>
                  <a:lnTo>
                    <a:pt x="223" y="129"/>
                  </a:lnTo>
                  <a:lnTo>
                    <a:pt x="216" y="120"/>
                  </a:lnTo>
                  <a:lnTo>
                    <a:pt x="215" y="105"/>
                  </a:lnTo>
                  <a:lnTo>
                    <a:pt x="219" y="91"/>
                  </a:lnTo>
                  <a:lnTo>
                    <a:pt x="214" y="82"/>
                  </a:lnTo>
                  <a:lnTo>
                    <a:pt x="214" y="67"/>
                  </a:lnTo>
                  <a:lnTo>
                    <a:pt x="189" y="67"/>
                  </a:lnTo>
                  <a:lnTo>
                    <a:pt x="191" y="59"/>
                  </a:lnTo>
                  <a:lnTo>
                    <a:pt x="180" y="59"/>
                  </a:lnTo>
                  <a:lnTo>
                    <a:pt x="179" y="63"/>
                  </a:lnTo>
                  <a:lnTo>
                    <a:pt x="166" y="64"/>
                  </a:lnTo>
                  <a:lnTo>
                    <a:pt x="160" y="78"/>
                  </a:lnTo>
                  <a:lnTo>
                    <a:pt x="157" y="84"/>
                  </a:lnTo>
                  <a:lnTo>
                    <a:pt x="146" y="80"/>
                  </a:lnTo>
                  <a:lnTo>
                    <a:pt x="139" y="84"/>
                  </a:lnTo>
                  <a:lnTo>
                    <a:pt x="124" y="86"/>
                  </a:lnTo>
                  <a:lnTo>
                    <a:pt x="117" y="74"/>
                  </a:lnTo>
                  <a:lnTo>
                    <a:pt x="112" y="65"/>
                  </a:lnTo>
                  <a:lnTo>
                    <a:pt x="106" y="51"/>
                  </a:lnTo>
                  <a:lnTo>
                    <a:pt x="101" y="33"/>
                  </a:lnTo>
                  <a:lnTo>
                    <a:pt x="101" y="33"/>
                  </a:lnTo>
                  <a:close/>
                  <a:moveTo>
                    <a:pt x="20" y="29"/>
                  </a:moveTo>
                  <a:lnTo>
                    <a:pt x="21" y="18"/>
                  </a:lnTo>
                  <a:lnTo>
                    <a:pt x="24" y="13"/>
                  </a:lnTo>
                  <a:lnTo>
                    <a:pt x="31" y="7"/>
                  </a:lnTo>
                  <a:lnTo>
                    <a:pt x="24" y="0"/>
                  </a:lnTo>
                  <a:lnTo>
                    <a:pt x="17" y="4"/>
                  </a:lnTo>
                  <a:lnTo>
                    <a:pt x="9" y="14"/>
                  </a:lnTo>
                  <a:lnTo>
                    <a:pt x="14" y="32"/>
                  </a:lnTo>
                  <a:lnTo>
                    <a:pt x="20" y="29"/>
                  </a:lnTo>
                  <a:lnTo>
                    <a:pt x="20"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 name="Albania">
              <a:extLst>
                <a:ext uri="{FF2B5EF4-FFF2-40B4-BE49-F238E27FC236}">
                  <a16:creationId xmlns:a16="http://schemas.microsoft.com/office/drawing/2014/main" id="{01DF10E8-A812-4BA3-B090-CCE42E848D30}"/>
                </a:ext>
              </a:extLst>
            </p:cNvPr>
            <p:cNvSpPr>
              <a:spLocks/>
            </p:cNvSpPr>
            <p:nvPr/>
          </p:nvSpPr>
          <p:spPr bwMode="auto">
            <a:xfrm>
              <a:off x="6580981" y="2450873"/>
              <a:ext cx="57150" cy="112713"/>
            </a:xfrm>
            <a:custGeom>
              <a:avLst/>
              <a:gdLst>
                <a:gd name="T0" fmla="*/ 8 w 36"/>
                <a:gd name="T1" fmla="*/ 0 h 71"/>
                <a:gd name="T2" fmla="*/ 0 w 36"/>
                <a:gd name="T3" fmla="*/ 12 h 71"/>
                <a:gd name="T4" fmla="*/ 2 w 36"/>
                <a:gd name="T5" fmla="*/ 19 h 71"/>
                <a:gd name="T6" fmla="*/ 2 w 36"/>
                <a:gd name="T7" fmla="*/ 19 h 71"/>
                <a:gd name="T8" fmla="*/ 6 w 36"/>
                <a:gd name="T9" fmla="*/ 23 h 71"/>
                <a:gd name="T10" fmla="*/ 4 w 36"/>
                <a:gd name="T11" fmla="*/ 30 h 71"/>
                <a:gd name="T12" fmla="*/ 4 w 36"/>
                <a:gd name="T13" fmla="*/ 46 h 71"/>
                <a:gd name="T14" fmla="*/ 6 w 36"/>
                <a:gd name="T15" fmla="*/ 57 h 71"/>
                <a:gd name="T16" fmla="*/ 17 w 36"/>
                <a:gd name="T17" fmla="*/ 65 h 71"/>
                <a:gd name="T18" fmla="*/ 18 w 36"/>
                <a:gd name="T19" fmla="*/ 70 h 71"/>
                <a:gd name="T20" fmla="*/ 22 w 36"/>
                <a:gd name="T21" fmla="*/ 71 h 71"/>
                <a:gd name="T22" fmla="*/ 30 w 36"/>
                <a:gd name="T23" fmla="*/ 60 h 71"/>
                <a:gd name="T24" fmla="*/ 30 w 36"/>
                <a:gd name="T25" fmla="*/ 53 h 71"/>
                <a:gd name="T26" fmla="*/ 36 w 36"/>
                <a:gd name="T27" fmla="*/ 49 h 71"/>
                <a:gd name="T28" fmla="*/ 36 w 36"/>
                <a:gd name="T29" fmla="*/ 43 h 71"/>
                <a:gd name="T30" fmla="*/ 27 w 36"/>
                <a:gd name="T31" fmla="*/ 38 h 71"/>
                <a:gd name="T32" fmla="*/ 25 w 36"/>
                <a:gd name="T33" fmla="*/ 27 h 71"/>
                <a:gd name="T34" fmla="*/ 25 w 36"/>
                <a:gd name="T35" fmla="*/ 20 h 71"/>
                <a:gd name="T36" fmla="*/ 25 w 36"/>
                <a:gd name="T37" fmla="*/ 20 h 71"/>
                <a:gd name="T38" fmla="*/ 24 w 36"/>
                <a:gd name="T39" fmla="*/ 12 h 71"/>
                <a:gd name="T40" fmla="*/ 19 w 36"/>
                <a:gd name="T41" fmla="*/ 9 h 71"/>
                <a:gd name="T42" fmla="*/ 14 w 36"/>
                <a:gd name="T43" fmla="*/ 3 h 71"/>
                <a:gd name="T44" fmla="*/ 10 w 36"/>
                <a:gd name="T45" fmla="*/ 5 h 71"/>
                <a:gd name="T46" fmla="*/ 8 w 36"/>
                <a:gd name="T47" fmla="*/ 0 h 71"/>
                <a:gd name="T48" fmla="*/ 8 w 36"/>
                <a:gd name="T49"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6" h="71">
                  <a:moveTo>
                    <a:pt x="8" y="0"/>
                  </a:moveTo>
                  <a:lnTo>
                    <a:pt x="0" y="12"/>
                  </a:lnTo>
                  <a:lnTo>
                    <a:pt x="2" y="19"/>
                  </a:lnTo>
                  <a:lnTo>
                    <a:pt x="2" y="19"/>
                  </a:lnTo>
                  <a:lnTo>
                    <a:pt x="6" y="23"/>
                  </a:lnTo>
                  <a:lnTo>
                    <a:pt x="4" y="30"/>
                  </a:lnTo>
                  <a:lnTo>
                    <a:pt x="4" y="46"/>
                  </a:lnTo>
                  <a:lnTo>
                    <a:pt x="6" y="57"/>
                  </a:lnTo>
                  <a:lnTo>
                    <a:pt x="17" y="65"/>
                  </a:lnTo>
                  <a:lnTo>
                    <a:pt x="18" y="70"/>
                  </a:lnTo>
                  <a:lnTo>
                    <a:pt x="22" y="71"/>
                  </a:lnTo>
                  <a:lnTo>
                    <a:pt x="30" y="60"/>
                  </a:lnTo>
                  <a:lnTo>
                    <a:pt x="30" y="53"/>
                  </a:lnTo>
                  <a:lnTo>
                    <a:pt x="36" y="49"/>
                  </a:lnTo>
                  <a:lnTo>
                    <a:pt x="36" y="43"/>
                  </a:lnTo>
                  <a:lnTo>
                    <a:pt x="27" y="38"/>
                  </a:lnTo>
                  <a:lnTo>
                    <a:pt x="25" y="27"/>
                  </a:lnTo>
                  <a:lnTo>
                    <a:pt x="25" y="20"/>
                  </a:lnTo>
                  <a:lnTo>
                    <a:pt x="25" y="20"/>
                  </a:lnTo>
                  <a:lnTo>
                    <a:pt x="24" y="12"/>
                  </a:lnTo>
                  <a:lnTo>
                    <a:pt x="19" y="9"/>
                  </a:lnTo>
                  <a:lnTo>
                    <a:pt x="14" y="3"/>
                  </a:lnTo>
                  <a:lnTo>
                    <a:pt x="10" y="5"/>
                  </a:lnTo>
                  <a:lnTo>
                    <a:pt x="8" y="0"/>
                  </a:lnTo>
                  <a:lnTo>
                    <a:pt x="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 name="United Arab Emirates">
              <a:extLst>
                <a:ext uri="{FF2B5EF4-FFF2-40B4-BE49-F238E27FC236}">
                  <a16:creationId xmlns:a16="http://schemas.microsoft.com/office/drawing/2014/main" id="{9FCF725C-4D6F-4792-94CF-859B886D5BDE}"/>
                </a:ext>
              </a:extLst>
            </p:cNvPr>
            <p:cNvSpPr>
              <a:spLocks/>
            </p:cNvSpPr>
            <p:nvPr/>
          </p:nvSpPr>
          <p:spPr bwMode="auto">
            <a:xfrm>
              <a:off x="7670006" y="3079523"/>
              <a:ext cx="155575" cy="133350"/>
            </a:xfrm>
            <a:custGeom>
              <a:avLst/>
              <a:gdLst>
                <a:gd name="T0" fmla="*/ 93 w 98"/>
                <a:gd name="T1" fmla="*/ 8 h 84"/>
                <a:gd name="T2" fmla="*/ 87 w 98"/>
                <a:gd name="T3" fmla="*/ 0 h 84"/>
                <a:gd name="T4" fmla="*/ 76 w 98"/>
                <a:gd name="T5" fmla="*/ 14 h 84"/>
                <a:gd name="T6" fmla="*/ 63 w 98"/>
                <a:gd name="T7" fmla="*/ 30 h 84"/>
                <a:gd name="T8" fmla="*/ 50 w 98"/>
                <a:gd name="T9" fmla="*/ 46 h 84"/>
                <a:gd name="T10" fmla="*/ 38 w 98"/>
                <a:gd name="T11" fmla="*/ 45 h 84"/>
                <a:gd name="T12" fmla="*/ 21 w 98"/>
                <a:gd name="T13" fmla="*/ 44 h 84"/>
                <a:gd name="T14" fmla="*/ 5 w 98"/>
                <a:gd name="T15" fmla="*/ 48 h 84"/>
                <a:gd name="T16" fmla="*/ 4 w 98"/>
                <a:gd name="T17" fmla="*/ 41 h 84"/>
                <a:gd name="T18" fmla="*/ 0 w 98"/>
                <a:gd name="T19" fmla="*/ 43 h 84"/>
                <a:gd name="T20" fmla="*/ 1 w 98"/>
                <a:gd name="T21" fmla="*/ 49 h 84"/>
                <a:gd name="T22" fmla="*/ 12 w 98"/>
                <a:gd name="T23" fmla="*/ 72 h 84"/>
                <a:gd name="T24" fmla="*/ 74 w 98"/>
                <a:gd name="T25" fmla="*/ 84 h 84"/>
                <a:gd name="T26" fmla="*/ 78 w 98"/>
                <a:gd name="T27" fmla="*/ 80 h 84"/>
                <a:gd name="T28" fmla="*/ 78 w 98"/>
                <a:gd name="T29" fmla="*/ 69 h 84"/>
                <a:gd name="T30" fmla="*/ 83 w 98"/>
                <a:gd name="T31" fmla="*/ 60 h 84"/>
                <a:gd name="T32" fmla="*/ 82 w 98"/>
                <a:gd name="T33" fmla="*/ 51 h 84"/>
                <a:gd name="T34" fmla="*/ 91 w 98"/>
                <a:gd name="T35" fmla="*/ 45 h 84"/>
                <a:gd name="T36" fmla="*/ 86 w 98"/>
                <a:gd name="T37" fmla="*/ 42 h 84"/>
                <a:gd name="T38" fmla="*/ 87 w 98"/>
                <a:gd name="T39" fmla="*/ 26 h 84"/>
                <a:gd name="T40" fmla="*/ 98 w 98"/>
                <a:gd name="T41" fmla="*/ 26 h 84"/>
                <a:gd name="T42" fmla="*/ 93 w 98"/>
                <a:gd name="T43" fmla="*/ 8 h 84"/>
                <a:gd name="T44" fmla="*/ 93 w 98"/>
                <a:gd name="T45" fmla="*/ 8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8" h="84">
                  <a:moveTo>
                    <a:pt x="93" y="8"/>
                  </a:moveTo>
                  <a:lnTo>
                    <a:pt x="87" y="0"/>
                  </a:lnTo>
                  <a:lnTo>
                    <a:pt x="76" y="14"/>
                  </a:lnTo>
                  <a:lnTo>
                    <a:pt x="63" y="30"/>
                  </a:lnTo>
                  <a:lnTo>
                    <a:pt x="50" y="46"/>
                  </a:lnTo>
                  <a:lnTo>
                    <a:pt x="38" y="45"/>
                  </a:lnTo>
                  <a:lnTo>
                    <a:pt x="21" y="44"/>
                  </a:lnTo>
                  <a:lnTo>
                    <a:pt x="5" y="48"/>
                  </a:lnTo>
                  <a:lnTo>
                    <a:pt x="4" y="41"/>
                  </a:lnTo>
                  <a:lnTo>
                    <a:pt x="0" y="43"/>
                  </a:lnTo>
                  <a:lnTo>
                    <a:pt x="1" y="49"/>
                  </a:lnTo>
                  <a:lnTo>
                    <a:pt x="12" y="72"/>
                  </a:lnTo>
                  <a:lnTo>
                    <a:pt x="74" y="84"/>
                  </a:lnTo>
                  <a:lnTo>
                    <a:pt x="78" y="80"/>
                  </a:lnTo>
                  <a:lnTo>
                    <a:pt x="78" y="69"/>
                  </a:lnTo>
                  <a:lnTo>
                    <a:pt x="83" y="60"/>
                  </a:lnTo>
                  <a:lnTo>
                    <a:pt x="82" y="51"/>
                  </a:lnTo>
                  <a:lnTo>
                    <a:pt x="91" y="45"/>
                  </a:lnTo>
                  <a:lnTo>
                    <a:pt x="86" y="42"/>
                  </a:lnTo>
                  <a:lnTo>
                    <a:pt x="87" y="26"/>
                  </a:lnTo>
                  <a:lnTo>
                    <a:pt x="98" y="26"/>
                  </a:lnTo>
                  <a:lnTo>
                    <a:pt x="93" y="8"/>
                  </a:lnTo>
                  <a:lnTo>
                    <a:pt x="9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 name="Argentina">
              <a:extLst>
                <a:ext uri="{FF2B5EF4-FFF2-40B4-BE49-F238E27FC236}">
                  <a16:creationId xmlns:a16="http://schemas.microsoft.com/office/drawing/2014/main" id="{2CB200BB-BFBC-407C-9ED2-5FA376102378}"/>
                </a:ext>
              </a:extLst>
            </p:cNvPr>
            <p:cNvSpPr>
              <a:spLocks noEditPoints="1"/>
            </p:cNvSpPr>
            <p:nvPr/>
          </p:nvSpPr>
          <p:spPr bwMode="auto">
            <a:xfrm>
              <a:off x="3748881" y="4884511"/>
              <a:ext cx="515937" cy="1246187"/>
            </a:xfrm>
            <a:custGeom>
              <a:avLst/>
              <a:gdLst>
                <a:gd name="T0" fmla="*/ 273 w 325"/>
                <a:gd name="T1" fmla="*/ 773 h 785"/>
                <a:gd name="T2" fmla="*/ 217 w 325"/>
                <a:gd name="T3" fmla="*/ 753 h 785"/>
                <a:gd name="T4" fmla="*/ 190 w 325"/>
                <a:gd name="T5" fmla="*/ 726 h 785"/>
                <a:gd name="T6" fmla="*/ 230 w 325"/>
                <a:gd name="T7" fmla="*/ 776 h 785"/>
                <a:gd name="T8" fmla="*/ 253 w 325"/>
                <a:gd name="T9" fmla="*/ 785 h 785"/>
                <a:gd name="T10" fmla="*/ 269 w 325"/>
                <a:gd name="T11" fmla="*/ 784 h 785"/>
                <a:gd name="T12" fmla="*/ 53 w 325"/>
                <a:gd name="T13" fmla="*/ 0 h 785"/>
                <a:gd name="T14" fmla="*/ 42 w 325"/>
                <a:gd name="T15" fmla="*/ 29 h 785"/>
                <a:gd name="T16" fmla="*/ 17 w 325"/>
                <a:gd name="T17" fmla="*/ 65 h 785"/>
                <a:gd name="T18" fmla="*/ 20 w 325"/>
                <a:gd name="T19" fmla="*/ 112 h 785"/>
                <a:gd name="T20" fmla="*/ 15 w 325"/>
                <a:gd name="T21" fmla="*/ 136 h 785"/>
                <a:gd name="T22" fmla="*/ 2 w 325"/>
                <a:gd name="T23" fmla="*/ 180 h 785"/>
                <a:gd name="T24" fmla="*/ 0 w 325"/>
                <a:gd name="T25" fmla="*/ 227 h 785"/>
                <a:gd name="T26" fmla="*/ 24 w 325"/>
                <a:gd name="T27" fmla="*/ 272 h 785"/>
                <a:gd name="T28" fmla="*/ 23 w 325"/>
                <a:gd name="T29" fmla="*/ 318 h 785"/>
                <a:gd name="T30" fmla="*/ 18 w 325"/>
                <a:gd name="T31" fmla="*/ 353 h 785"/>
                <a:gd name="T32" fmla="*/ 35 w 325"/>
                <a:gd name="T33" fmla="*/ 399 h 785"/>
                <a:gd name="T34" fmla="*/ 27 w 325"/>
                <a:gd name="T35" fmla="*/ 430 h 785"/>
                <a:gd name="T36" fmla="*/ 42 w 325"/>
                <a:gd name="T37" fmla="*/ 482 h 785"/>
                <a:gd name="T38" fmla="*/ 49 w 325"/>
                <a:gd name="T39" fmla="*/ 513 h 785"/>
                <a:gd name="T40" fmla="*/ 59 w 325"/>
                <a:gd name="T41" fmla="*/ 531 h 785"/>
                <a:gd name="T42" fmla="*/ 74 w 325"/>
                <a:gd name="T43" fmla="*/ 545 h 785"/>
                <a:gd name="T44" fmla="*/ 74 w 325"/>
                <a:gd name="T45" fmla="*/ 563 h 785"/>
                <a:gd name="T46" fmla="*/ 76 w 325"/>
                <a:gd name="T47" fmla="*/ 613 h 785"/>
                <a:gd name="T48" fmla="*/ 81 w 325"/>
                <a:gd name="T49" fmla="*/ 639 h 785"/>
                <a:gd name="T50" fmla="*/ 83 w 325"/>
                <a:gd name="T51" fmla="*/ 675 h 785"/>
                <a:gd name="T52" fmla="*/ 105 w 325"/>
                <a:gd name="T53" fmla="*/ 681 h 785"/>
                <a:gd name="T54" fmla="*/ 124 w 325"/>
                <a:gd name="T55" fmla="*/ 712 h 785"/>
                <a:gd name="T56" fmla="*/ 187 w 325"/>
                <a:gd name="T57" fmla="*/ 718 h 785"/>
                <a:gd name="T58" fmla="*/ 177 w 325"/>
                <a:gd name="T59" fmla="*/ 706 h 785"/>
                <a:gd name="T60" fmla="*/ 165 w 325"/>
                <a:gd name="T61" fmla="*/ 672 h 785"/>
                <a:gd name="T62" fmla="*/ 180 w 325"/>
                <a:gd name="T63" fmla="*/ 635 h 785"/>
                <a:gd name="T64" fmla="*/ 197 w 325"/>
                <a:gd name="T65" fmla="*/ 602 h 785"/>
                <a:gd name="T66" fmla="*/ 154 w 325"/>
                <a:gd name="T67" fmla="*/ 579 h 785"/>
                <a:gd name="T68" fmla="*/ 164 w 325"/>
                <a:gd name="T69" fmla="*/ 550 h 785"/>
                <a:gd name="T70" fmla="*/ 183 w 325"/>
                <a:gd name="T71" fmla="*/ 538 h 785"/>
                <a:gd name="T72" fmla="*/ 190 w 325"/>
                <a:gd name="T73" fmla="*/ 501 h 785"/>
                <a:gd name="T74" fmla="*/ 195 w 325"/>
                <a:gd name="T75" fmla="*/ 481 h 785"/>
                <a:gd name="T76" fmla="*/ 172 w 325"/>
                <a:gd name="T77" fmla="*/ 482 h 785"/>
                <a:gd name="T78" fmla="*/ 168 w 325"/>
                <a:gd name="T79" fmla="*/ 452 h 785"/>
                <a:gd name="T80" fmla="*/ 208 w 325"/>
                <a:gd name="T81" fmla="*/ 458 h 785"/>
                <a:gd name="T82" fmla="*/ 210 w 325"/>
                <a:gd name="T83" fmla="*/ 438 h 785"/>
                <a:gd name="T84" fmla="*/ 203 w 325"/>
                <a:gd name="T85" fmla="*/ 406 h 785"/>
                <a:gd name="T86" fmla="*/ 262 w 325"/>
                <a:gd name="T87" fmla="*/ 404 h 785"/>
                <a:gd name="T88" fmla="*/ 301 w 325"/>
                <a:gd name="T89" fmla="*/ 360 h 785"/>
                <a:gd name="T90" fmla="*/ 285 w 325"/>
                <a:gd name="T91" fmla="*/ 338 h 785"/>
                <a:gd name="T92" fmla="*/ 255 w 325"/>
                <a:gd name="T93" fmla="*/ 300 h 785"/>
                <a:gd name="T94" fmla="*/ 253 w 325"/>
                <a:gd name="T95" fmla="*/ 272 h 785"/>
                <a:gd name="T96" fmla="*/ 252 w 325"/>
                <a:gd name="T97" fmla="*/ 243 h 785"/>
                <a:gd name="T98" fmla="*/ 255 w 325"/>
                <a:gd name="T99" fmla="*/ 200 h 785"/>
                <a:gd name="T100" fmla="*/ 297 w 325"/>
                <a:gd name="T101" fmla="*/ 144 h 785"/>
                <a:gd name="T102" fmla="*/ 325 w 325"/>
                <a:gd name="T103" fmla="*/ 122 h 785"/>
                <a:gd name="T104" fmla="*/ 311 w 325"/>
                <a:gd name="T105" fmla="*/ 89 h 785"/>
                <a:gd name="T106" fmla="*/ 301 w 325"/>
                <a:gd name="T107" fmla="*/ 114 h 785"/>
                <a:gd name="T108" fmla="*/ 269 w 325"/>
                <a:gd name="T109" fmla="*/ 137 h 785"/>
                <a:gd name="T110" fmla="*/ 224 w 325"/>
                <a:gd name="T111" fmla="*/ 127 h 785"/>
                <a:gd name="T112" fmla="*/ 236 w 325"/>
                <a:gd name="T113" fmla="*/ 80 h 785"/>
                <a:gd name="T114" fmla="*/ 187 w 325"/>
                <a:gd name="T115" fmla="*/ 53 h 785"/>
                <a:gd name="T116" fmla="*/ 128 w 325"/>
                <a:gd name="T117" fmla="*/ 11 h 785"/>
                <a:gd name="T118" fmla="*/ 101 w 325"/>
                <a:gd name="T119" fmla="*/ 4 h 785"/>
                <a:gd name="T120" fmla="*/ 81 w 325"/>
                <a:gd name="T121" fmla="*/ 6 h 7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5" h="785">
                  <a:moveTo>
                    <a:pt x="269" y="784"/>
                  </a:moveTo>
                  <a:lnTo>
                    <a:pt x="273" y="773"/>
                  </a:lnTo>
                  <a:lnTo>
                    <a:pt x="246" y="767"/>
                  </a:lnTo>
                  <a:lnTo>
                    <a:pt x="217" y="753"/>
                  </a:lnTo>
                  <a:lnTo>
                    <a:pt x="201" y="736"/>
                  </a:lnTo>
                  <a:lnTo>
                    <a:pt x="190" y="726"/>
                  </a:lnTo>
                  <a:lnTo>
                    <a:pt x="211" y="776"/>
                  </a:lnTo>
                  <a:lnTo>
                    <a:pt x="230" y="776"/>
                  </a:lnTo>
                  <a:lnTo>
                    <a:pt x="241" y="777"/>
                  </a:lnTo>
                  <a:lnTo>
                    <a:pt x="253" y="785"/>
                  </a:lnTo>
                  <a:lnTo>
                    <a:pt x="269" y="784"/>
                  </a:lnTo>
                  <a:lnTo>
                    <a:pt x="269" y="784"/>
                  </a:lnTo>
                  <a:close/>
                  <a:moveTo>
                    <a:pt x="81" y="6"/>
                  </a:moveTo>
                  <a:lnTo>
                    <a:pt x="53" y="0"/>
                  </a:lnTo>
                  <a:lnTo>
                    <a:pt x="38" y="22"/>
                  </a:lnTo>
                  <a:lnTo>
                    <a:pt x="42" y="29"/>
                  </a:lnTo>
                  <a:lnTo>
                    <a:pt x="37" y="53"/>
                  </a:lnTo>
                  <a:lnTo>
                    <a:pt x="17" y="65"/>
                  </a:lnTo>
                  <a:lnTo>
                    <a:pt x="22" y="104"/>
                  </a:lnTo>
                  <a:lnTo>
                    <a:pt x="20" y="112"/>
                  </a:lnTo>
                  <a:lnTo>
                    <a:pt x="27" y="121"/>
                  </a:lnTo>
                  <a:lnTo>
                    <a:pt x="15" y="136"/>
                  </a:lnTo>
                  <a:lnTo>
                    <a:pt x="5" y="158"/>
                  </a:lnTo>
                  <a:lnTo>
                    <a:pt x="2" y="180"/>
                  </a:lnTo>
                  <a:lnTo>
                    <a:pt x="8" y="203"/>
                  </a:lnTo>
                  <a:lnTo>
                    <a:pt x="0" y="227"/>
                  </a:lnTo>
                  <a:lnTo>
                    <a:pt x="19" y="268"/>
                  </a:lnTo>
                  <a:lnTo>
                    <a:pt x="24" y="272"/>
                  </a:lnTo>
                  <a:lnTo>
                    <a:pt x="29" y="295"/>
                  </a:lnTo>
                  <a:lnTo>
                    <a:pt x="23" y="318"/>
                  </a:lnTo>
                  <a:lnTo>
                    <a:pt x="29" y="338"/>
                  </a:lnTo>
                  <a:lnTo>
                    <a:pt x="18" y="353"/>
                  </a:lnTo>
                  <a:lnTo>
                    <a:pt x="23" y="376"/>
                  </a:lnTo>
                  <a:lnTo>
                    <a:pt x="35" y="399"/>
                  </a:lnTo>
                  <a:lnTo>
                    <a:pt x="26" y="409"/>
                  </a:lnTo>
                  <a:lnTo>
                    <a:pt x="27" y="430"/>
                  </a:lnTo>
                  <a:lnTo>
                    <a:pt x="30" y="453"/>
                  </a:lnTo>
                  <a:lnTo>
                    <a:pt x="42" y="482"/>
                  </a:lnTo>
                  <a:lnTo>
                    <a:pt x="36" y="486"/>
                  </a:lnTo>
                  <a:lnTo>
                    <a:pt x="49" y="513"/>
                  </a:lnTo>
                  <a:lnTo>
                    <a:pt x="62" y="521"/>
                  </a:lnTo>
                  <a:lnTo>
                    <a:pt x="59" y="531"/>
                  </a:lnTo>
                  <a:lnTo>
                    <a:pt x="69" y="536"/>
                  </a:lnTo>
                  <a:lnTo>
                    <a:pt x="74" y="545"/>
                  </a:lnTo>
                  <a:lnTo>
                    <a:pt x="67" y="549"/>
                  </a:lnTo>
                  <a:lnTo>
                    <a:pt x="74" y="563"/>
                  </a:lnTo>
                  <a:lnTo>
                    <a:pt x="78" y="593"/>
                  </a:lnTo>
                  <a:lnTo>
                    <a:pt x="76" y="613"/>
                  </a:lnTo>
                  <a:lnTo>
                    <a:pt x="82" y="625"/>
                  </a:lnTo>
                  <a:lnTo>
                    <a:pt x="81" y="639"/>
                  </a:lnTo>
                  <a:lnTo>
                    <a:pt x="72" y="649"/>
                  </a:lnTo>
                  <a:lnTo>
                    <a:pt x="83" y="675"/>
                  </a:lnTo>
                  <a:lnTo>
                    <a:pt x="92" y="682"/>
                  </a:lnTo>
                  <a:lnTo>
                    <a:pt x="105" y="681"/>
                  </a:lnTo>
                  <a:lnTo>
                    <a:pt x="111" y="698"/>
                  </a:lnTo>
                  <a:lnTo>
                    <a:pt x="124" y="712"/>
                  </a:lnTo>
                  <a:lnTo>
                    <a:pt x="169" y="715"/>
                  </a:lnTo>
                  <a:lnTo>
                    <a:pt x="187" y="718"/>
                  </a:lnTo>
                  <a:lnTo>
                    <a:pt x="195" y="719"/>
                  </a:lnTo>
                  <a:lnTo>
                    <a:pt x="177" y="706"/>
                  </a:lnTo>
                  <a:lnTo>
                    <a:pt x="162" y="682"/>
                  </a:lnTo>
                  <a:lnTo>
                    <a:pt x="165" y="672"/>
                  </a:lnTo>
                  <a:lnTo>
                    <a:pt x="178" y="662"/>
                  </a:lnTo>
                  <a:lnTo>
                    <a:pt x="180" y="635"/>
                  </a:lnTo>
                  <a:lnTo>
                    <a:pt x="198" y="622"/>
                  </a:lnTo>
                  <a:lnTo>
                    <a:pt x="197" y="602"/>
                  </a:lnTo>
                  <a:lnTo>
                    <a:pt x="178" y="596"/>
                  </a:lnTo>
                  <a:lnTo>
                    <a:pt x="154" y="579"/>
                  </a:lnTo>
                  <a:lnTo>
                    <a:pt x="154" y="563"/>
                  </a:lnTo>
                  <a:lnTo>
                    <a:pt x="164" y="550"/>
                  </a:lnTo>
                  <a:lnTo>
                    <a:pt x="182" y="550"/>
                  </a:lnTo>
                  <a:lnTo>
                    <a:pt x="183" y="538"/>
                  </a:lnTo>
                  <a:lnTo>
                    <a:pt x="178" y="515"/>
                  </a:lnTo>
                  <a:lnTo>
                    <a:pt x="190" y="501"/>
                  </a:lnTo>
                  <a:lnTo>
                    <a:pt x="204" y="493"/>
                  </a:lnTo>
                  <a:lnTo>
                    <a:pt x="195" y="481"/>
                  </a:lnTo>
                  <a:lnTo>
                    <a:pt x="187" y="489"/>
                  </a:lnTo>
                  <a:lnTo>
                    <a:pt x="172" y="482"/>
                  </a:lnTo>
                  <a:lnTo>
                    <a:pt x="162" y="459"/>
                  </a:lnTo>
                  <a:lnTo>
                    <a:pt x="168" y="452"/>
                  </a:lnTo>
                  <a:lnTo>
                    <a:pt x="190" y="462"/>
                  </a:lnTo>
                  <a:lnTo>
                    <a:pt x="208" y="458"/>
                  </a:lnTo>
                  <a:lnTo>
                    <a:pt x="218" y="450"/>
                  </a:lnTo>
                  <a:lnTo>
                    <a:pt x="210" y="438"/>
                  </a:lnTo>
                  <a:lnTo>
                    <a:pt x="210" y="421"/>
                  </a:lnTo>
                  <a:lnTo>
                    <a:pt x="203" y="406"/>
                  </a:lnTo>
                  <a:lnTo>
                    <a:pt x="224" y="409"/>
                  </a:lnTo>
                  <a:lnTo>
                    <a:pt x="262" y="404"/>
                  </a:lnTo>
                  <a:lnTo>
                    <a:pt x="289" y="391"/>
                  </a:lnTo>
                  <a:lnTo>
                    <a:pt x="301" y="360"/>
                  </a:lnTo>
                  <a:lnTo>
                    <a:pt x="300" y="348"/>
                  </a:lnTo>
                  <a:lnTo>
                    <a:pt x="285" y="338"/>
                  </a:lnTo>
                  <a:lnTo>
                    <a:pt x="285" y="321"/>
                  </a:lnTo>
                  <a:lnTo>
                    <a:pt x="255" y="300"/>
                  </a:lnTo>
                  <a:lnTo>
                    <a:pt x="254" y="288"/>
                  </a:lnTo>
                  <a:lnTo>
                    <a:pt x="253" y="272"/>
                  </a:lnTo>
                  <a:lnTo>
                    <a:pt x="256" y="267"/>
                  </a:lnTo>
                  <a:lnTo>
                    <a:pt x="252" y="243"/>
                  </a:lnTo>
                  <a:lnTo>
                    <a:pt x="253" y="219"/>
                  </a:lnTo>
                  <a:lnTo>
                    <a:pt x="255" y="200"/>
                  </a:lnTo>
                  <a:lnTo>
                    <a:pt x="277" y="168"/>
                  </a:lnTo>
                  <a:lnTo>
                    <a:pt x="297" y="144"/>
                  </a:lnTo>
                  <a:lnTo>
                    <a:pt x="309" y="135"/>
                  </a:lnTo>
                  <a:lnTo>
                    <a:pt x="325" y="122"/>
                  </a:lnTo>
                  <a:lnTo>
                    <a:pt x="323" y="103"/>
                  </a:lnTo>
                  <a:lnTo>
                    <a:pt x="311" y="89"/>
                  </a:lnTo>
                  <a:lnTo>
                    <a:pt x="302" y="94"/>
                  </a:lnTo>
                  <a:lnTo>
                    <a:pt x="301" y="114"/>
                  </a:lnTo>
                  <a:lnTo>
                    <a:pt x="285" y="133"/>
                  </a:lnTo>
                  <a:lnTo>
                    <a:pt x="269" y="137"/>
                  </a:lnTo>
                  <a:lnTo>
                    <a:pt x="246" y="133"/>
                  </a:lnTo>
                  <a:lnTo>
                    <a:pt x="224" y="127"/>
                  </a:lnTo>
                  <a:lnTo>
                    <a:pt x="240" y="90"/>
                  </a:lnTo>
                  <a:lnTo>
                    <a:pt x="236" y="80"/>
                  </a:lnTo>
                  <a:lnTo>
                    <a:pt x="214" y="71"/>
                  </a:lnTo>
                  <a:lnTo>
                    <a:pt x="187" y="53"/>
                  </a:lnTo>
                  <a:lnTo>
                    <a:pt x="170" y="49"/>
                  </a:lnTo>
                  <a:lnTo>
                    <a:pt x="128" y="11"/>
                  </a:lnTo>
                  <a:lnTo>
                    <a:pt x="124" y="6"/>
                  </a:lnTo>
                  <a:lnTo>
                    <a:pt x="101" y="4"/>
                  </a:lnTo>
                  <a:lnTo>
                    <a:pt x="94" y="24"/>
                  </a:lnTo>
                  <a:lnTo>
                    <a:pt x="81" y="6"/>
                  </a:lnTo>
                  <a:lnTo>
                    <a:pt x="81"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 name="Armenia">
              <a:extLst>
                <a:ext uri="{FF2B5EF4-FFF2-40B4-BE49-F238E27FC236}">
                  <a16:creationId xmlns:a16="http://schemas.microsoft.com/office/drawing/2014/main" id="{129598F0-3A26-47FF-ADC1-0D1A300B05F2}"/>
                </a:ext>
              </a:extLst>
            </p:cNvPr>
            <p:cNvSpPr>
              <a:spLocks/>
            </p:cNvSpPr>
            <p:nvPr/>
          </p:nvSpPr>
          <p:spPr bwMode="auto">
            <a:xfrm>
              <a:off x="7327106" y="2504848"/>
              <a:ext cx="104775" cy="93663"/>
            </a:xfrm>
            <a:custGeom>
              <a:avLst/>
              <a:gdLst>
                <a:gd name="T0" fmla="*/ 66 w 66"/>
                <a:gd name="T1" fmla="*/ 58 h 59"/>
                <a:gd name="T2" fmla="*/ 62 w 66"/>
                <a:gd name="T3" fmla="*/ 42 h 59"/>
                <a:gd name="T4" fmla="*/ 53 w 66"/>
                <a:gd name="T5" fmla="*/ 37 h 59"/>
                <a:gd name="T6" fmla="*/ 44 w 66"/>
                <a:gd name="T7" fmla="*/ 32 h 59"/>
                <a:gd name="T8" fmla="*/ 47 w 66"/>
                <a:gd name="T9" fmla="*/ 24 h 59"/>
                <a:gd name="T10" fmla="*/ 36 w 66"/>
                <a:gd name="T11" fmla="*/ 16 h 59"/>
                <a:gd name="T12" fmla="*/ 39 w 66"/>
                <a:gd name="T13" fmla="*/ 10 h 59"/>
                <a:gd name="T14" fmla="*/ 31 w 66"/>
                <a:gd name="T15" fmla="*/ 6 h 59"/>
                <a:gd name="T16" fmla="*/ 25 w 66"/>
                <a:gd name="T17" fmla="*/ 0 h 59"/>
                <a:gd name="T18" fmla="*/ 0 w 66"/>
                <a:gd name="T19" fmla="*/ 4 h 59"/>
                <a:gd name="T20" fmla="*/ 5 w 66"/>
                <a:gd name="T21" fmla="*/ 11 h 59"/>
                <a:gd name="T22" fmla="*/ 5 w 66"/>
                <a:gd name="T23" fmla="*/ 23 h 59"/>
                <a:gd name="T24" fmla="*/ 20 w 66"/>
                <a:gd name="T25" fmla="*/ 29 h 59"/>
                <a:gd name="T26" fmla="*/ 29 w 66"/>
                <a:gd name="T27" fmla="*/ 35 h 59"/>
                <a:gd name="T28" fmla="*/ 33 w 66"/>
                <a:gd name="T29" fmla="*/ 35 h 59"/>
                <a:gd name="T30" fmla="*/ 40 w 66"/>
                <a:gd name="T31" fmla="*/ 41 h 59"/>
                <a:gd name="T32" fmla="*/ 48 w 66"/>
                <a:gd name="T33" fmla="*/ 41 h 59"/>
                <a:gd name="T34" fmla="*/ 49 w 66"/>
                <a:gd name="T35" fmla="*/ 45 h 59"/>
                <a:gd name="T36" fmla="*/ 60 w 66"/>
                <a:gd name="T37" fmla="*/ 59 h 59"/>
                <a:gd name="T38" fmla="*/ 66 w 66"/>
                <a:gd name="T39" fmla="*/ 58 h 59"/>
                <a:gd name="T40" fmla="*/ 66 w 66"/>
                <a:gd name="T41" fmla="*/ 58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59">
                  <a:moveTo>
                    <a:pt x="66" y="58"/>
                  </a:moveTo>
                  <a:lnTo>
                    <a:pt x="62" y="42"/>
                  </a:lnTo>
                  <a:lnTo>
                    <a:pt x="53" y="37"/>
                  </a:lnTo>
                  <a:lnTo>
                    <a:pt x="44" y="32"/>
                  </a:lnTo>
                  <a:lnTo>
                    <a:pt x="47" y="24"/>
                  </a:lnTo>
                  <a:lnTo>
                    <a:pt x="36" y="16"/>
                  </a:lnTo>
                  <a:lnTo>
                    <a:pt x="39" y="10"/>
                  </a:lnTo>
                  <a:lnTo>
                    <a:pt x="31" y="6"/>
                  </a:lnTo>
                  <a:lnTo>
                    <a:pt x="25" y="0"/>
                  </a:lnTo>
                  <a:lnTo>
                    <a:pt x="0" y="4"/>
                  </a:lnTo>
                  <a:lnTo>
                    <a:pt x="5" y="11"/>
                  </a:lnTo>
                  <a:lnTo>
                    <a:pt x="5" y="23"/>
                  </a:lnTo>
                  <a:lnTo>
                    <a:pt x="20" y="29"/>
                  </a:lnTo>
                  <a:lnTo>
                    <a:pt x="29" y="35"/>
                  </a:lnTo>
                  <a:lnTo>
                    <a:pt x="33" y="35"/>
                  </a:lnTo>
                  <a:lnTo>
                    <a:pt x="40" y="41"/>
                  </a:lnTo>
                  <a:lnTo>
                    <a:pt x="48" y="41"/>
                  </a:lnTo>
                  <a:lnTo>
                    <a:pt x="49" y="45"/>
                  </a:lnTo>
                  <a:lnTo>
                    <a:pt x="60" y="59"/>
                  </a:lnTo>
                  <a:lnTo>
                    <a:pt x="66" y="58"/>
                  </a:lnTo>
                  <a:lnTo>
                    <a:pt x="66" y="5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 name="Australia">
              <a:extLst>
                <a:ext uri="{FF2B5EF4-FFF2-40B4-BE49-F238E27FC236}">
                  <a16:creationId xmlns:a16="http://schemas.microsoft.com/office/drawing/2014/main" id="{C0E6E668-F940-4AAE-9738-CEA3486A3323}"/>
                </a:ext>
              </a:extLst>
            </p:cNvPr>
            <p:cNvSpPr>
              <a:spLocks noEditPoints="1"/>
            </p:cNvSpPr>
            <p:nvPr/>
          </p:nvSpPr>
          <p:spPr bwMode="auto">
            <a:xfrm>
              <a:off x="9619456" y="4463823"/>
              <a:ext cx="1328737" cy="1243012"/>
            </a:xfrm>
            <a:custGeom>
              <a:avLst/>
              <a:gdLst>
                <a:gd name="T0" fmla="*/ 498 w 837"/>
                <a:gd name="T1" fmla="*/ 746 h 783"/>
                <a:gd name="T2" fmla="*/ 503 w 837"/>
                <a:gd name="T3" fmla="*/ 783 h 783"/>
                <a:gd name="T4" fmla="*/ 556 w 837"/>
                <a:gd name="T5" fmla="*/ 747 h 783"/>
                <a:gd name="T6" fmla="*/ 531 w 837"/>
                <a:gd name="T7" fmla="*/ 726 h 783"/>
                <a:gd name="T8" fmla="*/ 707 w 837"/>
                <a:gd name="T9" fmla="*/ 66 h 783"/>
                <a:gd name="T10" fmla="*/ 697 w 837"/>
                <a:gd name="T11" fmla="*/ 26 h 783"/>
                <a:gd name="T12" fmla="*/ 683 w 837"/>
                <a:gd name="T13" fmla="*/ 16 h 783"/>
                <a:gd name="T14" fmla="*/ 669 w 837"/>
                <a:gd name="T15" fmla="*/ 54 h 783"/>
                <a:gd name="T16" fmla="*/ 661 w 837"/>
                <a:gd name="T17" fmla="*/ 105 h 783"/>
                <a:gd name="T18" fmla="*/ 634 w 837"/>
                <a:gd name="T19" fmla="*/ 160 h 783"/>
                <a:gd name="T20" fmla="*/ 589 w 837"/>
                <a:gd name="T21" fmla="*/ 146 h 783"/>
                <a:gd name="T22" fmla="*/ 547 w 837"/>
                <a:gd name="T23" fmla="*/ 116 h 783"/>
                <a:gd name="T24" fmla="*/ 549 w 837"/>
                <a:gd name="T25" fmla="*/ 73 h 783"/>
                <a:gd name="T26" fmla="*/ 573 w 837"/>
                <a:gd name="T27" fmla="*/ 40 h 783"/>
                <a:gd name="T28" fmla="*/ 538 w 837"/>
                <a:gd name="T29" fmla="*/ 38 h 783"/>
                <a:gd name="T30" fmla="*/ 493 w 837"/>
                <a:gd name="T31" fmla="*/ 17 h 783"/>
                <a:gd name="T32" fmla="*/ 482 w 837"/>
                <a:gd name="T33" fmla="*/ 35 h 783"/>
                <a:gd name="T34" fmla="*/ 429 w 837"/>
                <a:gd name="T35" fmla="*/ 58 h 783"/>
                <a:gd name="T36" fmla="*/ 411 w 837"/>
                <a:gd name="T37" fmla="*/ 103 h 783"/>
                <a:gd name="T38" fmla="*/ 362 w 837"/>
                <a:gd name="T39" fmla="*/ 75 h 783"/>
                <a:gd name="T40" fmla="*/ 332 w 837"/>
                <a:gd name="T41" fmla="*/ 85 h 783"/>
                <a:gd name="T42" fmla="*/ 300 w 837"/>
                <a:gd name="T43" fmla="*/ 117 h 783"/>
                <a:gd name="T44" fmla="*/ 283 w 837"/>
                <a:gd name="T45" fmla="*/ 153 h 783"/>
                <a:gd name="T46" fmla="*/ 248 w 837"/>
                <a:gd name="T47" fmla="*/ 170 h 783"/>
                <a:gd name="T48" fmla="*/ 210 w 837"/>
                <a:gd name="T49" fmla="*/ 215 h 783"/>
                <a:gd name="T50" fmla="*/ 166 w 837"/>
                <a:gd name="T51" fmla="*/ 228 h 783"/>
                <a:gd name="T52" fmla="*/ 121 w 837"/>
                <a:gd name="T53" fmla="*/ 239 h 783"/>
                <a:gd name="T54" fmla="*/ 62 w 837"/>
                <a:gd name="T55" fmla="*/ 282 h 783"/>
                <a:gd name="T56" fmla="*/ 47 w 837"/>
                <a:gd name="T57" fmla="*/ 307 h 783"/>
                <a:gd name="T58" fmla="*/ 39 w 837"/>
                <a:gd name="T59" fmla="*/ 341 h 783"/>
                <a:gd name="T60" fmla="*/ 31 w 837"/>
                <a:gd name="T61" fmla="*/ 356 h 783"/>
                <a:gd name="T62" fmla="*/ 33 w 837"/>
                <a:gd name="T63" fmla="*/ 396 h 783"/>
                <a:gd name="T64" fmla="*/ 39 w 837"/>
                <a:gd name="T65" fmla="*/ 447 h 783"/>
                <a:gd name="T66" fmla="*/ 33 w 837"/>
                <a:gd name="T67" fmla="*/ 512 h 783"/>
                <a:gd name="T68" fmla="*/ 6 w 837"/>
                <a:gd name="T69" fmla="*/ 546 h 783"/>
                <a:gd name="T70" fmla="*/ 38 w 837"/>
                <a:gd name="T71" fmla="*/ 579 h 783"/>
                <a:gd name="T72" fmla="*/ 82 w 837"/>
                <a:gd name="T73" fmla="*/ 567 h 783"/>
                <a:gd name="T74" fmla="*/ 144 w 837"/>
                <a:gd name="T75" fmla="*/ 555 h 783"/>
                <a:gd name="T76" fmla="*/ 194 w 837"/>
                <a:gd name="T77" fmla="*/ 530 h 783"/>
                <a:gd name="T78" fmla="*/ 284 w 837"/>
                <a:gd name="T79" fmla="*/ 506 h 783"/>
                <a:gd name="T80" fmla="*/ 379 w 837"/>
                <a:gd name="T81" fmla="*/ 507 h 783"/>
                <a:gd name="T82" fmla="*/ 405 w 837"/>
                <a:gd name="T83" fmla="*/ 553 h 783"/>
                <a:gd name="T84" fmla="*/ 441 w 837"/>
                <a:gd name="T85" fmla="*/ 549 h 783"/>
                <a:gd name="T86" fmla="*/ 438 w 837"/>
                <a:gd name="T87" fmla="*/ 572 h 783"/>
                <a:gd name="T88" fmla="*/ 456 w 837"/>
                <a:gd name="T89" fmla="*/ 582 h 783"/>
                <a:gd name="T90" fmla="*/ 464 w 837"/>
                <a:gd name="T91" fmla="*/ 618 h 783"/>
                <a:gd name="T92" fmla="*/ 489 w 837"/>
                <a:gd name="T93" fmla="*/ 660 h 783"/>
                <a:gd name="T94" fmla="*/ 551 w 837"/>
                <a:gd name="T95" fmla="*/ 648 h 783"/>
                <a:gd name="T96" fmla="*/ 579 w 837"/>
                <a:gd name="T97" fmla="*/ 666 h 783"/>
                <a:gd name="T98" fmla="*/ 655 w 837"/>
                <a:gd name="T99" fmla="*/ 637 h 783"/>
                <a:gd name="T100" fmla="*/ 697 w 837"/>
                <a:gd name="T101" fmla="*/ 583 h 783"/>
                <a:gd name="T102" fmla="*/ 762 w 837"/>
                <a:gd name="T103" fmla="*/ 520 h 783"/>
                <a:gd name="T104" fmla="*/ 813 w 837"/>
                <a:gd name="T105" fmla="*/ 447 h 783"/>
                <a:gd name="T106" fmla="*/ 833 w 837"/>
                <a:gd name="T107" fmla="*/ 380 h 783"/>
                <a:gd name="T108" fmla="*/ 820 w 837"/>
                <a:gd name="T109" fmla="*/ 319 h 783"/>
                <a:gd name="T110" fmla="*/ 799 w 837"/>
                <a:gd name="T111" fmla="*/ 273 h 783"/>
                <a:gd name="T112" fmla="*/ 784 w 837"/>
                <a:gd name="T113" fmla="*/ 232 h 783"/>
                <a:gd name="T114" fmla="*/ 737 w 837"/>
                <a:gd name="T115" fmla="*/ 181 h 783"/>
                <a:gd name="T116" fmla="*/ 735 w 837"/>
                <a:gd name="T117" fmla="*/ 134 h 783"/>
                <a:gd name="T118" fmla="*/ 725 w 837"/>
                <a:gd name="T119" fmla="*/ 83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37" h="783">
                  <a:moveTo>
                    <a:pt x="518" y="717"/>
                  </a:moveTo>
                  <a:lnTo>
                    <a:pt x="507" y="716"/>
                  </a:lnTo>
                  <a:lnTo>
                    <a:pt x="500" y="727"/>
                  </a:lnTo>
                  <a:lnTo>
                    <a:pt x="498" y="746"/>
                  </a:lnTo>
                  <a:lnTo>
                    <a:pt x="489" y="761"/>
                  </a:lnTo>
                  <a:lnTo>
                    <a:pt x="488" y="781"/>
                  </a:lnTo>
                  <a:lnTo>
                    <a:pt x="499" y="782"/>
                  </a:lnTo>
                  <a:lnTo>
                    <a:pt x="503" y="783"/>
                  </a:lnTo>
                  <a:lnTo>
                    <a:pt x="527" y="767"/>
                  </a:lnTo>
                  <a:lnTo>
                    <a:pt x="529" y="773"/>
                  </a:lnTo>
                  <a:lnTo>
                    <a:pt x="544" y="755"/>
                  </a:lnTo>
                  <a:lnTo>
                    <a:pt x="556" y="747"/>
                  </a:lnTo>
                  <a:lnTo>
                    <a:pt x="573" y="719"/>
                  </a:lnTo>
                  <a:lnTo>
                    <a:pt x="562" y="717"/>
                  </a:lnTo>
                  <a:lnTo>
                    <a:pt x="545" y="722"/>
                  </a:lnTo>
                  <a:lnTo>
                    <a:pt x="531" y="726"/>
                  </a:lnTo>
                  <a:lnTo>
                    <a:pt x="518" y="717"/>
                  </a:lnTo>
                  <a:lnTo>
                    <a:pt x="518" y="717"/>
                  </a:lnTo>
                  <a:close/>
                  <a:moveTo>
                    <a:pt x="705" y="74"/>
                  </a:moveTo>
                  <a:lnTo>
                    <a:pt x="707" y="66"/>
                  </a:lnTo>
                  <a:lnTo>
                    <a:pt x="708" y="52"/>
                  </a:lnTo>
                  <a:lnTo>
                    <a:pt x="701" y="40"/>
                  </a:lnTo>
                  <a:lnTo>
                    <a:pt x="702" y="30"/>
                  </a:lnTo>
                  <a:lnTo>
                    <a:pt x="697" y="26"/>
                  </a:lnTo>
                  <a:lnTo>
                    <a:pt x="698" y="12"/>
                  </a:lnTo>
                  <a:lnTo>
                    <a:pt x="693" y="0"/>
                  </a:lnTo>
                  <a:lnTo>
                    <a:pt x="685" y="10"/>
                  </a:lnTo>
                  <a:lnTo>
                    <a:pt x="683" y="16"/>
                  </a:lnTo>
                  <a:lnTo>
                    <a:pt x="677" y="29"/>
                  </a:lnTo>
                  <a:lnTo>
                    <a:pt x="671" y="41"/>
                  </a:lnTo>
                  <a:lnTo>
                    <a:pt x="672" y="50"/>
                  </a:lnTo>
                  <a:lnTo>
                    <a:pt x="669" y="54"/>
                  </a:lnTo>
                  <a:lnTo>
                    <a:pt x="663" y="72"/>
                  </a:lnTo>
                  <a:lnTo>
                    <a:pt x="663" y="86"/>
                  </a:lnTo>
                  <a:lnTo>
                    <a:pt x="660" y="93"/>
                  </a:lnTo>
                  <a:lnTo>
                    <a:pt x="661" y="105"/>
                  </a:lnTo>
                  <a:lnTo>
                    <a:pt x="652" y="124"/>
                  </a:lnTo>
                  <a:lnTo>
                    <a:pt x="647" y="137"/>
                  </a:lnTo>
                  <a:lnTo>
                    <a:pt x="641" y="147"/>
                  </a:lnTo>
                  <a:lnTo>
                    <a:pt x="634" y="160"/>
                  </a:lnTo>
                  <a:lnTo>
                    <a:pt x="619" y="167"/>
                  </a:lnTo>
                  <a:lnTo>
                    <a:pt x="601" y="160"/>
                  </a:lnTo>
                  <a:lnTo>
                    <a:pt x="599" y="153"/>
                  </a:lnTo>
                  <a:lnTo>
                    <a:pt x="589" y="146"/>
                  </a:lnTo>
                  <a:lnTo>
                    <a:pt x="584" y="146"/>
                  </a:lnTo>
                  <a:lnTo>
                    <a:pt x="572" y="132"/>
                  </a:lnTo>
                  <a:lnTo>
                    <a:pt x="562" y="124"/>
                  </a:lnTo>
                  <a:lnTo>
                    <a:pt x="547" y="116"/>
                  </a:lnTo>
                  <a:lnTo>
                    <a:pt x="532" y="103"/>
                  </a:lnTo>
                  <a:lnTo>
                    <a:pt x="532" y="96"/>
                  </a:lnTo>
                  <a:lnTo>
                    <a:pt x="542" y="85"/>
                  </a:lnTo>
                  <a:lnTo>
                    <a:pt x="549" y="73"/>
                  </a:lnTo>
                  <a:lnTo>
                    <a:pt x="548" y="64"/>
                  </a:lnTo>
                  <a:lnTo>
                    <a:pt x="556" y="63"/>
                  </a:lnTo>
                  <a:lnTo>
                    <a:pt x="565" y="54"/>
                  </a:lnTo>
                  <a:lnTo>
                    <a:pt x="573" y="40"/>
                  </a:lnTo>
                  <a:lnTo>
                    <a:pt x="564" y="28"/>
                  </a:lnTo>
                  <a:lnTo>
                    <a:pt x="559" y="33"/>
                  </a:lnTo>
                  <a:lnTo>
                    <a:pt x="551" y="31"/>
                  </a:lnTo>
                  <a:lnTo>
                    <a:pt x="538" y="38"/>
                  </a:lnTo>
                  <a:lnTo>
                    <a:pt x="526" y="30"/>
                  </a:lnTo>
                  <a:lnTo>
                    <a:pt x="519" y="33"/>
                  </a:lnTo>
                  <a:lnTo>
                    <a:pt x="503" y="27"/>
                  </a:lnTo>
                  <a:lnTo>
                    <a:pt x="493" y="17"/>
                  </a:lnTo>
                  <a:lnTo>
                    <a:pt x="480" y="12"/>
                  </a:lnTo>
                  <a:lnTo>
                    <a:pt x="468" y="15"/>
                  </a:lnTo>
                  <a:lnTo>
                    <a:pt x="483" y="23"/>
                  </a:lnTo>
                  <a:lnTo>
                    <a:pt x="482" y="35"/>
                  </a:lnTo>
                  <a:lnTo>
                    <a:pt x="463" y="40"/>
                  </a:lnTo>
                  <a:lnTo>
                    <a:pt x="453" y="37"/>
                  </a:lnTo>
                  <a:lnTo>
                    <a:pt x="440" y="45"/>
                  </a:lnTo>
                  <a:lnTo>
                    <a:pt x="429" y="58"/>
                  </a:lnTo>
                  <a:lnTo>
                    <a:pt x="432" y="64"/>
                  </a:lnTo>
                  <a:lnTo>
                    <a:pt x="421" y="70"/>
                  </a:lnTo>
                  <a:lnTo>
                    <a:pt x="408" y="90"/>
                  </a:lnTo>
                  <a:lnTo>
                    <a:pt x="411" y="103"/>
                  </a:lnTo>
                  <a:lnTo>
                    <a:pt x="398" y="100"/>
                  </a:lnTo>
                  <a:lnTo>
                    <a:pt x="385" y="100"/>
                  </a:lnTo>
                  <a:lnTo>
                    <a:pt x="376" y="86"/>
                  </a:lnTo>
                  <a:lnTo>
                    <a:pt x="362" y="75"/>
                  </a:lnTo>
                  <a:lnTo>
                    <a:pt x="351" y="79"/>
                  </a:lnTo>
                  <a:lnTo>
                    <a:pt x="342" y="82"/>
                  </a:lnTo>
                  <a:lnTo>
                    <a:pt x="340" y="88"/>
                  </a:lnTo>
                  <a:lnTo>
                    <a:pt x="332" y="85"/>
                  </a:lnTo>
                  <a:lnTo>
                    <a:pt x="331" y="92"/>
                  </a:lnTo>
                  <a:lnTo>
                    <a:pt x="320" y="96"/>
                  </a:lnTo>
                  <a:lnTo>
                    <a:pt x="313" y="105"/>
                  </a:lnTo>
                  <a:lnTo>
                    <a:pt x="300" y="117"/>
                  </a:lnTo>
                  <a:lnTo>
                    <a:pt x="294" y="135"/>
                  </a:lnTo>
                  <a:lnTo>
                    <a:pt x="286" y="130"/>
                  </a:lnTo>
                  <a:lnTo>
                    <a:pt x="278" y="141"/>
                  </a:lnTo>
                  <a:lnTo>
                    <a:pt x="283" y="153"/>
                  </a:lnTo>
                  <a:lnTo>
                    <a:pt x="274" y="157"/>
                  </a:lnTo>
                  <a:lnTo>
                    <a:pt x="268" y="137"/>
                  </a:lnTo>
                  <a:lnTo>
                    <a:pt x="250" y="157"/>
                  </a:lnTo>
                  <a:lnTo>
                    <a:pt x="248" y="170"/>
                  </a:lnTo>
                  <a:lnTo>
                    <a:pt x="245" y="180"/>
                  </a:lnTo>
                  <a:lnTo>
                    <a:pt x="231" y="192"/>
                  </a:lnTo>
                  <a:lnTo>
                    <a:pt x="223" y="204"/>
                  </a:lnTo>
                  <a:lnTo>
                    <a:pt x="210" y="215"/>
                  </a:lnTo>
                  <a:lnTo>
                    <a:pt x="187" y="222"/>
                  </a:lnTo>
                  <a:lnTo>
                    <a:pt x="176" y="221"/>
                  </a:lnTo>
                  <a:lnTo>
                    <a:pt x="170" y="223"/>
                  </a:lnTo>
                  <a:lnTo>
                    <a:pt x="166" y="228"/>
                  </a:lnTo>
                  <a:lnTo>
                    <a:pt x="153" y="231"/>
                  </a:lnTo>
                  <a:lnTo>
                    <a:pt x="136" y="240"/>
                  </a:lnTo>
                  <a:lnTo>
                    <a:pt x="130" y="237"/>
                  </a:lnTo>
                  <a:lnTo>
                    <a:pt x="121" y="239"/>
                  </a:lnTo>
                  <a:lnTo>
                    <a:pt x="103" y="248"/>
                  </a:lnTo>
                  <a:lnTo>
                    <a:pt x="92" y="258"/>
                  </a:lnTo>
                  <a:lnTo>
                    <a:pt x="73" y="265"/>
                  </a:lnTo>
                  <a:lnTo>
                    <a:pt x="62" y="282"/>
                  </a:lnTo>
                  <a:lnTo>
                    <a:pt x="64" y="264"/>
                  </a:lnTo>
                  <a:lnTo>
                    <a:pt x="52" y="281"/>
                  </a:lnTo>
                  <a:lnTo>
                    <a:pt x="52" y="295"/>
                  </a:lnTo>
                  <a:lnTo>
                    <a:pt x="47" y="307"/>
                  </a:lnTo>
                  <a:lnTo>
                    <a:pt x="41" y="312"/>
                  </a:lnTo>
                  <a:lnTo>
                    <a:pt x="36" y="326"/>
                  </a:lnTo>
                  <a:lnTo>
                    <a:pt x="39" y="334"/>
                  </a:lnTo>
                  <a:lnTo>
                    <a:pt x="39" y="341"/>
                  </a:lnTo>
                  <a:lnTo>
                    <a:pt x="46" y="360"/>
                  </a:lnTo>
                  <a:lnTo>
                    <a:pt x="43" y="372"/>
                  </a:lnTo>
                  <a:lnTo>
                    <a:pt x="39" y="363"/>
                  </a:lnTo>
                  <a:lnTo>
                    <a:pt x="31" y="356"/>
                  </a:lnTo>
                  <a:lnTo>
                    <a:pt x="32" y="378"/>
                  </a:lnTo>
                  <a:lnTo>
                    <a:pt x="26" y="367"/>
                  </a:lnTo>
                  <a:lnTo>
                    <a:pt x="26" y="378"/>
                  </a:lnTo>
                  <a:lnTo>
                    <a:pt x="33" y="396"/>
                  </a:lnTo>
                  <a:lnTo>
                    <a:pt x="31" y="415"/>
                  </a:lnTo>
                  <a:lnTo>
                    <a:pt x="38" y="424"/>
                  </a:lnTo>
                  <a:lnTo>
                    <a:pt x="36" y="432"/>
                  </a:lnTo>
                  <a:lnTo>
                    <a:pt x="39" y="447"/>
                  </a:lnTo>
                  <a:lnTo>
                    <a:pt x="34" y="461"/>
                  </a:lnTo>
                  <a:lnTo>
                    <a:pt x="33" y="474"/>
                  </a:lnTo>
                  <a:lnTo>
                    <a:pt x="36" y="498"/>
                  </a:lnTo>
                  <a:lnTo>
                    <a:pt x="33" y="512"/>
                  </a:lnTo>
                  <a:lnTo>
                    <a:pt x="25" y="529"/>
                  </a:lnTo>
                  <a:lnTo>
                    <a:pt x="23" y="537"/>
                  </a:lnTo>
                  <a:lnTo>
                    <a:pt x="17" y="543"/>
                  </a:lnTo>
                  <a:lnTo>
                    <a:pt x="6" y="546"/>
                  </a:lnTo>
                  <a:lnTo>
                    <a:pt x="0" y="560"/>
                  </a:lnTo>
                  <a:lnTo>
                    <a:pt x="10" y="564"/>
                  </a:lnTo>
                  <a:lnTo>
                    <a:pt x="25" y="579"/>
                  </a:lnTo>
                  <a:lnTo>
                    <a:pt x="38" y="579"/>
                  </a:lnTo>
                  <a:lnTo>
                    <a:pt x="53" y="580"/>
                  </a:lnTo>
                  <a:lnTo>
                    <a:pt x="65" y="573"/>
                  </a:lnTo>
                  <a:lnTo>
                    <a:pt x="77" y="566"/>
                  </a:lnTo>
                  <a:lnTo>
                    <a:pt x="82" y="567"/>
                  </a:lnTo>
                  <a:lnTo>
                    <a:pt x="99" y="554"/>
                  </a:lnTo>
                  <a:lnTo>
                    <a:pt x="113" y="553"/>
                  </a:lnTo>
                  <a:lnTo>
                    <a:pt x="129" y="550"/>
                  </a:lnTo>
                  <a:lnTo>
                    <a:pt x="144" y="555"/>
                  </a:lnTo>
                  <a:lnTo>
                    <a:pt x="158" y="553"/>
                  </a:lnTo>
                  <a:lnTo>
                    <a:pt x="175" y="552"/>
                  </a:lnTo>
                  <a:lnTo>
                    <a:pt x="186" y="542"/>
                  </a:lnTo>
                  <a:lnTo>
                    <a:pt x="194" y="530"/>
                  </a:lnTo>
                  <a:lnTo>
                    <a:pt x="214" y="524"/>
                  </a:lnTo>
                  <a:lnTo>
                    <a:pt x="240" y="512"/>
                  </a:lnTo>
                  <a:lnTo>
                    <a:pt x="259" y="514"/>
                  </a:lnTo>
                  <a:lnTo>
                    <a:pt x="284" y="506"/>
                  </a:lnTo>
                  <a:lnTo>
                    <a:pt x="314" y="497"/>
                  </a:lnTo>
                  <a:lnTo>
                    <a:pt x="350" y="495"/>
                  </a:lnTo>
                  <a:lnTo>
                    <a:pt x="365" y="506"/>
                  </a:lnTo>
                  <a:lnTo>
                    <a:pt x="379" y="507"/>
                  </a:lnTo>
                  <a:lnTo>
                    <a:pt x="399" y="521"/>
                  </a:lnTo>
                  <a:lnTo>
                    <a:pt x="392" y="527"/>
                  </a:lnTo>
                  <a:lnTo>
                    <a:pt x="400" y="536"/>
                  </a:lnTo>
                  <a:lnTo>
                    <a:pt x="405" y="553"/>
                  </a:lnTo>
                  <a:lnTo>
                    <a:pt x="398" y="566"/>
                  </a:lnTo>
                  <a:lnTo>
                    <a:pt x="409" y="575"/>
                  </a:lnTo>
                  <a:lnTo>
                    <a:pt x="425" y="557"/>
                  </a:lnTo>
                  <a:lnTo>
                    <a:pt x="441" y="549"/>
                  </a:lnTo>
                  <a:lnTo>
                    <a:pt x="466" y="529"/>
                  </a:lnTo>
                  <a:lnTo>
                    <a:pt x="461" y="546"/>
                  </a:lnTo>
                  <a:lnTo>
                    <a:pt x="447" y="558"/>
                  </a:lnTo>
                  <a:lnTo>
                    <a:pt x="438" y="572"/>
                  </a:lnTo>
                  <a:lnTo>
                    <a:pt x="422" y="585"/>
                  </a:lnTo>
                  <a:lnTo>
                    <a:pt x="441" y="580"/>
                  </a:lnTo>
                  <a:lnTo>
                    <a:pt x="459" y="564"/>
                  </a:lnTo>
                  <a:lnTo>
                    <a:pt x="456" y="582"/>
                  </a:lnTo>
                  <a:lnTo>
                    <a:pt x="444" y="593"/>
                  </a:lnTo>
                  <a:lnTo>
                    <a:pt x="461" y="596"/>
                  </a:lnTo>
                  <a:lnTo>
                    <a:pt x="466" y="606"/>
                  </a:lnTo>
                  <a:lnTo>
                    <a:pt x="464" y="618"/>
                  </a:lnTo>
                  <a:lnTo>
                    <a:pt x="459" y="637"/>
                  </a:lnTo>
                  <a:lnTo>
                    <a:pt x="464" y="652"/>
                  </a:lnTo>
                  <a:lnTo>
                    <a:pt x="479" y="659"/>
                  </a:lnTo>
                  <a:lnTo>
                    <a:pt x="489" y="660"/>
                  </a:lnTo>
                  <a:lnTo>
                    <a:pt x="499" y="664"/>
                  </a:lnTo>
                  <a:lnTo>
                    <a:pt x="512" y="671"/>
                  </a:lnTo>
                  <a:lnTo>
                    <a:pt x="538" y="653"/>
                  </a:lnTo>
                  <a:lnTo>
                    <a:pt x="551" y="648"/>
                  </a:lnTo>
                  <a:lnTo>
                    <a:pt x="542" y="661"/>
                  </a:lnTo>
                  <a:lnTo>
                    <a:pt x="551" y="665"/>
                  </a:lnTo>
                  <a:lnTo>
                    <a:pt x="561" y="676"/>
                  </a:lnTo>
                  <a:lnTo>
                    <a:pt x="579" y="666"/>
                  </a:lnTo>
                  <a:lnTo>
                    <a:pt x="593" y="657"/>
                  </a:lnTo>
                  <a:lnTo>
                    <a:pt x="616" y="646"/>
                  </a:lnTo>
                  <a:lnTo>
                    <a:pt x="639" y="646"/>
                  </a:lnTo>
                  <a:lnTo>
                    <a:pt x="655" y="637"/>
                  </a:lnTo>
                  <a:lnTo>
                    <a:pt x="658" y="630"/>
                  </a:lnTo>
                  <a:lnTo>
                    <a:pt x="669" y="613"/>
                  </a:lnTo>
                  <a:lnTo>
                    <a:pt x="684" y="595"/>
                  </a:lnTo>
                  <a:lnTo>
                    <a:pt x="697" y="583"/>
                  </a:lnTo>
                  <a:lnTo>
                    <a:pt x="714" y="562"/>
                  </a:lnTo>
                  <a:lnTo>
                    <a:pt x="726" y="550"/>
                  </a:lnTo>
                  <a:lnTo>
                    <a:pt x="742" y="532"/>
                  </a:lnTo>
                  <a:lnTo>
                    <a:pt x="762" y="520"/>
                  </a:lnTo>
                  <a:lnTo>
                    <a:pt x="781" y="499"/>
                  </a:lnTo>
                  <a:lnTo>
                    <a:pt x="793" y="482"/>
                  </a:lnTo>
                  <a:lnTo>
                    <a:pt x="798" y="468"/>
                  </a:lnTo>
                  <a:lnTo>
                    <a:pt x="813" y="447"/>
                  </a:lnTo>
                  <a:lnTo>
                    <a:pt x="820" y="436"/>
                  </a:lnTo>
                  <a:lnTo>
                    <a:pt x="829" y="415"/>
                  </a:lnTo>
                  <a:lnTo>
                    <a:pt x="827" y="394"/>
                  </a:lnTo>
                  <a:lnTo>
                    <a:pt x="833" y="380"/>
                  </a:lnTo>
                  <a:lnTo>
                    <a:pt x="837" y="366"/>
                  </a:lnTo>
                  <a:lnTo>
                    <a:pt x="837" y="348"/>
                  </a:lnTo>
                  <a:lnTo>
                    <a:pt x="827" y="328"/>
                  </a:lnTo>
                  <a:lnTo>
                    <a:pt x="820" y="319"/>
                  </a:lnTo>
                  <a:lnTo>
                    <a:pt x="809" y="305"/>
                  </a:lnTo>
                  <a:lnTo>
                    <a:pt x="812" y="279"/>
                  </a:lnTo>
                  <a:lnTo>
                    <a:pt x="806" y="283"/>
                  </a:lnTo>
                  <a:lnTo>
                    <a:pt x="799" y="273"/>
                  </a:lnTo>
                  <a:lnTo>
                    <a:pt x="790" y="278"/>
                  </a:lnTo>
                  <a:lnTo>
                    <a:pt x="788" y="252"/>
                  </a:lnTo>
                  <a:lnTo>
                    <a:pt x="780" y="237"/>
                  </a:lnTo>
                  <a:lnTo>
                    <a:pt x="784" y="232"/>
                  </a:lnTo>
                  <a:lnTo>
                    <a:pt x="772" y="221"/>
                  </a:lnTo>
                  <a:lnTo>
                    <a:pt x="760" y="209"/>
                  </a:lnTo>
                  <a:lnTo>
                    <a:pt x="741" y="197"/>
                  </a:lnTo>
                  <a:lnTo>
                    <a:pt x="737" y="181"/>
                  </a:lnTo>
                  <a:lnTo>
                    <a:pt x="742" y="169"/>
                  </a:lnTo>
                  <a:lnTo>
                    <a:pt x="741" y="149"/>
                  </a:lnTo>
                  <a:lnTo>
                    <a:pt x="736" y="146"/>
                  </a:lnTo>
                  <a:lnTo>
                    <a:pt x="735" y="134"/>
                  </a:lnTo>
                  <a:lnTo>
                    <a:pt x="734" y="113"/>
                  </a:lnTo>
                  <a:lnTo>
                    <a:pt x="738" y="103"/>
                  </a:lnTo>
                  <a:lnTo>
                    <a:pt x="729" y="94"/>
                  </a:lnTo>
                  <a:lnTo>
                    <a:pt x="725" y="83"/>
                  </a:lnTo>
                  <a:lnTo>
                    <a:pt x="710" y="93"/>
                  </a:lnTo>
                  <a:lnTo>
                    <a:pt x="705" y="74"/>
                  </a:lnTo>
                  <a:lnTo>
                    <a:pt x="705" y="7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 name="Austria">
              <a:extLst>
                <a:ext uri="{FF2B5EF4-FFF2-40B4-BE49-F238E27FC236}">
                  <a16:creationId xmlns:a16="http://schemas.microsoft.com/office/drawing/2014/main" id="{EE780E72-69F3-4F33-B616-40F01C2299D9}"/>
                </a:ext>
              </a:extLst>
            </p:cNvPr>
            <p:cNvSpPr>
              <a:spLocks/>
            </p:cNvSpPr>
            <p:nvPr/>
          </p:nvSpPr>
          <p:spPr bwMode="auto">
            <a:xfrm>
              <a:off x="6274594" y="2219099"/>
              <a:ext cx="217487" cy="95250"/>
            </a:xfrm>
            <a:custGeom>
              <a:avLst/>
              <a:gdLst>
                <a:gd name="T0" fmla="*/ 136 w 137"/>
                <a:gd name="T1" fmla="*/ 10 h 60"/>
                <a:gd name="T2" fmla="*/ 128 w 137"/>
                <a:gd name="T3" fmla="*/ 5 h 60"/>
                <a:gd name="T4" fmla="*/ 119 w 137"/>
                <a:gd name="T5" fmla="*/ 6 h 60"/>
                <a:gd name="T6" fmla="*/ 104 w 137"/>
                <a:gd name="T7" fmla="*/ 0 h 60"/>
                <a:gd name="T8" fmla="*/ 98 w 137"/>
                <a:gd name="T9" fmla="*/ 2 h 60"/>
                <a:gd name="T10" fmla="*/ 88 w 137"/>
                <a:gd name="T11" fmla="*/ 11 h 60"/>
                <a:gd name="T12" fmla="*/ 74 w 137"/>
                <a:gd name="T13" fmla="*/ 4 h 60"/>
                <a:gd name="T14" fmla="*/ 68 w 137"/>
                <a:gd name="T15" fmla="*/ 14 h 60"/>
                <a:gd name="T16" fmla="*/ 62 w 137"/>
                <a:gd name="T17" fmla="*/ 18 h 60"/>
                <a:gd name="T18" fmla="*/ 65 w 137"/>
                <a:gd name="T19" fmla="*/ 32 h 60"/>
                <a:gd name="T20" fmla="*/ 64 w 137"/>
                <a:gd name="T21" fmla="*/ 36 h 60"/>
                <a:gd name="T22" fmla="*/ 58 w 137"/>
                <a:gd name="T23" fmla="*/ 32 h 60"/>
                <a:gd name="T24" fmla="*/ 49 w 137"/>
                <a:gd name="T25" fmla="*/ 31 h 60"/>
                <a:gd name="T26" fmla="*/ 36 w 137"/>
                <a:gd name="T27" fmla="*/ 35 h 60"/>
                <a:gd name="T28" fmla="*/ 20 w 137"/>
                <a:gd name="T29" fmla="*/ 34 h 60"/>
                <a:gd name="T30" fmla="*/ 18 w 137"/>
                <a:gd name="T31" fmla="*/ 40 h 60"/>
                <a:gd name="T32" fmla="*/ 7 w 137"/>
                <a:gd name="T33" fmla="*/ 33 h 60"/>
                <a:gd name="T34" fmla="*/ 2 w 137"/>
                <a:gd name="T35" fmla="*/ 34 h 60"/>
                <a:gd name="T36" fmla="*/ 3 w 137"/>
                <a:gd name="T37" fmla="*/ 39 h 60"/>
                <a:gd name="T38" fmla="*/ 0 w 137"/>
                <a:gd name="T39" fmla="*/ 45 h 60"/>
                <a:gd name="T40" fmla="*/ 8 w 137"/>
                <a:gd name="T41" fmla="*/ 49 h 60"/>
                <a:gd name="T42" fmla="*/ 19 w 137"/>
                <a:gd name="T43" fmla="*/ 49 h 60"/>
                <a:gd name="T44" fmla="*/ 30 w 137"/>
                <a:gd name="T45" fmla="*/ 53 h 60"/>
                <a:gd name="T46" fmla="*/ 32 w 137"/>
                <a:gd name="T47" fmla="*/ 48 h 60"/>
                <a:gd name="T48" fmla="*/ 49 w 137"/>
                <a:gd name="T49" fmla="*/ 45 h 60"/>
                <a:gd name="T50" fmla="*/ 55 w 137"/>
                <a:gd name="T51" fmla="*/ 53 h 60"/>
                <a:gd name="T52" fmla="*/ 81 w 137"/>
                <a:gd name="T53" fmla="*/ 59 h 60"/>
                <a:gd name="T54" fmla="*/ 97 w 137"/>
                <a:gd name="T55" fmla="*/ 60 h 60"/>
                <a:gd name="T56" fmla="*/ 106 w 137"/>
                <a:gd name="T57" fmla="*/ 55 h 60"/>
                <a:gd name="T58" fmla="*/ 122 w 137"/>
                <a:gd name="T59" fmla="*/ 55 h 60"/>
                <a:gd name="T60" fmla="*/ 126 w 137"/>
                <a:gd name="T61" fmla="*/ 50 h 60"/>
                <a:gd name="T62" fmla="*/ 131 w 137"/>
                <a:gd name="T63" fmla="*/ 35 h 60"/>
                <a:gd name="T64" fmla="*/ 126 w 137"/>
                <a:gd name="T65" fmla="*/ 31 h 60"/>
                <a:gd name="T66" fmla="*/ 137 w 137"/>
                <a:gd name="T67" fmla="*/ 31 h 60"/>
                <a:gd name="T68" fmla="*/ 137 w 137"/>
                <a:gd name="T69" fmla="*/ 21 h 60"/>
                <a:gd name="T70" fmla="*/ 135 w 137"/>
                <a:gd name="T71" fmla="*/ 13 h 60"/>
                <a:gd name="T72" fmla="*/ 136 w 137"/>
                <a:gd name="T73" fmla="*/ 10 h 60"/>
                <a:gd name="T74" fmla="*/ 136 w 137"/>
                <a:gd name="T75" fmla="*/ 1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7" h="60">
                  <a:moveTo>
                    <a:pt x="136" y="10"/>
                  </a:moveTo>
                  <a:lnTo>
                    <a:pt x="128" y="5"/>
                  </a:lnTo>
                  <a:lnTo>
                    <a:pt x="119" y="6"/>
                  </a:lnTo>
                  <a:lnTo>
                    <a:pt x="104" y="0"/>
                  </a:lnTo>
                  <a:lnTo>
                    <a:pt x="98" y="2"/>
                  </a:lnTo>
                  <a:lnTo>
                    <a:pt x="88" y="11"/>
                  </a:lnTo>
                  <a:lnTo>
                    <a:pt x="74" y="4"/>
                  </a:lnTo>
                  <a:lnTo>
                    <a:pt x="68" y="14"/>
                  </a:lnTo>
                  <a:lnTo>
                    <a:pt x="62" y="18"/>
                  </a:lnTo>
                  <a:lnTo>
                    <a:pt x="65" y="32"/>
                  </a:lnTo>
                  <a:lnTo>
                    <a:pt x="64" y="36"/>
                  </a:lnTo>
                  <a:lnTo>
                    <a:pt x="58" y="32"/>
                  </a:lnTo>
                  <a:lnTo>
                    <a:pt x="49" y="31"/>
                  </a:lnTo>
                  <a:lnTo>
                    <a:pt x="36" y="35"/>
                  </a:lnTo>
                  <a:lnTo>
                    <a:pt x="20" y="34"/>
                  </a:lnTo>
                  <a:lnTo>
                    <a:pt x="18" y="40"/>
                  </a:lnTo>
                  <a:lnTo>
                    <a:pt x="7" y="33"/>
                  </a:lnTo>
                  <a:lnTo>
                    <a:pt x="2" y="34"/>
                  </a:lnTo>
                  <a:lnTo>
                    <a:pt x="3" y="39"/>
                  </a:lnTo>
                  <a:lnTo>
                    <a:pt x="0" y="45"/>
                  </a:lnTo>
                  <a:lnTo>
                    <a:pt x="8" y="49"/>
                  </a:lnTo>
                  <a:lnTo>
                    <a:pt x="19" y="49"/>
                  </a:lnTo>
                  <a:lnTo>
                    <a:pt x="30" y="53"/>
                  </a:lnTo>
                  <a:lnTo>
                    <a:pt x="32" y="48"/>
                  </a:lnTo>
                  <a:lnTo>
                    <a:pt x="49" y="45"/>
                  </a:lnTo>
                  <a:lnTo>
                    <a:pt x="55" y="53"/>
                  </a:lnTo>
                  <a:lnTo>
                    <a:pt x="81" y="59"/>
                  </a:lnTo>
                  <a:lnTo>
                    <a:pt x="97" y="60"/>
                  </a:lnTo>
                  <a:lnTo>
                    <a:pt x="106" y="55"/>
                  </a:lnTo>
                  <a:lnTo>
                    <a:pt x="122" y="55"/>
                  </a:lnTo>
                  <a:lnTo>
                    <a:pt x="126" y="50"/>
                  </a:lnTo>
                  <a:lnTo>
                    <a:pt x="131" y="35"/>
                  </a:lnTo>
                  <a:lnTo>
                    <a:pt x="126" y="31"/>
                  </a:lnTo>
                  <a:lnTo>
                    <a:pt x="137" y="31"/>
                  </a:lnTo>
                  <a:lnTo>
                    <a:pt x="137" y="21"/>
                  </a:lnTo>
                  <a:lnTo>
                    <a:pt x="135" y="13"/>
                  </a:lnTo>
                  <a:lnTo>
                    <a:pt x="136" y="10"/>
                  </a:lnTo>
                  <a:lnTo>
                    <a:pt x="136"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 name="Azerbaijan">
              <a:extLst>
                <a:ext uri="{FF2B5EF4-FFF2-40B4-BE49-F238E27FC236}">
                  <a16:creationId xmlns:a16="http://schemas.microsoft.com/office/drawing/2014/main" id="{2D56A44A-84E3-4710-9B58-CF16476E625D}"/>
                </a:ext>
              </a:extLst>
            </p:cNvPr>
            <p:cNvSpPr>
              <a:spLocks noEditPoints="1"/>
            </p:cNvSpPr>
            <p:nvPr/>
          </p:nvSpPr>
          <p:spPr bwMode="auto">
            <a:xfrm>
              <a:off x="7366794" y="2481036"/>
              <a:ext cx="174625" cy="134938"/>
            </a:xfrm>
            <a:custGeom>
              <a:avLst/>
              <a:gdLst>
                <a:gd name="T0" fmla="*/ 8 w 110"/>
                <a:gd name="T1" fmla="*/ 50 h 85"/>
                <a:gd name="T2" fmla="*/ 4 w 110"/>
                <a:gd name="T3" fmla="*/ 50 h 85"/>
                <a:gd name="T4" fmla="*/ 8 w 110"/>
                <a:gd name="T5" fmla="*/ 60 h 85"/>
                <a:gd name="T6" fmla="*/ 21 w 110"/>
                <a:gd name="T7" fmla="*/ 71 h 85"/>
                <a:gd name="T8" fmla="*/ 35 w 110"/>
                <a:gd name="T9" fmla="*/ 74 h 85"/>
                <a:gd name="T10" fmla="*/ 24 w 110"/>
                <a:gd name="T11" fmla="*/ 60 h 85"/>
                <a:gd name="T12" fmla="*/ 23 w 110"/>
                <a:gd name="T13" fmla="*/ 56 h 85"/>
                <a:gd name="T14" fmla="*/ 15 w 110"/>
                <a:gd name="T15" fmla="*/ 56 h 85"/>
                <a:gd name="T16" fmla="*/ 8 w 110"/>
                <a:gd name="T17" fmla="*/ 50 h 85"/>
                <a:gd name="T18" fmla="*/ 8 w 110"/>
                <a:gd name="T19" fmla="*/ 50 h 85"/>
                <a:gd name="T20" fmla="*/ 47 w 110"/>
                <a:gd name="T21" fmla="*/ 15 h 85"/>
                <a:gd name="T22" fmla="*/ 31 w 110"/>
                <a:gd name="T23" fmla="*/ 1 h 85"/>
                <a:gd name="T24" fmla="*/ 25 w 110"/>
                <a:gd name="T25" fmla="*/ 0 h 85"/>
                <a:gd name="T26" fmla="*/ 21 w 110"/>
                <a:gd name="T27" fmla="*/ 4 h 85"/>
                <a:gd name="T28" fmla="*/ 33 w 110"/>
                <a:gd name="T29" fmla="*/ 17 h 85"/>
                <a:gd name="T30" fmla="*/ 31 w 110"/>
                <a:gd name="T31" fmla="*/ 19 h 85"/>
                <a:gd name="T32" fmla="*/ 21 w 110"/>
                <a:gd name="T33" fmla="*/ 18 h 85"/>
                <a:gd name="T34" fmla="*/ 5 w 110"/>
                <a:gd name="T35" fmla="*/ 11 h 85"/>
                <a:gd name="T36" fmla="*/ 0 w 110"/>
                <a:gd name="T37" fmla="*/ 15 h 85"/>
                <a:gd name="T38" fmla="*/ 6 w 110"/>
                <a:gd name="T39" fmla="*/ 21 h 85"/>
                <a:gd name="T40" fmla="*/ 14 w 110"/>
                <a:gd name="T41" fmla="*/ 25 h 85"/>
                <a:gd name="T42" fmla="*/ 11 w 110"/>
                <a:gd name="T43" fmla="*/ 31 h 85"/>
                <a:gd name="T44" fmla="*/ 22 w 110"/>
                <a:gd name="T45" fmla="*/ 39 h 85"/>
                <a:gd name="T46" fmla="*/ 19 w 110"/>
                <a:gd name="T47" fmla="*/ 47 h 85"/>
                <a:gd name="T48" fmla="*/ 28 w 110"/>
                <a:gd name="T49" fmla="*/ 52 h 85"/>
                <a:gd name="T50" fmla="*/ 37 w 110"/>
                <a:gd name="T51" fmla="*/ 57 h 85"/>
                <a:gd name="T52" fmla="*/ 41 w 110"/>
                <a:gd name="T53" fmla="*/ 73 h 85"/>
                <a:gd name="T54" fmla="*/ 61 w 110"/>
                <a:gd name="T55" fmla="*/ 56 h 85"/>
                <a:gd name="T56" fmla="*/ 68 w 110"/>
                <a:gd name="T57" fmla="*/ 54 h 85"/>
                <a:gd name="T58" fmla="*/ 75 w 110"/>
                <a:gd name="T59" fmla="*/ 61 h 85"/>
                <a:gd name="T60" fmla="*/ 71 w 110"/>
                <a:gd name="T61" fmla="*/ 73 h 85"/>
                <a:gd name="T62" fmla="*/ 85 w 110"/>
                <a:gd name="T63" fmla="*/ 85 h 85"/>
                <a:gd name="T64" fmla="*/ 90 w 110"/>
                <a:gd name="T65" fmla="*/ 84 h 85"/>
                <a:gd name="T66" fmla="*/ 87 w 110"/>
                <a:gd name="T67" fmla="*/ 72 h 85"/>
                <a:gd name="T68" fmla="*/ 93 w 110"/>
                <a:gd name="T69" fmla="*/ 66 h 85"/>
                <a:gd name="T70" fmla="*/ 94 w 110"/>
                <a:gd name="T71" fmla="*/ 58 h 85"/>
                <a:gd name="T72" fmla="*/ 94 w 110"/>
                <a:gd name="T73" fmla="*/ 39 h 85"/>
                <a:gd name="T74" fmla="*/ 110 w 110"/>
                <a:gd name="T75" fmla="*/ 37 h 85"/>
                <a:gd name="T76" fmla="*/ 103 w 110"/>
                <a:gd name="T77" fmla="*/ 32 h 85"/>
                <a:gd name="T78" fmla="*/ 93 w 110"/>
                <a:gd name="T79" fmla="*/ 31 h 85"/>
                <a:gd name="T80" fmla="*/ 80 w 110"/>
                <a:gd name="T81" fmla="*/ 14 h 85"/>
                <a:gd name="T82" fmla="*/ 67 w 110"/>
                <a:gd name="T83" fmla="*/ 2 h 85"/>
                <a:gd name="T84" fmla="*/ 67 w 110"/>
                <a:gd name="T85" fmla="*/ 2 h 85"/>
                <a:gd name="T86" fmla="*/ 58 w 110"/>
                <a:gd name="T87" fmla="*/ 11 h 85"/>
                <a:gd name="T88" fmla="*/ 56 w 110"/>
                <a:gd name="T89" fmla="*/ 17 h 85"/>
                <a:gd name="T90" fmla="*/ 47 w 110"/>
                <a:gd name="T91" fmla="*/ 15 h 85"/>
                <a:gd name="T92" fmla="*/ 47 w 110"/>
                <a:gd name="T93" fmla="*/ 15 h 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0" h="85">
                  <a:moveTo>
                    <a:pt x="8" y="50"/>
                  </a:moveTo>
                  <a:lnTo>
                    <a:pt x="4" y="50"/>
                  </a:lnTo>
                  <a:lnTo>
                    <a:pt x="8" y="60"/>
                  </a:lnTo>
                  <a:lnTo>
                    <a:pt x="21" y="71"/>
                  </a:lnTo>
                  <a:lnTo>
                    <a:pt x="35" y="74"/>
                  </a:lnTo>
                  <a:lnTo>
                    <a:pt x="24" y="60"/>
                  </a:lnTo>
                  <a:lnTo>
                    <a:pt x="23" y="56"/>
                  </a:lnTo>
                  <a:lnTo>
                    <a:pt x="15" y="56"/>
                  </a:lnTo>
                  <a:lnTo>
                    <a:pt x="8" y="50"/>
                  </a:lnTo>
                  <a:lnTo>
                    <a:pt x="8" y="50"/>
                  </a:lnTo>
                  <a:close/>
                  <a:moveTo>
                    <a:pt x="47" y="15"/>
                  </a:moveTo>
                  <a:lnTo>
                    <a:pt x="31" y="1"/>
                  </a:lnTo>
                  <a:lnTo>
                    <a:pt x="25" y="0"/>
                  </a:lnTo>
                  <a:lnTo>
                    <a:pt x="21" y="4"/>
                  </a:lnTo>
                  <a:lnTo>
                    <a:pt x="33" y="17"/>
                  </a:lnTo>
                  <a:lnTo>
                    <a:pt x="31" y="19"/>
                  </a:lnTo>
                  <a:lnTo>
                    <a:pt x="21" y="18"/>
                  </a:lnTo>
                  <a:lnTo>
                    <a:pt x="5" y="11"/>
                  </a:lnTo>
                  <a:lnTo>
                    <a:pt x="0" y="15"/>
                  </a:lnTo>
                  <a:lnTo>
                    <a:pt x="6" y="21"/>
                  </a:lnTo>
                  <a:lnTo>
                    <a:pt x="14" y="25"/>
                  </a:lnTo>
                  <a:lnTo>
                    <a:pt x="11" y="31"/>
                  </a:lnTo>
                  <a:lnTo>
                    <a:pt x="22" y="39"/>
                  </a:lnTo>
                  <a:lnTo>
                    <a:pt x="19" y="47"/>
                  </a:lnTo>
                  <a:lnTo>
                    <a:pt x="28" y="52"/>
                  </a:lnTo>
                  <a:lnTo>
                    <a:pt x="37" y="57"/>
                  </a:lnTo>
                  <a:lnTo>
                    <a:pt x="41" y="73"/>
                  </a:lnTo>
                  <a:lnTo>
                    <a:pt x="61" y="56"/>
                  </a:lnTo>
                  <a:lnTo>
                    <a:pt x="68" y="54"/>
                  </a:lnTo>
                  <a:lnTo>
                    <a:pt x="75" y="61"/>
                  </a:lnTo>
                  <a:lnTo>
                    <a:pt x="71" y="73"/>
                  </a:lnTo>
                  <a:lnTo>
                    <a:pt x="85" y="85"/>
                  </a:lnTo>
                  <a:lnTo>
                    <a:pt x="90" y="84"/>
                  </a:lnTo>
                  <a:lnTo>
                    <a:pt x="87" y="72"/>
                  </a:lnTo>
                  <a:lnTo>
                    <a:pt x="93" y="66"/>
                  </a:lnTo>
                  <a:lnTo>
                    <a:pt x="94" y="58"/>
                  </a:lnTo>
                  <a:lnTo>
                    <a:pt x="94" y="39"/>
                  </a:lnTo>
                  <a:lnTo>
                    <a:pt x="110" y="37"/>
                  </a:lnTo>
                  <a:lnTo>
                    <a:pt x="103" y="32"/>
                  </a:lnTo>
                  <a:lnTo>
                    <a:pt x="93" y="31"/>
                  </a:lnTo>
                  <a:lnTo>
                    <a:pt x="80" y="14"/>
                  </a:lnTo>
                  <a:lnTo>
                    <a:pt x="67" y="2"/>
                  </a:lnTo>
                  <a:lnTo>
                    <a:pt x="67" y="2"/>
                  </a:lnTo>
                  <a:lnTo>
                    <a:pt x="58" y="11"/>
                  </a:lnTo>
                  <a:lnTo>
                    <a:pt x="56" y="17"/>
                  </a:lnTo>
                  <a:lnTo>
                    <a:pt x="47" y="15"/>
                  </a:lnTo>
                  <a:lnTo>
                    <a:pt x="47"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 name="Burundi">
              <a:extLst>
                <a:ext uri="{FF2B5EF4-FFF2-40B4-BE49-F238E27FC236}">
                  <a16:creationId xmlns:a16="http://schemas.microsoft.com/office/drawing/2014/main" id="{A9DB2D4E-1CE6-47F4-B6D9-8CD11A766852}"/>
                </a:ext>
              </a:extLst>
            </p:cNvPr>
            <p:cNvSpPr>
              <a:spLocks/>
            </p:cNvSpPr>
            <p:nvPr/>
          </p:nvSpPr>
          <p:spPr bwMode="auto">
            <a:xfrm>
              <a:off x="6961981" y="4149498"/>
              <a:ext cx="58737" cy="80963"/>
            </a:xfrm>
            <a:custGeom>
              <a:avLst/>
              <a:gdLst>
                <a:gd name="T0" fmla="*/ 32 w 37"/>
                <a:gd name="T1" fmla="*/ 12 h 51"/>
                <a:gd name="T2" fmla="*/ 31 w 37"/>
                <a:gd name="T3" fmla="*/ 2 h 51"/>
                <a:gd name="T4" fmla="*/ 31 w 37"/>
                <a:gd name="T5" fmla="*/ 2 h 51"/>
                <a:gd name="T6" fmla="*/ 20 w 37"/>
                <a:gd name="T7" fmla="*/ 0 h 51"/>
                <a:gd name="T8" fmla="*/ 13 w 37"/>
                <a:gd name="T9" fmla="*/ 14 h 51"/>
                <a:gd name="T10" fmla="*/ 0 w 37"/>
                <a:gd name="T11" fmla="*/ 13 h 51"/>
                <a:gd name="T12" fmla="*/ 5 w 37"/>
                <a:gd name="T13" fmla="*/ 23 h 51"/>
                <a:gd name="T14" fmla="*/ 6 w 37"/>
                <a:gd name="T15" fmla="*/ 27 h 51"/>
                <a:gd name="T16" fmla="*/ 13 w 37"/>
                <a:gd name="T17" fmla="*/ 50 h 51"/>
                <a:gd name="T18" fmla="*/ 12 w 37"/>
                <a:gd name="T19" fmla="*/ 51 h 51"/>
                <a:gd name="T20" fmla="*/ 15 w 37"/>
                <a:gd name="T21" fmla="*/ 51 h 51"/>
                <a:gd name="T22" fmla="*/ 23 w 37"/>
                <a:gd name="T23" fmla="*/ 42 h 51"/>
                <a:gd name="T24" fmla="*/ 31 w 37"/>
                <a:gd name="T25" fmla="*/ 30 h 51"/>
                <a:gd name="T26" fmla="*/ 37 w 37"/>
                <a:gd name="T27" fmla="*/ 25 h 51"/>
                <a:gd name="T28" fmla="*/ 37 w 37"/>
                <a:gd name="T29" fmla="*/ 17 h 51"/>
                <a:gd name="T30" fmla="*/ 32 w 37"/>
                <a:gd name="T31" fmla="*/ 12 h 51"/>
                <a:gd name="T32" fmla="*/ 32 w 37"/>
                <a:gd name="T33" fmla="*/ 12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7" h="51">
                  <a:moveTo>
                    <a:pt x="32" y="12"/>
                  </a:moveTo>
                  <a:lnTo>
                    <a:pt x="31" y="2"/>
                  </a:lnTo>
                  <a:lnTo>
                    <a:pt x="31" y="2"/>
                  </a:lnTo>
                  <a:lnTo>
                    <a:pt x="20" y="0"/>
                  </a:lnTo>
                  <a:lnTo>
                    <a:pt x="13" y="14"/>
                  </a:lnTo>
                  <a:lnTo>
                    <a:pt x="0" y="13"/>
                  </a:lnTo>
                  <a:lnTo>
                    <a:pt x="5" y="23"/>
                  </a:lnTo>
                  <a:lnTo>
                    <a:pt x="6" y="27"/>
                  </a:lnTo>
                  <a:lnTo>
                    <a:pt x="13" y="50"/>
                  </a:lnTo>
                  <a:lnTo>
                    <a:pt x="12" y="51"/>
                  </a:lnTo>
                  <a:lnTo>
                    <a:pt x="15" y="51"/>
                  </a:lnTo>
                  <a:lnTo>
                    <a:pt x="23" y="42"/>
                  </a:lnTo>
                  <a:lnTo>
                    <a:pt x="31" y="30"/>
                  </a:lnTo>
                  <a:lnTo>
                    <a:pt x="37" y="25"/>
                  </a:lnTo>
                  <a:lnTo>
                    <a:pt x="37" y="17"/>
                  </a:lnTo>
                  <a:lnTo>
                    <a:pt x="32" y="12"/>
                  </a:lnTo>
                  <a:lnTo>
                    <a:pt x="32"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 name="Belgium">
              <a:extLst>
                <a:ext uri="{FF2B5EF4-FFF2-40B4-BE49-F238E27FC236}">
                  <a16:creationId xmlns:a16="http://schemas.microsoft.com/office/drawing/2014/main" id="{8309815F-ACE4-455F-B27A-2BA5423B53AD}"/>
                </a:ext>
              </a:extLst>
            </p:cNvPr>
            <p:cNvSpPr>
              <a:spLocks/>
            </p:cNvSpPr>
            <p:nvPr/>
          </p:nvSpPr>
          <p:spPr bwMode="auto">
            <a:xfrm>
              <a:off x="6068219" y="2130198"/>
              <a:ext cx="104775" cy="71438"/>
            </a:xfrm>
            <a:custGeom>
              <a:avLst/>
              <a:gdLst>
                <a:gd name="T0" fmla="*/ 44 w 66"/>
                <a:gd name="T1" fmla="*/ 0 h 45"/>
                <a:gd name="T2" fmla="*/ 27 w 66"/>
                <a:gd name="T3" fmla="*/ 4 h 45"/>
                <a:gd name="T4" fmla="*/ 14 w 66"/>
                <a:gd name="T5" fmla="*/ 3 h 45"/>
                <a:gd name="T6" fmla="*/ 14 w 66"/>
                <a:gd name="T7" fmla="*/ 3 h 45"/>
                <a:gd name="T8" fmla="*/ 0 w 66"/>
                <a:gd name="T9" fmla="*/ 7 h 45"/>
                <a:gd name="T10" fmla="*/ 2 w 66"/>
                <a:gd name="T11" fmla="*/ 16 h 45"/>
                <a:gd name="T12" fmla="*/ 10 w 66"/>
                <a:gd name="T13" fmla="*/ 16 h 45"/>
                <a:gd name="T14" fmla="*/ 20 w 66"/>
                <a:gd name="T15" fmla="*/ 25 h 45"/>
                <a:gd name="T16" fmla="*/ 32 w 66"/>
                <a:gd name="T17" fmla="*/ 35 h 45"/>
                <a:gd name="T18" fmla="*/ 41 w 66"/>
                <a:gd name="T19" fmla="*/ 34 h 45"/>
                <a:gd name="T20" fmla="*/ 58 w 66"/>
                <a:gd name="T21" fmla="*/ 45 h 45"/>
                <a:gd name="T22" fmla="*/ 60 w 66"/>
                <a:gd name="T23" fmla="*/ 32 h 45"/>
                <a:gd name="T24" fmla="*/ 65 w 66"/>
                <a:gd name="T25" fmla="*/ 31 h 45"/>
                <a:gd name="T26" fmla="*/ 66 w 66"/>
                <a:gd name="T27" fmla="*/ 15 h 45"/>
                <a:gd name="T28" fmla="*/ 55 w 66"/>
                <a:gd name="T29" fmla="*/ 10 h 45"/>
                <a:gd name="T30" fmla="*/ 44 w 66"/>
                <a:gd name="T31" fmla="*/ 0 h 45"/>
                <a:gd name="T32" fmla="*/ 44 w 66"/>
                <a:gd name="T33"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6" h="45">
                  <a:moveTo>
                    <a:pt x="44" y="0"/>
                  </a:moveTo>
                  <a:lnTo>
                    <a:pt x="27" y="4"/>
                  </a:lnTo>
                  <a:lnTo>
                    <a:pt x="14" y="3"/>
                  </a:lnTo>
                  <a:lnTo>
                    <a:pt x="14" y="3"/>
                  </a:lnTo>
                  <a:lnTo>
                    <a:pt x="0" y="7"/>
                  </a:lnTo>
                  <a:lnTo>
                    <a:pt x="2" y="16"/>
                  </a:lnTo>
                  <a:lnTo>
                    <a:pt x="10" y="16"/>
                  </a:lnTo>
                  <a:lnTo>
                    <a:pt x="20" y="25"/>
                  </a:lnTo>
                  <a:lnTo>
                    <a:pt x="32" y="35"/>
                  </a:lnTo>
                  <a:lnTo>
                    <a:pt x="41" y="34"/>
                  </a:lnTo>
                  <a:lnTo>
                    <a:pt x="58" y="45"/>
                  </a:lnTo>
                  <a:lnTo>
                    <a:pt x="60" y="32"/>
                  </a:lnTo>
                  <a:lnTo>
                    <a:pt x="65" y="31"/>
                  </a:lnTo>
                  <a:lnTo>
                    <a:pt x="66" y="15"/>
                  </a:lnTo>
                  <a:lnTo>
                    <a:pt x="55" y="10"/>
                  </a:lnTo>
                  <a:lnTo>
                    <a:pt x="44" y="0"/>
                  </a:lnTo>
                  <a:lnTo>
                    <a:pt x="4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 name="Benin">
              <a:extLst>
                <a:ext uri="{FF2B5EF4-FFF2-40B4-BE49-F238E27FC236}">
                  <a16:creationId xmlns:a16="http://schemas.microsoft.com/office/drawing/2014/main" id="{90B1268D-2E06-44D6-A790-3140FCDB8C7B}"/>
                </a:ext>
              </a:extLst>
            </p:cNvPr>
            <p:cNvSpPr>
              <a:spLocks/>
            </p:cNvSpPr>
            <p:nvPr/>
          </p:nvSpPr>
          <p:spPr bwMode="auto">
            <a:xfrm>
              <a:off x="6020594" y="3600223"/>
              <a:ext cx="101600" cy="230188"/>
            </a:xfrm>
            <a:custGeom>
              <a:avLst/>
              <a:gdLst>
                <a:gd name="T0" fmla="*/ 60 w 64"/>
                <a:gd name="T1" fmla="*/ 14 h 145"/>
                <a:gd name="T2" fmla="*/ 43 w 64"/>
                <a:gd name="T3" fmla="*/ 0 h 145"/>
                <a:gd name="T4" fmla="*/ 36 w 64"/>
                <a:gd name="T5" fmla="*/ 0 h 145"/>
                <a:gd name="T6" fmla="*/ 29 w 64"/>
                <a:gd name="T7" fmla="*/ 7 h 145"/>
                <a:gd name="T8" fmla="*/ 25 w 64"/>
                <a:gd name="T9" fmla="*/ 14 h 145"/>
                <a:gd name="T10" fmla="*/ 14 w 64"/>
                <a:gd name="T11" fmla="*/ 17 h 145"/>
                <a:gd name="T12" fmla="*/ 10 w 64"/>
                <a:gd name="T13" fmla="*/ 27 h 145"/>
                <a:gd name="T14" fmla="*/ 3 w 64"/>
                <a:gd name="T15" fmla="*/ 30 h 145"/>
                <a:gd name="T16" fmla="*/ 0 w 64"/>
                <a:gd name="T17" fmla="*/ 42 h 145"/>
                <a:gd name="T18" fmla="*/ 7 w 64"/>
                <a:gd name="T19" fmla="*/ 49 h 145"/>
                <a:gd name="T20" fmla="*/ 14 w 64"/>
                <a:gd name="T21" fmla="*/ 58 h 145"/>
                <a:gd name="T22" fmla="*/ 15 w 64"/>
                <a:gd name="T23" fmla="*/ 69 h 145"/>
                <a:gd name="T24" fmla="*/ 19 w 64"/>
                <a:gd name="T25" fmla="*/ 74 h 145"/>
                <a:gd name="T26" fmla="*/ 18 w 64"/>
                <a:gd name="T27" fmla="*/ 129 h 145"/>
                <a:gd name="T28" fmla="*/ 24 w 64"/>
                <a:gd name="T29" fmla="*/ 145 h 145"/>
                <a:gd name="T30" fmla="*/ 40 w 64"/>
                <a:gd name="T31" fmla="*/ 142 h 145"/>
                <a:gd name="T32" fmla="*/ 41 w 64"/>
                <a:gd name="T33" fmla="*/ 104 h 145"/>
                <a:gd name="T34" fmla="*/ 41 w 64"/>
                <a:gd name="T35" fmla="*/ 89 h 145"/>
                <a:gd name="T36" fmla="*/ 45 w 64"/>
                <a:gd name="T37" fmla="*/ 74 h 145"/>
                <a:gd name="T38" fmla="*/ 52 w 64"/>
                <a:gd name="T39" fmla="*/ 66 h 145"/>
                <a:gd name="T40" fmla="*/ 62 w 64"/>
                <a:gd name="T41" fmla="*/ 51 h 145"/>
                <a:gd name="T42" fmla="*/ 59 w 64"/>
                <a:gd name="T43" fmla="*/ 46 h 145"/>
                <a:gd name="T44" fmla="*/ 64 w 64"/>
                <a:gd name="T45" fmla="*/ 36 h 145"/>
                <a:gd name="T46" fmla="*/ 59 w 64"/>
                <a:gd name="T47" fmla="*/ 21 h 145"/>
                <a:gd name="T48" fmla="*/ 60 w 64"/>
                <a:gd name="T49" fmla="*/ 14 h 145"/>
                <a:gd name="T50" fmla="*/ 60 w 64"/>
                <a:gd name="T51" fmla="*/ 14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4" h="145">
                  <a:moveTo>
                    <a:pt x="60" y="14"/>
                  </a:moveTo>
                  <a:lnTo>
                    <a:pt x="43" y="0"/>
                  </a:lnTo>
                  <a:lnTo>
                    <a:pt x="36" y="0"/>
                  </a:lnTo>
                  <a:lnTo>
                    <a:pt x="29" y="7"/>
                  </a:lnTo>
                  <a:lnTo>
                    <a:pt x="25" y="14"/>
                  </a:lnTo>
                  <a:lnTo>
                    <a:pt x="14" y="17"/>
                  </a:lnTo>
                  <a:lnTo>
                    <a:pt x="10" y="27"/>
                  </a:lnTo>
                  <a:lnTo>
                    <a:pt x="3" y="30"/>
                  </a:lnTo>
                  <a:lnTo>
                    <a:pt x="0" y="42"/>
                  </a:lnTo>
                  <a:lnTo>
                    <a:pt x="7" y="49"/>
                  </a:lnTo>
                  <a:lnTo>
                    <a:pt x="14" y="58"/>
                  </a:lnTo>
                  <a:lnTo>
                    <a:pt x="15" y="69"/>
                  </a:lnTo>
                  <a:lnTo>
                    <a:pt x="19" y="74"/>
                  </a:lnTo>
                  <a:lnTo>
                    <a:pt x="18" y="129"/>
                  </a:lnTo>
                  <a:lnTo>
                    <a:pt x="24" y="145"/>
                  </a:lnTo>
                  <a:lnTo>
                    <a:pt x="40" y="142"/>
                  </a:lnTo>
                  <a:lnTo>
                    <a:pt x="41" y="104"/>
                  </a:lnTo>
                  <a:lnTo>
                    <a:pt x="41" y="89"/>
                  </a:lnTo>
                  <a:lnTo>
                    <a:pt x="45" y="74"/>
                  </a:lnTo>
                  <a:lnTo>
                    <a:pt x="52" y="66"/>
                  </a:lnTo>
                  <a:lnTo>
                    <a:pt x="62" y="51"/>
                  </a:lnTo>
                  <a:lnTo>
                    <a:pt x="59" y="46"/>
                  </a:lnTo>
                  <a:lnTo>
                    <a:pt x="64" y="36"/>
                  </a:lnTo>
                  <a:lnTo>
                    <a:pt x="59" y="21"/>
                  </a:lnTo>
                  <a:lnTo>
                    <a:pt x="60" y="14"/>
                  </a:lnTo>
                  <a:lnTo>
                    <a:pt x="60" y="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 name="Burkina Faso">
              <a:extLst>
                <a:ext uri="{FF2B5EF4-FFF2-40B4-BE49-F238E27FC236}">
                  <a16:creationId xmlns:a16="http://schemas.microsoft.com/office/drawing/2014/main" id="{46BEB12F-B856-4F4E-AC21-D0EDFDBD6205}"/>
                </a:ext>
              </a:extLst>
            </p:cNvPr>
            <p:cNvSpPr>
              <a:spLocks/>
            </p:cNvSpPr>
            <p:nvPr/>
          </p:nvSpPr>
          <p:spPr bwMode="auto">
            <a:xfrm>
              <a:off x="5814219" y="3492273"/>
              <a:ext cx="252412" cy="207963"/>
            </a:xfrm>
            <a:custGeom>
              <a:avLst/>
              <a:gdLst>
                <a:gd name="T0" fmla="*/ 122 w 159"/>
                <a:gd name="T1" fmla="*/ 5 h 131"/>
                <a:gd name="T2" fmla="*/ 109 w 159"/>
                <a:gd name="T3" fmla="*/ 5 h 131"/>
                <a:gd name="T4" fmla="*/ 103 w 159"/>
                <a:gd name="T5" fmla="*/ 0 h 131"/>
                <a:gd name="T6" fmla="*/ 92 w 159"/>
                <a:gd name="T7" fmla="*/ 4 h 131"/>
                <a:gd name="T8" fmla="*/ 72 w 159"/>
                <a:gd name="T9" fmla="*/ 13 h 131"/>
                <a:gd name="T10" fmla="*/ 69 w 159"/>
                <a:gd name="T11" fmla="*/ 20 h 131"/>
                <a:gd name="T12" fmla="*/ 53 w 159"/>
                <a:gd name="T13" fmla="*/ 32 h 131"/>
                <a:gd name="T14" fmla="*/ 50 w 159"/>
                <a:gd name="T15" fmla="*/ 37 h 131"/>
                <a:gd name="T16" fmla="*/ 41 w 159"/>
                <a:gd name="T17" fmla="*/ 42 h 131"/>
                <a:gd name="T18" fmla="*/ 31 w 159"/>
                <a:gd name="T19" fmla="*/ 39 h 131"/>
                <a:gd name="T20" fmla="*/ 25 w 159"/>
                <a:gd name="T21" fmla="*/ 45 h 131"/>
                <a:gd name="T22" fmla="*/ 22 w 159"/>
                <a:gd name="T23" fmla="*/ 61 h 131"/>
                <a:gd name="T24" fmla="*/ 5 w 159"/>
                <a:gd name="T25" fmla="*/ 80 h 131"/>
                <a:gd name="T26" fmla="*/ 6 w 159"/>
                <a:gd name="T27" fmla="*/ 89 h 131"/>
                <a:gd name="T28" fmla="*/ 0 w 159"/>
                <a:gd name="T29" fmla="*/ 99 h 131"/>
                <a:gd name="T30" fmla="*/ 1 w 159"/>
                <a:gd name="T31" fmla="*/ 113 h 131"/>
                <a:gd name="T32" fmla="*/ 11 w 159"/>
                <a:gd name="T33" fmla="*/ 117 h 131"/>
                <a:gd name="T34" fmla="*/ 15 w 159"/>
                <a:gd name="T35" fmla="*/ 126 h 131"/>
                <a:gd name="T36" fmla="*/ 24 w 159"/>
                <a:gd name="T37" fmla="*/ 131 h 131"/>
                <a:gd name="T38" fmla="*/ 31 w 159"/>
                <a:gd name="T39" fmla="*/ 125 h 131"/>
                <a:gd name="T40" fmla="*/ 41 w 159"/>
                <a:gd name="T41" fmla="*/ 124 h 131"/>
                <a:gd name="T42" fmla="*/ 56 w 159"/>
                <a:gd name="T43" fmla="*/ 130 h 131"/>
                <a:gd name="T44" fmla="*/ 52 w 159"/>
                <a:gd name="T45" fmla="*/ 112 h 131"/>
                <a:gd name="T46" fmla="*/ 53 w 159"/>
                <a:gd name="T47" fmla="*/ 99 h 131"/>
                <a:gd name="T48" fmla="*/ 89 w 159"/>
                <a:gd name="T49" fmla="*/ 97 h 131"/>
                <a:gd name="T50" fmla="*/ 99 w 159"/>
                <a:gd name="T51" fmla="*/ 99 h 131"/>
                <a:gd name="T52" fmla="*/ 105 w 159"/>
                <a:gd name="T53" fmla="*/ 95 h 131"/>
                <a:gd name="T54" fmla="*/ 114 w 159"/>
                <a:gd name="T55" fmla="*/ 97 h 131"/>
                <a:gd name="T56" fmla="*/ 133 w 159"/>
                <a:gd name="T57" fmla="*/ 98 h 131"/>
                <a:gd name="T58" fmla="*/ 140 w 159"/>
                <a:gd name="T59" fmla="*/ 95 h 131"/>
                <a:gd name="T60" fmla="*/ 144 w 159"/>
                <a:gd name="T61" fmla="*/ 85 h 131"/>
                <a:gd name="T62" fmla="*/ 155 w 159"/>
                <a:gd name="T63" fmla="*/ 82 h 131"/>
                <a:gd name="T64" fmla="*/ 159 w 159"/>
                <a:gd name="T65" fmla="*/ 75 h 131"/>
                <a:gd name="T66" fmla="*/ 159 w 159"/>
                <a:gd name="T67" fmla="*/ 59 h 131"/>
                <a:gd name="T68" fmla="*/ 136 w 159"/>
                <a:gd name="T69" fmla="*/ 54 h 131"/>
                <a:gd name="T70" fmla="*/ 135 w 159"/>
                <a:gd name="T71" fmla="*/ 42 h 131"/>
                <a:gd name="T72" fmla="*/ 123 w 159"/>
                <a:gd name="T73" fmla="*/ 27 h 131"/>
                <a:gd name="T74" fmla="*/ 120 w 159"/>
                <a:gd name="T75" fmla="*/ 16 h 131"/>
                <a:gd name="T76" fmla="*/ 122 w 159"/>
                <a:gd name="T77" fmla="*/ 5 h 131"/>
                <a:gd name="T78" fmla="*/ 122 w 159"/>
                <a:gd name="T79" fmla="*/ 5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59" h="131">
                  <a:moveTo>
                    <a:pt x="122" y="5"/>
                  </a:moveTo>
                  <a:lnTo>
                    <a:pt x="109" y="5"/>
                  </a:lnTo>
                  <a:lnTo>
                    <a:pt x="103" y="0"/>
                  </a:lnTo>
                  <a:lnTo>
                    <a:pt x="92" y="4"/>
                  </a:lnTo>
                  <a:lnTo>
                    <a:pt x="72" y="13"/>
                  </a:lnTo>
                  <a:lnTo>
                    <a:pt x="69" y="20"/>
                  </a:lnTo>
                  <a:lnTo>
                    <a:pt x="53" y="32"/>
                  </a:lnTo>
                  <a:lnTo>
                    <a:pt x="50" y="37"/>
                  </a:lnTo>
                  <a:lnTo>
                    <a:pt x="41" y="42"/>
                  </a:lnTo>
                  <a:lnTo>
                    <a:pt x="31" y="39"/>
                  </a:lnTo>
                  <a:lnTo>
                    <a:pt x="25" y="45"/>
                  </a:lnTo>
                  <a:lnTo>
                    <a:pt x="22" y="61"/>
                  </a:lnTo>
                  <a:lnTo>
                    <a:pt x="5" y="80"/>
                  </a:lnTo>
                  <a:lnTo>
                    <a:pt x="6" y="89"/>
                  </a:lnTo>
                  <a:lnTo>
                    <a:pt x="0" y="99"/>
                  </a:lnTo>
                  <a:lnTo>
                    <a:pt x="1" y="113"/>
                  </a:lnTo>
                  <a:lnTo>
                    <a:pt x="11" y="117"/>
                  </a:lnTo>
                  <a:lnTo>
                    <a:pt x="15" y="126"/>
                  </a:lnTo>
                  <a:lnTo>
                    <a:pt x="24" y="131"/>
                  </a:lnTo>
                  <a:lnTo>
                    <a:pt x="31" y="125"/>
                  </a:lnTo>
                  <a:lnTo>
                    <a:pt x="41" y="124"/>
                  </a:lnTo>
                  <a:lnTo>
                    <a:pt x="56" y="130"/>
                  </a:lnTo>
                  <a:lnTo>
                    <a:pt x="52" y="112"/>
                  </a:lnTo>
                  <a:lnTo>
                    <a:pt x="53" y="99"/>
                  </a:lnTo>
                  <a:lnTo>
                    <a:pt x="89" y="97"/>
                  </a:lnTo>
                  <a:lnTo>
                    <a:pt x="99" y="99"/>
                  </a:lnTo>
                  <a:lnTo>
                    <a:pt x="105" y="95"/>
                  </a:lnTo>
                  <a:lnTo>
                    <a:pt x="114" y="97"/>
                  </a:lnTo>
                  <a:lnTo>
                    <a:pt x="133" y="98"/>
                  </a:lnTo>
                  <a:lnTo>
                    <a:pt x="140" y="95"/>
                  </a:lnTo>
                  <a:lnTo>
                    <a:pt x="144" y="85"/>
                  </a:lnTo>
                  <a:lnTo>
                    <a:pt x="155" y="82"/>
                  </a:lnTo>
                  <a:lnTo>
                    <a:pt x="159" y="75"/>
                  </a:lnTo>
                  <a:lnTo>
                    <a:pt x="159" y="59"/>
                  </a:lnTo>
                  <a:lnTo>
                    <a:pt x="136" y="54"/>
                  </a:lnTo>
                  <a:lnTo>
                    <a:pt x="135" y="42"/>
                  </a:lnTo>
                  <a:lnTo>
                    <a:pt x="123" y="27"/>
                  </a:lnTo>
                  <a:lnTo>
                    <a:pt x="120" y="16"/>
                  </a:lnTo>
                  <a:lnTo>
                    <a:pt x="122" y="5"/>
                  </a:lnTo>
                  <a:lnTo>
                    <a:pt x="122"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 name="Bulgaria">
              <a:extLst>
                <a:ext uri="{FF2B5EF4-FFF2-40B4-BE49-F238E27FC236}">
                  <a16:creationId xmlns:a16="http://schemas.microsoft.com/office/drawing/2014/main" id="{C54EFF4F-98B5-4EB1-974C-2CDAB8AE9FE0}"/>
                </a:ext>
              </a:extLst>
            </p:cNvPr>
            <p:cNvSpPr>
              <a:spLocks/>
            </p:cNvSpPr>
            <p:nvPr/>
          </p:nvSpPr>
          <p:spPr bwMode="auto">
            <a:xfrm>
              <a:off x="6668294" y="2395312"/>
              <a:ext cx="185737" cy="109538"/>
            </a:xfrm>
            <a:custGeom>
              <a:avLst/>
              <a:gdLst>
                <a:gd name="T0" fmla="*/ 117 w 117"/>
                <a:gd name="T1" fmla="*/ 12 h 69"/>
                <a:gd name="T2" fmla="*/ 106 w 117"/>
                <a:gd name="T3" fmla="*/ 9 h 69"/>
                <a:gd name="T4" fmla="*/ 91 w 117"/>
                <a:gd name="T5" fmla="*/ 2 h 69"/>
                <a:gd name="T6" fmla="*/ 69 w 117"/>
                <a:gd name="T7" fmla="*/ 6 h 69"/>
                <a:gd name="T8" fmla="*/ 61 w 117"/>
                <a:gd name="T9" fmla="*/ 13 h 69"/>
                <a:gd name="T10" fmla="*/ 33 w 117"/>
                <a:gd name="T11" fmla="*/ 11 h 69"/>
                <a:gd name="T12" fmla="*/ 18 w 117"/>
                <a:gd name="T13" fmla="*/ 7 h 69"/>
                <a:gd name="T14" fmla="*/ 11 w 117"/>
                <a:gd name="T15" fmla="*/ 9 h 69"/>
                <a:gd name="T16" fmla="*/ 4 w 117"/>
                <a:gd name="T17" fmla="*/ 0 h 69"/>
                <a:gd name="T18" fmla="*/ 0 w 117"/>
                <a:gd name="T19" fmla="*/ 6 h 69"/>
                <a:gd name="T20" fmla="*/ 3 w 117"/>
                <a:gd name="T21" fmla="*/ 14 h 69"/>
                <a:gd name="T22" fmla="*/ 13 w 117"/>
                <a:gd name="T23" fmla="*/ 23 h 69"/>
                <a:gd name="T24" fmla="*/ 7 w 117"/>
                <a:gd name="T25" fmla="*/ 31 h 69"/>
                <a:gd name="T26" fmla="*/ 4 w 117"/>
                <a:gd name="T27" fmla="*/ 38 h 69"/>
                <a:gd name="T28" fmla="*/ 7 w 117"/>
                <a:gd name="T29" fmla="*/ 41 h 69"/>
                <a:gd name="T30" fmla="*/ 4 w 117"/>
                <a:gd name="T31" fmla="*/ 44 h 69"/>
                <a:gd name="T32" fmla="*/ 14 w 117"/>
                <a:gd name="T33" fmla="*/ 51 h 69"/>
                <a:gd name="T34" fmla="*/ 17 w 117"/>
                <a:gd name="T35" fmla="*/ 67 h 69"/>
                <a:gd name="T36" fmla="*/ 31 w 117"/>
                <a:gd name="T37" fmla="*/ 67 h 69"/>
                <a:gd name="T38" fmla="*/ 46 w 117"/>
                <a:gd name="T39" fmla="*/ 62 h 69"/>
                <a:gd name="T40" fmla="*/ 61 w 117"/>
                <a:gd name="T41" fmla="*/ 69 h 69"/>
                <a:gd name="T42" fmla="*/ 78 w 117"/>
                <a:gd name="T43" fmla="*/ 67 h 69"/>
                <a:gd name="T44" fmla="*/ 77 w 117"/>
                <a:gd name="T45" fmla="*/ 56 h 69"/>
                <a:gd name="T46" fmla="*/ 96 w 117"/>
                <a:gd name="T47" fmla="*/ 48 h 69"/>
                <a:gd name="T48" fmla="*/ 112 w 117"/>
                <a:gd name="T49" fmla="*/ 51 h 69"/>
                <a:gd name="T50" fmla="*/ 104 w 117"/>
                <a:gd name="T51" fmla="*/ 38 h 69"/>
                <a:gd name="T52" fmla="*/ 110 w 117"/>
                <a:gd name="T53" fmla="*/ 21 h 69"/>
                <a:gd name="T54" fmla="*/ 117 w 117"/>
                <a:gd name="T55" fmla="*/ 12 h 69"/>
                <a:gd name="T56" fmla="*/ 117 w 117"/>
                <a:gd name="T57" fmla="*/ 12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17" h="69">
                  <a:moveTo>
                    <a:pt x="117" y="12"/>
                  </a:moveTo>
                  <a:lnTo>
                    <a:pt x="106" y="9"/>
                  </a:lnTo>
                  <a:lnTo>
                    <a:pt x="91" y="2"/>
                  </a:lnTo>
                  <a:lnTo>
                    <a:pt x="69" y="6"/>
                  </a:lnTo>
                  <a:lnTo>
                    <a:pt x="61" y="13"/>
                  </a:lnTo>
                  <a:lnTo>
                    <a:pt x="33" y="11"/>
                  </a:lnTo>
                  <a:lnTo>
                    <a:pt x="18" y="7"/>
                  </a:lnTo>
                  <a:lnTo>
                    <a:pt x="11" y="9"/>
                  </a:lnTo>
                  <a:lnTo>
                    <a:pt x="4" y="0"/>
                  </a:lnTo>
                  <a:lnTo>
                    <a:pt x="0" y="6"/>
                  </a:lnTo>
                  <a:lnTo>
                    <a:pt x="3" y="14"/>
                  </a:lnTo>
                  <a:lnTo>
                    <a:pt x="13" y="23"/>
                  </a:lnTo>
                  <a:lnTo>
                    <a:pt x="7" y="31"/>
                  </a:lnTo>
                  <a:lnTo>
                    <a:pt x="4" y="38"/>
                  </a:lnTo>
                  <a:lnTo>
                    <a:pt x="7" y="41"/>
                  </a:lnTo>
                  <a:lnTo>
                    <a:pt x="4" y="44"/>
                  </a:lnTo>
                  <a:lnTo>
                    <a:pt x="14" y="51"/>
                  </a:lnTo>
                  <a:lnTo>
                    <a:pt x="17" y="67"/>
                  </a:lnTo>
                  <a:lnTo>
                    <a:pt x="31" y="67"/>
                  </a:lnTo>
                  <a:lnTo>
                    <a:pt x="46" y="62"/>
                  </a:lnTo>
                  <a:lnTo>
                    <a:pt x="61" y="69"/>
                  </a:lnTo>
                  <a:lnTo>
                    <a:pt x="78" y="67"/>
                  </a:lnTo>
                  <a:lnTo>
                    <a:pt x="77" y="56"/>
                  </a:lnTo>
                  <a:lnTo>
                    <a:pt x="96" y="48"/>
                  </a:lnTo>
                  <a:lnTo>
                    <a:pt x="112" y="51"/>
                  </a:lnTo>
                  <a:lnTo>
                    <a:pt x="104" y="38"/>
                  </a:lnTo>
                  <a:lnTo>
                    <a:pt x="110" y="21"/>
                  </a:lnTo>
                  <a:lnTo>
                    <a:pt x="117" y="12"/>
                  </a:lnTo>
                  <a:lnTo>
                    <a:pt x="117"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 name="Bosnia and Herzegovina">
              <a:extLst>
                <a:ext uri="{FF2B5EF4-FFF2-40B4-BE49-F238E27FC236}">
                  <a16:creationId xmlns:a16="http://schemas.microsoft.com/office/drawing/2014/main" id="{A9B48D8E-626F-42EF-A7A2-1C84F19D150A}"/>
                </a:ext>
              </a:extLst>
            </p:cNvPr>
            <p:cNvSpPr>
              <a:spLocks/>
            </p:cNvSpPr>
            <p:nvPr/>
          </p:nvSpPr>
          <p:spPr bwMode="auto">
            <a:xfrm>
              <a:off x="6465094" y="2360386"/>
              <a:ext cx="119062" cy="92075"/>
            </a:xfrm>
            <a:custGeom>
              <a:avLst/>
              <a:gdLst>
                <a:gd name="T0" fmla="*/ 24 w 75"/>
                <a:gd name="T1" fmla="*/ 0 h 58"/>
                <a:gd name="T2" fmla="*/ 15 w 75"/>
                <a:gd name="T3" fmla="*/ 0 h 58"/>
                <a:gd name="T4" fmla="*/ 12 w 75"/>
                <a:gd name="T5" fmla="*/ 4 h 58"/>
                <a:gd name="T6" fmla="*/ 4 w 75"/>
                <a:gd name="T7" fmla="*/ 0 h 58"/>
                <a:gd name="T8" fmla="*/ 0 w 75"/>
                <a:gd name="T9" fmla="*/ 9 h 58"/>
                <a:gd name="T10" fmla="*/ 11 w 75"/>
                <a:gd name="T11" fmla="*/ 19 h 58"/>
                <a:gd name="T12" fmla="*/ 15 w 75"/>
                <a:gd name="T13" fmla="*/ 27 h 58"/>
                <a:gd name="T14" fmla="*/ 25 w 75"/>
                <a:gd name="T15" fmla="*/ 35 h 58"/>
                <a:gd name="T16" fmla="*/ 32 w 75"/>
                <a:gd name="T17" fmla="*/ 41 h 58"/>
                <a:gd name="T18" fmla="*/ 41 w 75"/>
                <a:gd name="T19" fmla="*/ 50 h 58"/>
                <a:gd name="T20" fmla="*/ 58 w 75"/>
                <a:gd name="T21" fmla="*/ 58 h 58"/>
                <a:gd name="T22" fmla="*/ 60 w 75"/>
                <a:gd name="T23" fmla="*/ 46 h 58"/>
                <a:gd name="T24" fmla="*/ 66 w 75"/>
                <a:gd name="T25" fmla="*/ 41 h 58"/>
                <a:gd name="T26" fmla="*/ 69 w 75"/>
                <a:gd name="T27" fmla="*/ 39 h 58"/>
                <a:gd name="T28" fmla="*/ 73 w 75"/>
                <a:gd name="T29" fmla="*/ 37 h 58"/>
                <a:gd name="T30" fmla="*/ 75 w 75"/>
                <a:gd name="T31" fmla="*/ 27 h 58"/>
                <a:gd name="T32" fmla="*/ 65 w 75"/>
                <a:gd name="T33" fmla="*/ 18 h 58"/>
                <a:gd name="T34" fmla="*/ 69 w 75"/>
                <a:gd name="T35" fmla="*/ 8 h 58"/>
                <a:gd name="T36" fmla="*/ 62 w 75"/>
                <a:gd name="T37" fmla="*/ 8 h 58"/>
                <a:gd name="T38" fmla="*/ 62 w 75"/>
                <a:gd name="T39" fmla="*/ 8 h 58"/>
                <a:gd name="T40" fmla="*/ 53 w 75"/>
                <a:gd name="T41" fmla="*/ 2 h 58"/>
                <a:gd name="T42" fmla="*/ 40 w 75"/>
                <a:gd name="T43" fmla="*/ 3 h 58"/>
                <a:gd name="T44" fmla="*/ 24 w 75"/>
                <a:gd name="T45" fmla="*/ 0 h 58"/>
                <a:gd name="T46" fmla="*/ 24 w 75"/>
                <a:gd name="T47" fmla="*/ 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75" h="58">
                  <a:moveTo>
                    <a:pt x="24" y="0"/>
                  </a:moveTo>
                  <a:lnTo>
                    <a:pt x="15" y="0"/>
                  </a:lnTo>
                  <a:lnTo>
                    <a:pt x="12" y="4"/>
                  </a:lnTo>
                  <a:lnTo>
                    <a:pt x="4" y="0"/>
                  </a:lnTo>
                  <a:lnTo>
                    <a:pt x="0" y="9"/>
                  </a:lnTo>
                  <a:lnTo>
                    <a:pt x="11" y="19"/>
                  </a:lnTo>
                  <a:lnTo>
                    <a:pt x="15" y="27"/>
                  </a:lnTo>
                  <a:lnTo>
                    <a:pt x="25" y="35"/>
                  </a:lnTo>
                  <a:lnTo>
                    <a:pt x="32" y="41"/>
                  </a:lnTo>
                  <a:lnTo>
                    <a:pt x="41" y="50"/>
                  </a:lnTo>
                  <a:lnTo>
                    <a:pt x="58" y="58"/>
                  </a:lnTo>
                  <a:lnTo>
                    <a:pt x="60" y="46"/>
                  </a:lnTo>
                  <a:lnTo>
                    <a:pt x="66" y="41"/>
                  </a:lnTo>
                  <a:lnTo>
                    <a:pt x="69" y="39"/>
                  </a:lnTo>
                  <a:lnTo>
                    <a:pt x="73" y="37"/>
                  </a:lnTo>
                  <a:lnTo>
                    <a:pt x="75" y="27"/>
                  </a:lnTo>
                  <a:lnTo>
                    <a:pt x="65" y="18"/>
                  </a:lnTo>
                  <a:lnTo>
                    <a:pt x="69" y="8"/>
                  </a:lnTo>
                  <a:lnTo>
                    <a:pt x="62" y="8"/>
                  </a:lnTo>
                  <a:lnTo>
                    <a:pt x="62" y="8"/>
                  </a:lnTo>
                  <a:lnTo>
                    <a:pt x="53" y="2"/>
                  </a:lnTo>
                  <a:lnTo>
                    <a:pt x="40" y="3"/>
                  </a:lnTo>
                  <a:lnTo>
                    <a:pt x="24" y="0"/>
                  </a:lnTo>
                  <a:lnTo>
                    <a:pt x="2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 name="Belarus">
              <a:extLst>
                <a:ext uri="{FF2B5EF4-FFF2-40B4-BE49-F238E27FC236}">
                  <a16:creationId xmlns:a16="http://schemas.microsoft.com/office/drawing/2014/main" id="{EA1EDA3A-2688-4FF4-9291-5628C4D89D95}"/>
                </a:ext>
              </a:extLst>
            </p:cNvPr>
            <p:cNvSpPr>
              <a:spLocks/>
            </p:cNvSpPr>
            <p:nvPr/>
          </p:nvSpPr>
          <p:spPr bwMode="auto">
            <a:xfrm>
              <a:off x="6654006" y="1961923"/>
              <a:ext cx="263525" cy="174625"/>
            </a:xfrm>
            <a:custGeom>
              <a:avLst/>
              <a:gdLst>
                <a:gd name="T0" fmla="*/ 93 w 166"/>
                <a:gd name="T1" fmla="*/ 6 h 110"/>
                <a:gd name="T2" fmla="*/ 74 w 166"/>
                <a:gd name="T3" fmla="*/ 0 h 110"/>
                <a:gd name="T4" fmla="*/ 57 w 166"/>
                <a:gd name="T5" fmla="*/ 9 h 110"/>
                <a:gd name="T6" fmla="*/ 48 w 166"/>
                <a:gd name="T7" fmla="*/ 12 h 110"/>
                <a:gd name="T8" fmla="*/ 50 w 166"/>
                <a:gd name="T9" fmla="*/ 22 h 110"/>
                <a:gd name="T10" fmla="*/ 37 w 166"/>
                <a:gd name="T11" fmla="*/ 29 h 110"/>
                <a:gd name="T12" fmla="*/ 35 w 166"/>
                <a:gd name="T13" fmla="*/ 42 h 110"/>
                <a:gd name="T14" fmla="*/ 18 w 166"/>
                <a:gd name="T15" fmla="*/ 51 h 110"/>
                <a:gd name="T16" fmla="*/ 1 w 166"/>
                <a:gd name="T17" fmla="*/ 51 h 110"/>
                <a:gd name="T18" fmla="*/ 3 w 166"/>
                <a:gd name="T19" fmla="*/ 60 h 110"/>
                <a:gd name="T20" fmla="*/ 9 w 166"/>
                <a:gd name="T21" fmla="*/ 69 h 110"/>
                <a:gd name="T22" fmla="*/ 10 w 166"/>
                <a:gd name="T23" fmla="*/ 78 h 110"/>
                <a:gd name="T24" fmla="*/ 0 w 166"/>
                <a:gd name="T25" fmla="*/ 82 h 110"/>
                <a:gd name="T26" fmla="*/ 7 w 166"/>
                <a:gd name="T27" fmla="*/ 94 h 110"/>
                <a:gd name="T28" fmla="*/ 9 w 166"/>
                <a:gd name="T29" fmla="*/ 103 h 110"/>
                <a:gd name="T30" fmla="*/ 18 w 166"/>
                <a:gd name="T31" fmla="*/ 102 h 110"/>
                <a:gd name="T32" fmla="*/ 26 w 166"/>
                <a:gd name="T33" fmla="*/ 96 h 110"/>
                <a:gd name="T34" fmla="*/ 40 w 166"/>
                <a:gd name="T35" fmla="*/ 96 h 110"/>
                <a:gd name="T36" fmla="*/ 59 w 166"/>
                <a:gd name="T37" fmla="*/ 97 h 110"/>
                <a:gd name="T38" fmla="*/ 79 w 166"/>
                <a:gd name="T39" fmla="*/ 103 h 110"/>
                <a:gd name="T40" fmla="*/ 94 w 166"/>
                <a:gd name="T41" fmla="*/ 103 h 110"/>
                <a:gd name="T42" fmla="*/ 102 w 166"/>
                <a:gd name="T43" fmla="*/ 107 h 110"/>
                <a:gd name="T44" fmla="*/ 107 w 166"/>
                <a:gd name="T45" fmla="*/ 103 h 110"/>
                <a:gd name="T46" fmla="*/ 113 w 166"/>
                <a:gd name="T47" fmla="*/ 109 h 110"/>
                <a:gd name="T48" fmla="*/ 129 w 166"/>
                <a:gd name="T49" fmla="*/ 107 h 110"/>
                <a:gd name="T50" fmla="*/ 136 w 166"/>
                <a:gd name="T51" fmla="*/ 110 h 110"/>
                <a:gd name="T52" fmla="*/ 135 w 166"/>
                <a:gd name="T53" fmla="*/ 97 h 110"/>
                <a:gd name="T54" fmla="*/ 140 w 166"/>
                <a:gd name="T55" fmla="*/ 93 h 110"/>
                <a:gd name="T56" fmla="*/ 156 w 166"/>
                <a:gd name="T57" fmla="*/ 92 h 110"/>
                <a:gd name="T58" fmla="*/ 156 w 166"/>
                <a:gd name="T59" fmla="*/ 92 h 110"/>
                <a:gd name="T60" fmla="*/ 148 w 166"/>
                <a:gd name="T61" fmla="*/ 77 h 110"/>
                <a:gd name="T62" fmla="*/ 143 w 166"/>
                <a:gd name="T63" fmla="*/ 69 h 110"/>
                <a:gd name="T64" fmla="*/ 146 w 166"/>
                <a:gd name="T65" fmla="*/ 68 h 110"/>
                <a:gd name="T66" fmla="*/ 160 w 166"/>
                <a:gd name="T67" fmla="*/ 68 h 110"/>
                <a:gd name="T68" fmla="*/ 166 w 166"/>
                <a:gd name="T69" fmla="*/ 63 h 110"/>
                <a:gd name="T70" fmla="*/ 160 w 166"/>
                <a:gd name="T71" fmla="*/ 57 h 110"/>
                <a:gd name="T72" fmla="*/ 147 w 166"/>
                <a:gd name="T73" fmla="*/ 53 h 110"/>
                <a:gd name="T74" fmla="*/ 148 w 166"/>
                <a:gd name="T75" fmla="*/ 49 h 110"/>
                <a:gd name="T76" fmla="*/ 139 w 166"/>
                <a:gd name="T77" fmla="*/ 45 h 110"/>
                <a:gd name="T78" fmla="*/ 125 w 166"/>
                <a:gd name="T79" fmla="*/ 30 h 110"/>
                <a:gd name="T80" fmla="*/ 128 w 166"/>
                <a:gd name="T81" fmla="*/ 25 h 110"/>
                <a:gd name="T82" fmla="*/ 124 w 166"/>
                <a:gd name="T83" fmla="*/ 13 h 110"/>
                <a:gd name="T84" fmla="*/ 105 w 166"/>
                <a:gd name="T85" fmla="*/ 8 h 110"/>
                <a:gd name="T86" fmla="*/ 97 w 166"/>
                <a:gd name="T87" fmla="*/ 11 h 110"/>
                <a:gd name="T88" fmla="*/ 93 w 166"/>
                <a:gd name="T89" fmla="*/ 6 h 110"/>
                <a:gd name="T90" fmla="*/ 93 w 166"/>
                <a:gd name="T91" fmla="*/ 6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66" h="110">
                  <a:moveTo>
                    <a:pt x="93" y="6"/>
                  </a:moveTo>
                  <a:lnTo>
                    <a:pt x="74" y="0"/>
                  </a:lnTo>
                  <a:lnTo>
                    <a:pt x="57" y="9"/>
                  </a:lnTo>
                  <a:lnTo>
                    <a:pt x="48" y="12"/>
                  </a:lnTo>
                  <a:lnTo>
                    <a:pt x="50" y="22"/>
                  </a:lnTo>
                  <a:lnTo>
                    <a:pt x="37" y="29"/>
                  </a:lnTo>
                  <a:lnTo>
                    <a:pt x="35" y="42"/>
                  </a:lnTo>
                  <a:lnTo>
                    <a:pt x="18" y="51"/>
                  </a:lnTo>
                  <a:lnTo>
                    <a:pt x="1" y="51"/>
                  </a:lnTo>
                  <a:lnTo>
                    <a:pt x="3" y="60"/>
                  </a:lnTo>
                  <a:lnTo>
                    <a:pt x="9" y="69"/>
                  </a:lnTo>
                  <a:lnTo>
                    <a:pt x="10" y="78"/>
                  </a:lnTo>
                  <a:lnTo>
                    <a:pt x="0" y="82"/>
                  </a:lnTo>
                  <a:lnTo>
                    <a:pt x="7" y="94"/>
                  </a:lnTo>
                  <a:lnTo>
                    <a:pt x="9" y="103"/>
                  </a:lnTo>
                  <a:lnTo>
                    <a:pt x="18" y="102"/>
                  </a:lnTo>
                  <a:lnTo>
                    <a:pt x="26" y="96"/>
                  </a:lnTo>
                  <a:lnTo>
                    <a:pt x="40" y="96"/>
                  </a:lnTo>
                  <a:lnTo>
                    <a:pt x="59" y="97"/>
                  </a:lnTo>
                  <a:lnTo>
                    <a:pt x="79" y="103"/>
                  </a:lnTo>
                  <a:lnTo>
                    <a:pt x="94" y="103"/>
                  </a:lnTo>
                  <a:lnTo>
                    <a:pt x="102" y="107"/>
                  </a:lnTo>
                  <a:lnTo>
                    <a:pt x="107" y="103"/>
                  </a:lnTo>
                  <a:lnTo>
                    <a:pt x="113" y="109"/>
                  </a:lnTo>
                  <a:lnTo>
                    <a:pt x="129" y="107"/>
                  </a:lnTo>
                  <a:lnTo>
                    <a:pt x="136" y="110"/>
                  </a:lnTo>
                  <a:lnTo>
                    <a:pt x="135" y="97"/>
                  </a:lnTo>
                  <a:lnTo>
                    <a:pt x="140" y="93"/>
                  </a:lnTo>
                  <a:lnTo>
                    <a:pt x="156" y="92"/>
                  </a:lnTo>
                  <a:lnTo>
                    <a:pt x="156" y="92"/>
                  </a:lnTo>
                  <a:lnTo>
                    <a:pt x="148" y="77"/>
                  </a:lnTo>
                  <a:lnTo>
                    <a:pt x="143" y="69"/>
                  </a:lnTo>
                  <a:lnTo>
                    <a:pt x="146" y="68"/>
                  </a:lnTo>
                  <a:lnTo>
                    <a:pt x="160" y="68"/>
                  </a:lnTo>
                  <a:lnTo>
                    <a:pt x="166" y="63"/>
                  </a:lnTo>
                  <a:lnTo>
                    <a:pt x="160" y="57"/>
                  </a:lnTo>
                  <a:lnTo>
                    <a:pt x="147" y="53"/>
                  </a:lnTo>
                  <a:lnTo>
                    <a:pt x="148" y="49"/>
                  </a:lnTo>
                  <a:lnTo>
                    <a:pt x="139" y="45"/>
                  </a:lnTo>
                  <a:lnTo>
                    <a:pt x="125" y="30"/>
                  </a:lnTo>
                  <a:lnTo>
                    <a:pt x="128" y="25"/>
                  </a:lnTo>
                  <a:lnTo>
                    <a:pt x="124" y="13"/>
                  </a:lnTo>
                  <a:lnTo>
                    <a:pt x="105" y="8"/>
                  </a:lnTo>
                  <a:lnTo>
                    <a:pt x="97" y="11"/>
                  </a:lnTo>
                  <a:lnTo>
                    <a:pt x="93" y="6"/>
                  </a:lnTo>
                  <a:lnTo>
                    <a:pt x="93"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 name="Belize">
              <a:extLst>
                <a:ext uri="{FF2B5EF4-FFF2-40B4-BE49-F238E27FC236}">
                  <a16:creationId xmlns:a16="http://schemas.microsoft.com/office/drawing/2014/main" id="{BCB15291-27BA-4353-BDE4-3CCFCBE6E00A}"/>
                </a:ext>
              </a:extLst>
            </p:cNvPr>
            <p:cNvSpPr>
              <a:spLocks/>
            </p:cNvSpPr>
            <p:nvPr/>
          </p:nvSpPr>
          <p:spPr bwMode="auto">
            <a:xfrm>
              <a:off x="3056731" y="3365273"/>
              <a:ext cx="47625" cy="96838"/>
            </a:xfrm>
            <a:custGeom>
              <a:avLst/>
              <a:gdLst>
                <a:gd name="T0" fmla="*/ 6 w 30"/>
                <a:gd name="T1" fmla="*/ 61 h 61"/>
                <a:gd name="T2" fmla="*/ 11 w 30"/>
                <a:gd name="T3" fmla="*/ 54 h 61"/>
                <a:gd name="T4" fmla="*/ 15 w 30"/>
                <a:gd name="T5" fmla="*/ 53 h 61"/>
                <a:gd name="T6" fmla="*/ 20 w 30"/>
                <a:gd name="T7" fmla="*/ 46 h 61"/>
                <a:gd name="T8" fmla="*/ 23 w 30"/>
                <a:gd name="T9" fmla="*/ 34 h 61"/>
                <a:gd name="T10" fmla="*/ 22 w 30"/>
                <a:gd name="T11" fmla="*/ 32 h 61"/>
                <a:gd name="T12" fmla="*/ 25 w 30"/>
                <a:gd name="T13" fmla="*/ 24 h 61"/>
                <a:gd name="T14" fmla="*/ 24 w 30"/>
                <a:gd name="T15" fmla="*/ 20 h 61"/>
                <a:gd name="T16" fmla="*/ 29 w 30"/>
                <a:gd name="T17" fmla="*/ 10 h 61"/>
                <a:gd name="T18" fmla="*/ 30 w 30"/>
                <a:gd name="T19" fmla="*/ 3 h 61"/>
                <a:gd name="T20" fmla="*/ 26 w 30"/>
                <a:gd name="T21" fmla="*/ 3 h 61"/>
                <a:gd name="T22" fmla="*/ 26 w 30"/>
                <a:gd name="T23" fmla="*/ 0 h 61"/>
                <a:gd name="T24" fmla="*/ 22 w 30"/>
                <a:gd name="T25" fmla="*/ 0 h 61"/>
                <a:gd name="T26" fmla="*/ 13 w 30"/>
                <a:gd name="T27" fmla="*/ 14 h 61"/>
                <a:gd name="T28" fmla="*/ 9 w 30"/>
                <a:gd name="T29" fmla="*/ 11 h 61"/>
                <a:gd name="T30" fmla="*/ 7 w 30"/>
                <a:gd name="T31" fmla="*/ 13 h 61"/>
                <a:gd name="T32" fmla="*/ 7 w 30"/>
                <a:gd name="T33" fmla="*/ 16 h 61"/>
                <a:gd name="T34" fmla="*/ 4 w 30"/>
                <a:gd name="T35" fmla="*/ 35 h 61"/>
                <a:gd name="T36" fmla="*/ 0 w 30"/>
                <a:gd name="T37" fmla="*/ 61 h 61"/>
                <a:gd name="T38" fmla="*/ 6 w 30"/>
                <a:gd name="T39" fmla="*/ 61 h 61"/>
                <a:gd name="T40" fmla="*/ 6 w 30"/>
                <a:gd name="T41" fmla="*/ 61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0" h="61">
                  <a:moveTo>
                    <a:pt x="6" y="61"/>
                  </a:moveTo>
                  <a:lnTo>
                    <a:pt x="11" y="54"/>
                  </a:lnTo>
                  <a:lnTo>
                    <a:pt x="15" y="53"/>
                  </a:lnTo>
                  <a:lnTo>
                    <a:pt x="20" y="46"/>
                  </a:lnTo>
                  <a:lnTo>
                    <a:pt x="23" y="34"/>
                  </a:lnTo>
                  <a:lnTo>
                    <a:pt x="22" y="32"/>
                  </a:lnTo>
                  <a:lnTo>
                    <a:pt x="25" y="24"/>
                  </a:lnTo>
                  <a:lnTo>
                    <a:pt x="24" y="20"/>
                  </a:lnTo>
                  <a:lnTo>
                    <a:pt x="29" y="10"/>
                  </a:lnTo>
                  <a:lnTo>
                    <a:pt x="30" y="3"/>
                  </a:lnTo>
                  <a:lnTo>
                    <a:pt x="26" y="3"/>
                  </a:lnTo>
                  <a:lnTo>
                    <a:pt x="26" y="0"/>
                  </a:lnTo>
                  <a:lnTo>
                    <a:pt x="22" y="0"/>
                  </a:lnTo>
                  <a:lnTo>
                    <a:pt x="13" y="14"/>
                  </a:lnTo>
                  <a:lnTo>
                    <a:pt x="9" y="11"/>
                  </a:lnTo>
                  <a:lnTo>
                    <a:pt x="7" y="13"/>
                  </a:lnTo>
                  <a:lnTo>
                    <a:pt x="7" y="16"/>
                  </a:lnTo>
                  <a:lnTo>
                    <a:pt x="4" y="35"/>
                  </a:lnTo>
                  <a:lnTo>
                    <a:pt x="0" y="61"/>
                  </a:lnTo>
                  <a:lnTo>
                    <a:pt x="6" y="61"/>
                  </a:lnTo>
                  <a:lnTo>
                    <a:pt x="6" y="6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2" name="Bolivia">
              <a:extLst>
                <a:ext uri="{FF2B5EF4-FFF2-40B4-BE49-F238E27FC236}">
                  <a16:creationId xmlns:a16="http://schemas.microsoft.com/office/drawing/2014/main" id="{E0DF4B28-3636-4A4B-BBC0-2DA186B56DD7}"/>
                </a:ext>
              </a:extLst>
            </p:cNvPr>
            <p:cNvSpPr>
              <a:spLocks/>
            </p:cNvSpPr>
            <p:nvPr/>
          </p:nvSpPr>
          <p:spPr bwMode="auto">
            <a:xfrm>
              <a:off x="3691731" y="4430486"/>
              <a:ext cx="415925" cy="495300"/>
            </a:xfrm>
            <a:custGeom>
              <a:avLst/>
              <a:gdLst>
                <a:gd name="T0" fmla="*/ 253 w 262"/>
                <a:gd name="T1" fmla="*/ 247 h 312"/>
                <a:gd name="T2" fmla="*/ 258 w 262"/>
                <a:gd name="T3" fmla="*/ 243 h 312"/>
                <a:gd name="T4" fmla="*/ 255 w 262"/>
                <a:gd name="T5" fmla="*/ 229 h 312"/>
                <a:gd name="T6" fmla="*/ 260 w 262"/>
                <a:gd name="T7" fmla="*/ 218 h 312"/>
                <a:gd name="T8" fmla="*/ 262 w 262"/>
                <a:gd name="T9" fmla="*/ 200 h 312"/>
                <a:gd name="T10" fmla="*/ 256 w 262"/>
                <a:gd name="T11" fmla="*/ 185 h 312"/>
                <a:gd name="T12" fmla="*/ 244 w 262"/>
                <a:gd name="T13" fmla="*/ 178 h 312"/>
                <a:gd name="T14" fmla="*/ 241 w 262"/>
                <a:gd name="T15" fmla="*/ 169 h 312"/>
                <a:gd name="T16" fmla="*/ 243 w 262"/>
                <a:gd name="T17" fmla="*/ 156 h 312"/>
                <a:gd name="T18" fmla="*/ 203 w 262"/>
                <a:gd name="T19" fmla="*/ 154 h 312"/>
                <a:gd name="T20" fmla="*/ 194 w 262"/>
                <a:gd name="T21" fmla="*/ 127 h 312"/>
                <a:gd name="T22" fmla="*/ 199 w 262"/>
                <a:gd name="T23" fmla="*/ 126 h 312"/>
                <a:gd name="T24" fmla="*/ 198 w 262"/>
                <a:gd name="T25" fmla="*/ 116 h 312"/>
                <a:gd name="T26" fmla="*/ 194 w 262"/>
                <a:gd name="T27" fmla="*/ 109 h 312"/>
                <a:gd name="T28" fmla="*/ 192 w 262"/>
                <a:gd name="T29" fmla="*/ 95 h 312"/>
                <a:gd name="T30" fmla="*/ 180 w 262"/>
                <a:gd name="T31" fmla="*/ 89 h 312"/>
                <a:gd name="T32" fmla="*/ 167 w 262"/>
                <a:gd name="T33" fmla="*/ 89 h 312"/>
                <a:gd name="T34" fmla="*/ 157 w 262"/>
                <a:gd name="T35" fmla="*/ 81 h 312"/>
                <a:gd name="T36" fmla="*/ 143 w 262"/>
                <a:gd name="T37" fmla="*/ 77 h 312"/>
                <a:gd name="T38" fmla="*/ 134 w 262"/>
                <a:gd name="T39" fmla="*/ 68 h 312"/>
                <a:gd name="T40" fmla="*/ 111 w 262"/>
                <a:gd name="T41" fmla="*/ 64 h 312"/>
                <a:gd name="T42" fmla="*/ 86 w 262"/>
                <a:gd name="T43" fmla="*/ 43 h 312"/>
                <a:gd name="T44" fmla="*/ 87 w 262"/>
                <a:gd name="T45" fmla="*/ 27 h 312"/>
                <a:gd name="T46" fmla="*/ 85 w 262"/>
                <a:gd name="T47" fmla="*/ 18 h 312"/>
                <a:gd name="T48" fmla="*/ 85 w 262"/>
                <a:gd name="T49" fmla="*/ 0 h 312"/>
                <a:gd name="T50" fmla="*/ 58 w 262"/>
                <a:gd name="T51" fmla="*/ 5 h 312"/>
                <a:gd name="T52" fmla="*/ 48 w 262"/>
                <a:gd name="T53" fmla="*/ 13 h 312"/>
                <a:gd name="T54" fmla="*/ 30 w 262"/>
                <a:gd name="T55" fmla="*/ 22 h 312"/>
                <a:gd name="T56" fmla="*/ 26 w 262"/>
                <a:gd name="T57" fmla="*/ 30 h 312"/>
                <a:gd name="T58" fmla="*/ 15 w 262"/>
                <a:gd name="T59" fmla="*/ 31 h 312"/>
                <a:gd name="T60" fmla="*/ 0 w 262"/>
                <a:gd name="T61" fmla="*/ 28 h 312"/>
                <a:gd name="T62" fmla="*/ 20 w 262"/>
                <a:gd name="T63" fmla="*/ 66 h 312"/>
                <a:gd name="T64" fmla="*/ 16 w 262"/>
                <a:gd name="T65" fmla="*/ 75 h 312"/>
                <a:gd name="T66" fmla="*/ 16 w 262"/>
                <a:gd name="T67" fmla="*/ 91 h 312"/>
                <a:gd name="T68" fmla="*/ 17 w 262"/>
                <a:gd name="T69" fmla="*/ 111 h 312"/>
                <a:gd name="T70" fmla="*/ 11 w 262"/>
                <a:gd name="T71" fmla="*/ 123 h 312"/>
                <a:gd name="T72" fmla="*/ 15 w 262"/>
                <a:gd name="T73" fmla="*/ 132 h 312"/>
                <a:gd name="T74" fmla="*/ 11 w 262"/>
                <a:gd name="T75" fmla="*/ 140 h 312"/>
                <a:gd name="T76" fmla="*/ 21 w 262"/>
                <a:gd name="T77" fmla="*/ 160 h 312"/>
                <a:gd name="T78" fmla="*/ 11 w 262"/>
                <a:gd name="T79" fmla="*/ 186 h 312"/>
                <a:gd name="T80" fmla="*/ 22 w 262"/>
                <a:gd name="T81" fmla="*/ 202 h 312"/>
                <a:gd name="T82" fmla="*/ 27 w 262"/>
                <a:gd name="T83" fmla="*/ 219 h 312"/>
                <a:gd name="T84" fmla="*/ 39 w 262"/>
                <a:gd name="T85" fmla="*/ 229 h 312"/>
                <a:gd name="T86" fmla="*/ 35 w 262"/>
                <a:gd name="T87" fmla="*/ 252 h 312"/>
                <a:gd name="T88" fmla="*/ 48 w 262"/>
                <a:gd name="T89" fmla="*/ 279 h 312"/>
                <a:gd name="T90" fmla="*/ 60 w 262"/>
                <a:gd name="T91" fmla="*/ 312 h 312"/>
                <a:gd name="T92" fmla="*/ 74 w 262"/>
                <a:gd name="T93" fmla="*/ 308 h 312"/>
                <a:gd name="T94" fmla="*/ 89 w 262"/>
                <a:gd name="T95" fmla="*/ 286 h 312"/>
                <a:gd name="T96" fmla="*/ 117 w 262"/>
                <a:gd name="T97" fmla="*/ 292 h 312"/>
                <a:gd name="T98" fmla="*/ 130 w 262"/>
                <a:gd name="T99" fmla="*/ 310 h 312"/>
                <a:gd name="T100" fmla="*/ 137 w 262"/>
                <a:gd name="T101" fmla="*/ 290 h 312"/>
                <a:gd name="T102" fmla="*/ 160 w 262"/>
                <a:gd name="T103" fmla="*/ 292 h 312"/>
                <a:gd name="T104" fmla="*/ 164 w 262"/>
                <a:gd name="T105" fmla="*/ 297 h 312"/>
                <a:gd name="T106" fmla="*/ 170 w 262"/>
                <a:gd name="T107" fmla="*/ 268 h 312"/>
                <a:gd name="T108" fmla="*/ 169 w 262"/>
                <a:gd name="T109" fmla="*/ 256 h 312"/>
                <a:gd name="T110" fmla="*/ 177 w 262"/>
                <a:gd name="T111" fmla="*/ 234 h 312"/>
                <a:gd name="T112" fmla="*/ 212 w 262"/>
                <a:gd name="T113" fmla="*/ 228 h 312"/>
                <a:gd name="T114" fmla="*/ 231 w 262"/>
                <a:gd name="T115" fmla="*/ 228 h 312"/>
                <a:gd name="T116" fmla="*/ 252 w 262"/>
                <a:gd name="T117" fmla="*/ 240 h 312"/>
                <a:gd name="T118" fmla="*/ 253 w 262"/>
                <a:gd name="T119" fmla="*/ 247 h 312"/>
                <a:gd name="T120" fmla="*/ 253 w 262"/>
                <a:gd name="T121" fmla="*/ 247 h 3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62" h="312">
                  <a:moveTo>
                    <a:pt x="253" y="247"/>
                  </a:moveTo>
                  <a:lnTo>
                    <a:pt x="258" y="243"/>
                  </a:lnTo>
                  <a:lnTo>
                    <a:pt x="255" y="229"/>
                  </a:lnTo>
                  <a:lnTo>
                    <a:pt x="260" y="218"/>
                  </a:lnTo>
                  <a:lnTo>
                    <a:pt x="262" y="200"/>
                  </a:lnTo>
                  <a:lnTo>
                    <a:pt x="256" y="185"/>
                  </a:lnTo>
                  <a:lnTo>
                    <a:pt x="244" y="178"/>
                  </a:lnTo>
                  <a:lnTo>
                    <a:pt x="241" y="169"/>
                  </a:lnTo>
                  <a:lnTo>
                    <a:pt x="243" y="156"/>
                  </a:lnTo>
                  <a:lnTo>
                    <a:pt x="203" y="154"/>
                  </a:lnTo>
                  <a:lnTo>
                    <a:pt x="194" y="127"/>
                  </a:lnTo>
                  <a:lnTo>
                    <a:pt x="199" y="126"/>
                  </a:lnTo>
                  <a:lnTo>
                    <a:pt x="198" y="116"/>
                  </a:lnTo>
                  <a:lnTo>
                    <a:pt x="194" y="109"/>
                  </a:lnTo>
                  <a:lnTo>
                    <a:pt x="192" y="95"/>
                  </a:lnTo>
                  <a:lnTo>
                    <a:pt x="180" y="89"/>
                  </a:lnTo>
                  <a:lnTo>
                    <a:pt x="167" y="89"/>
                  </a:lnTo>
                  <a:lnTo>
                    <a:pt x="157" y="81"/>
                  </a:lnTo>
                  <a:lnTo>
                    <a:pt x="143" y="77"/>
                  </a:lnTo>
                  <a:lnTo>
                    <a:pt x="134" y="68"/>
                  </a:lnTo>
                  <a:lnTo>
                    <a:pt x="111" y="64"/>
                  </a:lnTo>
                  <a:lnTo>
                    <a:pt x="86" y="43"/>
                  </a:lnTo>
                  <a:lnTo>
                    <a:pt x="87" y="27"/>
                  </a:lnTo>
                  <a:lnTo>
                    <a:pt x="85" y="18"/>
                  </a:lnTo>
                  <a:lnTo>
                    <a:pt x="85" y="0"/>
                  </a:lnTo>
                  <a:lnTo>
                    <a:pt x="58" y="5"/>
                  </a:lnTo>
                  <a:lnTo>
                    <a:pt x="48" y="13"/>
                  </a:lnTo>
                  <a:lnTo>
                    <a:pt x="30" y="22"/>
                  </a:lnTo>
                  <a:lnTo>
                    <a:pt x="26" y="30"/>
                  </a:lnTo>
                  <a:lnTo>
                    <a:pt x="15" y="31"/>
                  </a:lnTo>
                  <a:lnTo>
                    <a:pt x="0" y="28"/>
                  </a:lnTo>
                  <a:lnTo>
                    <a:pt x="20" y="66"/>
                  </a:lnTo>
                  <a:lnTo>
                    <a:pt x="16" y="75"/>
                  </a:lnTo>
                  <a:lnTo>
                    <a:pt x="16" y="91"/>
                  </a:lnTo>
                  <a:lnTo>
                    <a:pt x="17" y="111"/>
                  </a:lnTo>
                  <a:lnTo>
                    <a:pt x="11" y="123"/>
                  </a:lnTo>
                  <a:lnTo>
                    <a:pt x="15" y="132"/>
                  </a:lnTo>
                  <a:lnTo>
                    <a:pt x="11" y="140"/>
                  </a:lnTo>
                  <a:lnTo>
                    <a:pt x="21" y="160"/>
                  </a:lnTo>
                  <a:lnTo>
                    <a:pt x="11" y="186"/>
                  </a:lnTo>
                  <a:lnTo>
                    <a:pt x="22" y="202"/>
                  </a:lnTo>
                  <a:lnTo>
                    <a:pt x="27" y="219"/>
                  </a:lnTo>
                  <a:lnTo>
                    <a:pt x="39" y="229"/>
                  </a:lnTo>
                  <a:lnTo>
                    <a:pt x="35" y="252"/>
                  </a:lnTo>
                  <a:lnTo>
                    <a:pt x="48" y="279"/>
                  </a:lnTo>
                  <a:lnTo>
                    <a:pt x="60" y="312"/>
                  </a:lnTo>
                  <a:lnTo>
                    <a:pt x="74" y="308"/>
                  </a:lnTo>
                  <a:lnTo>
                    <a:pt x="89" y="286"/>
                  </a:lnTo>
                  <a:lnTo>
                    <a:pt x="117" y="292"/>
                  </a:lnTo>
                  <a:lnTo>
                    <a:pt x="130" y="310"/>
                  </a:lnTo>
                  <a:lnTo>
                    <a:pt x="137" y="290"/>
                  </a:lnTo>
                  <a:lnTo>
                    <a:pt x="160" y="292"/>
                  </a:lnTo>
                  <a:lnTo>
                    <a:pt x="164" y="297"/>
                  </a:lnTo>
                  <a:lnTo>
                    <a:pt x="170" y="268"/>
                  </a:lnTo>
                  <a:lnTo>
                    <a:pt x="169" y="256"/>
                  </a:lnTo>
                  <a:lnTo>
                    <a:pt x="177" y="234"/>
                  </a:lnTo>
                  <a:lnTo>
                    <a:pt x="212" y="228"/>
                  </a:lnTo>
                  <a:lnTo>
                    <a:pt x="231" y="228"/>
                  </a:lnTo>
                  <a:lnTo>
                    <a:pt x="252" y="240"/>
                  </a:lnTo>
                  <a:lnTo>
                    <a:pt x="253" y="247"/>
                  </a:lnTo>
                  <a:lnTo>
                    <a:pt x="253" y="24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3" name="Brazil">
              <a:extLst>
                <a:ext uri="{FF2B5EF4-FFF2-40B4-BE49-F238E27FC236}">
                  <a16:creationId xmlns:a16="http://schemas.microsoft.com/office/drawing/2014/main" id="{8FA20D83-3965-4F84-9EF1-80B90A4E2A16}"/>
                </a:ext>
              </a:extLst>
            </p:cNvPr>
            <p:cNvSpPr>
              <a:spLocks/>
            </p:cNvSpPr>
            <p:nvPr/>
          </p:nvSpPr>
          <p:spPr bwMode="auto">
            <a:xfrm>
              <a:off x="3536156" y="3863748"/>
              <a:ext cx="1304925" cy="1471612"/>
            </a:xfrm>
            <a:custGeom>
              <a:avLst/>
              <a:gdLst>
                <a:gd name="T0" fmla="*/ 339 w 822"/>
                <a:gd name="T1" fmla="*/ 85 h 927"/>
                <a:gd name="T2" fmla="*/ 310 w 822"/>
                <a:gd name="T3" fmla="*/ 94 h 927"/>
                <a:gd name="T4" fmla="*/ 295 w 822"/>
                <a:gd name="T5" fmla="*/ 39 h 927"/>
                <a:gd name="T6" fmla="*/ 292 w 822"/>
                <a:gd name="T7" fmla="*/ 6 h 927"/>
                <a:gd name="T8" fmla="*/ 271 w 822"/>
                <a:gd name="T9" fmla="*/ 17 h 927"/>
                <a:gd name="T10" fmla="*/ 210 w 822"/>
                <a:gd name="T11" fmla="*/ 29 h 927"/>
                <a:gd name="T12" fmla="*/ 198 w 822"/>
                <a:gd name="T13" fmla="*/ 51 h 927"/>
                <a:gd name="T14" fmla="*/ 204 w 822"/>
                <a:gd name="T15" fmla="*/ 80 h 927"/>
                <a:gd name="T16" fmla="*/ 173 w 822"/>
                <a:gd name="T17" fmla="*/ 106 h 927"/>
                <a:gd name="T18" fmla="*/ 138 w 822"/>
                <a:gd name="T19" fmla="*/ 84 h 927"/>
                <a:gd name="T20" fmla="*/ 85 w 822"/>
                <a:gd name="T21" fmla="*/ 99 h 927"/>
                <a:gd name="T22" fmla="*/ 80 w 822"/>
                <a:gd name="T23" fmla="*/ 112 h 927"/>
                <a:gd name="T24" fmla="*/ 92 w 822"/>
                <a:gd name="T25" fmla="*/ 162 h 927"/>
                <a:gd name="T26" fmla="*/ 45 w 822"/>
                <a:gd name="T27" fmla="*/ 235 h 927"/>
                <a:gd name="T28" fmla="*/ 18 w 822"/>
                <a:gd name="T29" fmla="*/ 282 h 927"/>
                <a:gd name="T30" fmla="*/ 10 w 822"/>
                <a:gd name="T31" fmla="*/ 325 h 927"/>
                <a:gd name="T32" fmla="*/ 42 w 822"/>
                <a:gd name="T33" fmla="*/ 363 h 927"/>
                <a:gd name="T34" fmla="*/ 86 w 822"/>
                <a:gd name="T35" fmla="*/ 390 h 927"/>
                <a:gd name="T36" fmla="*/ 128 w 822"/>
                <a:gd name="T37" fmla="*/ 379 h 927"/>
                <a:gd name="T38" fmla="*/ 183 w 822"/>
                <a:gd name="T39" fmla="*/ 375 h 927"/>
                <a:gd name="T40" fmla="*/ 232 w 822"/>
                <a:gd name="T41" fmla="*/ 425 h 927"/>
                <a:gd name="T42" fmla="*/ 278 w 822"/>
                <a:gd name="T43" fmla="*/ 446 h 927"/>
                <a:gd name="T44" fmla="*/ 297 w 822"/>
                <a:gd name="T45" fmla="*/ 483 h 927"/>
                <a:gd name="T46" fmla="*/ 339 w 822"/>
                <a:gd name="T47" fmla="*/ 526 h 927"/>
                <a:gd name="T48" fmla="*/ 358 w 822"/>
                <a:gd name="T49" fmla="*/ 575 h 927"/>
                <a:gd name="T50" fmla="*/ 357 w 822"/>
                <a:gd name="T51" fmla="*/ 617 h 927"/>
                <a:gd name="T52" fmla="*/ 404 w 822"/>
                <a:gd name="T53" fmla="*/ 657 h 927"/>
                <a:gd name="T54" fmla="*/ 423 w 822"/>
                <a:gd name="T55" fmla="*/ 696 h 927"/>
                <a:gd name="T56" fmla="*/ 438 w 822"/>
                <a:gd name="T57" fmla="*/ 723 h 927"/>
                <a:gd name="T58" fmla="*/ 459 w 822"/>
                <a:gd name="T59" fmla="*/ 765 h 927"/>
                <a:gd name="T60" fmla="*/ 389 w 822"/>
                <a:gd name="T61" fmla="*/ 843 h 927"/>
                <a:gd name="T62" fmla="*/ 455 w 822"/>
                <a:gd name="T63" fmla="*/ 873 h 927"/>
                <a:gd name="T64" fmla="*/ 488 w 822"/>
                <a:gd name="T65" fmla="*/ 927 h 927"/>
                <a:gd name="T66" fmla="*/ 531 w 822"/>
                <a:gd name="T67" fmla="*/ 861 h 927"/>
                <a:gd name="T68" fmla="*/ 564 w 822"/>
                <a:gd name="T69" fmla="*/ 770 h 927"/>
                <a:gd name="T70" fmla="*/ 598 w 822"/>
                <a:gd name="T71" fmla="*/ 698 h 927"/>
                <a:gd name="T72" fmla="*/ 688 w 822"/>
                <a:gd name="T73" fmla="*/ 671 h 927"/>
                <a:gd name="T74" fmla="*/ 729 w 822"/>
                <a:gd name="T75" fmla="*/ 591 h 927"/>
                <a:gd name="T76" fmla="*/ 742 w 822"/>
                <a:gd name="T77" fmla="*/ 497 h 927"/>
                <a:gd name="T78" fmla="*/ 763 w 822"/>
                <a:gd name="T79" fmla="*/ 414 h 927"/>
                <a:gd name="T80" fmla="*/ 822 w 822"/>
                <a:gd name="T81" fmla="*/ 300 h 927"/>
                <a:gd name="T82" fmla="*/ 785 w 822"/>
                <a:gd name="T83" fmla="*/ 247 h 927"/>
                <a:gd name="T84" fmla="*/ 679 w 822"/>
                <a:gd name="T85" fmla="*/ 194 h 927"/>
                <a:gd name="T86" fmla="*/ 607 w 822"/>
                <a:gd name="T87" fmla="*/ 162 h 927"/>
                <a:gd name="T88" fmla="*/ 529 w 822"/>
                <a:gd name="T89" fmla="*/ 131 h 927"/>
                <a:gd name="T90" fmla="*/ 501 w 822"/>
                <a:gd name="T91" fmla="*/ 83 h 927"/>
                <a:gd name="T92" fmla="*/ 466 w 822"/>
                <a:gd name="T93" fmla="*/ 26 h 927"/>
                <a:gd name="T94" fmla="*/ 428 w 822"/>
                <a:gd name="T95" fmla="*/ 76 h 927"/>
                <a:gd name="T96" fmla="*/ 406 w 822"/>
                <a:gd name="T97" fmla="*/ 70 h 927"/>
                <a:gd name="T98" fmla="*/ 373 w 822"/>
                <a:gd name="T99" fmla="*/ 72 h 927"/>
                <a:gd name="T100" fmla="*/ 363 w 822"/>
                <a:gd name="T101" fmla="*/ 80 h 9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822" h="927">
                  <a:moveTo>
                    <a:pt x="363" y="80"/>
                  </a:moveTo>
                  <a:lnTo>
                    <a:pt x="357" y="80"/>
                  </a:lnTo>
                  <a:lnTo>
                    <a:pt x="346" y="79"/>
                  </a:lnTo>
                  <a:lnTo>
                    <a:pt x="339" y="85"/>
                  </a:lnTo>
                  <a:lnTo>
                    <a:pt x="329" y="89"/>
                  </a:lnTo>
                  <a:lnTo>
                    <a:pt x="324" y="90"/>
                  </a:lnTo>
                  <a:lnTo>
                    <a:pt x="321" y="94"/>
                  </a:lnTo>
                  <a:lnTo>
                    <a:pt x="310" y="94"/>
                  </a:lnTo>
                  <a:lnTo>
                    <a:pt x="297" y="82"/>
                  </a:lnTo>
                  <a:lnTo>
                    <a:pt x="296" y="72"/>
                  </a:lnTo>
                  <a:lnTo>
                    <a:pt x="291" y="59"/>
                  </a:lnTo>
                  <a:lnTo>
                    <a:pt x="295" y="39"/>
                  </a:lnTo>
                  <a:lnTo>
                    <a:pt x="301" y="31"/>
                  </a:lnTo>
                  <a:lnTo>
                    <a:pt x="296" y="20"/>
                  </a:lnTo>
                  <a:lnTo>
                    <a:pt x="289" y="16"/>
                  </a:lnTo>
                  <a:lnTo>
                    <a:pt x="292" y="6"/>
                  </a:lnTo>
                  <a:lnTo>
                    <a:pt x="287" y="0"/>
                  </a:lnTo>
                  <a:lnTo>
                    <a:pt x="277" y="1"/>
                  </a:lnTo>
                  <a:lnTo>
                    <a:pt x="279" y="9"/>
                  </a:lnTo>
                  <a:lnTo>
                    <a:pt x="271" y="17"/>
                  </a:lnTo>
                  <a:lnTo>
                    <a:pt x="247" y="26"/>
                  </a:lnTo>
                  <a:lnTo>
                    <a:pt x="232" y="30"/>
                  </a:lnTo>
                  <a:lnTo>
                    <a:pt x="226" y="36"/>
                  </a:lnTo>
                  <a:lnTo>
                    <a:pt x="210" y="29"/>
                  </a:lnTo>
                  <a:lnTo>
                    <a:pt x="194" y="26"/>
                  </a:lnTo>
                  <a:lnTo>
                    <a:pt x="190" y="29"/>
                  </a:lnTo>
                  <a:lnTo>
                    <a:pt x="199" y="35"/>
                  </a:lnTo>
                  <a:lnTo>
                    <a:pt x="198" y="51"/>
                  </a:lnTo>
                  <a:lnTo>
                    <a:pt x="200" y="66"/>
                  </a:lnTo>
                  <a:lnTo>
                    <a:pt x="219" y="67"/>
                  </a:lnTo>
                  <a:lnTo>
                    <a:pt x="220" y="73"/>
                  </a:lnTo>
                  <a:lnTo>
                    <a:pt x="204" y="80"/>
                  </a:lnTo>
                  <a:lnTo>
                    <a:pt x="202" y="90"/>
                  </a:lnTo>
                  <a:lnTo>
                    <a:pt x="193" y="94"/>
                  </a:lnTo>
                  <a:lnTo>
                    <a:pt x="178" y="99"/>
                  </a:lnTo>
                  <a:lnTo>
                    <a:pt x="173" y="106"/>
                  </a:lnTo>
                  <a:lnTo>
                    <a:pt x="157" y="108"/>
                  </a:lnTo>
                  <a:lnTo>
                    <a:pt x="146" y="95"/>
                  </a:lnTo>
                  <a:lnTo>
                    <a:pt x="141" y="98"/>
                  </a:lnTo>
                  <a:lnTo>
                    <a:pt x="138" y="84"/>
                  </a:lnTo>
                  <a:lnTo>
                    <a:pt x="132" y="77"/>
                  </a:lnTo>
                  <a:lnTo>
                    <a:pt x="125" y="85"/>
                  </a:lnTo>
                  <a:lnTo>
                    <a:pt x="85" y="84"/>
                  </a:lnTo>
                  <a:lnTo>
                    <a:pt x="85" y="99"/>
                  </a:lnTo>
                  <a:lnTo>
                    <a:pt x="97" y="102"/>
                  </a:lnTo>
                  <a:lnTo>
                    <a:pt x="96" y="110"/>
                  </a:lnTo>
                  <a:lnTo>
                    <a:pt x="92" y="108"/>
                  </a:lnTo>
                  <a:lnTo>
                    <a:pt x="80" y="112"/>
                  </a:lnTo>
                  <a:lnTo>
                    <a:pt x="80" y="129"/>
                  </a:lnTo>
                  <a:lnTo>
                    <a:pt x="89" y="138"/>
                  </a:lnTo>
                  <a:lnTo>
                    <a:pt x="92" y="151"/>
                  </a:lnTo>
                  <a:lnTo>
                    <a:pt x="92" y="162"/>
                  </a:lnTo>
                  <a:lnTo>
                    <a:pt x="84" y="227"/>
                  </a:lnTo>
                  <a:lnTo>
                    <a:pt x="65" y="226"/>
                  </a:lnTo>
                  <a:lnTo>
                    <a:pt x="62" y="230"/>
                  </a:lnTo>
                  <a:lnTo>
                    <a:pt x="45" y="235"/>
                  </a:lnTo>
                  <a:lnTo>
                    <a:pt x="22" y="250"/>
                  </a:lnTo>
                  <a:lnTo>
                    <a:pt x="20" y="262"/>
                  </a:lnTo>
                  <a:lnTo>
                    <a:pt x="15" y="270"/>
                  </a:lnTo>
                  <a:lnTo>
                    <a:pt x="18" y="282"/>
                  </a:lnTo>
                  <a:lnTo>
                    <a:pt x="6" y="290"/>
                  </a:lnTo>
                  <a:lnTo>
                    <a:pt x="6" y="300"/>
                  </a:lnTo>
                  <a:lnTo>
                    <a:pt x="0" y="304"/>
                  </a:lnTo>
                  <a:lnTo>
                    <a:pt x="10" y="325"/>
                  </a:lnTo>
                  <a:lnTo>
                    <a:pt x="23" y="339"/>
                  </a:lnTo>
                  <a:lnTo>
                    <a:pt x="19" y="350"/>
                  </a:lnTo>
                  <a:lnTo>
                    <a:pt x="32" y="351"/>
                  </a:lnTo>
                  <a:lnTo>
                    <a:pt x="42" y="363"/>
                  </a:lnTo>
                  <a:lnTo>
                    <a:pt x="59" y="364"/>
                  </a:lnTo>
                  <a:lnTo>
                    <a:pt x="76" y="350"/>
                  </a:lnTo>
                  <a:lnTo>
                    <a:pt x="77" y="387"/>
                  </a:lnTo>
                  <a:lnTo>
                    <a:pt x="86" y="390"/>
                  </a:lnTo>
                  <a:lnTo>
                    <a:pt x="98" y="385"/>
                  </a:lnTo>
                  <a:lnTo>
                    <a:pt x="113" y="388"/>
                  </a:lnTo>
                  <a:lnTo>
                    <a:pt x="124" y="387"/>
                  </a:lnTo>
                  <a:lnTo>
                    <a:pt x="128" y="379"/>
                  </a:lnTo>
                  <a:lnTo>
                    <a:pt x="146" y="370"/>
                  </a:lnTo>
                  <a:lnTo>
                    <a:pt x="156" y="362"/>
                  </a:lnTo>
                  <a:lnTo>
                    <a:pt x="183" y="357"/>
                  </a:lnTo>
                  <a:lnTo>
                    <a:pt x="183" y="375"/>
                  </a:lnTo>
                  <a:lnTo>
                    <a:pt x="185" y="384"/>
                  </a:lnTo>
                  <a:lnTo>
                    <a:pt x="184" y="400"/>
                  </a:lnTo>
                  <a:lnTo>
                    <a:pt x="209" y="421"/>
                  </a:lnTo>
                  <a:lnTo>
                    <a:pt x="232" y="425"/>
                  </a:lnTo>
                  <a:lnTo>
                    <a:pt x="241" y="434"/>
                  </a:lnTo>
                  <a:lnTo>
                    <a:pt x="255" y="438"/>
                  </a:lnTo>
                  <a:lnTo>
                    <a:pt x="265" y="446"/>
                  </a:lnTo>
                  <a:lnTo>
                    <a:pt x="278" y="446"/>
                  </a:lnTo>
                  <a:lnTo>
                    <a:pt x="290" y="452"/>
                  </a:lnTo>
                  <a:lnTo>
                    <a:pt x="292" y="466"/>
                  </a:lnTo>
                  <a:lnTo>
                    <a:pt x="296" y="473"/>
                  </a:lnTo>
                  <a:lnTo>
                    <a:pt x="297" y="483"/>
                  </a:lnTo>
                  <a:lnTo>
                    <a:pt x="292" y="484"/>
                  </a:lnTo>
                  <a:lnTo>
                    <a:pt x="301" y="511"/>
                  </a:lnTo>
                  <a:lnTo>
                    <a:pt x="341" y="513"/>
                  </a:lnTo>
                  <a:lnTo>
                    <a:pt x="339" y="526"/>
                  </a:lnTo>
                  <a:lnTo>
                    <a:pt x="342" y="535"/>
                  </a:lnTo>
                  <a:lnTo>
                    <a:pt x="354" y="542"/>
                  </a:lnTo>
                  <a:lnTo>
                    <a:pt x="360" y="557"/>
                  </a:lnTo>
                  <a:lnTo>
                    <a:pt x="358" y="575"/>
                  </a:lnTo>
                  <a:lnTo>
                    <a:pt x="353" y="586"/>
                  </a:lnTo>
                  <a:lnTo>
                    <a:pt x="356" y="600"/>
                  </a:lnTo>
                  <a:lnTo>
                    <a:pt x="351" y="604"/>
                  </a:lnTo>
                  <a:lnTo>
                    <a:pt x="357" y="617"/>
                  </a:lnTo>
                  <a:lnTo>
                    <a:pt x="359" y="650"/>
                  </a:lnTo>
                  <a:lnTo>
                    <a:pt x="381" y="655"/>
                  </a:lnTo>
                  <a:lnTo>
                    <a:pt x="389" y="650"/>
                  </a:lnTo>
                  <a:lnTo>
                    <a:pt x="404" y="657"/>
                  </a:lnTo>
                  <a:lnTo>
                    <a:pt x="409" y="663"/>
                  </a:lnTo>
                  <a:lnTo>
                    <a:pt x="412" y="685"/>
                  </a:lnTo>
                  <a:lnTo>
                    <a:pt x="415" y="694"/>
                  </a:lnTo>
                  <a:lnTo>
                    <a:pt x="423" y="696"/>
                  </a:lnTo>
                  <a:lnTo>
                    <a:pt x="430" y="691"/>
                  </a:lnTo>
                  <a:lnTo>
                    <a:pt x="438" y="696"/>
                  </a:lnTo>
                  <a:lnTo>
                    <a:pt x="439" y="709"/>
                  </a:lnTo>
                  <a:lnTo>
                    <a:pt x="438" y="723"/>
                  </a:lnTo>
                  <a:lnTo>
                    <a:pt x="436" y="737"/>
                  </a:lnTo>
                  <a:lnTo>
                    <a:pt x="445" y="732"/>
                  </a:lnTo>
                  <a:lnTo>
                    <a:pt x="457" y="746"/>
                  </a:lnTo>
                  <a:lnTo>
                    <a:pt x="459" y="765"/>
                  </a:lnTo>
                  <a:lnTo>
                    <a:pt x="443" y="778"/>
                  </a:lnTo>
                  <a:lnTo>
                    <a:pt x="431" y="787"/>
                  </a:lnTo>
                  <a:lnTo>
                    <a:pt x="411" y="811"/>
                  </a:lnTo>
                  <a:lnTo>
                    <a:pt x="389" y="843"/>
                  </a:lnTo>
                  <a:lnTo>
                    <a:pt x="402" y="840"/>
                  </a:lnTo>
                  <a:lnTo>
                    <a:pt x="424" y="858"/>
                  </a:lnTo>
                  <a:lnTo>
                    <a:pt x="432" y="858"/>
                  </a:lnTo>
                  <a:lnTo>
                    <a:pt x="455" y="873"/>
                  </a:lnTo>
                  <a:lnTo>
                    <a:pt x="473" y="886"/>
                  </a:lnTo>
                  <a:lnTo>
                    <a:pt x="487" y="902"/>
                  </a:lnTo>
                  <a:lnTo>
                    <a:pt x="480" y="913"/>
                  </a:lnTo>
                  <a:lnTo>
                    <a:pt x="488" y="927"/>
                  </a:lnTo>
                  <a:lnTo>
                    <a:pt x="499" y="913"/>
                  </a:lnTo>
                  <a:lnTo>
                    <a:pt x="505" y="891"/>
                  </a:lnTo>
                  <a:lnTo>
                    <a:pt x="516" y="880"/>
                  </a:lnTo>
                  <a:lnTo>
                    <a:pt x="531" y="861"/>
                  </a:lnTo>
                  <a:lnTo>
                    <a:pt x="548" y="819"/>
                  </a:lnTo>
                  <a:lnTo>
                    <a:pt x="561" y="806"/>
                  </a:lnTo>
                  <a:lnTo>
                    <a:pt x="563" y="795"/>
                  </a:lnTo>
                  <a:lnTo>
                    <a:pt x="564" y="770"/>
                  </a:lnTo>
                  <a:lnTo>
                    <a:pt x="560" y="757"/>
                  </a:lnTo>
                  <a:lnTo>
                    <a:pt x="561" y="740"/>
                  </a:lnTo>
                  <a:lnTo>
                    <a:pt x="576" y="716"/>
                  </a:lnTo>
                  <a:lnTo>
                    <a:pt x="598" y="698"/>
                  </a:lnTo>
                  <a:lnTo>
                    <a:pt x="620" y="690"/>
                  </a:lnTo>
                  <a:lnTo>
                    <a:pt x="634" y="680"/>
                  </a:lnTo>
                  <a:lnTo>
                    <a:pt x="666" y="671"/>
                  </a:lnTo>
                  <a:lnTo>
                    <a:pt x="688" y="671"/>
                  </a:lnTo>
                  <a:lnTo>
                    <a:pt x="692" y="657"/>
                  </a:lnTo>
                  <a:lnTo>
                    <a:pt x="708" y="646"/>
                  </a:lnTo>
                  <a:lnTo>
                    <a:pt x="710" y="622"/>
                  </a:lnTo>
                  <a:lnTo>
                    <a:pt x="729" y="591"/>
                  </a:lnTo>
                  <a:lnTo>
                    <a:pt x="731" y="559"/>
                  </a:lnTo>
                  <a:lnTo>
                    <a:pt x="737" y="549"/>
                  </a:lnTo>
                  <a:lnTo>
                    <a:pt x="738" y="534"/>
                  </a:lnTo>
                  <a:lnTo>
                    <a:pt x="742" y="497"/>
                  </a:lnTo>
                  <a:lnTo>
                    <a:pt x="738" y="453"/>
                  </a:lnTo>
                  <a:lnTo>
                    <a:pt x="744" y="435"/>
                  </a:lnTo>
                  <a:lnTo>
                    <a:pt x="749" y="434"/>
                  </a:lnTo>
                  <a:lnTo>
                    <a:pt x="763" y="414"/>
                  </a:lnTo>
                  <a:lnTo>
                    <a:pt x="775" y="388"/>
                  </a:lnTo>
                  <a:lnTo>
                    <a:pt x="804" y="354"/>
                  </a:lnTo>
                  <a:lnTo>
                    <a:pt x="815" y="339"/>
                  </a:lnTo>
                  <a:lnTo>
                    <a:pt x="822" y="300"/>
                  </a:lnTo>
                  <a:lnTo>
                    <a:pt x="818" y="285"/>
                  </a:lnTo>
                  <a:lnTo>
                    <a:pt x="811" y="255"/>
                  </a:lnTo>
                  <a:lnTo>
                    <a:pt x="803" y="248"/>
                  </a:lnTo>
                  <a:lnTo>
                    <a:pt x="785" y="247"/>
                  </a:lnTo>
                  <a:lnTo>
                    <a:pt x="769" y="239"/>
                  </a:lnTo>
                  <a:lnTo>
                    <a:pt x="742" y="213"/>
                  </a:lnTo>
                  <a:lnTo>
                    <a:pt x="710" y="193"/>
                  </a:lnTo>
                  <a:lnTo>
                    <a:pt x="679" y="194"/>
                  </a:lnTo>
                  <a:lnTo>
                    <a:pt x="638" y="181"/>
                  </a:lnTo>
                  <a:lnTo>
                    <a:pt x="614" y="189"/>
                  </a:lnTo>
                  <a:lnTo>
                    <a:pt x="617" y="176"/>
                  </a:lnTo>
                  <a:lnTo>
                    <a:pt x="607" y="162"/>
                  </a:lnTo>
                  <a:lnTo>
                    <a:pt x="572" y="148"/>
                  </a:lnTo>
                  <a:lnTo>
                    <a:pt x="546" y="139"/>
                  </a:lnTo>
                  <a:lnTo>
                    <a:pt x="530" y="154"/>
                  </a:lnTo>
                  <a:lnTo>
                    <a:pt x="529" y="131"/>
                  </a:lnTo>
                  <a:lnTo>
                    <a:pt x="492" y="127"/>
                  </a:lnTo>
                  <a:lnTo>
                    <a:pt x="485" y="120"/>
                  </a:lnTo>
                  <a:lnTo>
                    <a:pt x="501" y="100"/>
                  </a:lnTo>
                  <a:lnTo>
                    <a:pt x="501" y="83"/>
                  </a:lnTo>
                  <a:lnTo>
                    <a:pt x="490" y="80"/>
                  </a:lnTo>
                  <a:lnTo>
                    <a:pt x="479" y="38"/>
                  </a:lnTo>
                  <a:lnTo>
                    <a:pt x="473" y="25"/>
                  </a:lnTo>
                  <a:lnTo>
                    <a:pt x="466" y="26"/>
                  </a:lnTo>
                  <a:lnTo>
                    <a:pt x="453" y="48"/>
                  </a:lnTo>
                  <a:lnTo>
                    <a:pt x="447" y="66"/>
                  </a:lnTo>
                  <a:lnTo>
                    <a:pt x="438" y="74"/>
                  </a:lnTo>
                  <a:lnTo>
                    <a:pt x="428" y="76"/>
                  </a:lnTo>
                  <a:lnTo>
                    <a:pt x="425" y="69"/>
                  </a:lnTo>
                  <a:lnTo>
                    <a:pt x="421" y="68"/>
                  </a:lnTo>
                  <a:lnTo>
                    <a:pt x="414" y="75"/>
                  </a:lnTo>
                  <a:lnTo>
                    <a:pt x="406" y="70"/>
                  </a:lnTo>
                  <a:lnTo>
                    <a:pt x="394" y="65"/>
                  </a:lnTo>
                  <a:lnTo>
                    <a:pt x="383" y="67"/>
                  </a:lnTo>
                  <a:lnTo>
                    <a:pt x="375" y="66"/>
                  </a:lnTo>
                  <a:lnTo>
                    <a:pt x="373" y="72"/>
                  </a:lnTo>
                  <a:lnTo>
                    <a:pt x="376" y="77"/>
                  </a:lnTo>
                  <a:lnTo>
                    <a:pt x="374" y="81"/>
                  </a:lnTo>
                  <a:lnTo>
                    <a:pt x="363" y="80"/>
                  </a:lnTo>
                  <a:lnTo>
                    <a:pt x="363" y="8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4" name="Brunei">
              <a:extLst>
                <a:ext uri="{FF2B5EF4-FFF2-40B4-BE49-F238E27FC236}">
                  <a16:creationId xmlns:a16="http://schemas.microsoft.com/office/drawing/2014/main" id="{76EF0B48-4DC9-438E-A117-787E9E2FB488}"/>
                </a:ext>
              </a:extLst>
            </p:cNvPr>
            <p:cNvSpPr>
              <a:spLocks/>
            </p:cNvSpPr>
            <p:nvPr/>
          </p:nvSpPr>
          <p:spPr bwMode="auto">
            <a:xfrm>
              <a:off x="9795669" y="3857398"/>
              <a:ext cx="41275" cy="53975"/>
            </a:xfrm>
            <a:custGeom>
              <a:avLst/>
              <a:gdLst>
                <a:gd name="T0" fmla="*/ 0 w 26"/>
                <a:gd name="T1" fmla="*/ 22 h 34"/>
                <a:gd name="T2" fmla="*/ 11 w 26"/>
                <a:gd name="T3" fmla="*/ 34 h 34"/>
                <a:gd name="T4" fmla="*/ 14 w 26"/>
                <a:gd name="T5" fmla="*/ 26 h 34"/>
                <a:gd name="T6" fmla="*/ 25 w 26"/>
                <a:gd name="T7" fmla="*/ 27 h 34"/>
                <a:gd name="T8" fmla="*/ 26 w 26"/>
                <a:gd name="T9" fmla="*/ 11 h 34"/>
                <a:gd name="T10" fmla="*/ 26 w 26"/>
                <a:gd name="T11" fmla="*/ 0 h 34"/>
                <a:gd name="T12" fmla="*/ 9 w 26"/>
                <a:gd name="T13" fmla="*/ 13 h 34"/>
                <a:gd name="T14" fmla="*/ 0 w 26"/>
                <a:gd name="T15" fmla="*/ 22 h 34"/>
                <a:gd name="T16" fmla="*/ 0 w 26"/>
                <a:gd name="T17" fmla="*/ 22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6" h="34">
                  <a:moveTo>
                    <a:pt x="0" y="22"/>
                  </a:moveTo>
                  <a:lnTo>
                    <a:pt x="11" y="34"/>
                  </a:lnTo>
                  <a:lnTo>
                    <a:pt x="14" y="26"/>
                  </a:lnTo>
                  <a:lnTo>
                    <a:pt x="25" y="27"/>
                  </a:lnTo>
                  <a:lnTo>
                    <a:pt x="26" y="11"/>
                  </a:lnTo>
                  <a:lnTo>
                    <a:pt x="26" y="0"/>
                  </a:lnTo>
                  <a:lnTo>
                    <a:pt x="9" y="13"/>
                  </a:lnTo>
                  <a:lnTo>
                    <a:pt x="0" y="22"/>
                  </a:lnTo>
                  <a:lnTo>
                    <a:pt x="0"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5" name="Bhutan">
              <a:extLst>
                <a:ext uri="{FF2B5EF4-FFF2-40B4-BE49-F238E27FC236}">
                  <a16:creationId xmlns:a16="http://schemas.microsoft.com/office/drawing/2014/main" id="{ED713627-2DEF-4995-A109-519FB9B54958}"/>
                </a:ext>
              </a:extLst>
            </p:cNvPr>
            <p:cNvSpPr>
              <a:spLocks/>
            </p:cNvSpPr>
            <p:nvPr/>
          </p:nvSpPr>
          <p:spPr bwMode="auto">
            <a:xfrm>
              <a:off x="8859044" y="2993798"/>
              <a:ext cx="106362" cy="60325"/>
            </a:xfrm>
            <a:custGeom>
              <a:avLst/>
              <a:gdLst>
                <a:gd name="T0" fmla="*/ 56 w 67"/>
                <a:gd name="T1" fmla="*/ 13 h 38"/>
                <a:gd name="T2" fmla="*/ 46 w 67"/>
                <a:gd name="T3" fmla="*/ 7 h 38"/>
                <a:gd name="T4" fmla="*/ 35 w 67"/>
                <a:gd name="T5" fmla="*/ 6 h 38"/>
                <a:gd name="T6" fmla="*/ 20 w 67"/>
                <a:gd name="T7" fmla="*/ 0 h 38"/>
                <a:gd name="T8" fmla="*/ 10 w 67"/>
                <a:gd name="T9" fmla="*/ 7 h 38"/>
                <a:gd name="T10" fmla="*/ 0 w 67"/>
                <a:gd name="T11" fmla="*/ 24 h 38"/>
                <a:gd name="T12" fmla="*/ 1 w 67"/>
                <a:gd name="T13" fmla="*/ 29 h 38"/>
                <a:gd name="T14" fmla="*/ 22 w 67"/>
                <a:gd name="T15" fmla="*/ 38 h 38"/>
                <a:gd name="T16" fmla="*/ 34 w 67"/>
                <a:gd name="T17" fmla="*/ 35 h 38"/>
                <a:gd name="T18" fmla="*/ 52 w 67"/>
                <a:gd name="T19" fmla="*/ 36 h 38"/>
                <a:gd name="T20" fmla="*/ 67 w 67"/>
                <a:gd name="T21" fmla="*/ 36 h 38"/>
                <a:gd name="T22" fmla="*/ 67 w 67"/>
                <a:gd name="T23" fmla="*/ 21 h 38"/>
                <a:gd name="T24" fmla="*/ 56 w 67"/>
                <a:gd name="T25" fmla="*/ 13 h 38"/>
                <a:gd name="T26" fmla="*/ 56 w 67"/>
                <a:gd name="T27" fmla="*/ 13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7" h="38">
                  <a:moveTo>
                    <a:pt x="56" y="13"/>
                  </a:moveTo>
                  <a:lnTo>
                    <a:pt x="46" y="7"/>
                  </a:lnTo>
                  <a:lnTo>
                    <a:pt x="35" y="6"/>
                  </a:lnTo>
                  <a:lnTo>
                    <a:pt x="20" y="0"/>
                  </a:lnTo>
                  <a:lnTo>
                    <a:pt x="10" y="7"/>
                  </a:lnTo>
                  <a:lnTo>
                    <a:pt x="0" y="24"/>
                  </a:lnTo>
                  <a:lnTo>
                    <a:pt x="1" y="29"/>
                  </a:lnTo>
                  <a:lnTo>
                    <a:pt x="22" y="38"/>
                  </a:lnTo>
                  <a:lnTo>
                    <a:pt x="34" y="35"/>
                  </a:lnTo>
                  <a:lnTo>
                    <a:pt x="52" y="36"/>
                  </a:lnTo>
                  <a:lnTo>
                    <a:pt x="67" y="36"/>
                  </a:lnTo>
                  <a:lnTo>
                    <a:pt x="67" y="21"/>
                  </a:lnTo>
                  <a:lnTo>
                    <a:pt x="56" y="13"/>
                  </a:lnTo>
                  <a:lnTo>
                    <a:pt x="56"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6" name="Bangladesh">
              <a:extLst>
                <a:ext uri="{FF2B5EF4-FFF2-40B4-BE49-F238E27FC236}">
                  <a16:creationId xmlns:a16="http://schemas.microsoft.com/office/drawing/2014/main" id="{08654487-6F14-4CF3-822F-901E2E1A74F6}"/>
                </a:ext>
              </a:extLst>
            </p:cNvPr>
            <p:cNvSpPr>
              <a:spLocks/>
            </p:cNvSpPr>
            <p:nvPr/>
          </p:nvSpPr>
          <p:spPr bwMode="auto">
            <a:xfrm>
              <a:off x="8851106" y="3065237"/>
              <a:ext cx="169862" cy="215899"/>
            </a:xfrm>
            <a:custGeom>
              <a:avLst/>
              <a:gdLst>
                <a:gd name="T0" fmla="*/ 105 w 107"/>
                <a:gd name="T1" fmla="*/ 105 h 136"/>
                <a:gd name="T2" fmla="*/ 88 w 107"/>
                <a:gd name="T3" fmla="*/ 66 h 136"/>
                <a:gd name="T4" fmla="*/ 83 w 107"/>
                <a:gd name="T5" fmla="*/ 67 h 136"/>
                <a:gd name="T6" fmla="*/ 82 w 107"/>
                <a:gd name="T7" fmla="*/ 82 h 136"/>
                <a:gd name="T8" fmla="*/ 69 w 107"/>
                <a:gd name="T9" fmla="*/ 69 h 136"/>
                <a:gd name="T10" fmla="*/ 73 w 107"/>
                <a:gd name="T11" fmla="*/ 56 h 136"/>
                <a:gd name="T12" fmla="*/ 82 w 107"/>
                <a:gd name="T13" fmla="*/ 54 h 136"/>
                <a:gd name="T14" fmla="*/ 88 w 107"/>
                <a:gd name="T15" fmla="*/ 34 h 136"/>
                <a:gd name="T16" fmla="*/ 75 w 107"/>
                <a:gd name="T17" fmla="*/ 31 h 136"/>
                <a:gd name="T18" fmla="*/ 57 w 107"/>
                <a:gd name="T19" fmla="*/ 31 h 136"/>
                <a:gd name="T20" fmla="*/ 36 w 107"/>
                <a:gd name="T21" fmla="*/ 28 h 136"/>
                <a:gd name="T22" fmla="*/ 32 w 107"/>
                <a:gd name="T23" fmla="*/ 11 h 136"/>
                <a:gd name="T24" fmla="*/ 22 w 107"/>
                <a:gd name="T25" fmla="*/ 9 h 136"/>
                <a:gd name="T26" fmla="*/ 4 w 107"/>
                <a:gd name="T27" fmla="*/ 0 h 136"/>
                <a:gd name="T28" fmla="*/ 0 w 107"/>
                <a:gd name="T29" fmla="*/ 16 h 136"/>
                <a:gd name="T30" fmla="*/ 16 w 107"/>
                <a:gd name="T31" fmla="*/ 28 h 136"/>
                <a:gd name="T32" fmla="*/ 5 w 107"/>
                <a:gd name="T33" fmla="*/ 37 h 136"/>
                <a:gd name="T34" fmla="*/ 2 w 107"/>
                <a:gd name="T35" fmla="*/ 46 h 136"/>
                <a:gd name="T36" fmla="*/ 16 w 107"/>
                <a:gd name="T37" fmla="*/ 52 h 136"/>
                <a:gd name="T38" fmla="*/ 15 w 107"/>
                <a:gd name="T39" fmla="*/ 66 h 136"/>
                <a:gd name="T40" fmla="*/ 24 w 107"/>
                <a:gd name="T41" fmla="*/ 84 h 136"/>
                <a:gd name="T42" fmla="*/ 30 w 107"/>
                <a:gd name="T43" fmla="*/ 104 h 136"/>
                <a:gd name="T44" fmla="*/ 38 w 107"/>
                <a:gd name="T45" fmla="*/ 106 h 136"/>
                <a:gd name="T46" fmla="*/ 44 w 107"/>
                <a:gd name="T47" fmla="*/ 108 h 136"/>
                <a:gd name="T48" fmla="*/ 47 w 107"/>
                <a:gd name="T49" fmla="*/ 105 h 136"/>
                <a:gd name="T50" fmla="*/ 57 w 107"/>
                <a:gd name="T51" fmla="*/ 109 h 136"/>
                <a:gd name="T52" fmla="*/ 61 w 107"/>
                <a:gd name="T53" fmla="*/ 96 h 136"/>
                <a:gd name="T54" fmla="*/ 58 w 107"/>
                <a:gd name="T55" fmla="*/ 86 h 136"/>
                <a:gd name="T56" fmla="*/ 77 w 107"/>
                <a:gd name="T57" fmla="*/ 87 h 136"/>
                <a:gd name="T58" fmla="*/ 87 w 107"/>
                <a:gd name="T59" fmla="*/ 101 h 136"/>
                <a:gd name="T60" fmla="*/ 93 w 107"/>
                <a:gd name="T61" fmla="*/ 112 h 136"/>
                <a:gd name="T62" fmla="*/ 96 w 107"/>
                <a:gd name="T63" fmla="*/ 124 h 136"/>
                <a:gd name="T64" fmla="*/ 103 w 107"/>
                <a:gd name="T65" fmla="*/ 136 h 136"/>
                <a:gd name="T66" fmla="*/ 100 w 107"/>
                <a:gd name="T67" fmla="*/ 118 h 136"/>
                <a:gd name="T68" fmla="*/ 107 w 107"/>
                <a:gd name="T69" fmla="*/ 121 h 136"/>
                <a:gd name="T70" fmla="*/ 105 w 107"/>
                <a:gd name="T71" fmla="*/ 105 h 136"/>
                <a:gd name="T72" fmla="*/ 105 w 107"/>
                <a:gd name="T73" fmla="*/ 105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7" h="136">
                  <a:moveTo>
                    <a:pt x="105" y="105"/>
                  </a:moveTo>
                  <a:lnTo>
                    <a:pt x="88" y="66"/>
                  </a:lnTo>
                  <a:lnTo>
                    <a:pt x="83" y="67"/>
                  </a:lnTo>
                  <a:lnTo>
                    <a:pt x="82" y="82"/>
                  </a:lnTo>
                  <a:lnTo>
                    <a:pt x="69" y="69"/>
                  </a:lnTo>
                  <a:lnTo>
                    <a:pt x="73" y="56"/>
                  </a:lnTo>
                  <a:lnTo>
                    <a:pt x="82" y="54"/>
                  </a:lnTo>
                  <a:lnTo>
                    <a:pt x="88" y="34"/>
                  </a:lnTo>
                  <a:lnTo>
                    <a:pt x="75" y="31"/>
                  </a:lnTo>
                  <a:lnTo>
                    <a:pt x="57" y="31"/>
                  </a:lnTo>
                  <a:lnTo>
                    <a:pt x="36" y="28"/>
                  </a:lnTo>
                  <a:lnTo>
                    <a:pt x="32" y="11"/>
                  </a:lnTo>
                  <a:lnTo>
                    <a:pt x="22" y="9"/>
                  </a:lnTo>
                  <a:lnTo>
                    <a:pt x="4" y="0"/>
                  </a:lnTo>
                  <a:lnTo>
                    <a:pt x="0" y="16"/>
                  </a:lnTo>
                  <a:lnTo>
                    <a:pt x="16" y="28"/>
                  </a:lnTo>
                  <a:lnTo>
                    <a:pt x="5" y="37"/>
                  </a:lnTo>
                  <a:lnTo>
                    <a:pt x="2" y="46"/>
                  </a:lnTo>
                  <a:lnTo>
                    <a:pt x="16" y="52"/>
                  </a:lnTo>
                  <a:lnTo>
                    <a:pt x="15" y="66"/>
                  </a:lnTo>
                  <a:lnTo>
                    <a:pt x="24" y="84"/>
                  </a:lnTo>
                  <a:lnTo>
                    <a:pt x="30" y="104"/>
                  </a:lnTo>
                  <a:lnTo>
                    <a:pt x="38" y="106"/>
                  </a:lnTo>
                  <a:lnTo>
                    <a:pt x="44" y="108"/>
                  </a:lnTo>
                  <a:lnTo>
                    <a:pt x="47" y="105"/>
                  </a:lnTo>
                  <a:lnTo>
                    <a:pt x="57" y="109"/>
                  </a:lnTo>
                  <a:lnTo>
                    <a:pt x="61" y="96"/>
                  </a:lnTo>
                  <a:lnTo>
                    <a:pt x="58" y="86"/>
                  </a:lnTo>
                  <a:lnTo>
                    <a:pt x="77" y="87"/>
                  </a:lnTo>
                  <a:lnTo>
                    <a:pt x="87" y="101"/>
                  </a:lnTo>
                  <a:lnTo>
                    <a:pt x="93" y="112"/>
                  </a:lnTo>
                  <a:lnTo>
                    <a:pt x="96" y="124"/>
                  </a:lnTo>
                  <a:lnTo>
                    <a:pt x="103" y="136"/>
                  </a:lnTo>
                  <a:lnTo>
                    <a:pt x="100" y="118"/>
                  </a:lnTo>
                  <a:lnTo>
                    <a:pt x="107" y="121"/>
                  </a:lnTo>
                  <a:lnTo>
                    <a:pt x="105" y="105"/>
                  </a:lnTo>
                  <a:lnTo>
                    <a:pt x="105" y="10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7" name="Botswana">
              <a:extLst>
                <a:ext uri="{FF2B5EF4-FFF2-40B4-BE49-F238E27FC236}">
                  <a16:creationId xmlns:a16="http://schemas.microsoft.com/office/drawing/2014/main" id="{1B8AD0BA-47D7-45E0-A4A5-D51D0DB0AD71}"/>
                </a:ext>
              </a:extLst>
            </p:cNvPr>
            <p:cNvSpPr>
              <a:spLocks/>
            </p:cNvSpPr>
            <p:nvPr/>
          </p:nvSpPr>
          <p:spPr bwMode="auto">
            <a:xfrm>
              <a:off x="6641306" y="4728935"/>
              <a:ext cx="314325" cy="346075"/>
            </a:xfrm>
            <a:custGeom>
              <a:avLst/>
              <a:gdLst>
                <a:gd name="T0" fmla="*/ 116 w 198"/>
                <a:gd name="T1" fmla="*/ 1 h 218"/>
                <a:gd name="T2" fmla="*/ 113 w 198"/>
                <a:gd name="T3" fmla="*/ 0 h 218"/>
                <a:gd name="T4" fmla="*/ 100 w 198"/>
                <a:gd name="T5" fmla="*/ 5 h 218"/>
                <a:gd name="T6" fmla="*/ 95 w 198"/>
                <a:gd name="T7" fmla="*/ 5 h 218"/>
                <a:gd name="T8" fmla="*/ 81 w 198"/>
                <a:gd name="T9" fmla="*/ 14 h 218"/>
                <a:gd name="T10" fmla="*/ 73 w 198"/>
                <a:gd name="T11" fmla="*/ 5 h 218"/>
                <a:gd name="T12" fmla="*/ 41 w 198"/>
                <a:gd name="T13" fmla="*/ 13 h 218"/>
                <a:gd name="T14" fmla="*/ 26 w 198"/>
                <a:gd name="T15" fmla="*/ 14 h 218"/>
                <a:gd name="T16" fmla="*/ 22 w 198"/>
                <a:gd name="T17" fmla="*/ 98 h 218"/>
                <a:gd name="T18" fmla="*/ 2 w 198"/>
                <a:gd name="T19" fmla="*/ 99 h 218"/>
                <a:gd name="T20" fmla="*/ 0 w 198"/>
                <a:gd name="T21" fmla="*/ 169 h 218"/>
                <a:gd name="T22" fmla="*/ 5 w 198"/>
                <a:gd name="T23" fmla="*/ 172 h 218"/>
                <a:gd name="T24" fmla="*/ 16 w 198"/>
                <a:gd name="T25" fmla="*/ 195 h 218"/>
                <a:gd name="T26" fmla="*/ 14 w 198"/>
                <a:gd name="T27" fmla="*/ 209 h 218"/>
                <a:gd name="T28" fmla="*/ 18 w 198"/>
                <a:gd name="T29" fmla="*/ 218 h 218"/>
                <a:gd name="T30" fmla="*/ 33 w 198"/>
                <a:gd name="T31" fmla="*/ 215 h 218"/>
                <a:gd name="T32" fmla="*/ 43 w 198"/>
                <a:gd name="T33" fmla="*/ 205 h 218"/>
                <a:gd name="T34" fmla="*/ 54 w 198"/>
                <a:gd name="T35" fmla="*/ 197 h 218"/>
                <a:gd name="T36" fmla="*/ 59 w 198"/>
                <a:gd name="T37" fmla="*/ 186 h 218"/>
                <a:gd name="T38" fmla="*/ 69 w 198"/>
                <a:gd name="T39" fmla="*/ 181 h 218"/>
                <a:gd name="T40" fmla="*/ 78 w 198"/>
                <a:gd name="T41" fmla="*/ 183 h 218"/>
                <a:gd name="T42" fmla="*/ 87 w 198"/>
                <a:gd name="T43" fmla="*/ 190 h 218"/>
                <a:gd name="T44" fmla="*/ 103 w 198"/>
                <a:gd name="T45" fmla="*/ 191 h 218"/>
                <a:gd name="T46" fmla="*/ 117 w 198"/>
                <a:gd name="T47" fmla="*/ 185 h 218"/>
                <a:gd name="T48" fmla="*/ 119 w 198"/>
                <a:gd name="T49" fmla="*/ 178 h 218"/>
                <a:gd name="T50" fmla="*/ 124 w 198"/>
                <a:gd name="T51" fmla="*/ 167 h 218"/>
                <a:gd name="T52" fmla="*/ 135 w 198"/>
                <a:gd name="T53" fmla="*/ 165 h 218"/>
                <a:gd name="T54" fmla="*/ 141 w 198"/>
                <a:gd name="T55" fmla="*/ 156 h 218"/>
                <a:gd name="T56" fmla="*/ 149 w 198"/>
                <a:gd name="T57" fmla="*/ 140 h 218"/>
                <a:gd name="T58" fmla="*/ 168 w 198"/>
                <a:gd name="T59" fmla="*/ 123 h 218"/>
                <a:gd name="T60" fmla="*/ 198 w 198"/>
                <a:gd name="T61" fmla="*/ 105 h 218"/>
                <a:gd name="T62" fmla="*/ 185 w 198"/>
                <a:gd name="T63" fmla="*/ 94 h 218"/>
                <a:gd name="T64" fmla="*/ 170 w 198"/>
                <a:gd name="T65" fmla="*/ 91 h 218"/>
                <a:gd name="T66" fmla="*/ 164 w 198"/>
                <a:gd name="T67" fmla="*/ 75 h 218"/>
                <a:gd name="T68" fmla="*/ 164 w 198"/>
                <a:gd name="T69" fmla="*/ 67 h 218"/>
                <a:gd name="T70" fmla="*/ 156 w 198"/>
                <a:gd name="T71" fmla="*/ 65 h 218"/>
                <a:gd name="T72" fmla="*/ 133 w 198"/>
                <a:gd name="T73" fmla="*/ 39 h 218"/>
                <a:gd name="T74" fmla="*/ 127 w 198"/>
                <a:gd name="T75" fmla="*/ 25 h 218"/>
                <a:gd name="T76" fmla="*/ 123 w 198"/>
                <a:gd name="T77" fmla="*/ 20 h 218"/>
                <a:gd name="T78" fmla="*/ 116 w 198"/>
                <a:gd name="T79" fmla="*/ 1 h 218"/>
                <a:gd name="T80" fmla="*/ 116 w 198"/>
                <a:gd name="T81" fmla="*/ 1 h 2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8" h="218">
                  <a:moveTo>
                    <a:pt x="116" y="1"/>
                  </a:moveTo>
                  <a:lnTo>
                    <a:pt x="113" y="0"/>
                  </a:lnTo>
                  <a:lnTo>
                    <a:pt x="100" y="5"/>
                  </a:lnTo>
                  <a:lnTo>
                    <a:pt x="95" y="5"/>
                  </a:lnTo>
                  <a:lnTo>
                    <a:pt x="81" y="14"/>
                  </a:lnTo>
                  <a:lnTo>
                    <a:pt x="73" y="5"/>
                  </a:lnTo>
                  <a:lnTo>
                    <a:pt x="41" y="13"/>
                  </a:lnTo>
                  <a:lnTo>
                    <a:pt x="26" y="14"/>
                  </a:lnTo>
                  <a:lnTo>
                    <a:pt x="22" y="98"/>
                  </a:lnTo>
                  <a:lnTo>
                    <a:pt x="2" y="99"/>
                  </a:lnTo>
                  <a:lnTo>
                    <a:pt x="0" y="169"/>
                  </a:lnTo>
                  <a:lnTo>
                    <a:pt x="5" y="172"/>
                  </a:lnTo>
                  <a:lnTo>
                    <a:pt x="16" y="195"/>
                  </a:lnTo>
                  <a:lnTo>
                    <a:pt x="14" y="209"/>
                  </a:lnTo>
                  <a:lnTo>
                    <a:pt x="18" y="218"/>
                  </a:lnTo>
                  <a:lnTo>
                    <a:pt x="33" y="215"/>
                  </a:lnTo>
                  <a:lnTo>
                    <a:pt x="43" y="205"/>
                  </a:lnTo>
                  <a:lnTo>
                    <a:pt x="54" y="197"/>
                  </a:lnTo>
                  <a:lnTo>
                    <a:pt x="59" y="186"/>
                  </a:lnTo>
                  <a:lnTo>
                    <a:pt x="69" y="181"/>
                  </a:lnTo>
                  <a:lnTo>
                    <a:pt x="78" y="183"/>
                  </a:lnTo>
                  <a:lnTo>
                    <a:pt x="87" y="190"/>
                  </a:lnTo>
                  <a:lnTo>
                    <a:pt x="103" y="191"/>
                  </a:lnTo>
                  <a:lnTo>
                    <a:pt x="117" y="185"/>
                  </a:lnTo>
                  <a:lnTo>
                    <a:pt x="119" y="178"/>
                  </a:lnTo>
                  <a:lnTo>
                    <a:pt x="124" y="167"/>
                  </a:lnTo>
                  <a:lnTo>
                    <a:pt x="135" y="165"/>
                  </a:lnTo>
                  <a:lnTo>
                    <a:pt x="141" y="156"/>
                  </a:lnTo>
                  <a:lnTo>
                    <a:pt x="149" y="140"/>
                  </a:lnTo>
                  <a:lnTo>
                    <a:pt x="168" y="123"/>
                  </a:lnTo>
                  <a:lnTo>
                    <a:pt x="198" y="105"/>
                  </a:lnTo>
                  <a:lnTo>
                    <a:pt x="185" y="94"/>
                  </a:lnTo>
                  <a:lnTo>
                    <a:pt x="170" y="91"/>
                  </a:lnTo>
                  <a:lnTo>
                    <a:pt x="164" y="75"/>
                  </a:lnTo>
                  <a:lnTo>
                    <a:pt x="164" y="67"/>
                  </a:lnTo>
                  <a:lnTo>
                    <a:pt x="156" y="65"/>
                  </a:lnTo>
                  <a:lnTo>
                    <a:pt x="133" y="39"/>
                  </a:lnTo>
                  <a:lnTo>
                    <a:pt x="127" y="25"/>
                  </a:lnTo>
                  <a:lnTo>
                    <a:pt x="123" y="20"/>
                  </a:lnTo>
                  <a:lnTo>
                    <a:pt x="116" y="1"/>
                  </a:lnTo>
                  <a:lnTo>
                    <a:pt x="116"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8" name="Central African Republic">
              <a:extLst>
                <a:ext uri="{FF2B5EF4-FFF2-40B4-BE49-F238E27FC236}">
                  <a16:creationId xmlns:a16="http://schemas.microsoft.com/office/drawing/2014/main" id="{19345752-649B-45E0-8612-03DC0427B068}"/>
                </a:ext>
              </a:extLst>
            </p:cNvPr>
            <p:cNvSpPr>
              <a:spLocks/>
            </p:cNvSpPr>
            <p:nvPr/>
          </p:nvSpPr>
          <p:spPr bwMode="auto">
            <a:xfrm>
              <a:off x="6476206" y="3641498"/>
              <a:ext cx="430212" cy="334963"/>
            </a:xfrm>
            <a:custGeom>
              <a:avLst/>
              <a:gdLst>
                <a:gd name="T0" fmla="*/ 195 w 271"/>
                <a:gd name="T1" fmla="*/ 59 h 211"/>
                <a:gd name="T2" fmla="*/ 187 w 271"/>
                <a:gd name="T3" fmla="*/ 45 h 211"/>
                <a:gd name="T4" fmla="*/ 189 w 271"/>
                <a:gd name="T5" fmla="*/ 25 h 211"/>
                <a:gd name="T6" fmla="*/ 175 w 271"/>
                <a:gd name="T7" fmla="*/ 0 h 211"/>
                <a:gd name="T8" fmla="*/ 151 w 271"/>
                <a:gd name="T9" fmla="*/ 14 h 211"/>
                <a:gd name="T10" fmla="*/ 117 w 271"/>
                <a:gd name="T11" fmla="*/ 51 h 211"/>
                <a:gd name="T12" fmla="*/ 91 w 271"/>
                <a:gd name="T13" fmla="*/ 51 h 211"/>
                <a:gd name="T14" fmla="*/ 82 w 271"/>
                <a:gd name="T15" fmla="*/ 68 h 211"/>
                <a:gd name="T16" fmla="*/ 47 w 271"/>
                <a:gd name="T17" fmla="*/ 87 h 211"/>
                <a:gd name="T18" fmla="*/ 38 w 271"/>
                <a:gd name="T19" fmla="*/ 80 h 211"/>
                <a:gd name="T20" fmla="*/ 17 w 271"/>
                <a:gd name="T21" fmla="*/ 89 h 211"/>
                <a:gd name="T22" fmla="*/ 2 w 271"/>
                <a:gd name="T23" fmla="*/ 117 h 211"/>
                <a:gd name="T24" fmla="*/ 3 w 271"/>
                <a:gd name="T25" fmla="*/ 146 h 211"/>
                <a:gd name="T26" fmla="*/ 10 w 271"/>
                <a:gd name="T27" fmla="*/ 165 h 211"/>
                <a:gd name="T28" fmla="*/ 20 w 271"/>
                <a:gd name="T29" fmla="*/ 186 h 211"/>
                <a:gd name="T30" fmla="*/ 31 w 271"/>
                <a:gd name="T31" fmla="*/ 205 h 211"/>
                <a:gd name="T32" fmla="*/ 44 w 271"/>
                <a:gd name="T33" fmla="*/ 189 h 211"/>
                <a:gd name="T34" fmla="*/ 71 w 271"/>
                <a:gd name="T35" fmla="*/ 180 h 211"/>
                <a:gd name="T36" fmla="*/ 86 w 271"/>
                <a:gd name="T37" fmla="*/ 165 h 211"/>
                <a:gd name="T38" fmla="*/ 105 w 271"/>
                <a:gd name="T39" fmla="*/ 146 h 211"/>
                <a:gd name="T40" fmla="*/ 136 w 271"/>
                <a:gd name="T41" fmla="*/ 163 h 211"/>
                <a:gd name="T42" fmla="*/ 167 w 271"/>
                <a:gd name="T43" fmla="*/ 169 h 211"/>
                <a:gd name="T44" fmla="*/ 176 w 271"/>
                <a:gd name="T45" fmla="*/ 153 h 211"/>
                <a:gd name="T46" fmla="*/ 209 w 271"/>
                <a:gd name="T47" fmla="*/ 144 h 211"/>
                <a:gd name="T48" fmla="*/ 224 w 271"/>
                <a:gd name="T49" fmla="*/ 148 h 211"/>
                <a:gd name="T50" fmla="*/ 234 w 271"/>
                <a:gd name="T51" fmla="*/ 140 h 211"/>
                <a:gd name="T52" fmla="*/ 264 w 271"/>
                <a:gd name="T53" fmla="*/ 143 h 211"/>
                <a:gd name="T54" fmla="*/ 268 w 271"/>
                <a:gd name="T55" fmla="*/ 133 h 211"/>
                <a:gd name="T56" fmla="*/ 246 w 271"/>
                <a:gd name="T57" fmla="*/ 109 h 211"/>
                <a:gd name="T58" fmla="*/ 223 w 271"/>
                <a:gd name="T59" fmla="*/ 87 h 211"/>
                <a:gd name="T60" fmla="*/ 211 w 271"/>
                <a:gd name="T61" fmla="*/ 69 h 211"/>
                <a:gd name="T62" fmla="*/ 197 w 271"/>
                <a:gd name="T63" fmla="*/ 60 h 2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71" h="211">
                  <a:moveTo>
                    <a:pt x="197" y="60"/>
                  </a:moveTo>
                  <a:lnTo>
                    <a:pt x="195" y="59"/>
                  </a:lnTo>
                  <a:lnTo>
                    <a:pt x="188" y="52"/>
                  </a:lnTo>
                  <a:lnTo>
                    <a:pt x="187" y="45"/>
                  </a:lnTo>
                  <a:lnTo>
                    <a:pt x="189" y="35"/>
                  </a:lnTo>
                  <a:lnTo>
                    <a:pt x="189" y="25"/>
                  </a:lnTo>
                  <a:lnTo>
                    <a:pt x="177" y="10"/>
                  </a:lnTo>
                  <a:lnTo>
                    <a:pt x="175" y="0"/>
                  </a:lnTo>
                  <a:lnTo>
                    <a:pt x="161" y="5"/>
                  </a:lnTo>
                  <a:lnTo>
                    <a:pt x="151" y="14"/>
                  </a:lnTo>
                  <a:lnTo>
                    <a:pt x="136" y="40"/>
                  </a:lnTo>
                  <a:lnTo>
                    <a:pt x="117" y="51"/>
                  </a:lnTo>
                  <a:lnTo>
                    <a:pt x="96" y="50"/>
                  </a:lnTo>
                  <a:lnTo>
                    <a:pt x="91" y="51"/>
                  </a:lnTo>
                  <a:lnTo>
                    <a:pt x="92" y="60"/>
                  </a:lnTo>
                  <a:lnTo>
                    <a:pt x="82" y="68"/>
                  </a:lnTo>
                  <a:lnTo>
                    <a:pt x="74" y="78"/>
                  </a:lnTo>
                  <a:lnTo>
                    <a:pt x="47" y="87"/>
                  </a:lnTo>
                  <a:lnTo>
                    <a:pt x="42" y="81"/>
                  </a:lnTo>
                  <a:lnTo>
                    <a:pt x="38" y="80"/>
                  </a:lnTo>
                  <a:lnTo>
                    <a:pt x="34" y="87"/>
                  </a:lnTo>
                  <a:lnTo>
                    <a:pt x="17" y="89"/>
                  </a:lnTo>
                  <a:lnTo>
                    <a:pt x="6" y="113"/>
                  </a:lnTo>
                  <a:lnTo>
                    <a:pt x="2" y="117"/>
                  </a:lnTo>
                  <a:lnTo>
                    <a:pt x="0" y="136"/>
                  </a:lnTo>
                  <a:lnTo>
                    <a:pt x="3" y="146"/>
                  </a:lnTo>
                  <a:lnTo>
                    <a:pt x="1" y="152"/>
                  </a:lnTo>
                  <a:lnTo>
                    <a:pt x="10" y="165"/>
                  </a:lnTo>
                  <a:lnTo>
                    <a:pt x="12" y="174"/>
                  </a:lnTo>
                  <a:lnTo>
                    <a:pt x="20" y="186"/>
                  </a:lnTo>
                  <a:lnTo>
                    <a:pt x="30" y="193"/>
                  </a:lnTo>
                  <a:lnTo>
                    <a:pt x="31" y="205"/>
                  </a:lnTo>
                  <a:lnTo>
                    <a:pt x="34" y="211"/>
                  </a:lnTo>
                  <a:lnTo>
                    <a:pt x="44" y="189"/>
                  </a:lnTo>
                  <a:lnTo>
                    <a:pt x="57" y="177"/>
                  </a:lnTo>
                  <a:lnTo>
                    <a:pt x="71" y="180"/>
                  </a:lnTo>
                  <a:lnTo>
                    <a:pt x="84" y="182"/>
                  </a:lnTo>
                  <a:lnTo>
                    <a:pt x="86" y="165"/>
                  </a:lnTo>
                  <a:lnTo>
                    <a:pt x="94" y="153"/>
                  </a:lnTo>
                  <a:lnTo>
                    <a:pt x="105" y="146"/>
                  </a:lnTo>
                  <a:lnTo>
                    <a:pt x="122" y="153"/>
                  </a:lnTo>
                  <a:lnTo>
                    <a:pt x="136" y="163"/>
                  </a:lnTo>
                  <a:lnTo>
                    <a:pt x="151" y="164"/>
                  </a:lnTo>
                  <a:lnTo>
                    <a:pt x="167" y="169"/>
                  </a:lnTo>
                  <a:lnTo>
                    <a:pt x="173" y="155"/>
                  </a:lnTo>
                  <a:lnTo>
                    <a:pt x="176" y="153"/>
                  </a:lnTo>
                  <a:lnTo>
                    <a:pt x="186" y="155"/>
                  </a:lnTo>
                  <a:lnTo>
                    <a:pt x="209" y="144"/>
                  </a:lnTo>
                  <a:lnTo>
                    <a:pt x="217" y="149"/>
                  </a:lnTo>
                  <a:lnTo>
                    <a:pt x="224" y="148"/>
                  </a:lnTo>
                  <a:lnTo>
                    <a:pt x="227" y="142"/>
                  </a:lnTo>
                  <a:lnTo>
                    <a:pt x="234" y="140"/>
                  </a:lnTo>
                  <a:lnTo>
                    <a:pt x="251" y="143"/>
                  </a:lnTo>
                  <a:lnTo>
                    <a:pt x="264" y="143"/>
                  </a:lnTo>
                  <a:lnTo>
                    <a:pt x="271" y="141"/>
                  </a:lnTo>
                  <a:lnTo>
                    <a:pt x="268" y="133"/>
                  </a:lnTo>
                  <a:lnTo>
                    <a:pt x="252" y="123"/>
                  </a:lnTo>
                  <a:lnTo>
                    <a:pt x="246" y="109"/>
                  </a:lnTo>
                  <a:lnTo>
                    <a:pt x="237" y="99"/>
                  </a:lnTo>
                  <a:lnTo>
                    <a:pt x="223" y="87"/>
                  </a:lnTo>
                  <a:lnTo>
                    <a:pt x="223" y="79"/>
                  </a:lnTo>
                  <a:lnTo>
                    <a:pt x="211" y="69"/>
                  </a:lnTo>
                  <a:lnTo>
                    <a:pt x="197" y="60"/>
                  </a:lnTo>
                  <a:lnTo>
                    <a:pt x="197"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9" name="Canada">
              <a:extLst>
                <a:ext uri="{FF2B5EF4-FFF2-40B4-BE49-F238E27FC236}">
                  <a16:creationId xmlns:a16="http://schemas.microsoft.com/office/drawing/2014/main" id="{E8763695-2D54-47AF-99B8-2D7E94A5C7AB}"/>
                </a:ext>
              </a:extLst>
            </p:cNvPr>
            <p:cNvSpPr>
              <a:spLocks noEditPoints="1"/>
            </p:cNvSpPr>
            <p:nvPr/>
          </p:nvSpPr>
          <p:spPr bwMode="auto">
            <a:xfrm>
              <a:off x="2243931" y="1128487"/>
              <a:ext cx="2525712" cy="1347787"/>
            </a:xfrm>
            <a:custGeom>
              <a:avLst/>
              <a:gdLst>
                <a:gd name="T0" fmla="*/ 1194 w 1591"/>
                <a:gd name="T1" fmla="*/ 665 h 849"/>
                <a:gd name="T2" fmla="*/ 32 w 1591"/>
                <a:gd name="T3" fmla="*/ 652 h 849"/>
                <a:gd name="T4" fmla="*/ 1323 w 1591"/>
                <a:gd name="T5" fmla="*/ 649 h 849"/>
                <a:gd name="T6" fmla="*/ 1366 w 1591"/>
                <a:gd name="T7" fmla="*/ 743 h 849"/>
                <a:gd name="T8" fmla="*/ 1346 w 1591"/>
                <a:gd name="T9" fmla="*/ 649 h 849"/>
                <a:gd name="T10" fmla="*/ 1061 w 1591"/>
                <a:gd name="T11" fmla="*/ 389 h 849"/>
                <a:gd name="T12" fmla="*/ 1026 w 1591"/>
                <a:gd name="T13" fmla="*/ 381 h 849"/>
                <a:gd name="T14" fmla="*/ 1062 w 1591"/>
                <a:gd name="T15" fmla="*/ 353 h 849"/>
                <a:gd name="T16" fmla="*/ 1180 w 1591"/>
                <a:gd name="T17" fmla="*/ 269 h 849"/>
                <a:gd name="T18" fmla="*/ 890 w 1591"/>
                <a:gd name="T19" fmla="*/ 256 h 849"/>
                <a:gd name="T20" fmla="*/ 868 w 1591"/>
                <a:gd name="T21" fmla="*/ 286 h 849"/>
                <a:gd name="T22" fmla="*/ 697 w 1591"/>
                <a:gd name="T23" fmla="*/ 274 h 849"/>
                <a:gd name="T24" fmla="*/ 476 w 1591"/>
                <a:gd name="T25" fmla="*/ 243 h 849"/>
                <a:gd name="T26" fmla="*/ 251 w 1591"/>
                <a:gd name="T27" fmla="*/ 242 h 849"/>
                <a:gd name="T28" fmla="*/ 91 w 1591"/>
                <a:gd name="T29" fmla="*/ 491 h 849"/>
                <a:gd name="T30" fmla="*/ 108 w 1591"/>
                <a:gd name="T31" fmla="*/ 688 h 849"/>
                <a:gd name="T32" fmla="*/ 626 w 1591"/>
                <a:gd name="T33" fmla="*/ 691 h 849"/>
                <a:gd name="T34" fmla="*/ 775 w 1591"/>
                <a:gd name="T35" fmla="*/ 697 h 849"/>
                <a:gd name="T36" fmla="*/ 838 w 1591"/>
                <a:gd name="T37" fmla="*/ 755 h 849"/>
                <a:gd name="T38" fmla="*/ 773 w 1591"/>
                <a:gd name="T39" fmla="*/ 847 h 849"/>
                <a:gd name="T40" fmla="*/ 848 w 1591"/>
                <a:gd name="T41" fmla="*/ 819 h 849"/>
                <a:gd name="T42" fmla="*/ 1022 w 1591"/>
                <a:gd name="T43" fmla="*/ 775 h 849"/>
                <a:gd name="T44" fmla="*/ 1110 w 1591"/>
                <a:gd name="T45" fmla="*/ 812 h 849"/>
                <a:gd name="T46" fmla="*/ 1172 w 1591"/>
                <a:gd name="T47" fmla="*/ 682 h 849"/>
                <a:gd name="T48" fmla="*/ 1334 w 1591"/>
                <a:gd name="T49" fmla="*/ 632 h 849"/>
                <a:gd name="T50" fmla="*/ 1284 w 1591"/>
                <a:gd name="T51" fmla="*/ 433 h 849"/>
                <a:gd name="T52" fmla="*/ 1097 w 1591"/>
                <a:gd name="T53" fmla="*/ 385 h 849"/>
                <a:gd name="T54" fmla="*/ 920 w 1591"/>
                <a:gd name="T55" fmla="*/ 636 h 849"/>
                <a:gd name="T56" fmla="*/ 783 w 1591"/>
                <a:gd name="T57" fmla="*/ 467 h 849"/>
                <a:gd name="T58" fmla="*/ 1030 w 1591"/>
                <a:gd name="T59" fmla="*/ 308 h 849"/>
                <a:gd name="T60" fmla="*/ 1014 w 1591"/>
                <a:gd name="T61" fmla="*/ 259 h 849"/>
                <a:gd name="T62" fmla="*/ 617 w 1591"/>
                <a:gd name="T63" fmla="*/ 221 h 849"/>
                <a:gd name="T64" fmla="*/ 749 w 1591"/>
                <a:gd name="T65" fmla="*/ 248 h 849"/>
                <a:gd name="T66" fmla="*/ 780 w 1591"/>
                <a:gd name="T67" fmla="*/ 191 h 849"/>
                <a:gd name="T68" fmla="*/ 854 w 1591"/>
                <a:gd name="T69" fmla="*/ 165 h 849"/>
                <a:gd name="T70" fmla="*/ 1130 w 1591"/>
                <a:gd name="T71" fmla="*/ 158 h 849"/>
                <a:gd name="T72" fmla="*/ 1194 w 1591"/>
                <a:gd name="T73" fmla="*/ 236 h 849"/>
                <a:gd name="T74" fmla="*/ 1163 w 1591"/>
                <a:gd name="T75" fmla="*/ 346 h 849"/>
                <a:gd name="T76" fmla="*/ 1315 w 1591"/>
                <a:gd name="T77" fmla="*/ 346 h 849"/>
                <a:gd name="T78" fmla="*/ 1343 w 1591"/>
                <a:gd name="T79" fmla="*/ 248 h 849"/>
                <a:gd name="T80" fmla="*/ 1110 w 1591"/>
                <a:gd name="T81" fmla="*/ 182 h 849"/>
                <a:gd name="T82" fmla="*/ 961 w 1591"/>
                <a:gd name="T83" fmla="*/ 165 h 849"/>
                <a:gd name="T84" fmla="*/ 976 w 1591"/>
                <a:gd name="T85" fmla="*/ 192 h 849"/>
                <a:gd name="T86" fmla="*/ 523 w 1591"/>
                <a:gd name="T87" fmla="*/ 187 h 849"/>
                <a:gd name="T88" fmla="*/ 1040 w 1591"/>
                <a:gd name="T89" fmla="*/ 136 h 849"/>
                <a:gd name="T90" fmla="*/ 861 w 1591"/>
                <a:gd name="T91" fmla="*/ 114 h 849"/>
                <a:gd name="T92" fmla="*/ 764 w 1591"/>
                <a:gd name="T93" fmla="*/ 146 h 849"/>
                <a:gd name="T94" fmla="*/ 1060 w 1591"/>
                <a:gd name="T95" fmla="*/ 128 h 849"/>
                <a:gd name="T96" fmla="*/ 1132 w 1591"/>
                <a:gd name="T97" fmla="*/ 126 h 849"/>
                <a:gd name="T98" fmla="*/ 656 w 1591"/>
                <a:gd name="T99" fmla="*/ 115 h 849"/>
                <a:gd name="T100" fmla="*/ 1088 w 1591"/>
                <a:gd name="T101" fmla="*/ 90 h 849"/>
                <a:gd name="T102" fmla="*/ 899 w 1591"/>
                <a:gd name="T103" fmla="*/ 72 h 849"/>
                <a:gd name="T104" fmla="*/ 971 w 1591"/>
                <a:gd name="T105" fmla="*/ 59 h 849"/>
                <a:gd name="T106" fmla="*/ 1153 w 1591"/>
                <a:gd name="T107" fmla="*/ 32 h 849"/>
                <a:gd name="T108" fmla="*/ 1222 w 1591"/>
                <a:gd name="T109" fmla="*/ 53 h 849"/>
                <a:gd name="T110" fmla="*/ 1229 w 1591"/>
                <a:gd name="T111" fmla="*/ 15 h 849"/>
                <a:gd name="T112" fmla="*/ 1203 w 1591"/>
                <a:gd name="T113" fmla="*/ 69 h 849"/>
                <a:gd name="T114" fmla="*/ 1296 w 1591"/>
                <a:gd name="T115" fmla="*/ 99 h 849"/>
                <a:gd name="T116" fmla="*/ 1492 w 1591"/>
                <a:gd name="T117" fmla="*/ 34 h 8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591" h="849">
                  <a:moveTo>
                    <a:pt x="1177" y="745"/>
                  </a:moveTo>
                  <a:lnTo>
                    <a:pt x="1174" y="733"/>
                  </a:lnTo>
                  <a:lnTo>
                    <a:pt x="1165" y="740"/>
                  </a:lnTo>
                  <a:lnTo>
                    <a:pt x="1166" y="748"/>
                  </a:lnTo>
                  <a:lnTo>
                    <a:pt x="1188" y="758"/>
                  </a:lnTo>
                  <a:lnTo>
                    <a:pt x="1194" y="757"/>
                  </a:lnTo>
                  <a:lnTo>
                    <a:pt x="1207" y="747"/>
                  </a:lnTo>
                  <a:lnTo>
                    <a:pt x="1190" y="747"/>
                  </a:lnTo>
                  <a:lnTo>
                    <a:pt x="1177" y="745"/>
                  </a:lnTo>
                  <a:lnTo>
                    <a:pt x="1177" y="745"/>
                  </a:lnTo>
                  <a:close/>
                  <a:moveTo>
                    <a:pt x="1231" y="685"/>
                  </a:moveTo>
                  <a:lnTo>
                    <a:pt x="1231" y="681"/>
                  </a:lnTo>
                  <a:lnTo>
                    <a:pt x="1216" y="671"/>
                  </a:lnTo>
                  <a:lnTo>
                    <a:pt x="1194" y="665"/>
                  </a:lnTo>
                  <a:lnTo>
                    <a:pt x="1187" y="667"/>
                  </a:lnTo>
                  <a:lnTo>
                    <a:pt x="1200" y="678"/>
                  </a:lnTo>
                  <a:lnTo>
                    <a:pt x="1222" y="686"/>
                  </a:lnTo>
                  <a:lnTo>
                    <a:pt x="1231" y="685"/>
                  </a:lnTo>
                  <a:lnTo>
                    <a:pt x="1231" y="685"/>
                  </a:lnTo>
                  <a:close/>
                  <a:moveTo>
                    <a:pt x="90" y="699"/>
                  </a:moveTo>
                  <a:lnTo>
                    <a:pt x="91" y="686"/>
                  </a:lnTo>
                  <a:lnTo>
                    <a:pt x="79" y="677"/>
                  </a:lnTo>
                  <a:lnTo>
                    <a:pt x="78" y="665"/>
                  </a:lnTo>
                  <a:lnTo>
                    <a:pt x="77" y="658"/>
                  </a:lnTo>
                  <a:lnTo>
                    <a:pt x="62" y="655"/>
                  </a:lnTo>
                  <a:lnTo>
                    <a:pt x="53" y="652"/>
                  </a:lnTo>
                  <a:lnTo>
                    <a:pt x="38" y="647"/>
                  </a:lnTo>
                  <a:lnTo>
                    <a:pt x="32" y="652"/>
                  </a:lnTo>
                  <a:lnTo>
                    <a:pt x="30" y="664"/>
                  </a:lnTo>
                  <a:lnTo>
                    <a:pt x="46" y="669"/>
                  </a:lnTo>
                  <a:lnTo>
                    <a:pt x="45" y="676"/>
                  </a:lnTo>
                  <a:lnTo>
                    <a:pt x="55" y="684"/>
                  </a:lnTo>
                  <a:lnTo>
                    <a:pt x="55" y="691"/>
                  </a:lnTo>
                  <a:lnTo>
                    <a:pt x="79" y="703"/>
                  </a:lnTo>
                  <a:lnTo>
                    <a:pt x="90" y="699"/>
                  </a:lnTo>
                  <a:lnTo>
                    <a:pt x="90" y="699"/>
                  </a:lnTo>
                  <a:close/>
                  <a:moveTo>
                    <a:pt x="1346" y="649"/>
                  </a:moveTo>
                  <a:lnTo>
                    <a:pt x="1360" y="635"/>
                  </a:lnTo>
                  <a:lnTo>
                    <a:pt x="1365" y="628"/>
                  </a:lnTo>
                  <a:lnTo>
                    <a:pt x="1358" y="627"/>
                  </a:lnTo>
                  <a:lnTo>
                    <a:pt x="1339" y="635"/>
                  </a:lnTo>
                  <a:lnTo>
                    <a:pt x="1323" y="649"/>
                  </a:lnTo>
                  <a:lnTo>
                    <a:pt x="1293" y="685"/>
                  </a:lnTo>
                  <a:lnTo>
                    <a:pt x="1274" y="699"/>
                  </a:lnTo>
                  <a:lnTo>
                    <a:pt x="1279" y="705"/>
                  </a:lnTo>
                  <a:lnTo>
                    <a:pt x="1265" y="713"/>
                  </a:lnTo>
                  <a:lnTo>
                    <a:pt x="1266" y="720"/>
                  </a:lnTo>
                  <a:lnTo>
                    <a:pt x="1302" y="720"/>
                  </a:lnTo>
                  <a:lnTo>
                    <a:pt x="1322" y="719"/>
                  </a:lnTo>
                  <a:lnTo>
                    <a:pt x="1338" y="725"/>
                  </a:lnTo>
                  <a:lnTo>
                    <a:pt x="1322" y="736"/>
                  </a:lnTo>
                  <a:lnTo>
                    <a:pt x="1333" y="736"/>
                  </a:lnTo>
                  <a:lnTo>
                    <a:pt x="1360" y="717"/>
                  </a:lnTo>
                  <a:lnTo>
                    <a:pt x="1364" y="719"/>
                  </a:lnTo>
                  <a:lnTo>
                    <a:pt x="1355" y="738"/>
                  </a:lnTo>
                  <a:lnTo>
                    <a:pt x="1366" y="743"/>
                  </a:lnTo>
                  <a:lnTo>
                    <a:pt x="1375" y="742"/>
                  </a:lnTo>
                  <a:lnTo>
                    <a:pt x="1388" y="721"/>
                  </a:lnTo>
                  <a:lnTo>
                    <a:pt x="1386" y="707"/>
                  </a:lnTo>
                  <a:lnTo>
                    <a:pt x="1388" y="695"/>
                  </a:lnTo>
                  <a:lnTo>
                    <a:pt x="1374" y="699"/>
                  </a:lnTo>
                  <a:lnTo>
                    <a:pt x="1384" y="682"/>
                  </a:lnTo>
                  <a:lnTo>
                    <a:pt x="1368" y="675"/>
                  </a:lnTo>
                  <a:lnTo>
                    <a:pt x="1358" y="680"/>
                  </a:lnTo>
                  <a:lnTo>
                    <a:pt x="1343" y="674"/>
                  </a:lnTo>
                  <a:lnTo>
                    <a:pt x="1352" y="666"/>
                  </a:lnTo>
                  <a:lnTo>
                    <a:pt x="1341" y="662"/>
                  </a:lnTo>
                  <a:lnTo>
                    <a:pt x="1327" y="669"/>
                  </a:lnTo>
                  <a:lnTo>
                    <a:pt x="1346" y="649"/>
                  </a:lnTo>
                  <a:lnTo>
                    <a:pt x="1346" y="649"/>
                  </a:lnTo>
                  <a:close/>
                  <a:moveTo>
                    <a:pt x="13" y="569"/>
                  </a:moveTo>
                  <a:lnTo>
                    <a:pt x="6" y="577"/>
                  </a:lnTo>
                  <a:lnTo>
                    <a:pt x="0" y="587"/>
                  </a:lnTo>
                  <a:lnTo>
                    <a:pt x="4" y="593"/>
                  </a:lnTo>
                  <a:lnTo>
                    <a:pt x="2" y="604"/>
                  </a:lnTo>
                  <a:lnTo>
                    <a:pt x="4" y="615"/>
                  </a:lnTo>
                  <a:lnTo>
                    <a:pt x="12" y="615"/>
                  </a:lnTo>
                  <a:lnTo>
                    <a:pt x="11" y="596"/>
                  </a:lnTo>
                  <a:lnTo>
                    <a:pt x="38" y="570"/>
                  </a:lnTo>
                  <a:lnTo>
                    <a:pt x="19" y="572"/>
                  </a:lnTo>
                  <a:lnTo>
                    <a:pt x="13" y="569"/>
                  </a:lnTo>
                  <a:lnTo>
                    <a:pt x="13" y="569"/>
                  </a:lnTo>
                  <a:close/>
                  <a:moveTo>
                    <a:pt x="1062" y="394"/>
                  </a:moveTo>
                  <a:lnTo>
                    <a:pt x="1061" y="389"/>
                  </a:lnTo>
                  <a:lnTo>
                    <a:pt x="1054" y="389"/>
                  </a:lnTo>
                  <a:lnTo>
                    <a:pt x="1044" y="395"/>
                  </a:lnTo>
                  <a:lnTo>
                    <a:pt x="1042" y="396"/>
                  </a:lnTo>
                  <a:lnTo>
                    <a:pt x="1042" y="403"/>
                  </a:lnTo>
                  <a:lnTo>
                    <a:pt x="1049" y="405"/>
                  </a:lnTo>
                  <a:lnTo>
                    <a:pt x="1062" y="394"/>
                  </a:lnTo>
                  <a:lnTo>
                    <a:pt x="1062" y="394"/>
                  </a:lnTo>
                  <a:close/>
                  <a:moveTo>
                    <a:pt x="1026" y="381"/>
                  </a:moveTo>
                  <a:lnTo>
                    <a:pt x="1029" y="378"/>
                  </a:lnTo>
                  <a:lnTo>
                    <a:pt x="1007" y="378"/>
                  </a:lnTo>
                  <a:lnTo>
                    <a:pt x="988" y="387"/>
                  </a:lnTo>
                  <a:lnTo>
                    <a:pt x="988" y="393"/>
                  </a:lnTo>
                  <a:lnTo>
                    <a:pt x="999" y="394"/>
                  </a:lnTo>
                  <a:lnTo>
                    <a:pt x="1026" y="381"/>
                  </a:lnTo>
                  <a:lnTo>
                    <a:pt x="1026" y="381"/>
                  </a:lnTo>
                  <a:close/>
                  <a:moveTo>
                    <a:pt x="1014" y="320"/>
                  </a:moveTo>
                  <a:lnTo>
                    <a:pt x="1005" y="318"/>
                  </a:lnTo>
                  <a:lnTo>
                    <a:pt x="986" y="338"/>
                  </a:lnTo>
                  <a:lnTo>
                    <a:pt x="972" y="353"/>
                  </a:lnTo>
                  <a:lnTo>
                    <a:pt x="951" y="365"/>
                  </a:lnTo>
                  <a:lnTo>
                    <a:pt x="975" y="362"/>
                  </a:lnTo>
                  <a:lnTo>
                    <a:pt x="971" y="375"/>
                  </a:lnTo>
                  <a:lnTo>
                    <a:pt x="1002" y="364"/>
                  </a:lnTo>
                  <a:lnTo>
                    <a:pt x="1026" y="353"/>
                  </a:lnTo>
                  <a:lnTo>
                    <a:pt x="1028" y="362"/>
                  </a:lnTo>
                  <a:lnTo>
                    <a:pt x="1051" y="367"/>
                  </a:lnTo>
                  <a:lnTo>
                    <a:pt x="1068" y="360"/>
                  </a:lnTo>
                  <a:lnTo>
                    <a:pt x="1062" y="353"/>
                  </a:lnTo>
                  <a:lnTo>
                    <a:pt x="1049" y="355"/>
                  </a:lnTo>
                  <a:lnTo>
                    <a:pt x="1054" y="345"/>
                  </a:lnTo>
                  <a:lnTo>
                    <a:pt x="1040" y="339"/>
                  </a:lnTo>
                  <a:lnTo>
                    <a:pt x="1027" y="331"/>
                  </a:lnTo>
                  <a:lnTo>
                    <a:pt x="1022" y="325"/>
                  </a:lnTo>
                  <a:lnTo>
                    <a:pt x="1011" y="329"/>
                  </a:lnTo>
                  <a:lnTo>
                    <a:pt x="1014" y="320"/>
                  </a:lnTo>
                  <a:lnTo>
                    <a:pt x="1014" y="320"/>
                  </a:lnTo>
                  <a:close/>
                  <a:moveTo>
                    <a:pt x="1181" y="289"/>
                  </a:moveTo>
                  <a:lnTo>
                    <a:pt x="1195" y="283"/>
                  </a:lnTo>
                  <a:lnTo>
                    <a:pt x="1199" y="281"/>
                  </a:lnTo>
                  <a:lnTo>
                    <a:pt x="1204" y="271"/>
                  </a:lnTo>
                  <a:lnTo>
                    <a:pt x="1195" y="266"/>
                  </a:lnTo>
                  <a:lnTo>
                    <a:pt x="1180" y="269"/>
                  </a:lnTo>
                  <a:lnTo>
                    <a:pt x="1166" y="281"/>
                  </a:lnTo>
                  <a:lnTo>
                    <a:pt x="1163" y="290"/>
                  </a:lnTo>
                  <a:lnTo>
                    <a:pt x="1181" y="289"/>
                  </a:lnTo>
                  <a:lnTo>
                    <a:pt x="1181" y="289"/>
                  </a:lnTo>
                  <a:close/>
                  <a:moveTo>
                    <a:pt x="906" y="249"/>
                  </a:moveTo>
                  <a:lnTo>
                    <a:pt x="902" y="241"/>
                  </a:lnTo>
                  <a:lnTo>
                    <a:pt x="901" y="238"/>
                  </a:lnTo>
                  <a:lnTo>
                    <a:pt x="896" y="234"/>
                  </a:lnTo>
                  <a:lnTo>
                    <a:pt x="885" y="228"/>
                  </a:lnTo>
                  <a:lnTo>
                    <a:pt x="866" y="238"/>
                  </a:lnTo>
                  <a:lnTo>
                    <a:pt x="847" y="243"/>
                  </a:lnTo>
                  <a:lnTo>
                    <a:pt x="860" y="253"/>
                  </a:lnTo>
                  <a:lnTo>
                    <a:pt x="874" y="251"/>
                  </a:lnTo>
                  <a:lnTo>
                    <a:pt x="890" y="256"/>
                  </a:lnTo>
                  <a:lnTo>
                    <a:pt x="906" y="249"/>
                  </a:lnTo>
                  <a:close/>
                  <a:moveTo>
                    <a:pt x="989" y="241"/>
                  </a:moveTo>
                  <a:lnTo>
                    <a:pt x="965" y="238"/>
                  </a:lnTo>
                  <a:lnTo>
                    <a:pt x="986" y="228"/>
                  </a:lnTo>
                  <a:lnTo>
                    <a:pt x="984" y="206"/>
                  </a:lnTo>
                  <a:lnTo>
                    <a:pt x="977" y="197"/>
                  </a:lnTo>
                  <a:lnTo>
                    <a:pt x="960" y="194"/>
                  </a:lnTo>
                  <a:lnTo>
                    <a:pt x="930" y="208"/>
                  </a:lnTo>
                  <a:lnTo>
                    <a:pt x="910" y="230"/>
                  </a:lnTo>
                  <a:lnTo>
                    <a:pt x="921" y="238"/>
                  </a:lnTo>
                  <a:lnTo>
                    <a:pt x="927" y="250"/>
                  </a:lnTo>
                  <a:lnTo>
                    <a:pt x="903" y="270"/>
                  </a:lnTo>
                  <a:lnTo>
                    <a:pt x="891" y="269"/>
                  </a:lnTo>
                  <a:lnTo>
                    <a:pt x="868" y="286"/>
                  </a:lnTo>
                  <a:lnTo>
                    <a:pt x="884" y="267"/>
                  </a:lnTo>
                  <a:lnTo>
                    <a:pt x="866" y="260"/>
                  </a:lnTo>
                  <a:lnTo>
                    <a:pt x="849" y="264"/>
                  </a:lnTo>
                  <a:lnTo>
                    <a:pt x="840" y="276"/>
                  </a:lnTo>
                  <a:lnTo>
                    <a:pt x="818" y="276"/>
                  </a:lnTo>
                  <a:lnTo>
                    <a:pt x="791" y="279"/>
                  </a:lnTo>
                  <a:lnTo>
                    <a:pt x="772" y="269"/>
                  </a:lnTo>
                  <a:lnTo>
                    <a:pt x="753" y="271"/>
                  </a:lnTo>
                  <a:lnTo>
                    <a:pt x="747" y="260"/>
                  </a:lnTo>
                  <a:lnTo>
                    <a:pt x="740" y="255"/>
                  </a:lnTo>
                  <a:lnTo>
                    <a:pt x="726" y="257"/>
                  </a:lnTo>
                  <a:lnTo>
                    <a:pt x="706" y="258"/>
                  </a:lnTo>
                  <a:lnTo>
                    <a:pt x="689" y="266"/>
                  </a:lnTo>
                  <a:lnTo>
                    <a:pt x="697" y="274"/>
                  </a:lnTo>
                  <a:lnTo>
                    <a:pt x="671" y="284"/>
                  </a:lnTo>
                  <a:lnTo>
                    <a:pt x="666" y="272"/>
                  </a:lnTo>
                  <a:lnTo>
                    <a:pt x="649" y="276"/>
                  </a:lnTo>
                  <a:lnTo>
                    <a:pt x="605" y="278"/>
                  </a:lnTo>
                  <a:lnTo>
                    <a:pt x="581" y="273"/>
                  </a:lnTo>
                  <a:lnTo>
                    <a:pt x="613" y="264"/>
                  </a:lnTo>
                  <a:lnTo>
                    <a:pt x="603" y="254"/>
                  </a:lnTo>
                  <a:lnTo>
                    <a:pt x="587" y="255"/>
                  </a:lnTo>
                  <a:lnTo>
                    <a:pt x="569" y="251"/>
                  </a:lnTo>
                  <a:lnTo>
                    <a:pt x="541" y="244"/>
                  </a:lnTo>
                  <a:lnTo>
                    <a:pt x="527" y="236"/>
                  </a:lnTo>
                  <a:lnTo>
                    <a:pt x="510" y="234"/>
                  </a:lnTo>
                  <a:lnTo>
                    <a:pt x="497" y="241"/>
                  </a:lnTo>
                  <a:lnTo>
                    <a:pt x="476" y="243"/>
                  </a:lnTo>
                  <a:lnTo>
                    <a:pt x="490" y="228"/>
                  </a:lnTo>
                  <a:lnTo>
                    <a:pt x="455" y="241"/>
                  </a:lnTo>
                  <a:lnTo>
                    <a:pt x="449" y="225"/>
                  </a:lnTo>
                  <a:lnTo>
                    <a:pt x="442" y="222"/>
                  </a:lnTo>
                  <a:lnTo>
                    <a:pt x="428" y="231"/>
                  </a:lnTo>
                  <a:lnTo>
                    <a:pt x="411" y="236"/>
                  </a:lnTo>
                  <a:lnTo>
                    <a:pt x="410" y="227"/>
                  </a:lnTo>
                  <a:lnTo>
                    <a:pt x="379" y="233"/>
                  </a:lnTo>
                  <a:lnTo>
                    <a:pt x="347" y="241"/>
                  </a:lnTo>
                  <a:lnTo>
                    <a:pt x="327" y="240"/>
                  </a:lnTo>
                  <a:lnTo>
                    <a:pt x="301" y="245"/>
                  </a:lnTo>
                  <a:lnTo>
                    <a:pt x="278" y="254"/>
                  </a:lnTo>
                  <a:lnTo>
                    <a:pt x="264" y="252"/>
                  </a:lnTo>
                  <a:lnTo>
                    <a:pt x="251" y="242"/>
                  </a:lnTo>
                  <a:lnTo>
                    <a:pt x="230" y="238"/>
                  </a:lnTo>
                  <a:lnTo>
                    <a:pt x="230" y="238"/>
                  </a:lnTo>
                  <a:lnTo>
                    <a:pt x="139" y="312"/>
                  </a:lnTo>
                  <a:lnTo>
                    <a:pt x="7" y="434"/>
                  </a:lnTo>
                  <a:lnTo>
                    <a:pt x="23" y="434"/>
                  </a:lnTo>
                  <a:lnTo>
                    <a:pt x="32" y="440"/>
                  </a:lnTo>
                  <a:lnTo>
                    <a:pt x="35" y="450"/>
                  </a:lnTo>
                  <a:lnTo>
                    <a:pt x="36" y="465"/>
                  </a:lnTo>
                  <a:lnTo>
                    <a:pt x="64" y="452"/>
                  </a:lnTo>
                  <a:lnTo>
                    <a:pt x="88" y="445"/>
                  </a:lnTo>
                  <a:lnTo>
                    <a:pt x="86" y="456"/>
                  </a:lnTo>
                  <a:lnTo>
                    <a:pt x="88" y="466"/>
                  </a:lnTo>
                  <a:lnTo>
                    <a:pt x="95" y="475"/>
                  </a:lnTo>
                  <a:lnTo>
                    <a:pt x="91" y="491"/>
                  </a:lnTo>
                  <a:lnTo>
                    <a:pt x="85" y="516"/>
                  </a:lnTo>
                  <a:lnTo>
                    <a:pt x="102" y="531"/>
                  </a:lnTo>
                  <a:lnTo>
                    <a:pt x="91" y="544"/>
                  </a:lnTo>
                  <a:lnTo>
                    <a:pt x="71" y="555"/>
                  </a:lnTo>
                  <a:lnTo>
                    <a:pt x="71" y="555"/>
                  </a:lnTo>
                  <a:lnTo>
                    <a:pt x="62" y="566"/>
                  </a:lnTo>
                  <a:lnTo>
                    <a:pt x="70" y="583"/>
                  </a:lnTo>
                  <a:lnTo>
                    <a:pt x="58" y="602"/>
                  </a:lnTo>
                  <a:lnTo>
                    <a:pt x="74" y="611"/>
                  </a:lnTo>
                  <a:lnTo>
                    <a:pt x="60" y="625"/>
                  </a:lnTo>
                  <a:lnTo>
                    <a:pt x="55" y="646"/>
                  </a:lnTo>
                  <a:lnTo>
                    <a:pt x="82" y="655"/>
                  </a:lnTo>
                  <a:lnTo>
                    <a:pt x="87" y="665"/>
                  </a:lnTo>
                  <a:lnTo>
                    <a:pt x="108" y="688"/>
                  </a:lnTo>
                  <a:lnTo>
                    <a:pt x="111" y="688"/>
                  </a:lnTo>
                  <a:lnTo>
                    <a:pt x="162" y="688"/>
                  </a:lnTo>
                  <a:lnTo>
                    <a:pt x="217" y="688"/>
                  </a:lnTo>
                  <a:lnTo>
                    <a:pt x="235" y="688"/>
                  </a:lnTo>
                  <a:lnTo>
                    <a:pt x="291" y="688"/>
                  </a:lnTo>
                  <a:lnTo>
                    <a:pt x="345" y="688"/>
                  </a:lnTo>
                  <a:lnTo>
                    <a:pt x="400" y="688"/>
                  </a:lnTo>
                  <a:lnTo>
                    <a:pt x="455" y="688"/>
                  </a:lnTo>
                  <a:lnTo>
                    <a:pt x="518" y="688"/>
                  </a:lnTo>
                  <a:lnTo>
                    <a:pt x="580" y="688"/>
                  </a:lnTo>
                  <a:lnTo>
                    <a:pt x="617" y="688"/>
                  </a:lnTo>
                  <a:lnTo>
                    <a:pt x="622" y="678"/>
                  </a:lnTo>
                  <a:lnTo>
                    <a:pt x="629" y="678"/>
                  </a:lnTo>
                  <a:lnTo>
                    <a:pt x="626" y="691"/>
                  </a:lnTo>
                  <a:lnTo>
                    <a:pt x="630" y="695"/>
                  </a:lnTo>
                  <a:lnTo>
                    <a:pt x="641" y="697"/>
                  </a:lnTo>
                  <a:lnTo>
                    <a:pt x="659" y="701"/>
                  </a:lnTo>
                  <a:lnTo>
                    <a:pt x="673" y="707"/>
                  </a:lnTo>
                  <a:lnTo>
                    <a:pt x="689" y="705"/>
                  </a:lnTo>
                  <a:lnTo>
                    <a:pt x="709" y="710"/>
                  </a:lnTo>
                  <a:lnTo>
                    <a:pt x="709" y="710"/>
                  </a:lnTo>
                  <a:lnTo>
                    <a:pt x="721" y="702"/>
                  </a:lnTo>
                  <a:lnTo>
                    <a:pt x="732" y="698"/>
                  </a:lnTo>
                  <a:lnTo>
                    <a:pt x="740" y="692"/>
                  </a:lnTo>
                  <a:lnTo>
                    <a:pt x="745" y="690"/>
                  </a:lnTo>
                  <a:lnTo>
                    <a:pt x="760" y="693"/>
                  </a:lnTo>
                  <a:lnTo>
                    <a:pt x="772" y="694"/>
                  </a:lnTo>
                  <a:lnTo>
                    <a:pt x="775" y="697"/>
                  </a:lnTo>
                  <a:lnTo>
                    <a:pt x="775" y="710"/>
                  </a:lnTo>
                  <a:lnTo>
                    <a:pt x="795" y="714"/>
                  </a:lnTo>
                  <a:lnTo>
                    <a:pt x="788" y="720"/>
                  </a:lnTo>
                  <a:lnTo>
                    <a:pt x="793" y="728"/>
                  </a:lnTo>
                  <a:lnTo>
                    <a:pt x="786" y="736"/>
                  </a:lnTo>
                  <a:lnTo>
                    <a:pt x="793" y="739"/>
                  </a:lnTo>
                  <a:lnTo>
                    <a:pt x="786" y="747"/>
                  </a:lnTo>
                  <a:lnTo>
                    <a:pt x="786" y="747"/>
                  </a:lnTo>
                  <a:lnTo>
                    <a:pt x="790" y="747"/>
                  </a:lnTo>
                  <a:lnTo>
                    <a:pt x="795" y="745"/>
                  </a:lnTo>
                  <a:lnTo>
                    <a:pt x="797" y="749"/>
                  </a:lnTo>
                  <a:lnTo>
                    <a:pt x="810" y="752"/>
                  </a:lnTo>
                  <a:lnTo>
                    <a:pt x="824" y="753"/>
                  </a:lnTo>
                  <a:lnTo>
                    <a:pt x="838" y="755"/>
                  </a:lnTo>
                  <a:lnTo>
                    <a:pt x="853" y="760"/>
                  </a:lnTo>
                  <a:lnTo>
                    <a:pt x="856" y="767"/>
                  </a:lnTo>
                  <a:lnTo>
                    <a:pt x="861" y="785"/>
                  </a:lnTo>
                  <a:lnTo>
                    <a:pt x="852" y="792"/>
                  </a:lnTo>
                  <a:lnTo>
                    <a:pt x="838" y="789"/>
                  </a:lnTo>
                  <a:lnTo>
                    <a:pt x="834" y="775"/>
                  </a:lnTo>
                  <a:lnTo>
                    <a:pt x="831" y="790"/>
                  </a:lnTo>
                  <a:lnTo>
                    <a:pt x="816" y="802"/>
                  </a:lnTo>
                  <a:lnTo>
                    <a:pt x="814" y="813"/>
                  </a:lnTo>
                  <a:lnTo>
                    <a:pt x="810" y="819"/>
                  </a:lnTo>
                  <a:lnTo>
                    <a:pt x="794" y="827"/>
                  </a:lnTo>
                  <a:lnTo>
                    <a:pt x="794" y="827"/>
                  </a:lnTo>
                  <a:lnTo>
                    <a:pt x="781" y="839"/>
                  </a:lnTo>
                  <a:lnTo>
                    <a:pt x="773" y="847"/>
                  </a:lnTo>
                  <a:lnTo>
                    <a:pt x="783" y="849"/>
                  </a:lnTo>
                  <a:lnTo>
                    <a:pt x="800" y="842"/>
                  </a:lnTo>
                  <a:lnTo>
                    <a:pt x="811" y="835"/>
                  </a:lnTo>
                  <a:lnTo>
                    <a:pt x="816" y="834"/>
                  </a:lnTo>
                  <a:lnTo>
                    <a:pt x="827" y="836"/>
                  </a:lnTo>
                  <a:lnTo>
                    <a:pt x="833" y="833"/>
                  </a:lnTo>
                  <a:lnTo>
                    <a:pt x="843" y="830"/>
                  </a:lnTo>
                  <a:lnTo>
                    <a:pt x="861" y="827"/>
                  </a:lnTo>
                  <a:lnTo>
                    <a:pt x="861" y="827"/>
                  </a:lnTo>
                  <a:lnTo>
                    <a:pt x="861" y="827"/>
                  </a:lnTo>
                  <a:lnTo>
                    <a:pt x="862" y="820"/>
                  </a:lnTo>
                  <a:lnTo>
                    <a:pt x="861" y="820"/>
                  </a:lnTo>
                  <a:lnTo>
                    <a:pt x="855" y="822"/>
                  </a:lnTo>
                  <a:lnTo>
                    <a:pt x="848" y="819"/>
                  </a:lnTo>
                  <a:lnTo>
                    <a:pt x="857" y="812"/>
                  </a:lnTo>
                  <a:lnTo>
                    <a:pt x="863" y="809"/>
                  </a:lnTo>
                  <a:lnTo>
                    <a:pt x="878" y="805"/>
                  </a:lnTo>
                  <a:lnTo>
                    <a:pt x="895" y="803"/>
                  </a:lnTo>
                  <a:lnTo>
                    <a:pt x="902" y="807"/>
                  </a:lnTo>
                  <a:lnTo>
                    <a:pt x="909" y="802"/>
                  </a:lnTo>
                  <a:lnTo>
                    <a:pt x="916" y="799"/>
                  </a:lnTo>
                  <a:lnTo>
                    <a:pt x="919" y="800"/>
                  </a:lnTo>
                  <a:lnTo>
                    <a:pt x="920" y="801"/>
                  </a:lnTo>
                  <a:lnTo>
                    <a:pt x="945" y="785"/>
                  </a:lnTo>
                  <a:lnTo>
                    <a:pt x="955" y="780"/>
                  </a:lnTo>
                  <a:lnTo>
                    <a:pt x="983" y="780"/>
                  </a:lnTo>
                  <a:lnTo>
                    <a:pt x="1018" y="780"/>
                  </a:lnTo>
                  <a:lnTo>
                    <a:pt x="1022" y="775"/>
                  </a:lnTo>
                  <a:lnTo>
                    <a:pt x="1028" y="774"/>
                  </a:lnTo>
                  <a:lnTo>
                    <a:pt x="1038" y="770"/>
                  </a:lnTo>
                  <a:lnTo>
                    <a:pt x="1048" y="760"/>
                  </a:lnTo>
                  <a:lnTo>
                    <a:pt x="1060" y="741"/>
                  </a:lnTo>
                  <a:lnTo>
                    <a:pt x="1081" y="723"/>
                  </a:lnTo>
                  <a:lnTo>
                    <a:pt x="1084" y="730"/>
                  </a:lnTo>
                  <a:lnTo>
                    <a:pt x="1098" y="726"/>
                  </a:lnTo>
                  <a:lnTo>
                    <a:pt x="1104" y="733"/>
                  </a:lnTo>
                  <a:lnTo>
                    <a:pt x="1094" y="764"/>
                  </a:lnTo>
                  <a:lnTo>
                    <a:pt x="1101" y="777"/>
                  </a:lnTo>
                  <a:lnTo>
                    <a:pt x="1124" y="775"/>
                  </a:lnTo>
                  <a:lnTo>
                    <a:pt x="1153" y="774"/>
                  </a:lnTo>
                  <a:lnTo>
                    <a:pt x="1115" y="792"/>
                  </a:lnTo>
                  <a:lnTo>
                    <a:pt x="1110" y="812"/>
                  </a:lnTo>
                  <a:lnTo>
                    <a:pt x="1123" y="814"/>
                  </a:lnTo>
                  <a:lnTo>
                    <a:pt x="1150" y="797"/>
                  </a:lnTo>
                  <a:lnTo>
                    <a:pt x="1171" y="789"/>
                  </a:lnTo>
                  <a:lnTo>
                    <a:pt x="1217" y="775"/>
                  </a:lnTo>
                  <a:lnTo>
                    <a:pt x="1245" y="759"/>
                  </a:lnTo>
                  <a:lnTo>
                    <a:pt x="1235" y="751"/>
                  </a:lnTo>
                  <a:lnTo>
                    <a:pt x="1238" y="734"/>
                  </a:lnTo>
                  <a:lnTo>
                    <a:pt x="1212" y="761"/>
                  </a:lnTo>
                  <a:lnTo>
                    <a:pt x="1180" y="763"/>
                  </a:lnTo>
                  <a:lnTo>
                    <a:pt x="1160" y="751"/>
                  </a:lnTo>
                  <a:lnTo>
                    <a:pt x="1159" y="734"/>
                  </a:lnTo>
                  <a:lnTo>
                    <a:pt x="1162" y="709"/>
                  </a:lnTo>
                  <a:lnTo>
                    <a:pt x="1184" y="693"/>
                  </a:lnTo>
                  <a:lnTo>
                    <a:pt x="1172" y="682"/>
                  </a:lnTo>
                  <a:lnTo>
                    <a:pt x="1143" y="684"/>
                  </a:lnTo>
                  <a:lnTo>
                    <a:pt x="1098" y="704"/>
                  </a:lnTo>
                  <a:lnTo>
                    <a:pt x="1057" y="734"/>
                  </a:lnTo>
                  <a:lnTo>
                    <a:pt x="1040" y="738"/>
                  </a:lnTo>
                  <a:lnTo>
                    <a:pt x="1069" y="717"/>
                  </a:lnTo>
                  <a:lnTo>
                    <a:pt x="1108" y="686"/>
                  </a:lnTo>
                  <a:lnTo>
                    <a:pt x="1134" y="676"/>
                  </a:lnTo>
                  <a:lnTo>
                    <a:pt x="1155" y="660"/>
                  </a:lnTo>
                  <a:lnTo>
                    <a:pt x="1175" y="658"/>
                  </a:lnTo>
                  <a:lnTo>
                    <a:pt x="1202" y="658"/>
                  </a:lnTo>
                  <a:lnTo>
                    <a:pt x="1239" y="663"/>
                  </a:lnTo>
                  <a:lnTo>
                    <a:pt x="1272" y="659"/>
                  </a:lnTo>
                  <a:lnTo>
                    <a:pt x="1301" y="640"/>
                  </a:lnTo>
                  <a:lnTo>
                    <a:pt x="1334" y="632"/>
                  </a:lnTo>
                  <a:lnTo>
                    <a:pt x="1349" y="624"/>
                  </a:lnTo>
                  <a:lnTo>
                    <a:pt x="1364" y="615"/>
                  </a:lnTo>
                  <a:lnTo>
                    <a:pt x="1372" y="590"/>
                  </a:lnTo>
                  <a:lnTo>
                    <a:pt x="1368" y="581"/>
                  </a:lnTo>
                  <a:lnTo>
                    <a:pt x="1355" y="578"/>
                  </a:lnTo>
                  <a:lnTo>
                    <a:pt x="1355" y="559"/>
                  </a:lnTo>
                  <a:lnTo>
                    <a:pt x="1347" y="552"/>
                  </a:lnTo>
                  <a:lnTo>
                    <a:pt x="1321" y="546"/>
                  </a:lnTo>
                  <a:lnTo>
                    <a:pt x="1310" y="534"/>
                  </a:lnTo>
                  <a:lnTo>
                    <a:pt x="1293" y="521"/>
                  </a:lnTo>
                  <a:lnTo>
                    <a:pt x="1306" y="507"/>
                  </a:lnTo>
                  <a:lnTo>
                    <a:pt x="1298" y="480"/>
                  </a:lnTo>
                  <a:lnTo>
                    <a:pt x="1288" y="452"/>
                  </a:lnTo>
                  <a:lnTo>
                    <a:pt x="1284" y="433"/>
                  </a:lnTo>
                  <a:lnTo>
                    <a:pt x="1268" y="443"/>
                  </a:lnTo>
                  <a:lnTo>
                    <a:pt x="1240" y="467"/>
                  </a:lnTo>
                  <a:lnTo>
                    <a:pt x="1210" y="480"/>
                  </a:lnTo>
                  <a:lnTo>
                    <a:pt x="1205" y="466"/>
                  </a:lnTo>
                  <a:lnTo>
                    <a:pt x="1191" y="463"/>
                  </a:lnTo>
                  <a:lnTo>
                    <a:pt x="1199" y="436"/>
                  </a:lnTo>
                  <a:lnTo>
                    <a:pt x="1208" y="417"/>
                  </a:lnTo>
                  <a:lnTo>
                    <a:pt x="1180" y="415"/>
                  </a:lnTo>
                  <a:lnTo>
                    <a:pt x="1180" y="408"/>
                  </a:lnTo>
                  <a:lnTo>
                    <a:pt x="1166" y="395"/>
                  </a:lnTo>
                  <a:lnTo>
                    <a:pt x="1154" y="387"/>
                  </a:lnTo>
                  <a:lnTo>
                    <a:pt x="1138" y="393"/>
                  </a:lnTo>
                  <a:lnTo>
                    <a:pt x="1123" y="391"/>
                  </a:lnTo>
                  <a:lnTo>
                    <a:pt x="1097" y="385"/>
                  </a:lnTo>
                  <a:lnTo>
                    <a:pt x="1083" y="390"/>
                  </a:lnTo>
                  <a:lnTo>
                    <a:pt x="1068" y="424"/>
                  </a:lnTo>
                  <a:lnTo>
                    <a:pt x="1065" y="443"/>
                  </a:lnTo>
                  <a:lnTo>
                    <a:pt x="1032" y="466"/>
                  </a:lnTo>
                  <a:lnTo>
                    <a:pt x="1044" y="483"/>
                  </a:lnTo>
                  <a:lnTo>
                    <a:pt x="1046" y="502"/>
                  </a:lnTo>
                  <a:lnTo>
                    <a:pt x="1040" y="517"/>
                  </a:lnTo>
                  <a:lnTo>
                    <a:pt x="1022" y="532"/>
                  </a:lnTo>
                  <a:lnTo>
                    <a:pt x="994" y="548"/>
                  </a:lnTo>
                  <a:lnTo>
                    <a:pt x="960" y="558"/>
                  </a:lnTo>
                  <a:lnTo>
                    <a:pt x="967" y="570"/>
                  </a:lnTo>
                  <a:lnTo>
                    <a:pt x="958" y="606"/>
                  </a:lnTo>
                  <a:lnTo>
                    <a:pt x="938" y="630"/>
                  </a:lnTo>
                  <a:lnTo>
                    <a:pt x="920" y="636"/>
                  </a:lnTo>
                  <a:lnTo>
                    <a:pt x="904" y="615"/>
                  </a:lnTo>
                  <a:lnTo>
                    <a:pt x="903" y="590"/>
                  </a:lnTo>
                  <a:lnTo>
                    <a:pt x="910" y="567"/>
                  </a:lnTo>
                  <a:lnTo>
                    <a:pt x="923" y="548"/>
                  </a:lnTo>
                  <a:lnTo>
                    <a:pt x="905" y="546"/>
                  </a:lnTo>
                  <a:lnTo>
                    <a:pt x="877" y="544"/>
                  </a:lnTo>
                  <a:lnTo>
                    <a:pt x="864" y="535"/>
                  </a:lnTo>
                  <a:lnTo>
                    <a:pt x="846" y="529"/>
                  </a:lnTo>
                  <a:lnTo>
                    <a:pt x="840" y="518"/>
                  </a:lnTo>
                  <a:lnTo>
                    <a:pt x="828" y="509"/>
                  </a:lnTo>
                  <a:lnTo>
                    <a:pt x="801" y="500"/>
                  </a:lnTo>
                  <a:lnTo>
                    <a:pt x="774" y="505"/>
                  </a:lnTo>
                  <a:lnTo>
                    <a:pt x="777" y="488"/>
                  </a:lnTo>
                  <a:lnTo>
                    <a:pt x="783" y="467"/>
                  </a:lnTo>
                  <a:lnTo>
                    <a:pt x="760" y="464"/>
                  </a:lnTo>
                  <a:lnTo>
                    <a:pt x="779" y="438"/>
                  </a:lnTo>
                  <a:lnTo>
                    <a:pt x="797" y="421"/>
                  </a:lnTo>
                  <a:lnTo>
                    <a:pt x="832" y="396"/>
                  </a:lnTo>
                  <a:lnTo>
                    <a:pt x="864" y="380"/>
                  </a:lnTo>
                  <a:lnTo>
                    <a:pt x="885" y="377"/>
                  </a:lnTo>
                  <a:lnTo>
                    <a:pt x="896" y="363"/>
                  </a:lnTo>
                  <a:lnTo>
                    <a:pt x="915" y="353"/>
                  </a:lnTo>
                  <a:lnTo>
                    <a:pt x="939" y="353"/>
                  </a:lnTo>
                  <a:lnTo>
                    <a:pt x="968" y="339"/>
                  </a:lnTo>
                  <a:lnTo>
                    <a:pt x="979" y="329"/>
                  </a:lnTo>
                  <a:lnTo>
                    <a:pt x="1006" y="311"/>
                  </a:lnTo>
                  <a:lnTo>
                    <a:pt x="1018" y="301"/>
                  </a:lnTo>
                  <a:lnTo>
                    <a:pt x="1030" y="308"/>
                  </a:lnTo>
                  <a:lnTo>
                    <a:pt x="1054" y="304"/>
                  </a:lnTo>
                  <a:lnTo>
                    <a:pt x="1095" y="290"/>
                  </a:lnTo>
                  <a:lnTo>
                    <a:pt x="1103" y="280"/>
                  </a:lnTo>
                  <a:lnTo>
                    <a:pt x="1100" y="269"/>
                  </a:lnTo>
                  <a:lnTo>
                    <a:pt x="1119" y="258"/>
                  </a:lnTo>
                  <a:lnTo>
                    <a:pt x="1125" y="248"/>
                  </a:lnTo>
                  <a:lnTo>
                    <a:pt x="1112" y="239"/>
                  </a:lnTo>
                  <a:lnTo>
                    <a:pt x="1092" y="236"/>
                  </a:lnTo>
                  <a:lnTo>
                    <a:pt x="1071" y="234"/>
                  </a:lnTo>
                  <a:lnTo>
                    <a:pt x="1054" y="256"/>
                  </a:lnTo>
                  <a:lnTo>
                    <a:pt x="1030" y="273"/>
                  </a:lnTo>
                  <a:lnTo>
                    <a:pt x="1003" y="288"/>
                  </a:lnTo>
                  <a:lnTo>
                    <a:pt x="998" y="274"/>
                  </a:lnTo>
                  <a:lnTo>
                    <a:pt x="1014" y="259"/>
                  </a:lnTo>
                  <a:lnTo>
                    <a:pt x="1006" y="246"/>
                  </a:lnTo>
                  <a:lnTo>
                    <a:pt x="973" y="262"/>
                  </a:lnTo>
                  <a:lnTo>
                    <a:pt x="989" y="241"/>
                  </a:lnTo>
                  <a:lnTo>
                    <a:pt x="989" y="241"/>
                  </a:lnTo>
                  <a:close/>
                  <a:moveTo>
                    <a:pt x="707" y="170"/>
                  </a:moveTo>
                  <a:lnTo>
                    <a:pt x="697" y="167"/>
                  </a:lnTo>
                  <a:lnTo>
                    <a:pt x="645" y="179"/>
                  </a:lnTo>
                  <a:lnTo>
                    <a:pt x="625" y="186"/>
                  </a:lnTo>
                  <a:lnTo>
                    <a:pt x="596" y="201"/>
                  </a:lnTo>
                  <a:lnTo>
                    <a:pt x="617" y="206"/>
                  </a:lnTo>
                  <a:lnTo>
                    <a:pt x="639" y="206"/>
                  </a:lnTo>
                  <a:lnTo>
                    <a:pt x="596" y="213"/>
                  </a:lnTo>
                  <a:lnTo>
                    <a:pt x="596" y="221"/>
                  </a:lnTo>
                  <a:lnTo>
                    <a:pt x="617" y="221"/>
                  </a:lnTo>
                  <a:lnTo>
                    <a:pt x="651" y="220"/>
                  </a:lnTo>
                  <a:lnTo>
                    <a:pt x="675" y="225"/>
                  </a:lnTo>
                  <a:lnTo>
                    <a:pt x="652" y="228"/>
                  </a:lnTo>
                  <a:lnTo>
                    <a:pt x="631" y="226"/>
                  </a:lnTo>
                  <a:lnTo>
                    <a:pt x="605" y="230"/>
                  </a:lnTo>
                  <a:lnTo>
                    <a:pt x="592" y="232"/>
                  </a:lnTo>
                  <a:lnTo>
                    <a:pt x="595" y="248"/>
                  </a:lnTo>
                  <a:lnTo>
                    <a:pt x="611" y="246"/>
                  </a:lnTo>
                  <a:lnTo>
                    <a:pt x="626" y="252"/>
                  </a:lnTo>
                  <a:lnTo>
                    <a:pt x="625" y="261"/>
                  </a:lnTo>
                  <a:lnTo>
                    <a:pt x="654" y="259"/>
                  </a:lnTo>
                  <a:lnTo>
                    <a:pt x="696" y="256"/>
                  </a:lnTo>
                  <a:lnTo>
                    <a:pt x="730" y="249"/>
                  </a:lnTo>
                  <a:lnTo>
                    <a:pt x="749" y="248"/>
                  </a:lnTo>
                  <a:lnTo>
                    <a:pt x="771" y="254"/>
                  </a:lnTo>
                  <a:lnTo>
                    <a:pt x="796" y="256"/>
                  </a:lnTo>
                  <a:lnTo>
                    <a:pt x="807" y="249"/>
                  </a:lnTo>
                  <a:lnTo>
                    <a:pt x="805" y="241"/>
                  </a:lnTo>
                  <a:lnTo>
                    <a:pt x="831" y="240"/>
                  </a:lnTo>
                  <a:lnTo>
                    <a:pt x="841" y="231"/>
                  </a:lnTo>
                  <a:lnTo>
                    <a:pt x="822" y="222"/>
                  </a:lnTo>
                  <a:lnTo>
                    <a:pt x="806" y="212"/>
                  </a:lnTo>
                  <a:lnTo>
                    <a:pt x="815" y="198"/>
                  </a:lnTo>
                  <a:lnTo>
                    <a:pt x="826" y="180"/>
                  </a:lnTo>
                  <a:lnTo>
                    <a:pt x="817" y="172"/>
                  </a:lnTo>
                  <a:lnTo>
                    <a:pt x="806" y="169"/>
                  </a:lnTo>
                  <a:lnTo>
                    <a:pt x="790" y="171"/>
                  </a:lnTo>
                  <a:lnTo>
                    <a:pt x="780" y="191"/>
                  </a:lnTo>
                  <a:lnTo>
                    <a:pt x="764" y="199"/>
                  </a:lnTo>
                  <a:lnTo>
                    <a:pt x="772" y="180"/>
                  </a:lnTo>
                  <a:lnTo>
                    <a:pt x="766" y="174"/>
                  </a:lnTo>
                  <a:lnTo>
                    <a:pt x="738" y="184"/>
                  </a:lnTo>
                  <a:lnTo>
                    <a:pt x="729" y="174"/>
                  </a:lnTo>
                  <a:lnTo>
                    <a:pt x="689" y="180"/>
                  </a:lnTo>
                  <a:lnTo>
                    <a:pt x="707" y="170"/>
                  </a:lnTo>
                  <a:lnTo>
                    <a:pt x="707" y="170"/>
                  </a:lnTo>
                  <a:close/>
                  <a:moveTo>
                    <a:pt x="854" y="165"/>
                  </a:moveTo>
                  <a:lnTo>
                    <a:pt x="847" y="161"/>
                  </a:lnTo>
                  <a:lnTo>
                    <a:pt x="827" y="162"/>
                  </a:lnTo>
                  <a:lnTo>
                    <a:pt x="819" y="165"/>
                  </a:lnTo>
                  <a:lnTo>
                    <a:pt x="828" y="178"/>
                  </a:lnTo>
                  <a:lnTo>
                    <a:pt x="854" y="165"/>
                  </a:lnTo>
                  <a:close/>
                  <a:moveTo>
                    <a:pt x="1255" y="171"/>
                  </a:moveTo>
                  <a:lnTo>
                    <a:pt x="1239" y="161"/>
                  </a:lnTo>
                  <a:lnTo>
                    <a:pt x="1208" y="159"/>
                  </a:lnTo>
                  <a:lnTo>
                    <a:pt x="1200" y="160"/>
                  </a:lnTo>
                  <a:lnTo>
                    <a:pt x="1194" y="167"/>
                  </a:lnTo>
                  <a:lnTo>
                    <a:pt x="1201" y="177"/>
                  </a:lnTo>
                  <a:lnTo>
                    <a:pt x="1205" y="178"/>
                  </a:lnTo>
                  <a:lnTo>
                    <a:pt x="1223" y="176"/>
                  </a:lnTo>
                  <a:lnTo>
                    <a:pt x="1237" y="176"/>
                  </a:lnTo>
                  <a:lnTo>
                    <a:pt x="1253" y="176"/>
                  </a:lnTo>
                  <a:lnTo>
                    <a:pt x="1255" y="171"/>
                  </a:lnTo>
                  <a:lnTo>
                    <a:pt x="1255" y="171"/>
                  </a:lnTo>
                  <a:close/>
                  <a:moveTo>
                    <a:pt x="1109" y="170"/>
                  </a:moveTo>
                  <a:lnTo>
                    <a:pt x="1130" y="158"/>
                  </a:lnTo>
                  <a:lnTo>
                    <a:pt x="1088" y="163"/>
                  </a:lnTo>
                  <a:lnTo>
                    <a:pt x="1067" y="170"/>
                  </a:lnTo>
                  <a:lnTo>
                    <a:pt x="1040" y="188"/>
                  </a:lnTo>
                  <a:lnTo>
                    <a:pt x="1027" y="208"/>
                  </a:lnTo>
                  <a:lnTo>
                    <a:pt x="1048" y="208"/>
                  </a:lnTo>
                  <a:lnTo>
                    <a:pt x="1026" y="216"/>
                  </a:lnTo>
                  <a:lnTo>
                    <a:pt x="1032" y="224"/>
                  </a:lnTo>
                  <a:lnTo>
                    <a:pt x="1054" y="226"/>
                  </a:lnTo>
                  <a:lnTo>
                    <a:pt x="1082" y="232"/>
                  </a:lnTo>
                  <a:lnTo>
                    <a:pt x="1133" y="237"/>
                  </a:lnTo>
                  <a:lnTo>
                    <a:pt x="1163" y="234"/>
                  </a:lnTo>
                  <a:lnTo>
                    <a:pt x="1175" y="228"/>
                  </a:lnTo>
                  <a:lnTo>
                    <a:pt x="1182" y="235"/>
                  </a:lnTo>
                  <a:lnTo>
                    <a:pt x="1194" y="236"/>
                  </a:lnTo>
                  <a:lnTo>
                    <a:pt x="1202" y="249"/>
                  </a:lnTo>
                  <a:lnTo>
                    <a:pt x="1189" y="254"/>
                  </a:lnTo>
                  <a:lnTo>
                    <a:pt x="1215" y="260"/>
                  </a:lnTo>
                  <a:lnTo>
                    <a:pt x="1233" y="270"/>
                  </a:lnTo>
                  <a:lnTo>
                    <a:pt x="1235" y="277"/>
                  </a:lnTo>
                  <a:lnTo>
                    <a:pt x="1233" y="286"/>
                  </a:lnTo>
                  <a:lnTo>
                    <a:pt x="1201" y="307"/>
                  </a:lnTo>
                  <a:lnTo>
                    <a:pt x="1189" y="316"/>
                  </a:lnTo>
                  <a:lnTo>
                    <a:pt x="1190" y="324"/>
                  </a:lnTo>
                  <a:lnTo>
                    <a:pt x="1155" y="326"/>
                  </a:lnTo>
                  <a:lnTo>
                    <a:pt x="1125" y="327"/>
                  </a:lnTo>
                  <a:lnTo>
                    <a:pt x="1105" y="342"/>
                  </a:lnTo>
                  <a:lnTo>
                    <a:pt x="1114" y="350"/>
                  </a:lnTo>
                  <a:lnTo>
                    <a:pt x="1163" y="346"/>
                  </a:lnTo>
                  <a:lnTo>
                    <a:pt x="1166" y="340"/>
                  </a:lnTo>
                  <a:lnTo>
                    <a:pt x="1183" y="351"/>
                  </a:lnTo>
                  <a:lnTo>
                    <a:pt x="1201" y="361"/>
                  </a:lnTo>
                  <a:lnTo>
                    <a:pt x="1192" y="367"/>
                  </a:lnTo>
                  <a:lnTo>
                    <a:pt x="1207" y="378"/>
                  </a:lnTo>
                  <a:lnTo>
                    <a:pt x="1235" y="390"/>
                  </a:lnTo>
                  <a:lnTo>
                    <a:pt x="1275" y="398"/>
                  </a:lnTo>
                  <a:lnTo>
                    <a:pt x="1276" y="391"/>
                  </a:lnTo>
                  <a:lnTo>
                    <a:pt x="1265" y="378"/>
                  </a:lnTo>
                  <a:lnTo>
                    <a:pt x="1252" y="360"/>
                  </a:lnTo>
                  <a:lnTo>
                    <a:pt x="1284" y="377"/>
                  </a:lnTo>
                  <a:lnTo>
                    <a:pt x="1302" y="382"/>
                  </a:lnTo>
                  <a:lnTo>
                    <a:pt x="1315" y="367"/>
                  </a:lnTo>
                  <a:lnTo>
                    <a:pt x="1315" y="346"/>
                  </a:lnTo>
                  <a:lnTo>
                    <a:pt x="1311" y="340"/>
                  </a:lnTo>
                  <a:lnTo>
                    <a:pt x="1294" y="331"/>
                  </a:lnTo>
                  <a:lnTo>
                    <a:pt x="1285" y="319"/>
                  </a:lnTo>
                  <a:lnTo>
                    <a:pt x="1293" y="307"/>
                  </a:lnTo>
                  <a:lnTo>
                    <a:pt x="1315" y="305"/>
                  </a:lnTo>
                  <a:lnTo>
                    <a:pt x="1329" y="325"/>
                  </a:lnTo>
                  <a:lnTo>
                    <a:pt x="1344" y="334"/>
                  </a:lnTo>
                  <a:lnTo>
                    <a:pt x="1384" y="310"/>
                  </a:lnTo>
                  <a:lnTo>
                    <a:pt x="1396" y="295"/>
                  </a:lnTo>
                  <a:lnTo>
                    <a:pt x="1373" y="294"/>
                  </a:lnTo>
                  <a:lnTo>
                    <a:pt x="1361" y="275"/>
                  </a:lnTo>
                  <a:lnTo>
                    <a:pt x="1338" y="270"/>
                  </a:lnTo>
                  <a:lnTo>
                    <a:pt x="1309" y="257"/>
                  </a:lnTo>
                  <a:lnTo>
                    <a:pt x="1343" y="248"/>
                  </a:lnTo>
                  <a:lnTo>
                    <a:pt x="1340" y="229"/>
                  </a:lnTo>
                  <a:lnTo>
                    <a:pt x="1332" y="221"/>
                  </a:lnTo>
                  <a:lnTo>
                    <a:pt x="1301" y="213"/>
                  </a:lnTo>
                  <a:lnTo>
                    <a:pt x="1294" y="201"/>
                  </a:lnTo>
                  <a:lnTo>
                    <a:pt x="1264" y="206"/>
                  </a:lnTo>
                  <a:lnTo>
                    <a:pt x="1267" y="197"/>
                  </a:lnTo>
                  <a:lnTo>
                    <a:pt x="1254" y="187"/>
                  </a:lnTo>
                  <a:lnTo>
                    <a:pt x="1229" y="178"/>
                  </a:lnTo>
                  <a:lnTo>
                    <a:pt x="1209" y="185"/>
                  </a:lnTo>
                  <a:lnTo>
                    <a:pt x="1176" y="191"/>
                  </a:lnTo>
                  <a:lnTo>
                    <a:pt x="1188" y="179"/>
                  </a:lnTo>
                  <a:lnTo>
                    <a:pt x="1180" y="159"/>
                  </a:lnTo>
                  <a:lnTo>
                    <a:pt x="1136" y="167"/>
                  </a:lnTo>
                  <a:lnTo>
                    <a:pt x="1110" y="182"/>
                  </a:lnTo>
                  <a:lnTo>
                    <a:pt x="1109" y="170"/>
                  </a:lnTo>
                  <a:lnTo>
                    <a:pt x="1109" y="170"/>
                  </a:lnTo>
                  <a:close/>
                  <a:moveTo>
                    <a:pt x="922" y="157"/>
                  </a:moveTo>
                  <a:lnTo>
                    <a:pt x="895" y="167"/>
                  </a:lnTo>
                  <a:lnTo>
                    <a:pt x="899" y="179"/>
                  </a:lnTo>
                  <a:lnTo>
                    <a:pt x="871" y="176"/>
                  </a:lnTo>
                  <a:lnTo>
                    <a:pt x="865" y="183"/>
                  </a:lnTo>
                  <a:lnTo>
                    <a:pt x="886" y="198"/>
                  </a:lnTo>
                  <a:lnTo>
                    <a:pt x="889" y="205"/>
                  </a:lnTo>
                  <a:lnTo>
                    <a:pt x="902" y="207"/>
                  </a:lnTo>
                  <a:lnTo>
                    <a:pt x="934" y="199"/>
                  </a:lnTo>
                  <a:lnTo>
                    <a:pt x="953" y="182"/>
                  </a:lnTo>
                  <a:lnTo>
                    <a:pt x="939" y="173"/>
                  </a:lnTo>
                  <a:lnTo>
                    <a:pt x="961" y="165"/>
                  </a:lnTo>
                  <a:lnTo>
                    <a:pt x="963" y="159"/>
                  </a:lnTo>
                  <a:lnTo>
                    <a:pt x="935" y="161"/>
                  </a:lnTo>
                  <a:lnTo>
                    <a:pt x="922" y="157"/>
                  </a:lnTo>
                  <a:lnTo>
                    <a:pt x="922" y="157"/>
                  </a:lnTo>
                  <a:close/>
                  <a:moveTo>
                    <a:pt x="1005" y="178"/>
                  </a:moveTo>
                  <a:lnTo>
                    <a:pt x="1026" y="174"/>
                  </a:lnTo>
                  <a:lnTo>
                    <a:pt x="1063" y="157"/>
                  </a:lnTo>
                  <a:lnTo>
                    <a:pt x="1040" y="153"/>
                  </a:lnTo>
                  <a:lnTo>
                    <a:pt x="1011" y="152"/>
                  </a:lnTo>
                  <a:lnTo>
                    <a:pt x="992" y="157"/>
                  </a:lnTo>
                  <a:lnTo>
                    <a:pt x="976" y="165"/>
                  </a:lnTo>
                  <a:lnTo>
                    <a:pt x="967" y="174"/>
                  </a:lnTo>
                  <a:lnTo>
                    <a:pt x="960" y="191"/>
                  </a:lnTo>
                  <a:lnTo>
                    <a:pt x="976" y="192"/>
                  </a:lnTo>
                  <a:lnTo>
                    <a:pt x="1005" y="178"/>
                  </a:lnTo>
                  <a:close/>
                  <a:moveTo>
                    <a:pt x="576" y="204"/>
                  </a:moveTo>
                  <a:lnTo>
                    <a:pt x="587" y="196"/>
                  </a:lnTo>
                  <a:lnTo>
                    <a:pt x="620" y="183"/>
                  </a:lnTo>
                  <a:lnTo>
                    <a:pt x="672" y="169"/>
                  </a:lnTo>
                  <a:lnTo>
                    <a:pt x="696" y="164"/>
                  </a:lnTo>
                  <a:lnTo>
                    <a:pt x="689" y="156"/>
                  </a:lnTo>
                  <a:lnTo>
                    <a:pt x="683" y="151"/>
                  </a:lnTo>
                  <a:lnTo>
                    <a:pt x="647" y="150"/>
                  </a:lnTo>
                  <a:lnTo>
                    <a:pt x="632" y="146"/>
                  </a:lnTo>
                  <a:lnTo>
                    <a:pt x="580" y="149"/>
                  </a:lnTo>
                  <a:lnTo>
                    <a:pt x="579" y="160"/>
                  </a:lnTo>
                  <a:lnTo>
                    <a:pt x="550" y="172"/>
                  </a:lnTo>
                  <a:lnTo>
                    <a:pt x="523" y="187"/>
                  </a:lnTo>
                  <a:lnTo>
                    <a:pt x="506" y="195"/>
                  </a:lnTo>
                  <a:lnTo>
                    <a:pt x="529" y="205"/>
                  </a:lnTo>
                  <a:lnTo>
                    <a:pt x="527" y="213"/>
                  </a:lnTo>
                  <a:lnTo>
                    <a:pt x="576" y="204"/>
                  </a:lnTo>
                  <a:lnTo>
                    <a:pt x="576" y="204"/>
                  </a:lnTo>
                  <a:close/>
                  <a:moveTo>
                    <a:pt x="1040" y="136"/>
                  </a:moveTo>
                  <a:lnTo>
                    <a:pt x="1041" y="130"/>
                  </a:lnTo>
                  <a:lnTo>
                    <a:pt x="1036" y="124"/>
                  </a:lnTo>
                  <a:lnTo>
                    <a:pt x="1011" y="128"/>
                  </a:lnTo>
                  <a:lnTo>
                    <a:pt x="994" y="137"/>
                  </a:lnTo>
                  <a:lnTo>
                    <a:pt x="1006" y="142"/>
                  </a:lnTo>
                  <a:lnTo>
                    <a:pt x="1025" y="143"/>
                  </a:lnTo>
                  <a:lnTo>
                    <a:pt x="1040" y="136"/>
                  </a:lnTo>
                  <a:lnTo>
                    <a:pt x="1040" y="136"/>
                  </a:lnTo>
                  <a:close/>
                  <a:moveTo>
                    <a:pt x="1008" y="104"/>
                  </a:moveTo>
                  <a:lnTo>
                    <a:pt x="1003" y="107"/>
                  </a:lnTo>
                  <a:lnTo>
                    <a:pt x="985" y="105"/>
                  </a:lnTo>
                  <a:lnTo>
                    <a:pt x="957" y="112"/>
                  </a:lnTo>
                  <a:lnTo>
                    <a:pt x="943" y="111"/>
                  </a:lnTo>
                  <a:lnTo>
                    <a:pt x="927" y="126"/>
                  </a:lnTo>
                  <a:lnTo>
                    <a:pt x="952" y="124"/>
                  </a:lnTo>
                  <a:lnTo>
                    <a:pt x="939" y="135"/>
                  </a:lnTo>
                  <a:lnTo>
                    <a:pt x="951" y="138"/>
                  </a:lnTo>
                  <a:lnTo>
                    <a:pt x="976" y="136"/>
                  </a:lnTo>
                  <a:lnTo>
                    <a:pt x="997" y="122"/>
                  </a:lnTo>
                  <a:lnTo>
                    <a:pt x="1009" y="113"/>
                  </a:lnTo>
                  <a:lnTo>
                    <a:pt x="1008" y="104"/>
                  </a:lnTo>
                  <a:close/>
                  <a:moveTo>
                    <a:pt x="861" y="114"/>
                  </a:moveTo>
                  <a:lnTo>
                    <a:pt x="869" y="105"/>
                  </a:lnTo>
                  <a:lnTo>
                    <a:pt x="857" y="103"/>
                  </a:lnTo>
                  <a:lnTo>
                    <a:pt x="835" y="109"/>
                  </a:lnTo>
                  <a:lnTo>
                    <a:pt x="833" y="127"/>
                  </a:lnTo>
                  <a:lnTo>
                    <a:pt x="810" y="126"/>
                  </a:lnTo>
                  <a:lnTo>
                    <a:pt x="800" y="114"/>
                  </a:lnTo>
                  <a:lnTo>
                    <a:pt x="769" y="109"/>
                  </a:lnTo>
                  <a:lnTo>
                    <a:pt x="749" y="114"/>
                  </a:lnTo>
                  <a:lnTo>
                    <a:pt x="705" y="131"/>
                  </a:lnTo>
                  <a:lnTo>
                    <a:pt x="721" y="135"/>
                  </a:lnTo>
                  <a:lnTo>
                    <a:pt x="787" y="133"/>
                  </a:lnTo>
                  <a:lnTo>
                    <a:pt x="747" y="141"/>
                  </a:lnTo>
                  <a:lnTo>
                    <a:pt x="742" y="147"/>
                  </a:lnTo>
                  <a:lnTo>
                    <a:pt x="764" y="146"/>
                  </a:lnTo>
                  <a:lnTo>
                    <a:pt x="810" y="139"/>
                  </a:lnTo>
                  <a:lnTo>
                    <a:pt x="861" y="135"/>
                  </a:lnTo>
                  <a:lnTo>
                    <a:pt x="880" y="127"/>
                  </a:lnTo>
                  <a:lnTo>
                    <a:pt x="889" y="118"/>
                  </a:lnTo>
                  <a:lnTo>
                    <a:pt x="875" y="117"/>
                  </a:lnTo>
                  <a:lnTo>
                    <a:pt x="859" y="120"/>
                  </a:lnTo>
                  <a:lnTo>
                    <a:pt x="861" y="114"/>
                  </a:lnTo>
                  <a:close/>
                  <a:moveTo>
                    <a:pt x="1068" y="98"/>
                  </a:moveTo>
                  <a:lnTo>
                    <a:pt x="1041" y="96"/>
                  </a:lnTo>
                  <a:lnTo>
                    <a:pt x="1027" y="103"/>
                  </a:lnTo>
                  <a:lnTo>
                    <a:pt x="1037" y="109"/>
                  </a:lnTo>
                  <a:lnTo>
                    <a:pt x="1063" y="112"/>
                  </a:lnTo>
                  <a:lnTo>
                    <a:pt x="1068" y="119"/>
                  </a:lnTo>
                  <a:lnTo>
                    <a:pt x="1060" y="128"/>
                  </a:lnTo>
                  <a:lnTo>
                    <a:pt x="1054" y="139"/>
                  </a:lnTo>
                  <a:lnTo>
                    <a:pt x="1086" y="144"/>
                  </a:lnTo>
                  <a:lnTo>
                    <a:pt x="1107" y="147"/>
                  </a:lnTo>
                  <a:lnTo>
                    <a:pt x="1137" y="146"/>
                  </a:lnTo>
                  <a:lnTo>
                    <a:pt x="1180" y="143"/>
                  </a:lnTo>
                  <a:lnTo>
                    <a:pt x="1195" y="146"/>
                  </a:lnTo>
                  <a:lnTo>
                    <a:pt x="1221" y="142"/>
                  </a:lnTo>
                  <a:lnTo>
                    <a:pt x="1234" y="137"/>
                  </a:lnTo>
                  <a:lnTo>
                    <a:pt x="1237" y="129"/>
                  </a:lnTo>
                  <a:lnTo>
                    <a:pt x="1229" y="122"/>
                  </a:lnTo>
                  <a:lnTo>
                    <a:pt x="1208" y="121"/>
                  </a:lnTo>
                  <a:lnTo>
                    <a:pt x="1178" y="123"/>
                  </a:lnTo>
                  <a:lnTo>
                    <a:pt x="1152" y="127"/>
                  </a:lnTo>
                  <a:lnTo>
                    <a:pt x="1132" y="126"/>
                  </a:lnTo>
                  <a:lnTo>
                    <a:pt x="1114" y="124"/>
                  </a:lnTo>
                  <a:lnTo>
                    <a:pt x="1110" y="120"/>
                  </a:lnTo>
                  <a:lnTo>
                    <a:pt x="1098" y="116"/>
                  </a:lnTo>
                  <a:lnTo>
                    <a:pt x="1109" y="109"/>
                  </a:lnTo>
                  <a:lnTo>
                    <a:pt x="1104" y="103"/>
                  </a:lnTo>
                  <a:lnTo>
                    <a:pt x="1076" y="103"/>
                  </a:lnTo>
                  <a:lnTo>
                    <a:pt x="1068" y="98"/>
                  </a:lnTo>
                  <a:lnTo>
                    <a:pt x="1068" y="98"/>
                  </a:lnTo>
                  <a:close/>
                  <a:moveTo>
                    <a:pt x="787" y="87"/>
                  </a:moveTo>
                  <a:lnTo>
                    <a:pt x="765" y="90"/>
                  </a:lnTo>
                  <a:lnTo>
                    <a:pt x="744" y="90"/>
                  </a:lnTo>
                  <a:lnTo>
                    <a:pt x="700" y="101"/>
                  </a:lnTo>
                  <a:lnTo>
                    <a:pt x="656" y="115"/>
                  </a:lnTo>
                  <a:lnTo>
                    <a:pt x="656" y="115"/>
                  </a:lnTo>
                  <a:lnTo>
                    <a:pt x="670" y="119"/>
                  </a:lnTo>
                  <a:lnTo>
                    <a:pt x="696" y="116"/>
                  </a:lnTo>
                  <a:lnTo>
                    <a:pt x="732" y="109"/>
                  </a:lnTo>
                  <a:lnTo>
                    <a:pt x="746" y="107"/>
                  </a:lnTo>
                  <a:lnTo>
                    <a:pt x="766" y="101"/>
                  </a:lnTo>
                  <a:lnTo>
                    <a:pt x="787" y="87"/>
                  </a:lnTo>
                  <a:close/>
                  <a:moveTo>
                    <a:pt x="1088" y="90"/>
                  </a:moveTo>
                  <a:lnTo>
                    <a:pt x="1092" y="88"/>
                  </a:lnTo>
                  <a:lnTo>
                    <a:pt x="1086" y="85"/>
                  </a:lnTo>
                  <a:lnTo>
                    <a:pt x="1059" y="85"/>
                  </a:lnTo>
                  <a:lnTo>
                    <a:pt x="1057" y="89"/>
                  </a:lnTo>
                  <a:lnTo>
                    <a:pt x="1082" y="90"/>
                  </a:lnTo>
                  <a:lnTo>
                    <a:pt x="1088" y="90"/>
                  </a:lnTo>
                  <a:lnTo>
                    <a:pt x="1088" y="90"/>
                  </a:lnTo>
                  <a:close/>
                  <a:moveTo>
                    <a:pt x="871" y="86"/>
                  </a:moveTo>
                  <a:lnTo>
                    <a:pt x="882" y="82"/>
                  </a:lnTo>
                  <a:lnTo>
                    <a:pt x="867" y="79"/>
                  </a:lnTo>
                  <a:lnTo>
                    <a:pt x="844" y="81"/>
                  </a:lnTo>
                  <a:lnTo>
                    <a:pt x="826" y="86"/>
                  </a:lnTo>
                  <a:lnTo>
                    <a:pt x="838" y="92"/>
                  </a:lnTo>
                  <a:lnTo>
                    <a:pt x="871" y="86"/>
                  </a:lnTo>
                  <a:close/>
                  <a:moveTo>
                    <a:pt x="899" y="72"/>
                  </a:moveTo>
                  <a:lnTo>
                    <a:pt x="887" y="68"/>
                  </a:lnTo>
                  <a:lnTo>
                    <a:pt x="881" y="67"/>
                  </a:lnTo>
                  <a:lnTo>
                    <a:pt x="859" y="72"/>
                  </a:lnTo>
                  <a:lnTo>
                    <a:pt x="856" y="74"/>
                  </a:lnTo>
                  <a:lnTo>
                    <a:pt x="878" y="74"/>
                  </a:lnTo>
                  <a:lnTo>
                    <a:pt x="899" y="72"/>
                  </a:lnTo>
                  <a:close/>
                  <a:moveTo>
                    <a:pt x="1072" y="81"/>
                  </a:moveTo>
                  <a:lnTo>
                    <a:pt x="1083" y="74"/>
                  </a:lnTo>
                  <a:lnTo>
                    <a:pt x="1075" y="68"/>
                  </a:lnTo>
                  <a:lnTo>
                    <a:pt x="1068" y="67"/>
                  </a:lnTo>
                  <a:lnTo>
                    <a:pt x="1053" y="67"/>
                  </a:lnTo>
                  <a:lnTo>
                    <a:pt x="1044" y="73"/>
                  </a:lnTo>
                  <a:lnTo>
                    <a:pt x="1042" y="80"/>
                  </a:lnTo>
                  <a:lnTo>
                    <a:pt x="1048" y="85"/>
                  </a:lnTo>
                  <a:lnTo>
                    <a:pt x="1072" y="81"/>
                  </a:lnTo>
                  <a:lnTo>
                    <a:pt x="1072" y="81"/>
                  </a:lnTo>
                  <a:close/>
                  <a:moveTo>
                    <a:pt x="1022" y="76"/>
                  </a:moveTo>
                  <a:lnTo>
                    <a:pt x="1022" y="68"/>
                  </a:lnTo>
                  <a:lnTo>
                    <a:pt x="994" y="61"/>
                  </a:lnTo>
                  <a:lnTo>
                    <a:pt x="971" y="59"/>
                  </a:lnTo>
                  <a:lnTo>
                    <a:pt x="964" y="66"/>
                  </a:lnTo>
                  <a:lnTo>
                    <a:pt x="974" y="70"/>
                  </a:lnTo>
                  <a:lnTo>
                    <a:pt x="955" y="75"/>
                  </a:lnTo>
                  <a:lnTo>
                    <a:pt x="983" y="75"/>
                  </a:lnTo>
                  <a:lnTo>
                    <a:pt x="997" y="81"/>
                  </a:lnTo>
                  <a:lnTo>
                    <a:pt x="1017" y="83"/>
                  </a:lnTo>
                  <a:lnTo>
                    <a:pt x="1022" y="76"/>
                  </a:lnTo>
                  <a:close/>
                  <a:moveTo>
                    <a:pt x="1222" y="53"/>
                  </a:moveTo>
                  <a:lnTo>
                    <a:pt x="1224" y="43"/>
                  </a:lnTo>
                  <a:lnTo>
                    <a:pt x="1207" y="40"/>
                  </a:lnTo>
                  <a:lnTo>
                    <a:pt x="1189" y="36"/>
                  </a:lnTo>
                  <a:lnTo>
                    <a:pt x="1183" y="29"/>
                  </a:lnTo>
                  <a:lnTo>
                    <a:pt x="1152" y="29"/>
                  </a:lnTo>
                  <a:lnTo>
                    <a:pt x="1153" y="32"/>
                  </a:lnTo>
                  <a:lnTo>
                    <a:pt x="1139" y="33"/>
                  </a:lnTo>
                  <a:lnTo>
                    <a:pt x="1124" y="38"/>
                  </a:lnTo>
                  <a:lnTo>
                    <a:pt x="1106" y="45"/>
                  </a:lnTo>
                  <a:lnTo>
                    <a:pt x="1104" y="53"/>
                  </a:lnTo>
                  <a:lnTo>
                    <a:pt x="1111" y="58"/>
                  </a:lnTo>
                  <a:lnTo>
                    <a:pt x="1136" y="58"/>
                  </a:lnTo>
                  <a:lnTo>
                    <a:pt x="1120" y="62"/>
                  </a:lnTo>
                  <a:lnTo>
                    <a:pt x="1112" y="69"/>
                  </a:lnTo>
                  <a:lnTo>
                    <a:pt x="1118" y="75"/>
                  </a:lnTo>
                  <a:lnTo>
                    <a:pt x="1143" y="78"/>
                  </a:lnTo>
                  <a:lnTo>
                    <a:pt x="1168" y="76"/>
                  </a:lnTo>
                  <a:lnTo>
                    <a:pt x="1208" y="64"/>
                  </a:lnTo>
                  <a:lnTo>
                    <a:pt x="1232" y="58"/>
                  </a:lnTo>
                  <a:lnTo>
                    <a:pt x="1222" y="53"/>
                  </a:lnTo>
                  <a:close/>
                  <a:moveTo>
                    <a:pt x="1515" y="1"/>
                  </a:moveTo>
                  <a:lnTo>
                    <a:pt x="1489" y="1"/>
                  </a:lnTo>
                  <a:lnTo>
                    <a:pt x="1463" y="0"/>
                  </a:lnTo>
                  <a:lnTo>
                    <a:pt x="1425" y="2"/>
                  </a:lnTo>
                  <a:lnTo>
                    <a:pt x="1420" y="1"/>
                  </a:lnTo>
                  <a:lnTo>
                    <a:pt x="1381" y="1"/>
                  </a:lnTo>
                  <a:lnTo>
                    <a:pt x="1358" y="2"/>
                  </a:lnTo>
                  <a:lnTo>
                    <a:pt x="1338" y="5"/>
                  </a:lnTo>
                  <a:lnTo>
                    <a:pt x="1320" y="13"/>
                  </a:lnTo>
                  <a:lnTo>
                    <a:pt x="1311" y="9"/>
                  </a:lnTo>
                  <a:lnTo>
                    <a:pt x="1296" y="8"/>
                  </a:lnTo>
                  <a:lnTo>
                    <a:pt x="1272" y="14"/>
                  </a:lnTo>
                  <a:lnTo>
                    <a:pt x="1244" y="15"/>
                  </a:lnTo>
                  <a:lnTo>
                    <a:pt x="1229" y="15"/>
                  </a:lnTo>
                  <a:lnTo>
                    <a:pt x="1207" y="19"/>
                  </a:lnTo>
                  <a:lnTo>
                    <a:pt x="1202" y="24"/>
                  </a:lnTo>
                  <a:lnTo>
                    <a:pt x="1211" y="29"/>
                  </a:lnTo>
                  <a:lnTo>
                    <a:pt x="1214" y="34"/>
                  </a:lnTo>
                  <a:lnTo>
                    <a:pt x="1231" y="40"/>
                  </a:lnTo>
                  <a:lnTo>
                    <a:pt x="1278" y="39"/>
                  </a:lnTo>
                  <a:lnTo>
                    <a:pt x="1304" y="41"/>
                  </a:lnTo>
                  <a:lnTo>
                    <a:pt x="1278" y="46"/>
                  </a:lnTo>
                  <a:lnTo>
                    <a:pt x="1269" y="44"/>
                  </a:lnTo>
                  <a:lnTo>
                    <a:pt x="1235" y="43"/>
                  </a:lnTo>
                  <a:lnTo>
                    <a:pt x="1230" y="52"/>
                  </a:lnTo>
                  <a:lnTo>
                    <a:pt x="1241" y="58"/>
                  </a:lnTo>
                  <a:lnTo>
                    <a:pt x="1231" y="64"/>
                  </a:lnTo>
                  <a:lnTo>
                    <a:pt x="1203" y="69"/>
                  </a:lnTo>
                  <a:lnTo>
                    <a:pt x="1184" y="75"/>
                  </a:lnTo>
                  <a:lnTo>
                    <a:pt x="1203" y="78"/>
                  </a:lnTo>
                  <a:lnTo>
                    <a:pt x="1208" y="89"/>
                  </a:lnTo>
                  <a:lnTo>
                    <a:pt x="1180" y="82"/>
                  </a:lnTo>
                  <a:lnTo>
                    <a:pt x="1171" y="83"/>
                  </a:lnTo>
                  <a:lnTo>
                    <a:pt x="1164" y="96"/>
                  </a:lnTo>
                  <a:lnTo>
                    <a:pt x="1134" y="100"/>
                  </a:lnTo>
                  <a:lnTo>
                    <a:pt x="1126" y="109"/>
                  </a:lnTo>
                  <a:lnTo>
                    <a:pt x="1152" y="110"/>
                  </a:lnTo>
                  <a:lnTo>
                    <a:pt x="1170" y="112"/>
                  </a:lnTo>
                  <a:lnTo>
                    <a:pt x="1214" y="109"/>
                  </a:lnTo>
                  <a:lnTo>
                    <a:pt x="1245" y="114"/>
                  </a:lnTo>
                  <a:lnTo>
                    <a:pt x="1293" y="103"/>
                  </a:lnTo>
                  <a:lnTo>
                    <a:pt x="1296" y="99"/>
                  </a:lnTo>
                  <a:lnTo>
                    <a:pt x="1272" y="100"/>
                  </a:lnTo>
                  <a:lnTo>
                    <a:pt x="1274" y="96"/>
                  </a:lnTo>
                  <a:lnTo>
                    <a:pt x="1298" y="90"/>
                  </a:lnTo>
                  <a:lnTo>
                    <a:pt x="1311" y="83"/>
                  </a:lnTo>
                  <a:lnTo>
                    <a:pt x="1337" y="78"/>
                  </a:lnTo>
                  <a:lnTo>
                    <a:pt x="1356" y="72"/>
                  </a:lnTo>
                  <a:lnTo>
                    <a:pt x="1352" y="64"/>
                  </a:lnTo>
                  <a:lnTo>
                    <a:pt x="1365" y="61"/>
                  </a:lnTo>
                  <a:lnTo>
                    <a:pt x="1349" y="58"/>
                  </a:lnTo>
                  <a:lnTo>
                    <a:pt x="1391" y="58"/>
                  </a:lnTo>
                  <a:lnTo>
                    <a:pt x="1403" y="54"/>
                  </a:lnTo>
                  <a:lnTo>
                    <a:pt x="1432" y="51"/>
                  </a:lnTo>
                  <a:lnTo>
                    <a:pt x="1466" y="38"/>
                  </a:lnTo>
                  <a:lnTo>
                    <a:pt x="1492" y="34"/>
                  </a:lnTo>
                  <a:lnTo>
                    <a:pt x="1531" y="25"/>
                  </a:lnTo>
                  <a:lnTo>
                    <a:pt x="1503" y="25"/>
                  </a:lnTo>
                  <a:lnTo>
                    <a:pt x="1518" y="21"/>
                  </a:lnTo>
                  <a:lnTo>
                    <a:pt x="1551" y="18"/>
                  </a:lnTo>
                  <a:lnTo>
                    <a:pt x="1588" y="12"/>
                  </a:lnTo>
                  <a:lnTo>
                    <a:pt x="1591" y="8"/>
                  </a:lnTo>
                  <a:lnTo>
                    <a:pt x="1572" y="4"/>
                  </a:lnTo>
                  <a:lnTo>
                    <a:pt x="1546" y="2"/>
                  </a:lnTo>
                  <a:lnTo>
                    <a:pt x="1515" y="1"/>
                  </a:lnTo>
                  <a:lnTo>
                    <a:pt x="1515"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0" name="Switzerland">
              <a:extLst>
                <a:ext uri="{FF2B5EF4-FFF2-40B4-BE49-F238E27FC236}">
                  <a16:creationId xmlns:a16="http://schemas.microsoft.com/office/drawing/2014/main" id="{85414862-7BC1-48E0-BEB2-8AA9B1601FDC}"/>
                </a:ext>
              </a:extLst>
            </p:cNvPr>
            <p:cNvSpPr>
              <a:spLocks/>
            </p:cNvSpPr>
            <p:nvPr/>
          </p:nvSpPr>
          <p:spPr bwMode="auto">
            <a:xfrm>
              <a:off x="6172994" y="2263548"/>
              <a:ext cx="131762" cy="74613"/>
            </a:xfrm>
            <a:custGeom>
              <a:avLst/>
              <a:gdLst>
                <a:gd name="T0" fmla="*/ 66 w 83"/>
                <a:gd name="T1" fmla="*/ 6 h 47"/>
                <a:gd name="T2" fmla="*/ 46 w 83"/>
                <a:gd name="T3" fmla="*/ 0 h 47"/>
                <a:gd name="T4" fmla="*/ 42 w 83"/>
                <a:gd name="T5" fmla="*/ 4 h 47"/>
                <a:gd name="T6" fmla="*/ 27 w 83"/>
                <a:gd name="T7" fmla="*/ 4 h 47"/>
                <a:gd name="T8" fmla="*/ 22 w 83"/>
                <a:gd name="T9" fmla="*/ 8 h 47"/>
                <a:gd name="T10" fmla="*/ 13 w 83"/>
                <a:gd name="T11" fmla="*/ 6 h 47"/>
                <a:gd name="T12" fmla="*/ 14 w 83"/>
                <a:gd name="T13" fmla="*/ 12 h 47"/>
                <a:gd name="T14" fmla="*/ 0 w 83"/>
                <a:gd name="T15" fmla="*/ 25 h 47"/>
                <a:gd name="T16" fmla="*/ 0 w 83"/>
                <a:gd name="T17" fmla="*/ 36 h 47"/>
                <a:gd name="T18" fmla="*/ 10 w 83"/>
                <a:gd name="T19" fmla="*/ 32 h 47"/>
                <a:gd name="T20" fmla="*/ 16 w 83"/>
                <a:gd name="T21" fmla="*/ 43 h 47"/>
                <a:gd name="T22" fmla="*/ 25 w 83"/>
                <a:gd name="T23" fmla="*/ 47 h 47"/>
                <a:gd name="T24" fmla="*/ 33 w 83"/>
                <a:gd name="T25" fmla="*/ 46 h 47"/>
                <a:gd name="T26" fmla="*/ 43 w 83"/>
                <a:gd name="T27" fmla="*/ 38 h 47"/>
                <a:gd name="T28" fmla="*/ 47 w 83"/>
                <a:gd name="T29" fmla="*/ 42 h 47"/>
                <a:gd name="T30" fmla="*/ 56 w 83"/>
                <a:gd name="T31" fmla="*/ 42 h 47"/>
                <a:gd name="T32" fmla="*/ 59 w 83"/>
                <a:gd name="T33" fmla="*/ 32 h 47"/>
                <a:gd name="T34" fmla="*/ 73 w 83"/>
                <a:gd name="T35" fmla="*/ 35 h 47"/>
                <a:gd name="T36" fmla="*/ 82 w 83"/>
                <a:gd name="T37" fmla="*/ 31 h 47"/>
                <a:gd name="T38" fmla="*/ 83 w 83"/>
                <a:gd name="T39" fmla="*/ 21 h 47"/>
                <a:gd name="T40" fmla="*/ 72 w 83"/>
                <a:gd name="T41" fmla="*/ 21 h 47"/>
                <a:gd name="T42" fmla="*/ 64 w 83"/>
                <a:gd name="T43" fmla="*/ 17 h 47"/>
                <a:gd name="T44" fmla="*/ 67 w 83"/>
                <a:gd name="T45" fmla="*/ 11 h 47"/>
                <a:gd name="T46" fmla="*/ 66 w 83"/>
                <a:gd name="T47" fmla="*/ 6 h 47"/>
                <a:gd name="T48" fmla="*/ 66 w 83"/>
                <a:gd name="T49" fmla="*/ 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83" h="47">
                  <a:moveTo>
                    <a:pt x="66" y="6"/>
                  </a:moveTo>
                  <a:lnTo>
                    <a:pt x="46" y="0"/>
                  </a:lnTo>
                  <a:lnTo>
                    <a:pt x="42" y="4"/>
                  </a:lnTo>
                  <a:lnTo>
                    <a:pt x="27" y="4"/>
                  </a:lnTo>
                  <a:lnTo>
                    <a:pt x="22" y="8"/>
                  </a:lnTo>
                  <a:lnTo>
                    <a:pt x="13" y="6"/>
                  </a:lnTo>
                  <a:lnTo>
                    <a:pt x="14" y="12"/>
                  </a:lnTo>
                  <a:lnTo>
                    <a:pt x="0" y="25"/>
                  </a:lnTo>
                  <a:lnTo>
                    <a:pt x="0" y="36"/>
                  </a:lnTo>
                  <a:lnTo>
                    <a:pt x="10" y="32"/>
                  </a:lnTo>
                  <a:lnTo>
                    <a:pt x="16" y="43"/>
                  </a:lnTo>
                  <a:lnTo>
                    <a:pt x="25" y="47"/>
                  </a:lnTo>
                  <a:lnTo>
                    <a:pt x="33" y="46"/>
                  </a:lnTo>
                  <a:lnTo>
                    <a:pt x="43" y="38"/>
                  </a:lnTo>
                  <a:lnTo>
                    <a:pt x="47" y="42"/>
                  </a:lnTo>
                  <a:lnTo>
                    <a:pt x="56" y="42"/>
                  </a:lnTo>
                  <a:lnTo>
                    <a:pt x="59" y="32"/>
                  </a:lnTo>
                  <a:lnTo>
                    <a:pt x="73" y="35"/>
                  </a:lnTo>
                  <a:lnTo>
                    <a:pt x="82" y="31"/>
                  </a:lnTo>
                  <a:lnTo>
                    <a:pt x="83" y="21"/>
                  </a:lnTo>
                  <a:lnTo>
                    <a:pt x="72" y="21"/>
                  </a:lnTo>
                  <a:lnTo>
                    <a:pt x="64" y="17"/>
                  </a:lnTo>
                  <a:lnTo>
                    <a:pt x="67" y="11"/>
                  </a:lnTo>
                  <a:lnTo>
                    <a:pt x="66" y="6"/>
                  </a:lnTo>
                  <a:lnTo>
                    <a:pt x="66"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1" name="Chile">
              <a:extLst>
                <a:ext uri="{FF2B5EF4-FFF2-40B4-BE49-F238E27FC236}">
                  <a16:creationId xmlns:a16="http://schemas.microsoft.com/office/drawing/2014/main" id="{1296D40A-6A08-4E71-BE07-945DB2F82C9C}"/>
                </a:ext>
              </a:extLst>
            </p:cNvPr>
            <p:cNvSpPr>
              <a:spLocks noEditPoints="1"/>
            </p:cNvSpPr>
            <p:nvPr/>
          </p:nvSpPr>
          <p:spPr bwMode="auto">
            <a:xfrm>
              <a:off x="3685381" y="4725760"/>
              <a:ext cx="446087" cy="1416050"/>
            </a:xfrm>
            <a:custGeom>
              <a:avLst/>
              <a:gdLst>
                <a:gd name="T0" fmla="*/ 216 w 281"/>
                <a:gd name="T1" fmla="*/ 823 h 892"/>
                <a:gd name="T2" fmla="*/ 203 w 281"/>
                <a:gd name="T3" fmla="*/ 847 h 892"/>
                <a:gd name="T4" fmla="*/ 173 w 281"/>
                <a:gd name="T5" fmla="*/ 850 h 892"/>
                <a:gd name="T6" fmla="*/ 123 w 281"/>
                <a:gd name="T7" fmla="*/ 831 h 892"/>
                <a:gd name="T8" fmla="*/ 183 w 281"/>
                <a:gd name="T9" fmla="*/ 868 h 892"/>
                <a:gd name="T10" fmla="*/ 231 w 281"/>
                <a:gd name="T11" fmla="*/ 884 h 892"/>
                <a:gd name="T12" fmla="*/ 258 w 281"/>
                <a:gd name="T13" fmla="*/ 892 h 892"/>
                <a:gd name="T14" fmla="*/ 279 w 281"/>
                <a:gd name="T15" fmla="*/ 886 h 892"/>
                <a:gd name="T16" fmla="*/ 270 w 281"/>
                <a:gd name="T17" fmla="*/ 876 h 892"/>
                <a:gd name="T18" fmla="*/ 230 w 281"/>
                <a:gd name="T19" fmla="*/ 826 h 892"/>
                <a:gd name="T20" fmla="*/ 52 w 281"/>
                <a:gd name="T21" fmla="*/ 93 h 892"/>
                <a:gd name="T22" fmla="*/ 43 w 281"/>
                <a:gd name="T23" fmla="*/ 43 h 892"/>
                <a:gd name="T24" fmla="*/ 26 w 281"/>
                <a:gd name="T25" fmla="*/ 16 h 892"/>
                <a:gd name="T26" fmla="*/ 10 w 281"/>
                <a:gd name="T27" fmla="*/ 12 h 892"/>
                <a:gd name="T28" fmla="*/ 8 w 281"/>
                <a:gd name="T29" fmla="*/ 52 h 892"/>
                <a:gd name="T30" fmla="*/ 13 w 281"/>
                <a:gd name="T31" fmla="*/ 143 h 892"/>
                <a:gd name="T32" fmla="*/ 17 w 281"/>
                <a:gd name="T33" fmla="*/ 239 h 892"/>
                <a:gd name="T34" fmla="*/ 18 w 281"/>
                <a:gd name="T35" fmla="*/ 297 h 892"/>
                <a:gd name="T36" fmla="*/ 28 w 281"/>
                <a:gd name="T37" fmla="*/ 353 h 892"/>
                <a:gd name="T38" fmla="*/ 22 w 281"/>
                <a:gd name="T39" fmla="*/ 425 h 892"/>
                <a:gd name="T40" fmla="*/ 13 w 281"/>
                <a:gd name="T41" fmla="*/ 466 h 892"/>
                <a:gd name="T42" fmla="*/ 33 w 281"/>
                <a:gd name="T43" fmla="*/ 517 h 892"/>
                <a:gd name="T44" fmla="*/ 37 w 281"/>
                <a:gd name="T45" fmla="*/ 576 h 892"/>
                <a:gd name="T46" fmla="*/ 56 w 281"/>
                <a:gd name="T47" fmla="*/ 612 h 892"/>
                <a:gd name="T48" fmla="*/ 66 w 281"/>
                <a:gd name="T49" fmla="*/ 590 h 892"/>
                <a:gd name="T50" fmla="*/ 49 w 281"/>
                <a:gd name="T51" fmla="*/ 629 h 892"/>
                <a:gd name="T52" fmla="*/ 47 w 281"/>
                <a:gd name="T53" fmla="*/ 688 h 892"/>
                <a:gd name="T54" fmla="*/ 64 w 281"/>
                <a:gd name="T55" fmla="*/ 712 h 892"/>
                <a:gd name="T56" fmla="*/ 84 w 281"/>
                <a:gd name="T57" fmla="*/ 775 h 892"/>
                <a:gd name="T58" fmla="*/ 101 w 281"/>
                <a:gd name="T59" fmla="*/ 803 h 892"/>
                <a:gd name="T60" fmla="*/ 141 w 281"/>
                <a:gd name="T61" fmla="*/ 831 h 892"/>
                <a:gd name="T62" fmla="*/ 168 w 281"/>
                <a:gd name="T63" fmla="*/ 846 h 892"/>
                <a:gd name="T64" fmla="*/ 199 w 281"/>
                <a:gd name="T65" fmla="*/ 853 h 892"/>
                <a:gd name="T66" fmla="*/ 205 w 281"/>
                <a:gd name="T67" fmla="*/ 823 h 892"/>
                <a:gd name="T68" fmla="*/ 227 w 281"/>
                <a:gd name="T69" fmla="*/ 818 h 892"/>
                <a:gd name="T70" fmla="*/ 164 w 281"/>
                <a:gd name="T71" fmla="*/ 812 h 892"/>
                <a:gd name="T72" fmla="*/ 145 w 281"/>
                <a:gd name="T73" fmla="*/ 781 h 892"/>
                <a:gd name="T74" fmla="*/ 123 w 281"/>
                <a:gd name="T75" fmla="*/ 775 h 892"/>
                <a:gd name="T76" fmla="*/ 121 w 281"/>
                <a:gd name="T77" fmla="*/ 739 h 892"/>
                <a:gd name="T78" fmla="*/ 116 w 281"/>
                <a:gd name="T79" fmla="*/ 713 h 892"/>
                <a:gd name="T80" fmla="*/ 114 w 281"/>
                <a:gd name="T81" fmla="*/ 663 h 892"/>
                <a:gd name="T82" fmla="*/ 114 w 281"/>
                <a:gd name="T83" fmla="*/ 645 h 892"/>
                <a:gd name="T84" fmla="*/ 99 w 281"/>
                <a:gd name="T85" fmla="*/ 631 h 892"/>
                <a:gd name="T86" fmla="*/ 89 w 281"/>
                <a:gd name="T87" fmla="*/ 613 h 892"/>
                <a:gd name="T88" fmla="*/ 82 w 281"/>
                <a:gd name="T89" fmla="*/ 582 h 892"/>
                <a:gd name="T90" fmla="*/ 67 w 281"/>
                <a:gd name="T91" fmla="*/ 530 h 892"/>
                <a:gd name="T92" fmla="*/ 75 w 281"/>
                <a:gd name="T93" fmla="*/ 499 h 892"/>
                <a:gd name="T94" fmla="*/ 58 w 281"/>
                <a:gd name="T95" fmla="*/ 453 h 892"/>
                <a:gd name="T96" fmla="*/ 63 w 281"/>
                <a:gd name="T97" fmla="*/ 418 h 892"/>
                <a:gd name="T98" fmla="*/ 64 w 281"/>
                <a:gd name="T99" fmla="*/ 372 h 892"/>
                <a:gd name="T100" fmla="*/ 40 w 281"/>
                <a:gd name="T101" fmla="*/ 327 h 892"/>
                <a:gd name="T102" fmla="*/ 42 w 281"/>
                <a:gd name="T103" fmla="*/ 280 h 892"/>
                <a:gd name="T104" fmla="*/ 55 w 281"/>
                <a:gd name="T105" fmla="*/ 236 h 892"/>
                <a:gd name="T106" fmla="*/ 60 w 281"/>
                <a:gd name="T107" fmla="*/ 212 h 892"/>
                <a:gd name="T108" fmla="*/ 57 w 281"/>
                <a:gd name="T109" fmla="*/ 165 h 892"/>
                <a:gd name="T110" fmla="*/ 82 w 281"/>
                <a:gd name="T111" fmla="*/ 129 h 892"/>
                <a:gd name="T112" fmla="*/ 64 w 281"/>
                <a:gd name="T113" fmla="*/ 126 h 892"/>
                <a:gd name="T114" fmla="*/ 52 w 281"/>
                <a:gd name="T115" fmla="*/ 93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81" h="892">
                  <a:moveTo>
                    <a:pt x="230" y="826"/>
                  </a:moveTo>
                  <a:lnTo>
                    <a:pt x="216" y="823"/>
                  </a:lnTo>
                  <a:lnTo>
                    <a:pt x="203" y="832"/>
                  </a:lnTo>
                  <a:lnTo>
                    <a:pt x="203" y="847"/>
                  </a:lnTo>
                  <a:lnTo>
                    <a:pt x="200" y="859"/>
                  </a:lnTo>
                  <a:lnTo>
                    <a:pt x="173" y="850"/>
                  </a:lnTo>
                  <a:lnTo>
                    <a:pt x="140" y="835"/>
                  </a:lnTo>
                  <a:lnTo>
                    <a:pt x="123" y="831"/>
                  </a:lnTo>
                  <a:lnTo>
                    <a:pt x="160" y="856"/>
                  </a:lnTo>
                  <a:lnTo>
                    <a:pt x="183" y="868"/>
                  </a:lnTo>
                  <a:lnTo>
                    <a:pt x="211" y="880"/>
                  </a:lnTo>
                  <a:lnTo>
                    <a:pt x="231" y="884"/>
                  </a:lnTo>
                  <a:lnTo>
                    <a:pt x="247" y="890"/>
                  </a:lnTo>
                  <a:lnTo>
                    <a:pt x="258" y="892"/>
                  </a:lnTo>
                  <a:lnTo>
                    <a:pt x="267" y="892"/>
                  </a:lnTo>
                  <a:lnTo>
                    <a:pt x="279" y="886"/>
                  </a:lnTo>
                  <a:lnTo>
                    <a:pt x="281" y="877"/>
                  </a:lnTo>
                  <a:lnTo>
                    <a:pt x="270" y="876"/>
                  </a:lnTo>
                  <a:lnTo>
                    <a:pt x="251" y="876"/>
                  </a:lnTo>
                  <a:lnTo>
                    <a:pt x="230" y="826"/>
                  </a:lnTo>
                  <a:lnTo>
                    <a:pt x="230" y="826"/>
                  </a:lnTo>
                  <a:close/>
                  <a:moveTo>
                    <a:pt x="52" y="93"/>
                  </a:moveTo>
                  <a:lnTo>
                    <a:pt x="39" y="66"/>
                  </a:lnTo>
                  <a:lnTo>
                    <a:pt x="43" y="43"/>
                  </a:lnTo>
                  <a:lnTo>
                    <a:pt x="31" y="33"/>
                  </a:lnTo>
                  <a:lnTo>
                    <a:pt x="26" y="16"/>
                  </a:lnTo>
                  <a:lnTo>
                    <a:pt x="15" y="0"/>
                  </a:lnTo>
                  <a:lnTo>
                    <a:pt x="10" y="12"/>
                  </a:lnTo>
                  <a:lnTo>
                    <a:pt x="0" y="18"/>
                  </a:lnTo>
                  <a:lnTo>
                    <a:pt x="8" y="52"/>
                  </a:lnTo>
                  <a:lnTo>
                    <a:pt x="14" y="90"/>
                  </a:lnTo>
                  <a:lnTo>
                    <a:pt x="13" y="143"/>
                  </a:lnTo>
                  <a:lnTo>
                    <a:pt x="13" y="193"/>
                  </a:lnTo>
                  <a:lnTo>
                    <a:pt x="17" y="239"/>
                  </a:lnTo>
                  <a:lnTo>
                    <a:pt x="9" y="268"/>
                  </a:lnTo>
                  <a:lnTo>
                    <a:pt x="18" y="297"/>
                  </a:lnTo>
                  <a:lnTo>
                    <a:pt x="16" y="317"/>
                  </a:lnTo>
                  <a:lnTo>
                    <a:pt x="28" y="353"/>
                  </a:lnTo>
                  <a:lnTo>
                    <a:pt x="27" y="388"/>
                  </a:lnTo>
                  <a:lnTo>
                    <a:pt x="22" y="425"/>
                  </a:lnTo>
                  <a:lnTo>
                    <a:pt x="20" y="465"/>
                  </a:lnTo>
                  <a:lnTo>
                    <a:pt x="13" y="466"/>
                  </a:lnTo>
                  <a:lnTo>
                    <a:pt x="21" y="493"/>
                  </a:lnTo>
                  <a:lnTo>
                    <a:pt x="33" y="517"/>
                  </a:lnTo>
                  <a:lnTo>
                    <a:pt x="30" y="533"/>
                  </a:lnTo>
                  <a:lnTo>
                    <a:pt x="37" y="576"/>
                  </a:lnTo>
                  <a:lnTo>
                    <a:pt x="43" y="608"/>
                  </a:lnTo>
                  <a:lnTo>
                    <a:pt x="56" y="612"/>
                  </a:lnTo>
                  <a:lnTo>
                    <a:pt x="51" y="583"/>
                  </a:lnTo>
                  <a:lnTo>
                    <a:pt x="66" y="590"/>
                  </a:lnTo>
                  <a:lnTo>
                    <a:pt x="73" y="636"/>
                  </a:lnTo>
                  <a:lnTo>
                    <a:pt x="49" y="629"/>
                  </a:lnTo>
                  <a:lnTo>
                    <a:pt x="57" y="667"/>
                  </a:lnTo>
                  <a:lnTo>
                    <a:pt x="47" y="688"/>
                  </a:lnTo>
                  <a:lnTo>
                    <a:pt x="77" y="694"/>
                  </a:lnTo>
                  <a:lnTo>
                    <a:pt x="64" y="712"/>
                  </a:lnTo>
                  <a:lnTo>
                    <a:pt x="65" y="734"/>
                  </a:lnTo>
                  <a:lnTo>
                    <a:pt x="84" y="775"/>
                  </a:lnTo>
                  <a:lnTo>
                    <a:pt x="100" y="790"/>
                  </a:lnTo>
                  <a:lnTo>
                    <a:pt x="101" y="803"/>
                  </a:lnTo>
                  <a:lnTo>
                    <a:pt x="113" y="818"/>
                  </a:lnTo>
                  <a:lnTo>
                    <a:pt x="141" y="831"/>
                  </a:lnTo>
                  <a:lnTo>
                    <a:pt x="141" y="831"/>
                  </a:lnTo>
                  <a:lnTo>
                    <a:pt x="168" y="846"/>
                  </a:lnTo>
                  <a:lnTo>
                    <a:pt x="191" y="853"/>
                  </a:lnTo>
                  <a:lnTo>
                    <a:pt x="199" y="853"/>
                  </a:lnTo>
                  <a:lnTo>
                    <a:pt x="192" y="832"/>
                  </a:lnTo>
                  <a:lnTo>
                    <a:pt x="205" y="823"/>
                  </a:lnTo>
                  <a:lnTo>
                    <a:pt x="211" y="818"/>
                  </a:lnTo>
                  <a:lnTo>
                    <a:pt x="227" y="818"/>
                  </a:lnTo>
                  <a:lnTo>
                    <a:pt x="209" y="815"/>
                  </a:lnTo>
                  <a:lnTo>
                    <a:pt x="164" y="812"/>
                  </a:lnTo>
                  <a:lnTo>
                    <a:pt x="151" y="798"/>
                  </a:lnTo>
                  <a:lnTo>
                    <a:pt x="145" y="781"/>
                  </a:lnTo>
                  <a:lnTo>
                    <a:pt x="132" y="782"/>
                  </a:lnTo>
                  <a:lnTo>
                    <a:pt x="123" y="775"/>
                  </a:lnTo>
                  <a:lnTo>
                    <a:pt x="112" y="749"/>
                  </a:lnTo>
                  <a:lnTo>
                    <a:pt x="121" y="739"/>
                  </a:lnTo>
                  <a:lnTo>
                    <a:pt x="122" y="725"/>
                  </a:lnTo>
                  <a:lnTo>
                    <a:pt x="116" y="713"/>
                  </a:lnTo>
                  <a:lnTo>
                    <a:pt x="118" y="693"/>
                  </a:lnTo>
                  <a:lnTo>
                    <a:pt x="114" y="663"/>
                  </a:lnTo>
                  <a:lnTo>
                    <a:pt x="107" y="649"/>
                  </a:lnTo>
                  <a:lnTo>
                    <a:pt x="114" y="645"/>
                  </a:lnTo>
                  <a:lnTo>
                    <a:pt x="109" y="636"/>
                  </a:lnTo>
                  <a:lnTo>
                    <a:pt x="99" y="631"/>
                  </a:lnTo>
                  <a:lnTo>
                    <a:pt x="102" y="621"/>
                  </a:lnTo>
                  <a:lnTo>
                    <a:pt x="89" y="613"/>
                  </a:lnTo>
                  <a:lnTo>
                    <a:pt x="76" y="586"/>
                  </a:lnTo>
                  <a:lnTo>
                    <a:pt x="82" y="582"/>
                  </a:lnTo>
                  <a:lnTo>
                    <a:pt x="70" y="553"/>
                  </a:lnTo>
                  <a:lnTo>
                    <a:pt x="67" y="530"/>
                  </a:lnTo>
                  <a:lnTo>
                    <a:pt x="66" y="509"/>
                  </a:lnTo>
                  <a:lnTo>
                    <a:pt x="75" y="499"/>
                  </a:lnTo>
                  <a:lnTo>
                    <a:pt x="63" y="476"/>
                  </a:lnTo>
                  <a:lnTo>
                    <a:pt x="58" y="453"/>
                  </a:lnTo>
                  <a:lnTo>
                    <a:pt x="69" y="438"/>
                  </a:lnTo>
                  <a:lnTo>
                    <a:pt x="63" y="418"/>
                  </a:lnTo>
                  <a:lnTo>
                    <a:pt x="69" y="395"/>
                  </a:lnTo>
                  <a:lnTo>
                    <a:pt x="64" y="372"/>
                  </a:lnTo>
                  <a:lnTo>
                    <a:pt x="59" y="368"/>
                  </a:lnTo>
                  <a:lnTo>
                    <a:pt x="40" y="327"/>
                  </a:lnTo>
                  <a:lnTo>
                    <a:pt x="48" y="303"/>
                  </a:lnTo>
                  <a:lnTo>
                    <a:pt x="42" y="280"/>
                  </a:lnTo>
                  <a:lnTo>
                    <a:pt x="45" y="258"/>
                  </a:lnTo>
                  <a:lnTo>
                    <a:pt x="55" y="236"/>
                  </a:lnTo>
                  <a:lnTo>
                    <a:pt x="67" y="221"/>
                  </a:lnTo>
                  <a:lnTo>
                    <a:pt x="60" y="212"/>
                  </a:lnTo>
                  <a:lnTo>
                    <a:pt x="62" y="204"/>
                  </a:lnTo>
                  <a:lnTo>
                    <a:pt x="57" y="165"/>
                  </a:lnTo>
                  <a:lnTo>
                    <a:pt x="77" y="153"/>
                  </a:lnTo>
                  <a:lnTo>
                    <a:pt x="82" y="129"/>
                  </a:lnTo>
                  <a:lnTo>
                    <a:pt x="78" y="122"/>
                  </a:lnTo>
                  <a:lnTo>
                    <a:pt x="64" y="126"/>
                  </a:lnTo>
                  <a:lnTo>
                    <a:pt x="52" y="93"/>
                  </a:lnTo>
                  <a:lnTo>
                    <a:pt x="52" y="9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2" name="China">
              <a:extLst>
                <a:ext uri="{FF2B5EF4-FFF2-40B4-BE49-F238E27FC236}">
                  <a16:creationId xmlns:a16="http://schemas.microsoft.com/office/drawing/2014/main" id="{A9E40377-A36A-4BF2-8A51-0111F333E6C4}"/>
                </a:ext>
              </a:extLst>
            </p:cNvPr>
            <p:cNvSpPr>
              <a:spLocks noEditPoints="1"/>
            </p:cNvSpPr>
            <p:nvPr/>
          </p:nvSpPr>
          <p:spPr bwMode="auto">
            <a:xfrm>
              <a:off x="8263731" y="2057174"/>
              <a:ext cx="1703387" cy="1319213"/>
            </a:xfrm>
            <a:custGeom>
              <a:avLst/>
              <a:gdLst>
                <a:gd name="T0" fmla="*/ 855 w 1073"/>
                <a:gd name="T1" fmla="*/ 786 h 831"/>
                <a:gd name="T2" fmla="*/ 817 w 1073"/>
                <a:gd name="T3" fmla="*/ 824 h 831"/>
                <a:gd name="T4" fmla="*/ 901 w 1073"/>
                <a:gd name="T5" fmla="*/ 85 h 831"/>
                <a:gd name="T6" fmla="*/ 819 w 1073"/>
                <a:gd name="T7" fmla="*/ 16 h 831"/>
                <a:gd name="T8" fmla="*/ 723 w 1073"/>
                <a:gd name="T9" fmla="*/ 6 h 831"/>
                <a:gd name="T10" fmla="*/ 735 w 1073"/>
                <a:gd name="T11" fmla="*/ 42 h 831"/>
                <a:gd name="T12" fmla="*/ 698 w 1073"/>
                <a:gd name="T13" fmla="*/ 82 h 831"/>
                <a:gd name="T14" fmla="*/ 721 w 1073"/>
                <a:gd name="T15" fmla="*/ 129 h 831"/>
                <a:gd name="T16" fmla="*/ 796 w 1073"/>
                <a:gd name="T17" fmla="*/ 148 h 831"/>
                <a:gd name="T18" fmla="*/ 749 w 1073"/>
                <a:gd name="T19" fmla="*/ 163 h 831"/>
                <a:gd name="T20" fmla="*/ 686 w 1073"/>
                <a:gd name="T21" fmla="*/ 195 h 831"/>
                <a:gd name="T22" fmla="*/ 691 w 1073"/>
                <a:gd name="T23" fmla="*/ 224 h 831"/>
                <a:gd name="T24" fmla="*/ 628 w 1073"/>
                <a:gd name="T25" fmla="*/ 253 h 831"/>
                <a:gd name="T26" fmla="*/ 550 w 1073"/>
                <a:gd name="T27" fmla="*/ 267 h 831"/>
                <a:gd name="T28" fmla="*/ 428 w 1073"/>
                <a:gd name="T29" fmla="*/ 247 h 831"/>
                <a:gd name="T30" fmla="*/ 359 w 1073"/>
                <a:gd name="T31" fmla="*/ 210 h 831"/>
                <a:gd name="T32" fmla="*/ 268 w 1073"/>
                <a:gd name="T33" fmla="*/ 179 h 831"/>
                <a:gd name="T34" fmla="*/ 189 w 1073"/>
                <a:gd name="T35" fmla="*/ 112 h 831"/>
                <a:gd name="T36" fmla="*/ 150 w 1073"/>
                <a:gd name="T37" fmla="*/ 116 h 831"/>
                <a:gd name="T38" fmla="*/ 118 w 1073"/>
                <a:gd name="T39" fmla="*/ 183 h 831"/>
                <a:gd name="T40" fmla="*/ 98 w 1073"/>
                <a:gd name="T41" fmla="*/ 243 h 831"/>
                <a:gd name="T42" fmla="*/ 75 w 1073"/>
                <a:gd name="T43" fmla="*/ 283 h 831"/>
                <a:gd name="T44" fmla="*/ 15 w 1073"/>
                <a:gd name="T45" fmla="*/ 303 h 831"/>
                <a:gd name="T46" fmla="*/ 12 w 1073"/>
                <a:gd name="T47" fmla="*/ 346 h 831"/>
                <a:gd name="T48" fmla="*/ 40 w 1073"/>
                <a:gd name="T49" fmla="*/ 373 h 831"/>
                <a:gd name="T50" fmla="*/ 108 w 1073"/>
                <a:gd name="T51" fmla="*/ 419 h 831"/>
                <a:gd name="T52" fmla="*/ 153 w 1073"/>
                <a:gd name="T53" fmla="*/ 491 h 831"/>
                <a:gd name="T54" fmla="*/ 204 w 1073"/>
                <a:gd name="T55" fmla="*/ 545 h 831"/>
                <a:gd name="T56" fmla="*/ 265 w 1073"/>
                <a:gd name="T57" fmla="*/ 566 h 831"/>
                <a:gd name="T58" fmla="*/ 334 w 1073"/>
                <a:gd name="T59" fmla="*/ 599 h 831"/>
                <a:gd name="T60" fmla="*/ 385 w 1073"/>
                <a:gd name="T61" fmla="*/ 597 h 831"/>
                <a:gd name="T62" fmla="*/ 431 w 1073"/>
                <a:gd name="T63" fmla="*/ 603 h 831"/>
                <a:gd name="T64" fmla="*/ 499 w 1073"/>
                <a:gd name="T65" fmla="*/ 573 h 831"/>
                <a:gd name="T66" fmla="*/ 542 w 1073"/>
                <a:gd name="T67" fmla="*/ 591 h 831"/>
                <a:gd name="T68" fmla="*/ 579 w 1073"/>
                <a:gd name="T69" fmla="*/ 627 h 831"/>
                <a:gd name="T70" fmla="*/ 590 w 1073"/>
                <a:gd name="T71" fmla="*/ 691 h 831"/>
                <a:gd name="T72" fmla="*/ 626 w 1073"/>
                <a:gd name="T73" fmla="*/ 746 h 831"/>
                <a:gd name="T74" fmla="*/ 654 w 1073"/>
                <a:gd name="T75" fmla="*/ 759 h 831"/>
                <a:gd name="T76" fmla="*/ 679 w 1073"/>
                <a:gd name="T77" fmla="*/ 724 h 831"/>
                <a:gd name="T78" fmla="*/ 741 w 1073"/>
                <a:gd name="T79" fmla="*/ 717 h 831"/>
                <a:gd name="T80" fmla="*/ 793 w 1073"/>
                <a:gd name="T81" fmla="*/ 751 h 831"/>
                <a:gd name="T82" fmla="*/ 836 w 1073"/>
                <a:gd name="T83" fmla="*/ 781 h 831"/>
                <a:gd name="T84" fmla="*/ 897 w 1073"/>
                <a:gd name="T85" fmla="*/ 740 h 831"/>
                <a:gd name="T86" fmla="*/ 949 w 1073"/>
                <a:gd name="T87" fmla="*/ 722 h 831"/>
                <a:gd name="T88" fmla="*/ 1018 w 1073"/>
                <a:gd name="T89" fmla="*/ 620 h 831"/>
                <a:gd name="T90" fmla="*/ 1033 w 1073"/>
                <a:gd name="T91" fmla="*/ 555 h 831"/>
                <a:gd name="T92" fmla="*/ 1014 w 1073"/>
                <a:gd name="T93" fmla="*/ 510 h 831"/>
                <a:gd name="T94" fmla="*/ 930 w 1073"/>
                <a:gd name="T95" fmla="*/ 433 h 831"/>
                <a:gd name="T96" fmla="*/ 976 w 1073"/>
                <a:gd name="T97" fmla="*/ 385 h 831"/>
                <a:gd name="T98" fmla="*/ 918 w 1073"/>
                <a:gd name="T99" fmla="*/ 379 h 831"/>
                <a:gd name="T100" fmla="*/ 859 w 1073"/>
                <a:gd name="T101" fmla="*/ 341 h 831"/>
                <a:gd name="T102" fmla="*/ 900 w 1073"/>
                <a:gd name="T103" fmla="*/ 297 h 831"/>
                <a:gd name="T104" fmla="*/ 931 w 1073"/>
                <a:gd name="T105" fmla="*/ 326 h 831"/>
                <a:gd name="T106" fmla="*/ 976 w 1073"/>
                <a:gd name="T107" fmla="*/ 313 h 831"/>
                <a:gd name="T108" fmla="*/ 1015 w 1073"/>
                <a:gd name="T109" fmla="*/ 276 h 831"/>
                <a:gd name="T110" fmla="*/ 1046 w 1073"/>
                <a:gd name="T111" fmla="*/ 242 h 831"/>
                <a:gd name="T112" fmla="*/ 1068 w 1073"/>
                <a:gd name="T113" fmla="*/ 243 h 831"/>
                <a:gd name="T114" fmla="*/ 1073 w 1073"/>
                <a:gd name="T115" fmla="*/ 192 h 831"/>
                <a:gd name="T116" fmla="*/ 1057 w 1073"/>
                <a:gd name="T117" fmla="*/ 115 h 831"/>
                <a:gd name="T118" fmla="*/ 971 w 1073"/>
                <a:gd name="T119" fmla="*/ 109 h 8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073" h="831">
                  <a:moveTo>
                    <a:pt x="851" y="819"/>
                  </a:moveTo>
                  <a:lnTo>
                    <a:pt x="853" y="806"/>
                  </a:lnTo>
                  <a:lnTo>
                    <a:pt x="861" y="796"/>
                  </a:lnTo>
                  <a:lnTo>
                    <a:pt x="855" y="786"/>
                  </a:lnTo>
                  <a:lnTo>
                    <a:pt x="843" y="785"/>
                  </a:lnTo>
                  <a:lnTo>
                    <a:pt x="822" y="792"/>
                  </a:lnTo>
                  <a:lnTo>
                    <a:pt x="813" y="803"/>
                  </a:lnTo>
                  <a:lnTo>
                    <a:pt x="817" y="824"/>
                  </a:lnTo>
                  <a:lnTo>
                    <a:pt x="836" y="831"/>
                  </a:lnTo>
                  <a:lnTo>
                    <a:pt x="851" y="819"/>
                  </a:lnTo>
                  <a:lnTo>
                    <a:pt x="851" y="819"/>
                  </a:lnTo>
                  <a:close/>
                  <a:moveTo>
                    <a:pt x="901" y="85"/>
                  </a:moveTo>
                  <a:lnTo>
                    <a:pt x="878" y="63"/>
                  </a:lnTo>
                  <a:lnTo>
                    <a:pt x="862" y="49"/>
                  </a:lnTo>
                  <a:lnTo>
                    <a:pt x="847" y="38"/>
                  </a:lnTo>
                  <a:lnTo>
                    <a:pt x="819" y="16"/>
                  </a:lnTo>
                  <a:lnTo>
                    <a:pt x="796" y="8"/>
                  </a:lnTo>
                  <a:lnTo>
                    <a:pt x="765" y="0"/>
                  </a:lnTo>
                  <a:lnTo>
                    <a:pt x="741" y="1"/>
                  </a:lnTo>
                  <a:lnTo>
                    <a:pt x="723" y="6"/>
                  </a:lnTo>
                  <a:lnTo>
                    <a:pt x="716" y="17"/>
                  </a:lnTo>
                  <a:lnTo>
                    <a:pt x="730" y="22"/>
                  </a:lnTo>
                  <a:lnTo>
                    <a:pt x="739" y="35"/>
                  </a:lnTo>
                  <a:lnTo>
                    <a:pt x="735" y="42"/>
                  </a:lnTo>
                  <a:lnTo>
                    <a:pt x="735" y="66"/>
                  </a:lnTo>
                  <a:lnTo>
                    <a:pt x="742" y="77"/>
                  </a:lnTo>
                  <a:lnTo>
                    <a:pt x="725" y="91"/>
                  </a:lnTo>
                  <a:lnTo>
                    <a:pt x="698" y="82"/>
                  </a:lnTo>
                  <a:lnTo>
                    <a:pt x="701" y="99"/>
                  </a:lnTo>
                  <a:lnTo>
                    <a:pt x="702" y="122"/>
                  </a:lnTo>
                  <a:lnTo>
                    <a:pt x="712" y="133"/>
                  </a:lnTo>
                  <a:lnTo>
                    <a:pt x="721" y="129"/>
                  </a:lnTo>
                  <a:lnTo>
                    <a:pt x="741" y="133"/>
                  </a:lnTo>
                  <a:lnTo>
                    <a:pt x="751" y="124"/>
                  </a:lnTo>
                  <a:lnTo>
                    <a:pt x="769" y="132"/>
                  </a:lnTo>
                  <a:lnTo>
                    <a:pt x="796" y="148"/>
                  </a:lnTo>
                  <a:lnTo>
                    <a:pt x="799" y="156"/>
                  </a:lnTo>
                  <a:lnTo>
                    <a:pt x="783" y="153"/>
                  </a:lnTo>
                  <a:lnTo>
                    <a:pt x="757" y="157"/>
                  </a:lnTo>
                  <a:lnTo>
                    <a:pt x="749" y="163"/>
                  </a:lnTo>
                  <a:lnTo>
                    <a:pt x="743" y="178"/>
                  </a:lnTo>
                  <a:lnTo>
                    <a:pt x="720" y="188"/>
                  </a:lnTo>
                  <a:lnTo>
                    <a:pt x="709" y="200"/>
                  </a:lnTo>
                  <a:lnTo>
                    <a:pt x="686" y="195"/>
                  </a:lnTo>
                  <a:lnTo>
                    <a:pt x="674" y="193"/>
                  </a:lnTo>
                  <a:lnTo>
                    <a:pt x="673" y="208"/>
                  </a:lnTo>
                  <a:lnTo>
                    <a:pt x="683" y="217"/>
                  </a:lnTo>
                  <a:lnTo>
                    <a:pt x="691" y="224"/>
                  </a:lnTo>
                  <a:lnTo>
                    <a:pt x="682" y="232"/>
                  </a:lnTo>
                  <a:lnTo>
                    <a:pt x="674" y="245"/>
                  </a:lnTo>
                  <a:lnTo>
                    <a:pt x="656" y="252"/>
                  </a:lnTo>
                  <a:lnTo>
                    <a:pt x="628" y="253"/>
                  </a:lnTo>
                  <a:lnTo>
                    <a:pt x="601" y="261"/>
                  </a:lnTo>
                  <a:lnTo>
                    <a:pt x="584" y="274"/>
                  </a:lnTo>
                  <a:lnTo>
                    <a:pt x="572" y="266"/>
                  </a:lnTo>
                  <a:lnTo>
                    <a:pt x="550" y="267"/>
                  </a:lnTo>
                  <a:lnTo>
                    <a:pt x="514" y="252"/>
                  </a:lnTo>
                  <a:lnTo>
                    <a:pt x="494" y="249"/>
                  </a:lnTo>
                  <a:lnTo>
                    <a:pt x="471" y="252"/>
                  </a:lnTo>
                  <a:lnTo>
                    <a:pt x="428" y="247"/>
                  </a:lnTo>
                  <a:lnTo>
                    <a:pt x="408" y="247"/>
                  </a:lnTo>
                  <a:lnTo>
                    <a:pt x="390" y="234"/>
                  </a:lnTo>
                  <a:lnTo>
                    <a:pt x="372" y="213"/>
                  </a:lnTo>
                  <a:lnTo>
                    <a:pt x="359" y="210"/>
                  </a:lnTo>
                  <a:lnTo>
                    <a:pt x="330" y="196"/>
                  </a:lnTo>
                  <a:lnTo>
                    <a:pt x="303" y="192"/>
                  </a:lnTo>
                  <a:lnTo>
                    <a:pt x="279" y="189"/>
                  </a:lnTo>
                  <a:lnTo>
                    <a:pt x="268" y="179"/>
                  </a:lnTo>
                  <a:lnTo>
                    <a:pt x="263" y="151"/>
                  </a:lnTo>
                  <a:lnTo>
                    <a:pt x="242" y="133"/>
                  </a:lnTo>
                  <a:lnTo>
                    <a:pt x="211" y="124"/>
                  </a:lnTo>
                  <a:lnTo>
                    <a:pt x="189" y="112"/>
                  </a:lnTo>
                  <a:lnTo>
                    <a:pt x="177" y="95"/>
                  </a:lnTo>
                  <a:lnTo>
                    <a:pt x="171" y="97"/>
                  </a:lnTo>
                  <a:lnTo>
                    <a:pt x="164" y="113"/>
                  </a:lnTo>
                  <a:lnTo>
                    <a:pt x="150" y="116"/>
                  </a:lnTo>
                  <a:lnTo>
                    <a:pt x="160" y="138"/>
                  </a:lnTo>
                  <a:lnTo>
                    <a:pt x="154" y="149"/>
                  </a:lnTo>
                  <a:lnTo>
                    <a:pt x="114" y="142"/>
                  </a:lnTo>
                  <a:lnTo>
                    <a:pt x="118" y="183"/>
                  </a:lnTo>
                  <a:lnTo>
                    <a:pt x="110" y="189"/>
                  </a:lnTo>
                  <a:lnTo>
                    <a:pt x="76" y="197"/>
                  </a:lnTo>
                  <a:lnTo>
                    <a:pt x="109" y="237"/>
                  </a:lnTo>
                  <a:lnTo>
                    <a:pt x="98" y="243"/>
                  </a:lnTo>
                  <a:lnTo>
                    <a:pt x="105" y="256"/>
                  </a:lnTo>
                  <a:lnTo>
                    <a:pt x="104" y="261"/>
                  </a:lnTo>
                  <a:lnTo>
                    <a:pt x="78" y="275"/>
                  </a:lnTo>
                  <a:lnTo>
                    <a:pt x="75" y="283"/>
                  </a:lnTo>
                  <a:lnTo>
                    <a:pt x="50" y="286"/>
                  </a:lnTo>
                  <a:lnTo>
                    <a:pt x="48" y="301"/>
                  </a:lnTo>
                  <a:lnTo>
                    <a:pt x="27" y="298"/>
                  </a:lnTo>
                  <a:lnTo>
                    <a:pt x="15" y="303"/>
                  </a:lnTo>
                  <a:lnTo>
                    <a:pt x="0" y="314"/>
                  </a:lnTo>
                  <a:lnTo>
                    <a:pt x="5" y="319"/>
                  </a:lnTo>
                  <a:lnTo>
                    <a:pt x="1" y="325"/>
                  </a:lnTo>
                  <a:lnTo>
                    <a:pt x="12" y="346"/>
                  </a:lnTo>
                  <a:lnTo>
                    <a:pt x="18" y="345"/>
                  </a:lnTo>
                  <a:lnTo>
                    <a:pt x="31" y="349"/>
                  </a:lnTo>
                  <a:lnTo>
                    <a:pt x="33" y="359"/>
                  </a:lnTo>
                  <a:lnTo>
                    <a:pt x="40" y="373"/>
                  </a:lnTo>
                  <a:lnTo>
                    <a:pt x="45" y="380"/>
                  </a:lnTo>
                  <a:lnTo>
                    <a:pt x="62" y="391"/>
                  </a:lnTo>
                  <a:lnTo>
                    <a:pt x="74" y="410"/>
                  </a:lnTo>
                  <a:lnTo>
                    <a:pt x="108" y="419"/>
                  </a:lnTo>
                  <a:lnTo>
                    <a:pt x="137" y="447"/>
                  </a:lnTo>
                  <a:lnTo>
                    <a:pt x="140" y="467"/>
                  </a:lnTo>
                  <a:lnTo>
                    <a:pt x="151" y="479"/>
                  </a:lnTo>
                  <a:lnTo>
                    <a:pt x="153" y="491"/>
                  </a:lnTo>
                  <a:lnTo>
                    <a:pt x="138" y="488"/>
                  </a:lnTo>
                  <a:lnTo>
                    <a:pt x="150" y="514"/>
                  </a:lnTo>
                  <a:lnTo>
                    <a:pt x="173" y="529"/>
                  </a:lnTo>
                  <a:lnTo>
                    <a:pt x="204" y="545"/>
                  </a:lnTo>
                  <a:lnTo>
                    <a:pt x="212" y="540"/>
                  </a:lnTo>
                  <a:lnTo>
                    <a:pt x="230" y="547"/>
                  </a:lnTo>
                  <a:lnTo>
                    <a:pt x="253" y="563"/>
                  </a:lnTo>
                  <a:lnTo>
                    <a:pt x="265" y="566"/>
                  </a:lnTo>
                  <a:lnTo>
                    <a:pt x="274" y="578"/>
                  </a:lnTo>
                  <a:lnTo>
                    <a:pt x="291" y="583"/>
                  </a:lnTo>
                  <a:lnTo>
                    <a:pt x="310" y="593"/>
                  </a:lnTo>
                  <a:lnTo>
                    <a:pt x="334" y="599"/>
                  </a:lnTo>
                  <a:lnTo>
                    <a:pt x="358" y="600"/>
                  </a:lnTo>
                  <a:lnTo>
                    <a:pt x="370" y="596"/>
                  </a:lnTo>
                  <a:lnTo>
                    <a:pt x="375" y="614"/>
                  </a:lnTo>
                  <a:lnTo>
                    <a:pt x="385" y="597"/>
                  </a:lnTo>
                  <a:lnTo>
                    <a:pt x="395" y="590"/>
                  </a:lnTo>
                  <a:lnTo>
                    <a:pt x="410" y="596"/>
                  </a:lnTo>
                  <a:lnTo>
                    <a:pt x="421" y="597"/>
                  </a:lnTo>
                  <a:lnTo>
                    <a:pt x="431" y="603"/>
                  </a:lnTo>
                  <a:lnTo>
                    <a:pt x="447" y="600"/>
                  </a:lnTo>
                  <a:lnTo>
                    <a:pt x="461" y="583"/>
                  </a:lnTo>
                  <a:lnTo>
                    <a:pt x="481" y="568"/>
                  </a:lnTo>
                  <a:lnTo>
                    <a:pt x="499" y="573"/>
                  </a:lnTo>
                  <a:lnTo>
                    <a:pt x="512" y="563"/>
                  </a:lnTo>
                  <a:lnTo>
                    <a:pt x="525" y="578"/>
                  </a:lnTo>
                  <a:lnTo>
                    <a:pt x="520" y="588"/>
                  </a:lnTo>
                  <a:lnTo>
                    <a:pt x="542" y="591"/>
                  </a:lnTo>
                  <a:lnTo>
                    <a:pt x="554" y="590"/>
                  </a:lnTo>
                  <a:lnTo>
                    <a:pt x="564" y="603"/>
                  </a:lnTo>
                  <a:lnTo>
                    <a:pt x="574" y="609"/>
                  </a:lnTo>
                  <a:lnTo>
                    <a:pt x="579" y="627"/>
                  </a:lnTo>
                  <a:lnTo>
                    <a:pt x="582" y="647"/>
                  </a:lnTo>
                  <a:lnTo>
                    <a:pt x="567" y="667"/>
                  </a:lnTo>
                  <a:lnTo>
                    <a:pt x="569" y="695"/>
                  </a:lnTo>
                  <a:lnTo>
                    <a:pt x="590" y="691"/>
                  </a:lnTo>
                  <a:lnTo>
                    <a:pt x="598" y="713"/>
                  </a:lnTo>
                  <a:lnTo>
                    <a:pt x="612" y="718"/>
                  </a:lnTo>
                  <a:lnTo>
                    <a:pt x="610" y="738"/>
                  </a:lnTo>
                  <a:lnTo>
                    <a:pt x="626" y="746"/>
                  </a:lnTo>
                  <a:lnTo>
                    <a:pt x="636" y="751"/>
                  </a:lnTo>
                  <a:lnTo>
                    <a:pt x="650" y="744"/>
                  </a:lnTo>
                  <a:lnTo>
                    <a:pt x="653" y="754"/>
                  </a:lnTo>
                  <a:lnTo>
                    <a:pt x="654" y="759"/>
                  </a:lnTo>
                  <a:lnTo>
                    <a:pt x="666" y="760"/>
                  </a:lnTo>
                  <a:lnTo>
                    <a:pt x="658" y="733"/>
                  </a:lnTo>
                  <a:lnTo>
                    <a:pt x="668" y="729"/>
                  </a:lnTo>
                  <a:lnTo>
                    <a:pt x="679" y="724"/>
                  </a:lnTo>
                  <a:lnTo>
                    <a:pt x="695" y="724"/>
                  </a:lnTo>
                  <a:lnTo>
                    <a:pt x="714" y="721"/>
                  </a:lnTo>
                  <a:lnTo>
                    <a:pt x="730" y="708"/>
                  </a:lnTo>
                  <a:lnTo>
                    <a:pt x="741" y="717"/>
                  </a:lnTo>
                  <a:lnTo>
                    <a:pt x="761" y="721"/>
                  </a:lnTo>
                  <a:lnTo>
                    <a:pt x="760" y="735"/>
                  </a:lnTo>
                  <a:lnTo>
                    <a:pt x="771" y="745"/>
                  </a:lnTo>
                  <a:lnTo>
                    <a:pt x="793" y="751"/>
                  </a:lnTo>
                  <a:lnTo>
                    <a:pt x="802" y="747"/>
                  </a:lnTo>
                  <a:lnTo>
                    <a:pt x="831" y="754"/>
                  </a:lnTo>
                  <a:lnTo>
                    <a:pt x="827" y="764"/>
                  </a:lnTo>
                  <a:lnTo>
                    <a:pt x="836" y="781"/>
                  </a:lnTo>
                  <a:lnTo>
                    <a:pt x="847" y="780"/>
                  </a:lnTo>
                  <a:lnTo>
                    <a:pt x="850" y="754"/>
                  </a:lnTo>
                  <a:lnTo>
                    <a:pt x="871" y="751"/>
                  </a:lnTo>
                  <a:lnTo>
                    <a:pt x="897" y="740"/>
                  </a:lnTo>
                  <a:lnTo>
                    <a:pt x="907" y="727"/>
                  </a:lnTo>
                  <a:lnTo>
                    <a:pt x="916" y="735"/>
                  </a:lnTo>
                  <a:lnTo>
                    <a:pt x="926" y="725"/>
                  </a:lnTo>
                  <a:lnTo>
                    <a:pt x="949" y="722"/>
                  </a:lnTo>
                  <a:lnTo>
                    <a:pt x="974" y="702"/>
                  </a:lnTo>
                  <a:lnTo>
                    <a:pt x="997" y="680"/>
                  </a:lnTo>
                  <a:lnTo>
                    <a:pt x="1009" y="652"/>
                  </a:lnTo>
                  <a:lnTo>
                    <a:pt x="1018" y="620"/>
                  </a:lnTo>
                  <a:lnTo>
                    <a:pt x="1026" y="594"/>
                  </a:lnTo>
                  <a:lnTo>
                    <a:pt x="1036" y="592"/>
                  </a:lnTo>
                  <a:lnTo>
                    <a:pt x="1035" y="573"/>
                  </a:lnTo>
                  <a:lnTo>
                    <a:pt x="1033" y="555"/>
                  </a:lnTo>
                  <a:lnTo>
                    <a:pt x="1019" y="547"/>
                  </a:lnTo>
                  <a:lnTo>
                    <a:pt x="1009" y="534"/>
                  </a:lnTo>
                  <a:lnTo>
                    <a:pt x="1019" y="528"/>
                  </a:lnTo>
                  <a:lnTo>
                    <a:pt x="1014" y="510"/>
                  </a:lnTo>
                  <a:lnTo>
                    <a:pt x="993" y="492"/>
                  </a:lnTo>
                  <a:lnTo>
                    <a:pt x="974" y="471"/>
                  </a:lnTo>
                  <a:lnTo>
                    <a:pt x="956" y="446"/>
                  </a:lnTo>
                  <a:lnTo>
                    <a:pt x="930" y="433"/>
                  </a:lnTo>
                  <a:lnTo>
                    <a:pt x="933" y="416"/>
                  </a:lnTo>
                  <a:lnTo>
                    <a:pt x="948" y="404"/>
                  </a:lnTo>
                  <a:lnTo>
                    <a:pt x="951" y="391"/>
                  </a:lnTo>
                  <a:lnTo>
                    <a:pt x="976" y="385"/>
                  </a:lnTo>
                  <a:lnTo>
                    <a:pt x="967" y="372"/>
                  </a:lnTo>
                  <a:lnTo>
                    <a:pt x="954" y="372"/>
                  </a:lnTo>
                  <a:lnTo>
                    <a:pt x="933" y="362"/>
                  </a:lnTo>
                  <a:lnTo>
                    <a:pt x="918" y="379"/>
                  </a:lnTo>
                  <a:lnTo>
                    <a:pt x="900" y="372"/>
                  </a:lnTo>
                  <a:lnTo>
                    <a:pt x="894" y="361"/>
                  </a:lnTo>
                  <a:lnTo>
                    <a:pt x="877" y="358"/>
                  </a:lnTo>
                  <a:lnTo>
                    <a:pt x="859" y="341"/>
                  </a:lnTo>
                  <a:lnTo>
                    <a:pt x="864" y="330"/>
                  </a:lnTo>
                  <a:lnTo>
                    <a:pt x="882" y="329"/>
                  </a:lnTo>
                  <a:lnTo>
                    <a:pt x="887" y="314"/>
                  </a:lnTo>
                  <a:lnTo>
                    <a:pt x="900" y="297"/>
                  </a:lnTo>
                  <a:lnTo>
                    <a:pt x="913" y="289"/>
                  </a:lnTo>
                  <a:lnTo>
                    <a:pt x="929" y="301"/>
                  </a:lnTo>
                  <a:lnTo>
                    <a:pt x="922" y="317"/>
                  </a:lnTo>
                  <a:lnTo>
                    <a:pt x="931" y="326"/>
                  </a:lnTo>
                  <a:lnTo>
                    <a:pt x="925" y="337"/>
                  </a:lnTo>
                  <a:lnTo>
                    <a:pt x="944" y="331"/>
                  </a:lnTo>
                  <a:lnTo>
                    <a:pt x="952" y="319"/>
                  </a:lnTo>
                  <a:lnTo>
                    <a:pt x="976" y="313"/>
                  </a:lnTo>
                  <a:lnTo>
                    <a:pt x="984" y="298"/>
                  </a:lnTo>
                  <a:lnTo>
                    <a:pt x="998" y="285"/>
                  </a:lnTo>
                  <a:lnTo>
                    <a:pt x="1002" y="269"/>
                  </a:lnTo>
                  <a:lnTo>
                    <a:pt x="1015" y="276"/>
                  </a:lnTo>
                  <a:lnTo>
                    <a:pt x="1033" y="276"/>
                  </a:lnTo>
                  <a:lnTo>
                    <a:pt x="1022" y="264"/>
                  </a:lnTo>
                  <a:lnTo>
                    <a:pt x="1046" y="255"/>
                  </a:lnTo>
                  <a:lnTo>
                    <a:pt x="1046" y="242"/>
                  </a:lnTo>
                  <a:lnTo>
                    <a:pt x="1066" y="255"/>
                  </a:lnTo>
                  <a:lnTo>
                    <a:pt x="1066" y="255"/>
                  </a:lnTo>
                  <a:lnTo>
                    <a:pt x="1059" y="244"/>
                  </a:lnTo>
                  <a:lnTo>
                    <a:pt x="1068" y="243"/>
                  </a:lnTo>
                  <a:lnTo>
                    <a:pt x="1054" y="216"/>
                  </a:lnTo>
                  <a:lnTo>
                    <a:pt x="1036" y="196"/>
                  </a:lnTo>
                  <a:lnTo>
                    <a:pt x="1048" y="188"/>
                  </a:lnTo>
                  <a:lnTo>
                    <a:pt x="1073" y="192"/>
                  </a:lnTo>
                  <a:lnTo>
                    <a:pt x="1071" y="170"/>
                  </a:lnTo>
                  <a:lnTo>
                    <a:pt x="1060" y="144"/>
                  </a:lnTo>
                  <a:lnTo>
                    <a:pt x="1062" y="135"/>
                  </a:lnTo>
                  <a:lnTo>
                    <a:pt x="1057" y="115"/>
                  </a:lnTo>
                  <a:lnTo>
                    <a:pt x="1031" y="121"/>
                  </a:lnTo>
                  <a:lnTo>
                    <a:pt x="1021" y="131"/>
                  </a:lnTo>
                  <a:lnTo>
                    <a:pt x="993" y="131"/>
                  </a:lnTo>
                  <a:lnTo>
                    <a:pt x="971" y="109"/>
                  </a:lnTo>
                  <a:lnTo>
                    <a:pt x="937" y="92"/>
                  </a:lnTo>
                  <a:lnTo>
                    <a:pt x="901" y="85"/>
                  </a:lnTo>
                  <a:lnTo>
                    <a:pt x="901" y="8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3" name="Côte d'Ivoire">
              <a:extLst>
                <a:ext uri="{FF2B5EF4-FFF2-40B4-BE49-F238E27FC236}">
                  <a16:creationId xmlns:a16="http://schemas.microsoft.com/office/drawing/2014/main" id="{96EFA031-5AD1-473F-AAC3-A4878963F960}"/>
                </a:ext>
              </a:extLst>
            </p:cNvPr>
            <p:cNvSpPr>
              <a:spLocks/>
            </p:cNvSpPr>
            <p:nvPr/>
          </p:nvSpPr>
          <p:spPr bwMode="auto">
            <a:xfrm>
              <a:off x="5709444" y="3665311"/>
              <a:ext cx="200025" cy="233363"/>
            </a:xfrm>
            <a:custGeom>
              <a:avLst/>
              <a:gdLst>
                <a:gd name="T0" fmla="*/ 67 w 126"/>
                <a:gd name="T1" fmla="*/ 4 h 147"/>
                <a:gd name="T2" fmla="*/ 59 w 126"/>
                <a:gd name="T3" fmla="*/ 7 h 147"/>
                <a:gd name="T4" fmla="*/ 54 w 126"/>
                <a:gd name="T5" fmla="*/ 10 h 147"/>
                <a:gd name="T6" fmla="*/ 51 w 126"/>
                <a:gd name="T7" fmla="*/ 0 h 147"/>
                <a:gd name="T8" fmla="*/ 45 w 126"/>
                <a:gd name="T9" fmla="*/ 3 h 147"/>
                <a:gd name="T10" fmla="*/ 41 w 126"/>
                <a:gd name="T11" fmla="*/ 2 h 147"/>
                <a:gd name="T12" fmla="*/ 38 w 126"/>
                <a:gd name="T13" fmla="*/ 9 h 147"/>
                <a:gd name="T14" fmla="*/ 21 w 126"/>
                <a:gd name="T15" fmla="*/ 8 h 147"/>
                <a:gd name="T16" fmla="*/ 15 w 126"/>
                <a:gd name="T17" fmla="*/ 5 h 147"/>
                <a:gd name="T18" fmla="*/ 12 w 126"/>
                <a:gd name="T19" fmla="*/ 8 h 147"/>
                <a:gd name="T20" fmla="*/ 9 w 126"/>
                <a:gd name="T21" fmla="*/ 9 h 147"/>
                <a:gd name="T22" fmla="*/ 7 w 126"/>
                <a:gd name="T23" fmla="*/ 18 h 147"/>
                <a:gd name="T24" fmla="*/ 11 w 126"/>
                <a:gd name="T25" fmla="*/ 27 h 147"/>
                <a:gd name="T26" fmla="*/ 16 w 126"/>
                <a:gd name="T27" fmla="*/ 46 h 147"/>
                <a:gd name="T28" fmla="*/ 9 w 126"/>
                <a:gd name="T29" fmla="*/ 50 h 147"/>
                <a:gd name="T30" fmla="*/ 7 w 126"/>
                <a:gd name="T31" fmla="*/ 52 h 147"/>
                <a:gd name="T32" fmla="*/ 8 w 126"/>
                <a:gd name="T33" fmla="*/ 57 h 147"/>
                <a:gd name="T34" fmla="*/ 7 w 126"/>
                <a:gd name="T35" fmla="*/ 67 h 147"/>
                <a:gd name="T36" fmla="*/ 4 w 126"/>
                <a:gd name="T37" fmla="*/ 67 h 147"/>
                <a:gd name="T38" fmla="*/ 2 w 126"/>
                <a:gd name="T39" fmla="*/ 74 h 147"/>
                <a:gd name="T40" fmla="*/ 5 w 126"/>
                <a:gd name="T41" fmla="*/ 86 h 147"/>
                <a:gd name="T42" fmla="*/ 0 w 126"/>
                <a:gd name="T43" fmla="*/ 96 h 147"/>
                <a:gd name="T44" fmla="*/ 6 w 126"/>
                <a:gd name="T45" fmla="*/ 103 h 147"/>
                <a:gd name="T46" fmla="*/ 13 w 126"/>
                <a:gd name="T47" fmla="*/ 105 h 147"/>
                <a:gd name="T48" fmla="*/ 22 w 126"/>
                <a:gd name="T49" fmla="*/ 115 h 147"/>
                <a:gd name="T50" fmla="*/ 23 w 126"/>
                <a:gd name="T51" fmla="*/ 124 h 147"/>
                <a:gd name="T52" fmla="*/ 21 w 126"/>
                <a:gd name="T53" fmla="*/ 127 h 147"/>
                <a:gd name="T54" fmla="*/ 19 w 126"/>
                <a:gd name="T55" fmla="*/ 147 h 147"/>
                <a:gd name="T56" fmla="*/ 23 w 126"/>
                <a:gd name="T57" fmla="*/ 147 h 147"/>
                <a:gd name="T58" fmla="*/ 43 w 126"/>
                <a:gd name="T59" fmla="*/ 138 h 147"/>
                <a:gd name="T60" fmla="*/ 58 w 126"/>
                <a:gd name="T61" fmla="*/ 132 h 147"/>
                <a:gd name="T62" fmla="*/ 82 w 126"/>
                <a:gd name="T63" fmla="*/ 127 h 147"/>
                <a:gd name="T64" fmla="*/ 96 w 126"/>
                <a:gd name="T65" fmla="*/ 127 h 147"/>
                <a:gd name="T66" fmla="*/ 110 w 126"/>
                <a:gd name="T67" fmla="*/ 132 h 147"/>
                <a:gd name="T68" fmla="*/ 121 w 126"/>
                <a:gd name="T69" fmla="*/ 132 h 147"/>
                <a:gd name="T70" fmla="*/ 122 w 126"/>
                <a:gd name="T71" fmla="*/ 122 h 147"/>
                <a:gd name="T72" fmla="*/ 112 w 126"/>
                <a:gd name="T73" fmla="*/ 102 h 147"/>
                <a:gd name="T74" fmla="*/ 118 w 126"/>
                <a:gd name="T75" fmla="*/ 75 h 147"/>
                <a:gd name="T76" fmla="*/ 126 w 126"/>
                <a:gd name="T77" fmla="*/ 55 h 147"/>
                <a:gd name="T78" fmla="*/ 122 w 126"/>
                <a:gd name="T79" fmla="*/ 21 h 147"/>
                <a:gd name="T80" fmla="*/ 107 w 126"/>
                <a:gd name="T81" fmla="*/ 15 h 147"/>
                <a:gd name="T82" fmla="*/ 97 w 126"/>
                <a:gd name="T83" fmla="*/ 16 h 147"/>
                <a:gd name="T84" fmla="*/ 90 w 126"/>
                <a:gd name="T85" fmla="*/ 22 h 147"/>
                <a:gd name="T86" fmla="*/ 81 w 126"/>
                <a:gd name="T87" fmla="*/ 17 h 147"/>
                <a:gd name="T88" fmla="*/ 77 w 126"/>
                <a:gd name="T89" fmla="*/ 8 h 147"/>
                <a:gd name="T90" fmla="*/ 67 w 126"/>
                <a:gd name="T91" fmla="*/ 4 h 147"/>
                <a:gd name="T92" fmla="*/ 67 w 126"/>
                <a:gd name="T93" fmla="*/ 4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26" h="147">
                  <a:moveTo>
                    <a:pt x="67" y="4"/>
                  </a:moveTo>
                  <a:lnTo>
                    <a:pt x="59" y="7"/>
                  </a:lnTo>
                  <a:lnTo>
                    <a:pt x="54" y="10"/>
                  </a:lnTo>
                  <a:lnTo>
                    <a:pt x="51" y="0"/>
                  </a:lnTo>
                  <a:lnTo>
                    <a:pt x="45" y="3"/>
                  </a:lnTo>
                  <a:lnTo>
                    <a:pt x="41" y="2"/>
                  </a:lnTo>
                  <a:lnTo>
                    <a:pt x="38" y="9"/>
                  </a:lnTo>
                  <a:lnTo>
                    <a:pt x="21" y="8"/>
                  </a:lnTo>
                  <a:lnTo>
                    <a:pt x="15" y="5"/>
                  </a:lnTo>
                  <a:lnTo>
                    <a:pt x="12" y="8"/>
                  </a:lnTo>
                  <a:lnTo>
                    <a:pt x="9" y="9"/>
                  </a:lnTo>
                  <a:lnTo>
                    <a:pt x="7" y="18"/>
                  </a:lnTo>
                  <a:lnTo>
                    <a:pt x="11" y="27"/>
                  </a:lnTo>
                  <a:lnTo>
                    <a:pt x="16" y="46"/>
                  </a:lnTo>
                  <a:lnTo>
                    <a:pt x="9" y="50"/>
                  </a:lnTo>
                  <a:lnTo>
                    <a:pt x="7" y="52"/>
                  </a:lnTo>
                  <a:lnTo>
                    <a:pt x="8" y="57"/>
                  </a:lnTo>
                  <a:lnTo>
                    <a:pt x="7" y="67"/>
                  </a:lnTo>
                  <a:lnTo>
                    <a:pt x="4" y="67"/>
                  </a:lnTo>
                  <a:lnTo>
                    <a:pt x="2" y="74"/>
                  </a:lnTo>
                  <a:lnTo>
                    <a:pt x="5" y="86"/>
                  </a:lnTo>
                  <a:lnTo>
                    <a:pt x="0" y="96"/>
                  </a:lnTo>
                  <a:lnTo>
                    <a:pt x="6" y="103"/>
                  </a:lnTo>
                  <a:lnTo>
                    <a:pt x="13" y="105"/>
                  </a:lnTo>
                  <a:lnTo>
                    <a:pt x="22" y="115"/>
                  </a:lnTo>
                  <a:lnTo>
                    <a:pt x="23" y="124"/>
                  </a:lnTo>
                  <a:lnTo>
                    <a:pt x="21" y="127"/>
                  </a:lnTo>
                  <a:lnTo>
                    <a:pt x="19" y="147"/>
                  </a:lnTo>
                  <a:lnTo>
                    <a:pt x="23" y="147"/>
                  </a:lnTo>
                  <a:lnTo>
                    <a:pt x="43" y="138"/>
                  </a:lnTo>
                  <a:lnTo>
                    <a:pt x="58" y="132"/>
                  </a:lnTo>
                  <a:lnTo>
                    <a:pt x="82" y="127"/>
                  </a:lnTo>
                  <a:lnTo>
                    <a:pt x="96" y="127"/>
                  </a:lnTo>
                  <a:lnTo>
                    <a:pt x="110" y="132"/>
                  </a:lnTo>
                  <a:lnTo>
                    <a:pt x="121" y="132"/>
                  </a:lnTo>
                  <a:lnTo>
                    <a:pt x="122" y="122"/>
                  </a:lnTo>
                  <a:lnTo>
                    <a:pt x="112" y="102"/>
                  </a:lnTo>
                  <a:lnTo>
                    <a:pt x="118" y="75"/>
                  </a:lnTo>
                  <a:lnTo>
                    <a:pt x="126" y="55"/>
                  </a:lnTo>
                  <a:lnTo>
                    <a:pt x="122" y="21"/>
                  </a:lnTo>
                  <a:lnTo>
                    <a:pt x="107" y="15"/>
                  </a:lnTo>
                  <a:lnTo>
                    <a:pt x="97" y="16"/>
                  </a:lnTo>
                  <a:lnTo>
                    <a:pt x="90" y="22"/>
                  </a:lnTo>
                  <a:lnTo>
                    <a:pt x="81" y="17"/>
                  </a:lnTo>
                  <a:lnTo>
                    <a:pt x="77" y="8"/>
                  </a:lnTo>
                  <a:lnTo>
                    <a:pt x="67" y="4"/>
                  </a:lnTo>
                  <a:lnTo>
                    <a:pt x="67"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4" name="Cameroon">
              <a:extLst>
                <a:ext uri="{FF2B5EF4-FFF2-40B4-BE49-F238E27FC236}">
                  <a16:creationId xmlns:a16="http://schemas.microsoft.com/office/drawing/2014/main" id="{B2A56661-2817-4A52-BEB2-DA9E6847C270}"/>
                </a:ext>
              </a:extLst>
            </p:cNvPr>
            <p:cNvSpPr>
              <a:spLocks/>
            </p:cNvSpPr>
            <p:nvPr/>
          </p:nvSpPr>
          <p:spPr bwMode="auto">
            <a:xfrm>
              <a:off x="6279356" y="3576411"/>
              <a:ext cx="250825" cy="420688"/>
            </a:xfrm>
            <a:custGeom>
              <a:avLst/>
              <a:gdLst>
                <a:gd name="T0" fmla="*/ 132 w 158"/>
                <a:gd name="T1" fmla="*/ 48 h 265"/>
                <a:gd name="T2" fmla="*/ 133 w 158"/>
                <a:gd name="T3" fmla="*/ 31 h 265"/>
                <a:gd name="T4" fmla="*/ 131 w 158"/>
                <a:gd name="T5" fmla="*/ 16 h 265"/>
                <a:gd name="T6" fmla="*/ 123 w 158"/>
                <a:gd name="T7" fmla="*/ 0 h 265"/>
                <a:gd name="T8" fmla="*/ 117 w 158"/>
                <a:gd name="T9" fmla="*/ 2 h 265"/>
                <a:gd name="T10" fmla="*/ 116 w 158"/>
                <a:gd name="T11" fmla="*/ 9 h 265"/>
                <a:gd name="T12" fmla="*/ 125 w 158"/>
                <a:gd name="T13" fmla="*/ 19 h 265"/>
                <a:gd name="T14" fmla="*/ 123 w 158"/>
                <a:gd name="T15" fmla="*/ 23 h 265"/>
                <a:gd name="T16" fmla="*/ 122 w 158"/>
                <a:gd name="T17" fmla="*/ 31 h 265"/>
                <a:gd name="T18" fmla="*/ 104 w 158"/>
                <a:gd name="T19" fmla="*/ 50 h 265"/>
                <a:gd name="T20" fmla="*/ 99 w 158"/>
                <a:gd name="T21" fmla="*/ 64 h 265"/>
                <a:gd name="T22" fmla="*/ 97 w 158"/>
                <a:gd name="T23" fmla="*/ 77 h 265"/>
                <a:gd name="T24" fmla="*/ 92 w 158"/>
                <a:gd name="T25" fmla="*/ 82 h 265"/>
                <a:gd name="T26" fmla="*/ 88 w 158"/>
                <a:gd name="T27" fmla="*/ 99 h 265"/>
                <a:gd name="T28" fmla="*/ 76 w 158"/>
                <a:gd name="T29" fmla="*/ 108 h 265"/>
                <a:gd name="T30" fmla="*/ 74 w 158"/>
                <a:gd name="T31" fmla="*/ 120 h 265"/>
                <a:gd name="T32" fmla="*/ 69 w 158"/>
                <a:gd name="T33" fmla="*/ 130 h 265"/>
                <a:gd name="T34" fmla="*/ 67 w 158"/>
                <a:gd name="T35" fmla="*/ 140 h 265"/>
                <a:gd name="T36" fmla="*/ 53 w 158"/>
                <a:gd name="T37" fmla="*/ 149 h 265"/>
                <a:gd name="T38" fmla="*/ 41 w 158"/>
                <a:gd name="T39" fmla="*/ 138 h 265"/>
                <a:gd name="T40" fmla="*/ 33 w 158"/>
                <a:gd name="T41" fmla="*/ 139 h 265"/>
                <a:gd name="T42" fmla="*/ 20 w 158"/>
                <a:gd name="T43" fmla="*/ 152 h 265"/>
                <a:gd name="T44" fmla="*/ 15 w 158"/>
                <a:gd name="T45" fmla="*/ 153 h 265"/>
                <a:gd name="T46" fmla="*/ 4 w 158"/>
                <a:gd name="T47" fmla="*/ 176 h 265"/>
                <a:gd name="T48" fmla="*/ 0 w 158"/>
                <a:gd name="T49" fmla="*/ 192 h 265"/>
                <a:gd name="T50" fmla="*/ 0 w 158"/>
                <a:gd name="T51" fmla="*/ 199 h 265"/>
                <a:gd name="T52" fmla="*/ 4 w 158"/>
                <a:gd name="T53" fmla="*/ 203 h 265"/>
                <a:gd name="T54" fmla="*/ 9 w 158"/>
                <a:gd name="T55" fmla="*/ 213 h 265"/>
                <a:gd name="T56" fmla="*/ 18 w 158"/>
                <a:gd name="T57" fmla="*/ 218 h 265"/>
                <a:gd name="T58" fmla="*/ 27 w 158"/>
                <a:gd name="T59" fmla="*/ 233 h 265"/>
                <a:gd name="T60" fmla="*/ 24 w 158"/>
                <a:gd name="T61" fmla="*/ 251 h 265"/>
                <a:gd name="T62" fmla="*/ 58 w 158"/>
                <a:gd name="T63" fmla="*/ 252 h 265"/>
                <a:gd name="T64" fmla="*/ 68 w 158"/>
                <a:gd name="T65" fmla="*/ 251 h 265"/>
                <a:gd name="T66" fmla="*/ 80 w 158"/>
                <a:gd name="T67" fmla="*/ 254 h 265"/>
                <a:gd name="T68" fmla="*/ 93 w 158"/>
                <a:gd name="T69" fmla="*/ 251 h 265"/>
                <a:gd name="T70" fmla="*/ 96 w 158"/>
                <a:gd name="T71" fmla="*/ 252 h 265"/>
                <a:gd name="T72" fmla="*/ 122 w 158"/>
                <a:gd name="T73" fmla="*/ 253 h 265"/>
                <a:gd name="T74" fmla="*/ 139 w 158"/>
                <a:gd name="T75" fmla="*/ 260 h 265"/>
                <a:gd name="T76" fmla="*/ 156 w 158"/>
                <a:gd name="T77" fmla="*/ 265 h 265"/>
                <a:gd name="T78" fmla="*/ 158 w 158"/>
                <a:gd name="T79" fmla="*/ 252 h 265"/>
                <a:gd name="T80" fmla="*/ 155 w 158"/>
                <a:gd name="T81" fmla="*/ 246 h 265"/>
                <a:gd name="T82" fmla="*/ 154 w 158"/>
                <a:gd name="T83" fmla="*/ 234 h 265"/>
                <a:gd name="T84" fmla="*/ 144 w 158"/>
                <a:gd name="T85" fmla="*/ 227 h 265"/>
                <a:gd name="T86" fmla="*/ 136 w 158"/>
                <a:gd name="T87" fmla="*/ 215 h 265"/>
                <a:gd name="T88" fmla="*/ 134 w 158"/>
                <a:gd name="T89" fmla="*/ 206 h 265"/>
                <a:gd name="T90" fmla="*/ 125 w 158"/>
                <a:gd name="T91" fmla="*/ 193 h 265"/>
                <a:gd name="T92" fmla="*/ 127 w 158"/>
                <a:gd name="T93" fmla="*/ 187 h 265"/>
                <a:gd name="T94" fmla="*/ 124 w 158"/>
                <a:gd name="T95" fmla="*/ 177 h 265"/>
                <a:gd name="T96" fmla="*/ 126 w 158"/>
                <a:gd name="T97" fmla="*/ 158 h 265"/>
                <a:gd name="T98" fmla="*/ 130 w 158"/>
                <a:gd name="T99" fmla="*/ 154 h 265"/>
                <a:gd name="T100" fmla="*/ 141 w 158"/>
                <a:gd name="T101" fmla="*/ 130 h 265"/>
                <a:gd name="T102" fmla="*/ 144 w 158"/>
                <a:gd name="T103" fmla="*/ 123 h 265"/>
                <a:gd name="T104" fmla="*/ 138 w 158"/>
                <a:gd name="T105" fmla="*/ 106 h 265"/>
                <a:gd name="T106" fmla="*/ 134 w 158"/>
                <a:gd name="T107" fmla="*/ 97 h 265"/>
                <a:gd name="T108" fmla="*/ 125 w 158"/>
                <a:gd name="T109" fmla="*/ 92 h 265"/>
                <a:gd name="T110" fmla="*/ 113 w 158"/>
                <a:gd name="T111" fmla="*/ 79 h 265"/>
                <a:gd name="T112" fmla="*/ 117 w 158"/>
                <a:gd name="T113" fmla="*/ 68 h 265"/>
                <a:gd name="T114" fmla="*/ 127 w 158"/>
                <a:gd name="T115" fmla="*/ 70 h 265"/>
                <a:gd name="T116" fmla="*/ 132 w 158"/>
                <a:gd name="T117" fmla="*/ 68 h 265"/>
                <a:gd name="T118" fmla="*/ 144 w 158"/>
                <a:gd name="T119" fmla="*/ 69 h 265"/>
                <a:gd name="T120" fmla="*/ 132 w 158"/>
                <a:gd name="T121" fmla="*/ 48 h 265"/>
                <a:gd name="T122" fmla="*/ 132 w 158"/>
                <a:gd name="T123" fmla="*/ 48 h 2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8" h="265">
                  <a:moveTo>
                    <a:pt x="132" y="48"/>
                  </a:moveTo>
                  <a:lnTo>
                    <a:pt x="133" y="31"/>
                  </a:lnTo>
                  <a:lnTo>
                    <a:pt x="131" y="16"/>
                  </a:lnTo>
                  <a:lnTo>
                    <a:pt x="123" y="0"/>
                  </a:lnTo>
                  <a:lnTo>
                    <a:pt x="117" y="2"/>
                  </a:lnTo>
                  <a:lnTo>
                    <a:pt x="116" y="9"/>
                  </a:lnTo>
                  <a:lnTo>
                    <a:pt x="125" y="19"/>
                  </a:lnTo>
                  <a:lnTo>
                    <a:pt x="123" y="23"/>
                  </a:lnTo>
                  <a:lnTo>
                    <a:pt x="122" y="31"/>
                  </a:lnTo>
                  <a:lnTo>
                    <a:pt x="104" y="50"/>
                  </a:lnTo>
                  <a:lnTo>
                    <a:pt x="99" y="64"/>
                  </a:lnTo>
                  <a:lnTo>
                    <a:pt x="97" y="77"/>
                  </a:lnTo>
                  <a:lnTo>
                    <a:pt x="92" y="82"/>
                  </a:lnTo>
                  <a:lnTo>
                    <a:pt x="88" y="99"/>
                  </a:lnTo>
                  <a:lnTo>
                    <a:pt x="76" y="108"/>
                  </a:lnTo>
                  <a:lnTo>
                    <a:pt x="74" y="120"/>
                  </a:lnTo>
                  <a:lnTo>
                    <a:pt x="69" y="130"/>
                  </a:lnTo>
                  <a:lnTo>
                    <a:pt x="67" y="140"/>
                  </a:lnTo>
                  <a:lnTo>
                    <a:pt x="53" y="149"/>
                  </a:lnTo>
                  <a:lnTo>
                    <a:pt x="41" y="138"/>
                  </a:lnTo>
                  <a:lnTo>
                    <a:pt x="33" y="139"/>
                  </a:lnTo>
                  <a:lnTo>
                    <a:pt x="20" y="152"/>
                  </a:lnTo>
                  <a:lnTo>
                    <a:pt x="15" y="153"/>
                  </a:lnTo>
                  <a:lnTo>
                    <a:pt x="4" y="176"/>
                  </a:lnTo>
                  <a:lnTo>
                    <a:pt x="0" y="192"/>
                  </a:lnTo>
                  <a:lnTo>
                    <a:pt x="0" y="199"/>
                  </a:lnTo>
                  <a:lnTo>
                    <a:pt x="4" y="203"/>
                  </a:lnTo>
                  <a:lnTo>
                    <a:pt x="9" y="213"/>
                  </a:lnTo>
                  <a:lnTo>
                    <a:pt x="18" y="218"/>
                  </a:lnTo>
                  <a:lnTo>
                    <a:pt x="27" y="233"/>
                  </a:lnTo>
                  <a:lnTo>
                    <a:pt x="24" y="251"/>
                  </a:lnTo>
                  <a:lnTo>
                    <a:pt x="58" y="252"/>
                  </a:lnTo>
                  <a:lnTo>
                    <a:pt x="68" y="251"/>
                  </a:lnTo>
                  <a:lnTo>
                    <a:pt x="80" y="254"/>
                  </a:lnTo>
                  <a:lnTo>
                    <a:pt x="93" y="251"/>
                  </a:lnTo>
                  <a:lnTo>
                    <a:pt x="96" y="252"/>
                  </a:lnTo>
                  <a:lnTo>
                    <a:pt x="122" y="253"/>
                  </a:lnTo>
                  <a:lnTo>
                    <a:pt x="139" y="260"/>
                  </a:lnTo>
                  <a:lnTo>
                    <a:pt x="156" y="265"/>
                  </a:lnTo>
                  <a:lnTo>
                    <a:pt x="158" y="252"/>
                  </a:lnTo>
                  <a:lnTo>
                    <a:pt x="155" y="246"/>
                  </a:lnTo>
                  <a:lnTo>
                    <a:pt x="154" y="234"/>
                  </a:lnTo>
                  <a:lnTo>
                    <a:pt x="144" y="227"/>
                  </a:lnTo>
                  <a:lnTo>
                    <a:pt x="136" y="215"/>
                  </a:lnTo>
                  <a:lnTo>
                    <a:pt x="134" y="206"/>
                  </a:lnTo>
                  <a:lnTo>
                    <a:pt x="125" y="193"/>
                  </a:lnTo>
                  <a:lnTo>
                    <a:pt x="127" y="187"/>
                  </a:lnTo>
                  <a:lnTo>
                    <a:pt x="124" y="177"/>
                  </a:lnTo>
                  <a:lnTo>
                    <a:pt x="126" y="158"/>
                  </a:lnTo>
                  <a:lnTo>
                    <a:pt x="130" y="154"/>
                  </a:lnTo>
                  <a:lnTo>
                    <a:pt x="141" y="130"/>
                  </a:lnTo>
                  <a:lnTo>
                    <a:pt x="144" y="123"/>
                  </a:lnTo>
                  <a:lnTo>
                    <a:pt x="138" y="106"/>
                  </a:lnTo>
                  <a:lnTo>
                    <a:pt x="134" y="97"/>
                  </a:lnTo>
                  <a:lnTo>
                    <a:pt x="125" y="92"/>
                  </a:lnTo>
                  <a:lnTo>
                    <a:pt x="113" y="79"/>
                  </a:lnTo>
                  <a:lnTo>
                    <a:pt x="117" y="68"/>
                  </a:lnTo>
                  <a:lnTo>
                    <a:pt x="127" y="70"/>
                  </a:lnTo>
                  <a:lnTo>
                    <a:pt x="132" y="68"/>
                  </a:lnTo>
                  <a:lnTo>
                    <a:pt x="144" y="69"/>
                  </a:lnTo>
                  <a:lnTo>
                    <a:pt x="132" y="48"/>
                  </a:lnTo>
                  <a:lnTo>
                    <a:pt x="132"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5" name="Democratic Republic of Congo">
              <a:extLst>
                <a:ext uri="{FF2B5EF4-FFF2-40B4-BE49-F238E27FC236}">
                  <a16:creationId xmlns:a16="http://schemas.microsoft.com/office/drawing/2014/main" id="{CE686986-4F49-4595-9AC0-9F86B2F8C10E}"/>
                </a:ext>
              </a:extLst>
            </p:cNvPr>
            <p:cNvSpPr>
              <a:spLocks/>
            </p:cNvSpPr>
            <p:nvPr/>
          </p:nvSpPr>
          <p:spPr bwMode="auto">
            <a:xfrm>
              <a:off x="6400006" y="3863748"/>
              <a:ext cx="635000" cy="698500"/>
            </a:xfrm>
            <a:custGeom>
              <a:avLst/>
              <a:gdLst>
                <a:gd name="T0" fmla="*/ 275 w 400"/>
                <a:gd name="T1" fmla="*/ 2 h 440"/>
                <a:gd name="T2" fmla="*/ 257 w 400"/>
                <a:gd name="T3" fmla="*/ 4 h 440"/>
                <a:gd name="T4" fmla="*/ 221 w 400"/>
                <a:gd name="T5" fmla="*/ 15 h 440"/>
                <a:gd name="T6" fmla="*/ 184 w 400"/>
                <a:gd name="T7" fmla="*/ 23 h 440"/>
                <a:gd name="T8" fmla="*/ 142 w 400"/>
                <a:gd name="T9" fmla="*/ 13 h 440"/>
                <a:gd name="T10" fmla="*/ 131 w 400"/>
                <a:gd name="T11" fmla="*/ 56 h 440"/>
                <a:gd name="T12" fmla="*/ 118 w 400"/>
                <a:gd name="T13" fmla="*/ 105 h 440"/>
                <a:gd name="T14" fmla="*/ 115 w 400"/>
                <a:gd name="T15" fmla="*/ 136 h 440"/>
                <a:gd name="T16" fmla="*/ 90 w 400"/>
                <a:gd name="T17" fmla="*/ 166 h 440"/>
                <a:gd name="T18" fmla="*/ 76 w 400"/>
                <a:gd name="T19" fmla="*/ 217 h 440"/>
                <a:gd name="T20" fmla="*/ 43 w 400"/>
                <a:gd name="T21" fmla="*/ 239 h 440"/>
                <a:gd name="T22" fmla="*/ 23 w 400"/>
                <a:gd name="T23" fmla="*/ 241 h 440"/>
                <a:gd name="T24" fmla="*/ 7 w 400"/>
                <a:gd name="T25" fmla="*/ 249 h 440"/>
                <a:gd name="T26" fmla="*/ 3 w 400"/>
                <a:gd name="T27" fmla="*/ 270 h 440"/>
                <a:gd name="T28" fmla="*/ 26 w 400"/>
                <a:gd name="T29" fmla="*/ 264 h 440"/>
                <a:gd name="T30" fmla="*/ 98 w 400"/>
                <a:gd name="T31" fmla="*/ 296 h 440"/>
                <a:gd name="T32" fmla="*/ 125 w 400"/>
                <a:gd name="T33" fmla="*/ 315 h 440"/>
                <a:gd name="T34" fmla="*/ 146 w 400"/>
                <a:gd name="T35" fmla="*/ 309 h 440"/>
                <a:gd name="T36" fmla="*/ 166 w 400"/>
                <a:gd name="T37" fmla="*/ 290 h 440"/>
                <a:gd name="T38" fmla="*/ 200 w 400"/>
                <a:gd name="T39" fmla="*/ 298 h 440"/>
                <a:gd name="T40" fmla="*/ 201 w 400"/>
                <a:gd name="T41" fmla="*/ 336 h 440"/>
                <a:gd name="T42" fmla="*/ 208 w 400"/>
                <a:gd name="T43" fmla="*/ 389 h 440"/>
                <a:gd name="T44" fmla="*/ 235 w 400"/>
                <a:gd name="T45" fmla="*/ 383 h 440"/>
                <a:gd name="T46" fmla="*/ 252 w 400"/>
                <a:gd name="T47" fmla="*/ 392 h 440"/>
                <a:gd name="T48" fmla="*/ 282 w 400"/>
                <a:gd name="T49" fmla="*/ 404 h 440"/>
                <a:gd name="T50" fmla="*/ 316 w 400"/>
                <a:gd name="T51" fmla="*/ 414 h 440"/>
                <a:gd name="T52" fmla="*/ 348 w 400"/>
                <a:gd name="T53" fmla="*/ 440 h 440"/>
                <a:gd name="T54" fmla="*/ 357 w 400"/>
                <a:gd name="T55" fmla="*/ 418 h 440"/>
                <a:gd name="T56" fmla="*/ 340 w 400"/>
                <a:gd name="T57" fmla="*/ 381 h 440"/>
                <a:gd name="T58" fmla="*/ 346 w 400"/>
                <a:gd name="T59" fmla="*/ 328 h 440"/>
                <a:gd name="T60" fmla="*/ 384 w 400"/>
                <a:gd name="T61" fmla="*/ 322 h 440"/>
                <a:gd name="T62" fmla="*/ 377 w 400"/>
                <a:gd name="T63" fmla="*/ 298 h 440"/>
                <a:gd name="T64" fmla="*/ 361 w 400"/>
                <a:gd name="T65" fmla="*/ 259 h 440"/>
                <a:gd name="T66" fmla="*/ 360 w 400"/>
                <a:gd name="T67" fmla="*/ 207 h 440"/>
                <a:gd name="T68" fmla="*/ 356 w 400"/>
                <a:gd name="T69" fmla="*/ 179 h 440"/>
                <a:gd name="T70" fmla="*/ 366 w 400"/>
                <a:gd name="T71" fmla="*/ 157 h 440"/>
                <a:gd name="T72" fmla="*/ 372 w 400"/>
                <a:gd name="T73" fmla="*/ 111 h 440"/>
                <a:gd name="T74" fmla="*/ 392 w 400"/>
                <a:gd name="T75" fmla="*/ 81 h 440"/>
                <a:gd name="T76" fmla="*/ 392 w 400"/>
                <a:gd name="T77" fmla="*/ 41 h 440"/>
                <a:gd name="T78" fmla="*/ 368 w 400"/>
                <a:gd name="T79" fmla="*/ 16 h 440"/>
                <a:gd name="T80" fmla="*/ 341 w 400"/>
                <a:gd name="T81" fmla="*/ 24 h 440"/>
                <a:gd name="T82" fmla="*/ 312 w 400"/>
                <a:gd name="T83" fmla="*/ 3 h 4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00" h="440">
                  <a:moveTo>
                    <a:pt x="299" y="3"/>
                  </a:moveTo>
                  <a:lnTo>
                    <a:pt x="282" y="0"/>
                  </a:lnTo>
                  <a:lnTo>
                    <a:pt x="275" y="2"/>
                  </a:lnTo>
                  <a:lnTo>
                    <a:pt x="272" y="8"/>
                  </a:lnTo>
                  <a:lnTo>
                    <a:pt x="265" y="9"/>
                  </a:lnTo>
                  <a:lnTo>
                    <a:pt x="257" y="4"/>
                  </a:lnTo>
                  <a:lnTo>
                    <a:pt x="234" y="15"/>
                  </a:lnTo>
                  <a:lnTo>
                    <a:pt x="224" y="13"/>
                  </a:lnTo>
                  <a:lnTo>
                    <a:pt x="221" y="15"/>
                  </a:lnTo>
                  <a:lnTo>
                    <a:pt x="215" y="29"/>
                  </a:lnTo>
                  <a:lnTo>
                    <a:pt x="199" y="24"/>
                  </a:lnTo>
                  <a:lnTo>
                    <a:pt x="184" y="23"/>
                  </a:lnTo>
                  <a:lnTo>
                    <a:pt x="170" y="13"/>
                  </a:lnTo>
                  <a:lnTo>
                    <a:pt x="153" y="6"/>
                  </a:lnTo>
                  <a:lnTo>
                    <a:pt x="142" y="13"/>
                  </a:lnTo>
                  <a:lnTo>
                    <a:pt x="134" y="25"/>
                  </a:lnTo>
                  <a:lnTo>
                    <a:pt x="132" y="42"/>
                  </a:lnTo>
                  <a:lnTo>
                    <a:pt x="131" y="56"/>
                  </a:lnTo>
                  <a:lnTo>
                    <a:pt x="125" y="68"/>
                  </a:lnTo>
                  <a:lnTo>
                    <a:pt x="121" y="83"/>
                  </a:lnTo>
                  <a:lnTo>
                    <a:pt x="118" y="105"/>
                  </a:lnTo>
                  <a:lnTo>
                    <a:pt x="120" y="118"/>
                  </a:lnTo>
                  <a:lnTo>
                    <a:pt x="116" y="126"/>
                  </a:lnTo>
                  <a:lnTo>
                    <a:pt x="115" y="136"/>
                  </a:lnTo>
                  <a:lnTo>
                    <a:pt x="113" y="143"/>
                  </a:lnTo>
                  <a:lnTo>
                    <a:pt x="99" y="154"/>
                  </a:lnTo>
                  <a:lnTo>
                    <a:pt x="90" y="166"/>
                  </a:lnTo>
                  <a:lnTo>
                    <a:pt x="81" y="190"/>
                  </a:lnTo>
                  <a:lnTo>
                    <a:pt x="81" y="209"/>
                  </a:lnTo>
                  <a:lnTo>
                    <a:pt x="76" y="217"/>
                  </a:lnTo>
                  <a:lnTo>
                    <a:pt x="64" y="228"/>
                  </a:lnTo>
                  <a:lnTo>
                    <a:pt x="51" y="243"/>
                  </a:lnTo>
                  <a:lnTo>
                    <a:pt x="43" y="239"/>
                  </a:lnTo>
                  <a:lnTo>
                    <a:pt x="41" y="233"/>
                  </a:lnTo>
                  <a:lnTo>
                    <a:pt x="30" y="232"/>
                  </a:lnTo>
                  <a:lnTo>
                    <a:pt x="23" y="241"/>
                  </a:lnTo>
                  <a:lnTo>
                    <a:pt x="17" y="238"/>
                  </a:lnTo>
                  <a:lnTo>
                    <a:pt x="10" y="244"/>
                  </a:lnTo>
                  <a:lnTo>
                    <a:pt x="7" y="249"/>
                  </a:lnTo>
                  <a:lnTo>
                    <a:pt x="6" y="260"/>
                  </a:lnTo>
                  <a:lnTo>
                    <a:pt x="0" y="263"/>
                  </a:lnTo>
                  <a:lnTo>
                    <a:pt x="3" y="270"/>
                  </a:lnTo>
                  <a:lnTo>
                    <a:pt x="12" y="266"/>
                  </a:lnTo>
                  <a:lnTo>
                    <a:pt x="18" y="267"/>
                  </a:lnTo>
                  <a:lnTo>
                    <a:pt x="26" y="264"/>
                  </a:lnTo>
                  <a:lnTo>
                    <a:pt x="87" y="264"/>
                  </a:lnTo>
                  <a:lnTo>
                    <a:pt x="92" y="282"/>
                  </a:lnTo>
                  <a:lnTo>
                    <a:pt x="98" y="296"/>
                  </a:lnTo>
                  <a:lnTo>
                    <a:pt x="103" y="305"/>
                  </a:lnTo>
                  <a:lnTo>
                    <a:pt x="110" y="317"/>
                  </a:lnTo>
                  <a:lnTo>
                    <a:pt x="125" y="315"/>
                  </a:lnTo>
                  <a:lnTo>
                    <a:pt x="132" y="311"/>
                  </a:lnTo>
                  <a:lnTo>
                    <a:pt x="143" y="315"/>
                  </a:lnTo>
                  <a:lnTo>
                    <a:pt x="146" y="309"/>
                  </a:lnTo>
                  <a:lnTo>
                    <a:pt x="152" y="295"/>
                  </a:lnTo>
                  <a:lnTo>
                    <a:pt x="165" y="294"/>
                  </a:lnTo>
                  <a:lnTo>
                    <a:pt x="166" y="290"/>
                  </a:lnTo>
                  <a:lnTo>
                    <a:pt x="177" y="290"/>
                  </a:lnTo>
                  <a:lnTo>
                    <a:pt x="175" y="298"/>
                  </a:lnTo>
                  <a:lnTo>
                    <a:pt x="200" y="298"/>
                  </a:lnTo>
                  <a:lnTo>
                    <a:pt x="200" y="313"/>
                  </a:lnTo>
                  <a:lnTo>
                    <a:pt x="205" y="322"/>
                  </a:lnTo>
                  <a:lnTo>
                    <a:pt x="201" y="336"/>
                  </a:lnTo>
                  <a:lnTo>
                    <a:pt x="202" y="351"/>
                  </a:lnTo>
                  <a:lnTo>
                    <a:pt x="209" y="360"/>
                  </a:lnTo>
                  <a:lnTo>
                    <a:pt x="208" y="389"/>
                  </a:lnTo>
                  <a:lnTo>
                    <a:pt x="213" y="386"/>
                  </a:lnTo>
                  <a:lnTo>
                    <a:pt x="222" y="387"/>
                  </a:lnTo>
                  <a:lnTo>
                    <a:pt x="235" y="383"/>
                  </a:lnTo>
                  <a:lnTo>
                    <a:pt x="245" y="385"/>
                  </a:lnTo>
                  <a:lnTo>
                    <a:pt x="251" y="385"/>
                  </a:lnTo>
                  <a:lnTo>
                    <a:pt x="252" y="392"/>
                  </a:lnTo>
                  <a:lnTo>
                    <a:pt x="263" y="392"/>
                  </a:lnTo>
                  <a:lnTo>
                    <a:pt x="276" y="394"/>
                  </a:lnTo>
                  <a:lnTo>
                    <a:pt x="282" y="404"/>
                  </a:lnTo>
                  <a:lnTo>
                    <a:pt x="299" y="408"/>
                  </a:lnTo>
                  <a:lnTo>
                    <a:pt x="312" y="401"/>
                  </a:lnTo>
                  <a:lnTo>
                    <a:pt x="316" y="414"/>
                  </a:lnTo>
                  <a:lnTo>
                    <a:pt x="333" y="417"/>
                  </a:lnTo>
                  <a:lnTo>
                    <a:pt x="340" y="427"/>
                  </a:lnTo>
                  <a:lnTo>
                    <a:pt x="348" y="440"/>
                  </a:lnTo>
                  <a:lnTo>
                    <a:pt x="364" y="440"/>
                  </a:lnTo>
                  <a:lnTo>
                    <a:pt x="363" y="414"/>
                  </a:lnTo>
                  <a:lnTo>
                    <a:pt x="357" y="418"/>
                  </a:lnTo>
                  <a:lnTo>
                    <a:pt x="342" y="409"/>
                  </a:lnTo>
                  <a:lnTo>
                    <a:pt x="337" y="405"/>
                  </a:lnTo>
                  <a:lnTo>
                    <a:pt x="340" y="381"/>
                  </a:lnTo>
                  <a:lnTo>
                    <a:pt x="345" y="353"/>
                  </a:lnTo>
                  <a:lnTo>
                    <a:pt x="340" y="343"/>
                  </a:lnTo>
                  <a:lnTo>
                    <a:pt x="346" y="328"/>
                  </a:lnTo>
                  <a:lnTo>
                    <a:pt x="352" y="325"/>
                  </a:lnTo>
                  <a:lnTo>
                    <a:pt x="380" y="320"/>
                  </a:lnTo>
                  <a:lnTo>
                    <a:pt x="384" y="322"/>
                  </a:lnTo>
                  <a:lnTo>
                    <a:pt x="385" y="318"/>
                  </a:lnTo>
                  <a:lnTo>
                    <a:pt x="379" y="311"/>
                  </a:lnTo>
                  <a:lnTo>
                    <a:pt x="377" y="298"/>
                  </a:lnTo>
                  <a:lnTo>
                    <a:pt x="364" y="285"/>
                  </a:lnTo>
                  <a:lnTo>
                    <a:pt x="357" y="268"/>
                  </a:lnTo>
                  <a:lnTo>
                    <a:pt x="361" y="259"/>
                  </a:lnTo>
                  <a:lnTo>
                    <a:pt x="355" y="245"/>
                  </a:lnTo>
                  <a:lnTo>
                    <a:pt x="359" y="207"/>
                  </a:lnTo>
                  <a:lnTo>
                    <a:pt x="360" y="207"/>
                  </a:lnTo>
                  <a:lnTo>
                    <a:pt x="359" y="203"/>
                  </a:lnTo>
                  <a:lnTo>
                    <a:pt x="354" y="193"/>
                  </a:lnTo>
                  <a:lnTo>
                    <a:pt x="356" y="179"/>
                  </a:lnTo>
                  <a:lnTo>
                    <a:pt x="359" y="178"/>
                  </a:lnTo>
                  <a:lnTo>
                    <a:pt x="360" y="164"/>
                  </a:lnTo>
                  <a:lnTo>
                    <a:pt x="366" y="157"/>
                  </a:lnTo>
                  <a:lnTo>
                    <a:pt x="366" y="139"/>
                  </a:lnTo>
                  <a:lnTo>
                    <a:pt x="371" y="130"/>
                  </a:lnTo>
                  <a:lnTo>
                    <a:pt x="372" y="111"/>
                  </a:lnTo>
                  <a:lnTo>
                    <a:pt x="377" y="100"/>
                  </a:lnTo>
                  <a:lnTo>
                    <a:pt x="385" y="87"/>
                  </a:lnTo>
                  <a:lnTo>
                    <a:pt x="392" y="81"/>
                  </a:lnTo>
                  <a:lnTo>
                    <a:pt x="400" y="72"/>
                  </a:lnTo>
                  <a:lnTo>
                    <a:pt x="391" y="69"/>
                  </a:lnTo>
                  <a:lnTo>
                    <a:pt x="392" y="41"/>
                  </a:lnTo>
                  <a:lnTo>
                    <a:pt x="392" y="41"/>
                  </a:lnTo>
                  <a:lnTo>
                    <a:pt x="374" y="25"/>
                  </a:lnTo>
                  <a:lnTo>
                    <a:pt x="368" y="16"/>
                  </a:lnTo>
                  <a:lnTo>
                    <a:pt x="357" y="21"/>
                  </a:lnTo>
                  <a:lnTo>
                    <a:pt x="347" y="19"/>
                  </a:lnTo>
                  <a:lnTo>
                    <a:pt x="341" y="24"/>
                  </a:lnTo>
                  <a:lnTo>
                    <a:pt x="332" y="20"/>
                  </a:lnTo>
                  <a:lnTo>
                    <a:pt x="319" y="1"/>
                  </a:lnTo>
                  <a:lnTo>
                    <a:pt x="312" y="3"/>
                  </a:lnTo>
                  <a:lnTo>
                    <a:pt x="299" y="3"/>
                  </a:lnTo>
                  <a:lnTo>
                    <a:pt x="299"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6" name="Congo">
              <a:extLst>
                <a:ext uri="{FF2B5EF4-FFF2-40B4-BE49-F238E27FC236}">
                  <a16:creationId xmlns:a16="http://schemas.microsoft.com/office/drawing/2014/main" id="{3365664B-965D-4D04-B8AF-B74684D769B5}"/>
                </a:ext>
              </a:extLst>
            </p:cNvPr>
            <p:cNvSpPr>
              <a:spLocks/>
            </p:cNvSpPr>
            <p:nvPr/>
          </p:nvSpPr>
          <p:spPr bwMode="auto">
            <a:xfrm>
              <a:off x="6365081" y="3922486"/>
              <a:ext cx="244475" cy="330200"/>
            </a:xfrm>
            <a:custGeom>
              <a:avLst/>
              <a:gdLst>
                <a:gd name="T0" fmla="*/ 154 w 154"/>
                <a:gd name="T1" fmla="*/ 5 h 208"/>
                <a:gd name="T2" fmla="*/ 141 w 154"/>
                <a:gd name="T3" fmla="*/ 3 h 208"/>
                <a:gd name="T4" fmla="*/ 127 w 154"/>
                <a:gd name="T5" fmla="*/ 0 h 208"/>
                <a:gd name="T6" fmla="*/ 114 w 154"/>
                <a:gd name="T7" fmla="*/ 12 h 208"/>
                <a:gd name="T8" fmla="*/ 104 w 154"/>
                <a:gd name="T9" fmla="*/ 34 h 208"/>
                <a:gd name="T10" fmla="*/ 102 w 154"/>
                <a:gd name="T11" fmla="*/ 47 h 208"/>
                <a:gd name="T12" fmla="*/ 85 w 154"/>
                <a:gd name="T13" fmla="*/ 42 h 208"/>
                <a:gd name="T14" fmla="*/ 68 w 154"/>
                <a:gd name="T15" fmla="*/ 35 h 208"/>
                <a:gd name="T16" fmla="*/ 42 w 154"/>
                <a:gd name="T17" fmla="*/ 34 h 208"/>
                <a:gd name="T18" fmla="*/ 40 w 154"/>
                <a:gd name="T19" fmla="*/ 44 h 208"/>
                <a:gd name="T20" fmla="*/ 46 w 154"/>
                <a:gd name="T21" fmla="*/ 57 h 208"/>
                <a:gd name="T22" fmla="*/ 62 w 154"/>
                <a:gd name="T23" fmla="*/ 55 h 208"/>
                <a:gd name="T24" fmla="*/ 67 w 154"/>
                <a:gd name="T25" fmla="*/ 59 h 208"/>
                <a:gd name="T26" fmla="*/ 58 w 154"/>
                <a:gd name="T27" fmla="*/ 87 h 208"/>
                <a:gd name="T28" fmla="*/ 68 w 154"/>
                <a:gd name="T29" fmla="*/ 101 h 208"/>
                <a:gd name="T30" fmla="*/ 70 w 154"/>
                <a:gd name="T31" fmla="*/ 119 h 208"/>
                <a:gd name="T32" fmla="*/ 67 w 154"/>
                <a:gd name="T33" fmla="*/ 136 h 208"/>
                <a:gd name="T34" fmla="*/ 61 w 154"/>
                <a:gd name="T35" fmla="*/ 147 h 208"/>
                <a:gd name="T36" fmla="*/ 43 w 154"/>
                <a:gd name="T37" fmla="*/ 145 h 208"/>
                <a:gd name="T38" fmla="*/ 32 w 154"/>
                <a:gd name="T39" fmla="*/ 134 h 208"/>
                <a:gd name="T40" fmla="*/ 30 w 154"/>
                <a:gd name="T41" fmla="*/ 145 h 208"/>
                <a:gd name="T42" fmla="*/ 15 w 154"/>
                <a:gd name="T43" fmla="*/ 148 h 208"/>
                <a:gd name="T44" fmla="*/ 8 w 154"/>
                <a:gd name="T45" fmla="*/ 154 h 208"/>
                <a:gd name="T46" fmla="*/ 16 w 154"/>
                <a:gd name="T47" fmla="*/ 170 h 208"/>
                <a:gd name="T48" fmla="*/ 0 w 154"/>
                <a:gd name="T49" fmla="*/ 183 h 208"/>
                <a:gd name="T50" fmla="*/ 17 w 154"/>
                <a:gd name="T51" fmla="*/ 208 h 208"/>
                <a:gd name="T52" fmla="*/ 25 w 154"/>
                <a:gd name="T53" fmla="*/ 198 h 208"/>
                <a:gd name="T54" fmla="*/ 32 w 154"/>
                <a:gd name="T55" fmla="*/ 194 h 208"/>
                <a:gd name="T56" fmla="*/ 39 w 154"/>
                <a:gd name="T57" fmla="*/ 201 h 208"/>
                <a:gd name="T58" fmla="*/ 45 w 154"/>
                <a:gd name="T59" fmla="*/ 204 h 208"/>
                <a:gd name="T60" fmla="*/ 52 w 154"/>
                <a:gd name="T61" fmla="*/ 195 h 208"/>
                <a:gd name="T62" fmla="*/ 63 w 154"/>
                <a:gd name="T63" fmla="*/ 196 h 208"/>
                <a:gd name="T64" fmla="*/ 65 w 154"/>
                <a:gd name="T65" fmla="*/ 202 h 208"/>
                <a:gd name="T66" fmla="*/ 73 w 154"/>
                <a:gd name="T67" fmla="*/ 206 h 208"/>
                <a:gd name="T68" fmla="*/ 86 w 154"/>
                <a:gd name="T69" fmla="*/ 191 h 208"/>
                <a:gd name="T70" fmla="*/ 98 w 154"/>
                <a:gd name="T71" fmla="*/ 180 h 208"/>
                <a:gd name="T72" fmla="*/ 103 w 154"/>
                <a:gd name="T73" fmla="*/ 172 h 208"/>
                <a:gd name="T74" fmla="*/ 103 w 154"/>
                <a:gd name="T75" fmla="*/ 153 h 208"/>
                <a:gd name="T76" fmla="*/ 112 w 154"/>
                <a:gd name="T77" fmla="*/ 129 h 208"/>
                <a:gd name="T78" fmla="*/ 121 w 154"/>
                <a:gd name="T79" fmla="*/ 117 h 208"/>
                <a:gd name="T80" fmla="*/ 135 w 154"/>
                <a:gd name="T81" fmla="*/ 106 h 208"/>
                <a:gd name="T82" fmla="*/ 137 w 154"/>
                <a:gd name="T83" fmla="*/ 99 h 208"/>
                <a:gd name="T84" fmla="*/ 138 w 154"/>
                <a:gd name="T85" fmla="*/ 89 h 208"/>
                <a:gd name="T86" fmla="*/ 142 w 154"/>
                <a:gd name="T87" fmla="*/ 81 h 208"/>
                <a:gd name="T88" fmla="*/ 140 w 154"/>
                <a:gd name="T89" fmla="*/ 68 h 208"/>
                <a:gd name="T90" fmla="*/ 143 w 154"/>
                <a:gd name="T91" fmla="*/ 46 h 208"/>
                <a:gd name="T92" fmla="*/ 147 w 154"/>
                <a:gd name="T93" fmla="*/ 31 h 208"/>
                <a:gd name="T94" fmla="*/ 153 w 154"/>
                <a:gd name="T95" fmla="*/ 19 h 208"/>
                <a:gd name="T96" fmla="*/ 154 w 154"/>
                <a:gd name="T97" fmla="*/ 5 h 208"/>
                <a:gd name="T98" fmla="*/ 154 w 154"/>
                <a:gd name="T99" fmla="*/ 5 h 2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54" h="208">
                  <a:moveTo>
                    <a:pt x="154" y="5"/>
                  </a:moveTo>
                  <a:lnTo>
                    <a:pt x="141" y="3"/>
                  </a:lnTo>
                  <a:lnTo>
                    <a:pt x="127" y="0"/>
                  </a:lnTo>
                  <a:lnTo>
                    <a:pt x="114" y="12"/>
                  </a:lnTo>
                  <a:lnTo>
                    <a:pt x="104" y="34"/>
                  </a:lnTo>
                  <a:lnTo>
                    <a:pt x="102" y="47"/>
                  </a:lnTo>
                  <a:lnTo>
                    <a:pt x="85" y="42"/>
                  </a:lnTo>
                  <a:lnTo>
                    <a:pt x="68" y="35"/>
                  </a:lnTo>
                  <a:lnTo>
                    <a:pt x="42" y="34"/>
                  </a:lnTo>
                  <a:lnTo>
                    <a:pt x="40" y="44"/>
                  </a:lnTo>
                  <a:lnTo>
                    <a:pt x="46" y="57"/>
                  </a:lnTo>
                  <a:lnTo>
                    <a:pt x="62" y="55"/>
                  </a:lnTo>
                  <a:lnTo>
                    <a:pt x="67" y="59"/>
                  </a:lnTo>
                  <a:lnTo>
                    <a:pt x="58" y="87"/>
                  </a:lnTo>
                  <a:lnTo>
                    <a:pt x="68" y="101"/>
                  </a:lnTo>
                  <a:lnTo>
                    <a:pt x="70" y="119"/>
                  </a:lnTo>
                  <a:lnTo>
                    <a:pt x="67" y="136"/>
                  </a:lnTo>
                  <a:lnTo>
                    <a:pt x="61" y="147"/>
                  </a:lnTo>
                  <a:lnTo>
                    <a:pt x="43" y="145"/>
                  </a:lnTo>
                  <a:lnTo>
                    <a:pt x="32" y="134"/>
                  </a:lnTo>
                  <a:lnTo>
                    <a:pt x="30" y="145"/>
                  </a:lnTo>
                  <a:lnTo>
                    <a:pt x="15" y="148"/>
                  </a:lnTo>
                  <a:lnTo>
                    <a:pt x="8" y="154"/>
                  </a:lnTo>
                  <a:lnTo>
                    <a:pt x="16" y="170"/>
                  </a:lnTo>
                  <a:lnTo>
                    <a:pt x="0" y="183"/>
                  </a:lnTo>
                  <a:lnTo>
                    <a:pt x="17" y="208"/>
                  </a:lnTo>
                  <a:lnTo>
                    <a:pt x="25" y="198"/>
                  </a:lnTo>
                  <a:lnTo>
                    <a:pt x="32" y="194"/>
                  </a:lnTo>
                  <a:lnTo>
                    <a:pt x="39" y="201"/>
                  </a:lnTo>
                  <a:lnTo>
                    <a:pt x="45" y="204"/>
                  </a:lnTo>
                  <a:lnTo>
                    <a:pt x="52" y="195"/>
                  </a:lnTo>
                  <a:lnTo>
                    <a:pt x="63" y="196"/>
                  </a:lnTo>
                  <a:lnTo>
                    <a:pt x="65" y="202"/>
                  </a:lnTo>
                  <a:lnTo>
                    <a:pt x="73" y="206"/>
                  </a:lnTo>
                  <a:lnTo>
                    <a:pt x="86" y="191"/>
                  </a:lnTo>
                  <a:lnTo>
                    <a:pt x="98" y="180"/>
                  </a:lnTo>
                  <a:lnTo>
                    <a:pt x="103" y="172"/>
                  </a:lnTo>
                  <a:lnTo>
                    <a:pt x="103" y="153"/>
                  </a:lnTo>
                  <a:lnTo>
                    <a:pt x="112" y="129"/>
                  </a:lnTo>
                  <a:lnTo>
                    <a:pt x="121" y="117"/>
                  </a:lnTo>
                  <a:lnTo>
                    <a:pt x="135" y="106"/>
                  </a:lnTo>
                  <a:lnTo>
                    <a:pt x="137" y="99"/>
                  </a:lnTo>
                  <a:lnTo>
                    <a:pt x="138" y="89"/>
                  </a:lnTo>
                  <a:lnTo>
                    <a:pt x="142" y="81"/>
                  </a:lnTo>
                  <a:lnTo>
                    <a:pt x="140" y="68"/>
                  </a:lnTo>
                  <a:lnTo>
                    <a:pt x="143" y="46"/>
                  </a:lnTo>
                  <a:lnTo>
                    <a:pt x="147" y="31"/>
                  </a:lnTo>
                  <a:lnTo>
                    <a:pt x="153" y="19"/>
                  </a:lnTo>
                  <a:lnTo>
                    <a:pt x="154" y="5"/>
                  </a:lnTo>
                  <a:lnTo>
                    <a:pt x="15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7" name="Colombia">
              <a:extLst>
                <a:ext uri="{FF2B5EF4-FFF2-40B4-BE49-F238E27FC236}">
                  <a16:creationId xmlns:a16="http://schemas.microsoft.com/office/drawing/2014/main" id="{72EAAE00-4182-4625-A62A-3EEC4D80C6FC}"/>
                </a:ext>
              </a:extLst>
            </p:cNvPr>
            <p:cNvSpPr>
              <a:spLocks/>
            </p:cNvSpPr>
            <p:nvPr/>
          </p:nvSpPr>
          <p:spPr bwMode="auto">
            <a:xfrm>
              <a:off x="3363119" y="3592286"/>
              <a:ext cx="404812" cy="631825"/>
            </a:xfrm>
            <a:custGeom>
              <a:avLst/>
              <a:gdLst>
                <a:gd name="T0" fmla="*/ 175 w 255"/>
                <a:gd name="T1" fmla="*/ 8 h 398"/>
                <a:gd name="T2" fmla="*/ 163 w 255"/>
                <a:gd name="T3" fmla="*/ 0 h 398"/>
                <a:gd name="T4" fmla="*/ 143 w 255"/>
                <a:gd name="T5" fmla="*/ 17 h 398"/>
                <a:gd name="T6" fmla="*/ 109 w 255"/>
                <a:gd name="T7" fmla="*/ 27 h 398"/>
                <a:gd name="T8" fmla="*/ 95 w 255"/>
                <a:gd name="T9" fmla="*/ 32 h 398"/>
                <a:gd name="T10" fmla="*/ 77 w 255"/>
                <a:gd name="T11" fmla="*/ 64 h 398"/>
                <a:gd name="T12" fmla="*/ 67 w 255"/>
                <a:gd name="T13" fmla="*/ 74 h 398"/>
                <a:gd name="T14" fmla="*/ 40 w 255"/>
                <a:gd name="T15" fmla="*/ 90 h 398"/>
                <a:gd name="T16" fmla="*/ 42 w 255"/>
                <a:gd name="T17" fmla="*/ 108 h 398"/>
                <a:gd name="T18" fmla="*/ 31 w 255"/>
                <a:gd name="T19" fmla="*/ 112 h 398"/>
                <a:gd name="T20" fmla="*/ 36 w 255"/>
                <a:gd name="T21" fmla="*/ 137 h 398"/>
                <a:gd name="T22" fmla="*/ 34 w 255"/>
                <a:gd name="T23" fmla="*/ 163 h 398"/>
                <a:gd name="T24" fmla="*/ 33 w 255"/>
                <a:gd name="T25" fmla="*/ 199 h 398"/>
                <a:gd name="T26" fmla="*/ 33 w 255"/>
                <a:gd name="T27" fmla="*/ 217 h 398"/>
                <a:gd name="T28" fmla="*/ 12 w 255"/>
                <a:gd name="T29" fmla="*/ 234 h 398"/>
                <a:gd name="T30" fmla="*/ 9 w 255"/>
                <a:gd name="T31" fmla="*/ 254 h 398"/>
                <a:gd name="T32" fmla="*/ 3 w 255"/>
                <a:gd name="T33" fmla="*/ 264 h 398"/>
                <a:gd name="T34" fmla="*/ 28 w 255"/>
                <a:gd name="T35" fmla="*/ 277 h 398"/>
                <a:gd name="T36" fmla="*/ 51 w 255"/>
                <a:gd name="T37" fmla="*/ 290 h 398"/>
                <a:gd name="T38" fmla="*/ 67 w 255"/>
                <a:gd name="T39" fmla="*/ 293 h 398"/>
                <a:gd name="T40" fmla="*/ 81 w 255"/>
                <a:gd name="T41" fmla="*/ 297 h 398"/>
                <a:gd name="T42" fmla="*/ 102 w 255"/>
                <a:gd name="T43" fmla="*/ 320 h 398"/>
                <a:gd name="T44" fmla="*/ 125 w 255"/>
                <a:gd name="T45" fmla="*/ 351 h 398"/>
                <a:gd name="T46" fmla="*/ 152 w 255"/>
                <a:gd name="T47" fmla="*/ 348 h 398"/>
                <a:gd name="T48" fmla="*/ 172 w 255"/>
                <a:gd name="T49" fmla="*/ 350 h 398"/>
                <a:gd name="T50" fmla="*/ 176 w 255"/>
                <a:gd name="T51" fmla="*/ 385 h 398"/>
                <a:gd name="T52" fmla="*/ 193 w 255"/>
                <a:gd name="T53" fmla="*/ 398 h 398"/>
                <a:gd name="T54" fmla="*/ 201 w 255"/>
                <a:gd name="T55" fmla="*/ 322 h 398"/>
                <a:gd name="T56" fmla="*/ 189 w 255"/>
                <a:gd name="T57" fmla="*/ 300 h 398"/>
                <a:gd name="T58" fmla="*/ 201 w 255"/>
                <a:gd name="T59" fmla="*/ 279 h 398"/>
                <a:gd name="T60" fmla="*/ 206 w 255"/>
                <a:gd name="T61" fmla="*/ 273 h 398"/>
                <a:gd name="T62" fmla="*/ 194 w 255"/>
                <a:gd name="T63" fmla="*/ 255 h 398"/>
                <a:gd name="T64" fmla="*/ 241 w 255"/>
                <a:gd name="T65" fmla="*/ 248 h 398"/>
                <a:gd name="T66" fmla="*/ 250 w 255"/>
                <a:gd name="T67" fmla="*/ 269 h 398"/>
                <a:gd name="T68" fmla="*/ 249 w 255"/>
                <a:gd name="T69" fmla="*/ 242 h 398"/>
                <a:gd name="T70" fmla="*/ 236 w 255"/>
                <a:gd name="T71" fmla="*/ 229 h 398"/>
                <a:gd name="T72" fmla="*/ 246 w 255"/>
                <a:gd name="T73" fmla="*/ 211 h 398"/>
                <a:gd name="T74" fmla="*/ 236 w 255"/>
                <a:gd name="T75" fmla="*/ 189 h 398"/>
                <a:gd name="T76" fmla="*/ 243 w 255"/>
                <a:gd name="T77" fmla="*/ 164 h 398"/>
                <a:gd name="T78" fmla="*/ 240 w 255"/>
                <a:gd name="T79" fmla="*/ 147 h 398"/>
                <a:gd name="T80" fmla="*/ 213 w 255"/>
                <a:gd name="T81" fmla="*/ 149 h 398"/>
                <a:gd name="T82" fmla="*/ 191 w 255"/>
                <a:gd name="T83" fmla="*/ 131 h 398"/>
                <a:gd name="T84" fmla="*/ 152 w 255"/>
                <a:gd name="T85" fmla="*/ 130 h 398"/>
                <a:gd name="T86" fmla="*/ 142 w 255"/>
                <a:gd name="T87" fmla="*/ 120 h 398"/>
                <a:gd name="T88" fmla="*/ 144 w 255"/>
                <a:gd name="T89" fmla="*/ 106 h 398"/>
                <a:gd name="T90" fmla="*/ 138 w 255"/>
                <a:gd name="T91" fmla="*/ 91 h 398"/>
                <a:gd name="T92" fmla="*/ 125 w 255"/>
                <a:gd name="T93" fmla="*/ 79 h 398"/>
                <a:gd name="T94" fmla="*/ 136 w 255"/>
                <a:gd name="T95" fmla="*/ 48 h 398"/>
                <a:gd name="T96" fmla="*/ 151 w 255"/>
                <a:gd name="T97" fmla="*/ 32 h 398"/>
                <a:gd name="T98" fmla="*/ 170 w 255"/>
                <a:gd name="T99" fmla="*/ 16 h 3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55" h="398">
                  <a:moveTo>
                    <a:pt x="170" y="16"/>
                  </a:moveTo>
                  <a:lnTo>
                    <a:pt x="175" y="8"/>
                  </a:lnTo>
                  <a:lnTo>
                    <a:pt x="170" y="2"/>
                  </a:lnTo>
                  <a:lnTo>
                    <a:pt x="163" y="0"/>
                  </a:lnTo>
                  <a:lnTo>
                    <a:pt x="152" y="12"/>
                  </a:lnTo>
                  <a:lnTo>
                    <a:pt x="143" y="17"/>
                  </a:lnTo>
                  <a:lnTo>
                    <a:pt x="126" y="29"/>
                  </a:lnTo>
                  <a:lnTo>
                    <a:pt x="109" y="27"/>
                  </a:lnTo>
                  <a:lnTo>
                    <a:pt x="108" y="32"/>
                  </a:lnTo>
                  <a:lnTo>
                    <a:pt x="95" y="32"/>
                  </a:lnTo>
                  <a:lnTo>
                    <a:pt x="82" y="43"/>
                  </a:lnTo>
                  <a:lnTo>
                    <a:pt x="77" y="64"/>
                  </a:lnTo>
                  <a:lnTo>
                    <a:pt x="77" y="71"/>
                  </a:lnTo>
                  <a:lnTo>
                    <a:pt x="67" y="74"/>
                  </a:lnTo>
                  <a:lnTo>
                    <a:pt x="52" y="91"/>
                  </a:lnTo>
                  <a:lnTo>
                    <a:pt x="40" y="90"/>
                  </a:lnTo>
                  <a:lnTo>
                    <a:pt x="38" y="94"/>
                  </a:lnTo>
                  <a:lnTo>
                    <a:pt x="42" y="108"/>
                  </a:lnTo>
                  <a:lnTo>
                    <a:pt x="38" y="114"/>
                  </a:lnTo>
                  <a:lnTo>
                    <a:pt x="31" y="112"/>
                  </a:lnTo>
                  <a:lnTo>
                    <a:pt x="27" y="125"/>
                  </a:lnTo>
                  <a:lnTo>
                    <a:pt x="36" y="137"/>
                  </a:lnTo>
                  <a:lnTo>
                    <a:pt x="39" y="157"/>
                  </a:lnTo>
                  <a:lnTo>
                    <a:pt x="34" y="163"/>
                  </a:lnTo>
                  <a:lnTo>
                    <a:pt x="38" y="185"/>
                  </a:lnTo>
                  <a:lnTo>
                    <a:pt x="33" y="199"/>
                  </a:lnTo>
                  <a:lnTo>
                    <a:pt x="40" y="205"/>
                  </a:lnTo>
                  <a:lnTo>
                    <a:pt x="33" y="217"/>
                  </a:lnTo>
                  <a:lnTo>
                    <a:pt x="24" y="232"/>
                  </a:lnTo>
                  <a:lnTo>
                    <a:pt x="12" y="234"/>
                  </a:lnTo>
                  <a:lnTo>
                    <a:pt x="8" y="242"/>
                  </a:lnTo>
                  <a:lnTo>
                    <a:pt x="9" y="254"/>
                  </a:lnTo>
                  <a:lnTo>
                    <a:pt x="0" y="256"/>
                  </a:lnTo>
                  <a:lnTo>
                    <a:pt x="3" y="264"/>
                  </a:lnTo>
                  <a:lnTo>
                    <a:pt x="25" y="277"/>
                  </a:lnTo>
                  <a:lnTo>
                    <a:pt x="28" y="277"/>
                  </a:lnTo>
                  <a:lnTo>
                    <a:pt x="33" y="286"/>
                  </a:lnTo>
                  <a:lnTo>
                    <a:pt x="51" y="290"/>
                  </a:lnTo>
                  <a:lnTo>
                    <a:pt x="57" y="286"/>
                  </a:lnTo>
                  <a:lnTo>
                    <a:pt x="67" y="293"/>
                  </a:lnTo>
                  <a:lnTo>
                    <a:pt x="76" y="299"/>
                  </a:lnTo>
                  <a:lnTo>
                    <a:pt x="81" y="297"/>
                  </a:lnTo>
                  <a:lnTo>
                    <a:pt x="95" y="308"/>
                  </a:lnTo>
                  <a:lnTo>
                    <a:pt x="102" y="320"/>
                  </a:lnTo>
                  <a:lnTo>
                    <a:pt x="112" y="326"/>
                  </a:lnTo>
                  <a:lnTo>
                    <a:pt x="125" y="351"/>
                  </a:lnTo>
                  <a:lnTo>
                    <a:pt x="141" y="354"/>
                  </a:lnTo>
                  <a:lnTo>
                    <a:pt x="152" y="348"/>
                  </a:lnTo>
                  <a:lnTo>
                    <a:pt x="160" y="351"/>
                  </a:lnTo>
                  <a:lnTo>
                    <a:pt x="172" y="350"/>
                  </a:lnTo>
                  <a:lnTo>
                    <a:pt x="189" y="361"/>
                  </a:lnTo>
                  <a:lnTo>
                    <a:pt x="176" y="385"/>
                  </a:lnTo>
                  <a:lnTo>
                    <a:pt x="182" y="385"/>
                  </a:lnTo>
                  <a:lnTo>
                    <a:pt x="193" y="398"/>
                  </a:lnTo>
                  <a:lnTo>
                    <a:pt x="201" y="333"/>
                  </a:lnTo>
                  <a:lnTo>
                    <a:pt x="201" y="322"/>
                  </a:lnTo>
                  <a:lnTo>
                    <a:pt x="198" y="309"/>
                  </a:lnTo>
                  <a:lnTo>
                    <a:pt x="189" y="300"/>
                  </a:lnTo>
                  <a:lnTo>
                    <a:pt x="189" y="283"/>
                  </a:lnTo>
                  <a:lnTo>
                    <a:pt x="201" y="279"/>
                  </a:lnTo>
                  <a:lnTo>
                    <a:pt x="205" y="281"/>
                  </a:lnTo>
                  <a:lnTo>
                    <a:pt x="206" y="273"/>
                  </a:lnTo>
                  <a:lnTo>
                    <a:pt x="194" y="270"/>
                  </a:lnTo>
                  <a:lnTo>
                    <a:pt x="194" y="255"/>
                  </a:lnTo>
                  <a:lnTo>
                    <a:pt x="234" y="256"/>
                  </a:lnTo>
                  <a:lnTo>
                    <a:pt x="241" y="248"/>
                  </a:lnTo>
                  <a:lnTo>
                    <a:pt x="247" y="255"/>
                  </a:lnTo>
                  <a:lnTo>
                    <a:pt x="250" y="269"/>
                  </a:lnTo>
                  <a:lnTo>
                    <a:pt x="255" y="266"/>
                  </a:lnTo>
                  <a:lnTo>
                    <a:pt x="249" y="242"/>
                  </a:lnTo>
                  <a:lnTo>
                    <a:pt x="243" y="234"/>
                  </a:lnTo>
                  <a:lnTo>
                    <a:pt x="236" y="229"/>
                  </a:lnTo>
                  <a:lnTo>
                    <a:pt x="247" y="217"/>
                  </a:lnTo>
                  <a:lnTo>
                    <a:pt x="246" y="211"/>
                  </a:lnTo>
                  <a:lnTo>
                    <a:pt x="240" y="205"/>
                  </a:lnTo>
                  <a:lnTo>
                    <a:pt x="236" y="189"/>
                  </a:lnTo>
                  <a:lnTo>
                    <a:pt x="238" y="172"/>
                  </a:lnTo>
                  <a:lnTo>
                    <a:pt x="243" y="164"/>
                  </a:lnTo>
                  <a:lnTo>
                    <a:pt x="248" y="152"/>
                  </a:lnTo>
                  <a:lnTo>
                    <a:pt x="240" y="147"/>
                  </a:lnTo>
                  <a:lnTo>
                    <a:pt x="228" y="150"/>
                  </a:lnTo>
                  <a:lnTo>
                    <a:pt x="213" y="149"/>
                  </a:lnTo>
                  <a:lnTo>
                    <a:pt x="205" y="152"/>
                  </a:lnTo>
                  <a:lnTo>
                    <a:pt x="191" y="131"/>
                  </a:lnTo>
                  <a:lnTo>
                    <a:pt x="179" y="127"/>
                  </a:lnTo>
                  <a:lnTo>
                    <a:pt x="152" y="130"/>
                  </a:lnTo>
                  <a:lnTo>
                    <a:pt x="147" y="122"/>
                  </a:lnTo>
                  <a:lnTo>
                    <a:pt x="142" y="120"/>
                  </a:lnTo>
                  <a:lnTo>
                    <a:pt x="141" y="114"/>
                  </a:lnTo>
                  <a:lnTo>
                    <a:pt x="144" y="106"/>
                  </a:lnTo>
                  <a:lnTo>
                    <a:pt x="143" y="96"/>
                  </a:lnTo>
                  <a:lnTo>
                    <a:pt x="138" y="91"/>
                  </a:lnTo>
                  <a:lnTo>
                    <a:pt x="137" y="81"/>
                  </a:lnTo>
                  <a:lnTo>
                    <a:pt x="125" y="79"/>
                  </a:lnTo>
                  <a:lnTo>
                    <a:pt x="132" y="65"/>
                  </a:lnTo>
                  <a:lnTo>
                    <a:pt x="136" y="48"/>
                  </a:lnTo>
                  <a:lnTo>
                    <a:pt x="142" y="39"/>
                  </a:lnTo>
                  <a:lnTo>
                    <a:pt x="151" y="32"/>
                  </a:lnTo>
                  <a:lnTo>
                    <a:pt x="156" y="20"/>
                  </a:lnTo>
                  <a:lnTo>
                    <a:pt x="170" y="16"/>
                  </a:lnTo>
                  <a:lnTo>
                    <a:pt x="170"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8" name="Costa Rica">
              <a:extLst>
                <a:ext uri="{FF2B5EF4-FFF2-40B4-BE49-F238E27FC236}">
                  <a16:creationId xmlns:a16="http://schemas.microsoft.com/office/drawing/2014/main" id="{4F041A19-7E42-45F4-887F-8ED4FFDF4E37}"/>
                </a:ext>
              </a:extLst>
            </p:cNvPr>
            <p:cNvSpPr>
              <a:spLocks/>
            </p:cNvSpPr>
            <p:nvPr/>
          </p:nvSpPr>
          <p:spPr bwMode="auto">
            <a:xfrm>
              <a:off x="3147219" y="3638323"/>
              <a:ext cx="109537" cy="112713"/>
            </a:xfrm>
            <a:custGeom>
              <a:avLst/>
              <a:gdLst>
                <a:gd name="T0" fmla="*/ 48 w 69"/>
                <a:gd name="T1" fmla="*/ 7 h 71"/>
                <a:gd name="T2" fmla="*/ 43 w 69"/>
                <a:gd name="T3" fmla="*/ 12 h 71"/>
                <a:gd name="T4" fmla="*/ 36 w 69"/>
                <a:gd name="T5" fmla="*/ 11 h 71"/>
                <a:gd name="T6" fmla="*/ 34 w 69"/>
                <a:gd name="T7" fmla="*/ 6 h 71"/>
                <a:gd name="T8" fmla="*/ 27 w 69"/>
                <a:gd name="T9" fmla="*/ 4 h 71"/>
                <a:gd name="T10" fmla="*/ 21 w 69"/>
                <a:gd name="T11" fmla="*/ 7 h 71"/>
                <a:gd name="T12" fmla="*/ 8 w 69"/>
                <a:gd name="T13" fmla="*/ 0 h 71"/>
                <a:gd name="T14" fmla="*/ 6 w 69"/>
                <a:gd name="T15" fmla="*/ 3 h 71"/>
                <a:gd name="T16" fmla="*/ 0 w 69"/>
                <a:gd name="T17" fmla="*/ 8 h 71"/>
                <a:gd name="T18" fmla="*/ 6 w 69"/>
                <a:gd name="T19" fmla="*/ 11 h 71"/>
                <a:gd name="T20" fmla="*/ 3 w 69"/>
                <a:gd name="T21" fmla="*/ 19 h 71"/>
                <a:gd name="T22" fmla="*/ 2 w 69"/>
                <a:gd name="T23" fmla="*/ 26 h 71"/>
                <a:gd name="T24" fmla="*/ 5 w 69"/>
                <a:gd name="T25" fmla="*/ 31 h 71"/>
                <a:gd name="T26" fmla="*/ 11 w 69"/>
                <a:gd name="T27" fmla="*/ 33 h 71"/>
                <a:gd name="T28" fmla="*/ 16 w 69"/>
                <a:gd name="T29" fmla="*/ 40 h 71"/>
                <a:gd name="T30" fmla="*/ 20 w 69"/>
                <a:gd name="T31" fmla="*/ 34 h 71"/>
                <a:gd name="T32" fmla="*/ 19 w 69"/>
                <a:gd name="T33" fmla="*/ 27 h 71"/>
                <a:gd name="T34" fmla="*/ 24 w 69"/>
                <a:gd name="T35" fmla="*/ 31 h 71"/>
                <a:gd name="T36" fmla="*/ 25 w 69"/>
                <a:gd name="T37" fmla="*/ 39 h 71"/>
                <a:gd name="T38" fmla="*/ 33 w 69"/>
                <a:gd name="T39" fmla="*/ 41 h 71"/>
                <a:gd name="T40" fmla="*/ 40 w 69"/>
                <a:gd name="T41" fmla="*/ 46 h 71"/>
                <a:gd name="T42" fmla="*/ 46 w 69"/>
                <a:gd name="T43" fmla="*/ 52 h 71"/>
                <a:gd name="T44" fmla="*/ 46 w 69"/>
                <a:gd name="T45" fmla="*/ 57 h 71"/>
                <a:gd name="T46" fmla="*/ 44 w 69"/>
                <a:gd name="T47" fmla="*/ 61 h 71"/>
                <a:gd name="T48" fmla="*/ 48 w 69"/>
                <a:gd name="T49" fmla="*/ 67 h 71"/>
                <a:gd name="T50" fmla="*/ 59 w 69"/>
                <a:gd name="T51" fmla="*/ 71 h 71"/>
                <a:gd name="T52" fmla="*/ 60 w 69"/>
                <a:gd name="T53" fmla="*/ 67 h 71"/>
                <a:gd name="T54" fmla="*/ 62 w 69"/>
                <a:gd name="T55" fmla="*/ 62 h 71"/>
                <a:gd name="T56" fmla="*/ 62 w 69"/>
                <a:gd name="T57" fmla="*/ 57 h 71"/>
                <a:gd name="T58" fmla="*/ 64 w 69"/>
                <a:gd name="T59" fmla="*/ 55 h 71"/>
                <a:gd name="T60" fmla="*/ 61 w 69"/>
                <a:gd name="T61" fmla="*/ 52 h 71"/>
                <a:gd name="T62" fmla="*/ 61 w 69"/>
                <a:gd name="T63" fmla="*/ 42 h 71"/>
                <a:gd name="T64" fmla="*/ 69 w 69"/>
                <a:gd name="T65" fmla="*/ 39 h 71"/>
                <a:gd name="T66" fmla="*/ 60 w 69"/>
                <a:gd name="T67" fmla="*/ 29 h 71"/>
                <a:gd name="T68" fmla="*/ 52 w 69"/>
                <a:gd name="T69" fmla="*/ 20 h 71"/>
                <a:gd name="T70" fmla="*/ 48 w 69"/>
                <a:gd name="T71" fmla="*/ 7 h 71"/>
                <a:gd name="T72" fmla="*/ 48 w 69"/>
                <a:gd name="T73" fmla="*/ 7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69" h="71">
                  <a:moveTo>
                    <a:pt x="48" y="7"/>
                  </a:moveTo>
                  <a:lnTo>
                    <a:pt x="43" y="12"/>
                  </a:lnTo>
                  <a:lnTo>
                    <a:pt x="36" y="11"/>
                  </a:lnTo>
                  <a:lnTo>
                    <a:pt x="34" y="6"/>
                  </a:lnTo>
                  <a:lnTo>
                    <a:pt x="27" y="4"/>
                  </a:lnTo>
                  <a:lnTo>
                    <a:pt x="21" y="7"/>
                  </a:lnTo>
                  <a:lnTo>
                    <a:pt x="8" y="0"/>
                  </a:lnTo>
                  <a:lnTo>
                    <a:pt x="6" y="3"/>
                  </a:lnTo>
                  <a:lnTo>
                    <a:pt x="0" y="8"/>
                  </a:lnTo>
                  <a:lnTo>
                    <a:pt x="6" y="11"/>
                  </a:lnTo>
                  <a:lnTo>
                    <a:pt x="3" y="19"/>
                  </a:lnTo>
                  <a:lnTo>
                    <a:pt x="2" y="26"/>
                  </a:lnTo>
                  <a:lnTo>
                    <a:pt x="5" y="31"/>
                  </a:lnTo>
                  <a:lnTo>
                    <a:pt x="11" y="33"/>
                  </a:lnTo>
                  <a:lnTo>
                    <a:pt x="16" y="40"/>
                  </a:lnTo>
                  <a:lnTo>
                    <a:pt x="20" y="34"/>
                  </a:lnTo>
                  <a:lnTo>
                    <a:pt x="19" y="27"/>
                  </a:lnTo>
                  <a:lnTo>
                    <a:pt x="24" y="31"/>
                  </a:lnTo>
                  <a:lnTo>
                    <a:pt x="25" y="39"/>
                  </a:lnTo>
                  <a:lnTo>
                    <a:pt x="33" y="41"/>
                  </a:lnTo>
                  <a:lnTo>
                    <a:pt x="40" y="46"/>
                  </a:lnTo>
                  <a:lnTo>
                    <a:pt x="46" y="52"/>
                  </a:lnTo>
                  <a:lnTo>
                    <a:pt x="46" y="57"/>
                  </a:lnTo>
                  <a:lnTo>
                    <a:pt x="44" y="61"/>
                  </a:lnTo>
                  <a:lnTo>
                    <a:pt x="48" y="67"/>
                  </a:lnTo>
                  <a:lnTo>
                    <a:pt x="59" y="71"/>
                  </a:lnTo>
                  <a:lnTo>
                    <a:pt x="60" y="67"/>
                  </a:lnTo>
                  <a:lnTo>
                    <a:pt x="62" y="62"/>
                  </a:lnTo>
                  <a:lnTo>
                    <a:pt x="62" y="57"/>
                  </a:lnTo>
                  <a:lnTo>
                    <a:pt x="64" y="55"/>
                  </a:lnTo>
                  <a:lnTo>
                    <a:pt x="61" y="52"/>
                  </a:lnTo>
                  <a:lnTo>
                    <a:pt x="61" y="42"/>
                  </a:lnTo>
                  <a:lnTo>
                    <a:pt x="69" y="39"/>
                  </a:lnTo>
                  <a:lnTo>
                    <a:pt x="60" y="29"/>
                  </a:lnTo>
                  <a:lnTo>
                    <a:pt x="52" y="20"/>
                  </a:lnTo>
                  <a:lnTo>
                    <a:pt x="48" y="7"/>
                  </a:lnTo>
                  <a:lnTo>
                    <a:pt x="48"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39" name="Cuba">
              <a:extLst>
                <a:ext uri="{FF2B5EF4-FFF2-40B4-BE49-F238E27FC236}">
                  <a16:creationId xmlns:a16="http://schemas.microsoft.com/office/drawing/2014/main" id="{CC3C4C29-4AE4-4EB0-B66A-1DD89B789622}"/>
                </a:ext>
              </a:extLst>
            </p:cNvPr>
            <p:cNvSpPr>
              <a:spLocks/>
            </p:cNvSpPr>
            <p:nvPr/>
          </p:nvSpPr>
          <p:spPr bwMode="auto">
            <a:xfrm>
              <a:off x="3223419" y="3185887"/>
              <a:ext cx="346075" cy="127000"/>
            </a:xfrm>
            <a:custGeom>
              <a:avLst/>
              <a:gdLst>
                <a:gd name="T0" fmla="*/ 112 w 218"/>
                <a:gd name="T1" fmla="*/ 11 h 80"/>
                <a:gd name="T2" fmla="*/ 93 w 218"/>
                <a:gd name="T3" fmla="*/ 3 h 80"/>
                <a:gd name="T4" fmla="*/ 77 w 218"/>
                <a:gd name="T5" fmla="*/ 2 h 80"/>
                <a:gd name="T6" fmla="*/ 59 w 218"/>
                <a:gd name="T7" fmla="*/ 0 h 80"/>
                <a:gd name="T8" fmla="*/ 55 w 218"/>
                <a:gd name="T9" fmla="*/ 3 h 80"/>
                <a:gd name="T10" fmla="*/ 39 w 218"/>
                <a:gd name="T11" fmla="*/ 6 h 80"/>
                <a:gd name="T12" fmla="*/ 28 w 218"/>
                <a:gd name="T13" fmla="*/ 11 h 80"/>
                <a:gd name="T14" fmla="*/ 17 w 218"/>
                <a:gd name="T15" fmla="*/ 15 h 80"/>
                <a:gd name="T16" fmla="*/ 12 w 218"/>
                <a:gd name="T17" fmla="*/ 25 h 80"/>
                <a:gd name="T18" fmla="*/ 0 w 218"/>
                <a:gd name="T19" fmla="*/ 32 h 80"/>
                <a:gd name="T20" fmla="*/ 9 w 218"/>
                <a:gd name="T21" fmla="*/ 34 h 80"/>
                <a:gd name="T22" fmla="*/ 19 w 218"/>
                <a:gd name="T23" fmla="*/ 31 h 80"/>
                <a:gd name="T24" fmla="*/ 23 w 218"/>
                <a:gd name="T25" fmla="*/ 26 h 80"/>
                <a:gd name="T26" fmla="*/ 31 w 218"/>
                <a:gd name="T27" fmla="*/ 25 h 80"/>
                <a:gd name="T28" fmla="*/ 48 w 218"/>
                <a:gd name="T29" fmla="*/ 13 h 80"/>
                <a:gd name="T30" fmla="*/ 68 w 218"/>
                <a:gd name="T31" fmla="*/ 14 h 80"/>
                <a:gd name="T32" fmla="*/ 59 w 218"/>
                <a:gd name="T33" fmla="*/ 20 h 80"/>
                <a:gd name="T34" fmla="*/ 66 w 218"/>
                <a:gd name="T35" fmla="*/ 25 h 80"/>
                <a:gd name="T36" fmla="*/ 92 w 218"/>
                <a:gd name="T37" fmla="*/ 29 h 80"/>
                <a:gd name="T38" fmla="*/ 98 w 218"/>
                <a:gd name="T39" fmla="*/ 33 h 80"/>
                <a:gd name="T40" fmla="*/ 116 w 218"/>
                <a:gd name="T41" fmla="*/ 40 h 80"/>
                <a:gd name="T42" fmla="*/ 128 w 218"/>
                <a:gd name="T43" fmla="*/ 39 h 80"/>
                <a:gd name="T44" fmla="*/ 131 w 218"/>
                <a:gd name="T45" fmla="*/ 53 h 80"/>
                <a:gd name="T46" fmla="*/ 138 w 218"/>
                <a:gd name="T47" fmla="*/ 59 h 80"/>
                <a:gd name="T48" fmla="*/ 151 w 218"/>
                <a:gd name="T49" fmla="*/ 60 h 80"/>
                <a:gd name="T50" fmla="*/ 158 w 218"/>
                <a:gd name="T51" fmla="*/ 67 h 80"/>
                <a:gd name="T52" fmla="*/ 143 w 218"/>
                <a:gd name="T53" fmla="*/ 80 h 80"/>
                <a:gd name="T54" fmla="*/ 172 w 218"/>
                <a:gd name="T55" fmla="*/ 78 h 80"/>
                <a:gd name="T56" fmla="*/ 186 w 218"/>
                <a:gd name="T57" fmla="*/ 80 h 80"/>
                <a:gd name="T58" fmla="*/ 200 w 218"/>
                <a:gd name="T59" fmla="*/ 79 h 80"/>
                <a:gd name="T60" fmla="*/ 214 w 218"/>
                <a:gd name="T61" fmla="*/ 75 h 80"/>
                <a:gd name="T62" fmla="*/ 218 w 218"/>
                <a:gd name="T63" fmla="*/ 70 h 80"/>
                <a:gd name="T64" fmla="*/ 203 w 218"/>
                <a:gd name="T65" fmla="*/ 60 h 80"/>
                <a:gd name="T66" fmla="*/ 188 w 218"/>
                <a:gd name="T67" fmla="*/ 59 h 80"/>
                <a:gd name="T68" fmla="*/ 190 w 218"/>
                <a:gd name="T69" fmla="*/ 53 h 80"/>
                <a:gd name="T70" fmla="*/ 179 w 218"/>
                <a:gd name="T71" fmla="*/ 48 h 80"/>
                <a:gd name="T72" fmla="*/ 171 w 218"/>
                <a:gd name="T73" fmla="*/ 48 h 80"/>
                <a:gd name="T74" fmla="*/ 160 w 218"/>
                <a:gd name="T75" fmla="*/ 38 h 80"/>
                <a:gd name="T76" fmla="*/ 145 w 218"/>
                <a:gd name="T77" fmla="*/ 23 h 80"/>
                <a:gd name="T78" fmla="*/ 138 w 218"/>
                <a:gd name="T79" fmla="*/ 17 h 80"/>
                <a:gd name="T80" fmla="*/ 119 w 218"/>
                <a:gd name="T81" fmla="*/ 20 h 80"/>
                <a:gd name="T82" fmla="*/ 112 w 218"/>
                <a:gd name="T83" fmla="*/ 11 h 80"/>
                <a:gd name="T84" fmla="*/ 112 w 218"/>
                <a:gd name="T85" fmla="*/ 11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18" h="80">
                  <a:moveTo>
                    <a:pt x="112" y="11"/>
                  </a:moveTo>
                  <a:lnTo>
                    <a:pt x="93" y="3"/>
                  </a:lnTo>
                  <a:lnTo>
                    <a:pt x="77" y="2"/>
                  </a:lnTo>
                  <a:lnTo>
                    <a:pt x="59" y="0"/>
                  </a:lnTo>
                  <a:lnTo>
                    <a:pt x="55" y="3"/>
                  </a:lnTo>
                  <a:lnTo>
                    <a:pt x="39" y="6"/>
                  </a:lnTo>
                  <a:lnTo>
                    <a:pt x="28" y="11"/>
                  </a:lnTo>
                  <a:lnTo>
                    <a:pt x="17" y="15"/>
                  </a:lnTo>
                  <a:lnTo>
                    <a:pt x="12" y="25"/>
                  </a:lnTo>
                  <a:lnTo>
                    <a:pt x="0" y="32"/>
                  </a:lnTo>
                  <a:lnTo>
                    <a:pt x="9" y="34"/>
                  </a:lnTo>
                  <a:lnTo>
                    <a:pt x="19" y="31"/>
                  </a:lnTo>
                  <a:lnTo>
                    <a:pt x="23" y="26"/>
                  </a:lnTo>
                  <a:lnTo>
                    <a:pt x="31" y="25"/>
                  </a:lnTo>
                  <a:lnTo>
                    <a:pt x="48" y="13"/>
                  </a:lnTo>
                  <a:lnTo>
                    <a:pt x="68" y="14"/>
                  </a:lnTo>
                  <a:lnTo>
                    <a:pt x="59" y="20"/>
                  </a:lnTo>
                  <a:lnTo>
                    <a:pt x="66" y="25"/>
                  </a:lnTo>
                  <a:lnTo>
                    <a:pt x="92" y="29"/>
                  </a:lnTo>
                  <a:lnTo>
                    <a:pt x="98" y="33"/>
                  </a:lnTo>
                  <a:lnTo>
                    <a:pt x="116" y="40"/>
                  </a:lnTo>
                  <a:lnTo>
                    <a:pt x="128" y="39"/>
                  </a:lnTo>
                  <a:lnTo>
                    <a:pt x="131" y="53"/>
                  </a:lnTo>
                  <a:lnTo>
                    <a:pt x="138" y="59"/>
                  </a:lnTo>
                  <a:lnTo>
                    <a:pt x="151" y="60"/>
                  </a:lnTo>
                  <a:lnTo>
                    <a:pt x="158" y="67"/>
                  </a:lnTo>
                  <a:lnTo>
                    <a:pt x="143" y="80"/>
                  </a:lnTo>
                  <a:lnTo>
                    <a:pt x="172" y="78"/>
                  </a:lnTo>
                  <a:lnTo>
                    <a:pt x="186" y="80"/>
                  </a:lnTo>
                  <a:lnTo>
                    <a:pt x="200" y="79"/>
                  </a:lnTo>
                  <a:lnTo>
                    <a:pt x="214" y="75"/>
                  </a:lnTo>
                  <a:lnTo>
                    <a:pt x="218" y="70"/>
                  </a:lnTo>
                  <a:lnTo>
                    <a:pt x="203" y="60"/>
                  </a:lnTo>
                  <a:lnTo>
                    <a:pt x="188" y="59"/>
                  </a:lnTo>
                  <a:lnTo>
                    <a:pt x="190" y="53"/>
                  </a:lnTo>
                  <a:lnTo>
                    <a:pt x="179" y="48"/>
                  </a:lnTo>
                  <a:lnTo>
                    <a:pt x="171" y="48"/>
                  </a:lnTo>
                  <a:lnTo>
                    <a:pt x="160" y="38"/>
                  </a:lnTo>
                  <a:lnTo>
                    <a:pt x="145" y="23"/>
                  </a:lnTo>
                  <a:lnTo>
                    <a:pt x="138" y="17"/>
                  </a:lnTo>
                  <a:lnTo>
                    <a:pt x="119" y="20"/>
                  </a:lnTo>
                  <a:lnTo>
                    <a:pt x="112" y="11"/>
                  </a:lnTo>
                  <a:lnTo>
                    <a:pt x="112"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0" name="Czech Republic">
              <a:extLst>
                <a:ext uri="{FF2B5EF4-FFF2-40B4-BE49-F238E27FC236}">
                  <a16:creationId xmlns:a16="http://schemas.microsoft.com/office/drawing/2014/main" id="{A8A01D65-CDEB-44CD-8DBE-53D1ECD4F5CB}"/>
                </a:ext>
              </a:extLst>
            </p:cNvPr>
            <p:cNvSpPr>
              <a:spLocks/>
            </p:cNvSpPr>
            <p:nvPr/>
          </p:nvSpPr>
          <p:spPr bwMode="auto">
            <a:xfrm>
              <a:off x="6349206" y="2142898"/>
              <a:ext cx="193675" cy="93663"/>
            </a:xfrm>
            <a:custGeom>
              <a:avLst/>
              <a:gdLst>
                <a:gd name="T0" fmla="*/ 49 w 122"/>
                <a:gd name="T1" fmla="*/ 0 h 59"/>
                <a:gd name="T2" fmla="*/ 41 w 122"/>
                <a:gd name="T3" fmla="*/ 2 h 59"/>
                <a:gd name="T4" fmla="*/ 36 w 122"/>
                <a:gd name="T5" fmla="*/ 0 h 59"/>
                <a:gd name="T6" fmla="*/ 31 w 122"/>
                <a:gd name="T7" fmla="*/ 4 h 59"/>
                <a:gd name="T8" fmla="*/ 19 w 122"/>
                <a:gd name="T9" fmla="*/ 9 h 59"/>
                <a:gd name="T10" fmla="*/ 13 w 122"/>
                <a:gd name="T11" fmla="*/ 14 h 59"/>
                <a:gd name="T12" fmla="*/ 0 w 122"/>
                <a:gd name="T13" fmla="*/ 19 h 59"/>
                <a:gd name="T14" fmla="*/ 3 w 122"/>
                <a:gd name="T15" fmla="*/ 26 h 59"/>
                <a:gd name="T16" fmla="*/ 6 w 122"/>
                <a:gd name="T17" fmla="*/ 36 h 59"/>
                <a:gd name="T18" fmla="*/ 16 w 122"/>
                <a:gd name="T19" fmla="*/ 41 h 59"/>
                <a:gd name="T20" fmla="*/ 27 w 122"/>
                <a:gd name="T21" fmla="*/ 52 h 59"/>
                <a:gd name="T22" fmla="*/ 41 w 122"/>
                <a:gd name="T23" fmla="*/ 59 h 59"/>
                <a:gd name="T24" fmla="*/ 51 w 122"/>
                <a:gd name="T25" fmla="*/ 50 h 59"/>
                <a:gd name="T26" fmla="*/ 57 w 122"/>
                <a:gd name="T27" fmla="*/ 48 h 59"/>
                <a:gd name="T28" fmla="*/ 72 w 122"/>
                <a:gd name="T29" fmla="*/ 54 h 59"/>
                <a:gd name="T30" fmla="*/ 81 w 122"/>
                <a:gd name="T31" fmla="*/ 53 h 59"/>
                <a:gd name="T32" fmla="*/ 89 w 122"/>
                <a:gd name="T33" fmla="*/ 58 h 59"/>
                <a:gd name="T34" fmla="*/ 91 w 122"/>
                <a:gd name="T35" fmla="*/ 52 h 59"/>
                <a:gd name="T36" fmla="*/ 100 w 122"/>
                <a:gd name="T37" fmla="*/ 53 h 59"/>
                <a:gd name="T38" fmla="*/ 105 w 122"/>
                <a:gd name="T39" fmla="*/ 51 h 59"/>
                <a:gd name="T40" fmla="*/ 106 w 122"/>
                <a:gd name="T41" fmla="*/ 49 h 59"/>
                <a:gd name="T42" fmla="*/ 109 w 122"/>
                <a:gd name="T43" fmla="*/ 48 h 59"/>
                <a:gd name="T44" fmla="*/ 110 w 122"/>
                <a:gd name="T45" fmla="*/ 42 h 59"/>
                <a:gd name="T46" fmla="*/ 114 w 122"/>
                <a:gd name="T47" fmla="*/ 41 h 59"/>
                <a:gd name="T48" fmla="*/ 116 w 122"/>
                <a:gd name="T49" fmla="*/ 38 h 59"/>
                <a:gd name="T50" fmla="*/ 122 w 122"/>
                <a:gd name="T51" fmla="*/ 38 h 59"/>
                <a:gd name="T52" fmla="*/ 113 w 122"/>
                <a:gd name="T53" fmla="*/ 25 h 59"/>
                <a:gd name="T54" fmla="*/ 99 w 122"/>
                <a:gd name="T55" fmla="*/ 24 h 59"/>
                <a:gd name="T56" fmla="*/ 96 w 122"/>
                <a:gd name="T57" fmla="*/ 17 h 59"/>
                <a:gd name="T58" fmla="*/ 84 w 122"/>
                <a:gd name="T59" fmla="*/ 15 h 59"/>
                <a:gd name="T60" fmla="*/ 81 w 122"/>
                <a:gd name="T61" fmla="*/ 21 h 59"/>
                <a:gd name="T62" fmla="*/ 72 w 122"/>
                <a:gd name="T63" fmla="*/ 16 h 59"/>
                <a:gd name="T64" fmla="*/ 72 w 122"/>
                <a:gd name="T65" fmla="*/ 10 h 59"/>
                <a:gd name="T66" fmla="*/ 58 w 122"/>
                <a:gd name="T67" fmla="*/ 8 h 59"/>
                <a:gd name="T68" fmla="*/ 49 w 122"/>
                <a:gd name="T69" fmla="*/ 0 h 59"/>
                <a:gd name="T70" fmla="*/ 49 w 122"/>
                <a:gd name="T71" fmla="*/ 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22" h="59">
                  <a:moveTo>
                    <a:pt x="49" y="0"/>
                  </a:moveTo>
                  <a:lnTo>
                    <a:pt x="41" y="2"/>
                  </a:lnTo>
                  <a:lnTo>
                    <a:pt x="36" y="0"/>
                  </a:lnTo>
                  <a:lnTo>
                    <a:pt x="31" y="4"/>
                  </a:lnTo>
                  <a:lnTo>
                    <a:pt x="19" y="9"/>
                  </a:lnTo>
                  <a:lnTo>
                    <a:pt x="13" y="14"/>
                  </a:lnTo>
                  <a:lnTo>
                    <a:pt x="0" y="19"/>
                  </a:lnTo>
                  <a:lnTo>
                    <a:pt x="3" y="26"/>
                  </a:lnTo>
                  <a:lnTo>
                    <a:pt x="6" y="36"/>
                  </a:lnTo>
                  <a:lnTo>
                    <a:pt x="16" y="41"/>
                  </a:lnTo>
                  <a:lnTo>
                    <a:pt x="27" y="52"/>
                  </a:lnTo>
                  <a:lnTo>
                    <a:pt x="41" y="59"/>
                  </a:lnTo>
                  <a:lnTo>
                    <a:pt x="51" y="50"/>
                  </a:lnTo>
                  <a:lnTo>
                    <a:pt x="57" y="48"/>
                  </a:lnTo>
                  <a:lnTo>
                    <a:pt x="72" y="54"/>
                  </a:lnTo>
                  <a:lnTo>
                    <a:pt x="81" y="53"/>
                  </a:lnTo>
                  <a:lnTo>
                    <a:pt x="89" y="58"/>
                  </a:lnTo>
                  <a:lnTo>
                    <a:pt x="91" y="52"/>
                  </a:lnTo>
                  <a:lnTo>
                    <a:pt x="100" y="53"/>
                  </a:lnTo>
                  <a:lnTo>
                    <a:pt x="105" y="51"/>
                  </a:lnTo>
                  <a:lnTo>
                    <a:pt x="106" y="49"/>
                  </a:lnTo>
                  <a:lnTo>
                    <a:pt x="109" y="48"/>
                  </a:lnTo>
                  <a:lnTo>
                    <a:pt x="110" y="42"/>
                  </a:lnTo>
                  <a:lnTo>
                    <a:pt x="114" y="41"/>
                  </a:lnTo>
                  <a:lnTo>
                    <a:pt x="116" y="38"/>
                  </a:lnTo>
                  <a:lnTo>
                    <a:pt x="122" y="38"/>
                  </a:lnTo>
                  <a:lnTo>
                    <a:pt x="113" y="25"/>
                  </a:lnTo>
                  <a:lnTo>
                    <a:pt x="99" y="24"/>
                  </a:lnTo>
                  <a:lnTo>
                    <a:pt x="96" y="17"/>
                  </a:lnTo>
                  <a:lnTo>
                    <a:pt x="84" y="15"/>
                  </a:lnTo>
                  <a:lnTo>
                    <a:pt x="81" y="21"/>
                  </a:lnTo>
                  <a:lnTo>
                    <a:pt x="72" y="16"/>
                  </a:lnTo>
                  <a:lnTo>
                    <a:pt x="72" y="10"/>
                  </a:lnTo>
                  <a:lnTo>
                    <a:pt x="58" y="8"/>
                  </a:lnTo>
                  <a:lnTo>
                    <a:pt x="49" y="0"/>
                  </a:lnTo>
                  <a:lnTo>
                    <a:pt x="4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1" name="Germany">
              <a:extLst>
                <a:ext uri="{FF2B5EF4-FFF2-40B4-BE49-F238E27FC236}">
                  <a16:creationId xmlns:a16="http://schemas.microsoft.com/office/drawing/2014/main" id="{CC3FB6AF-A067-4F73-BFEC-A712C92B33CB}"/>
                </a:ext>
              </a:extLst>
            </p:cNvPr>
            <p:cNvSpPr>
              <a:spLocks/>
            </p:cNvSpPr>
            <p:nvPr/>
          </p:nvSpPr>
          <p:spPr bwMode="auto">
            <a:xfrm>
              <a:off x="6166644" y="2003199"/>
              <a:ext cx="260350" cy="279399"/>
            </a:xfrm>
            <a:custGeom>
              <a:avLst/>
              <a:gdLst>
                <a:gd name="T0" fmla="*/ 142 w 164"/>
                <a:gd name="T1" fmla="*/ 27 h 176"/>
                <a:gd name="T2" fmla="*/ 133 w 164"/>
                <a:gd name="T3" fmla="*/ 21 h 176"/>
                <a:gd name="T4" fmla="*/ 113 w 164"/>
                <a:gd name="T5" fmla="*/ 12 h 176"/>
                <a:gd name="T6" fmla="*/ 103 w 164"/>
                <a:gd name="T7" fmla="*/ 18 h 176"/>
                <a:gd name="T8" fmla="*/ 86 w 164"/>
                <a:gd name="T9" fmla="*/ 22 h 176"/>
                <a:gd name="T10" fmla="*/ 86 w 164"/>
                <a:gd name="T11" fmla="*/ 14 h 176"/>
                <a:gd name="T12" fmla="*/ 67 w 164"/>
                <a:gd name="T13" fmla="*/ 9 h 176"/>
                <a:gd name="T14" fmla="*/ 66 w 164"/>
                <a:gd name="T15" fmla="*/ 0 h 176"/>
                <a:gd name="T16" fmla="*/ 55 w 164"/>
                <a:gd name="T17" fmla="*/ 4 h 176"/>
                <a:gd name="T18" fmla="*/ 42 w 164"/>
                <a:gd name="T19" fmla="*/ 0 h 176"/>
                <a:gd name="T20" fmla="*/ 43 w 164"/>
                <a:gd name="T21" fmla="*/ 13 h 176"/>
                <a:gd name="T22" fmla="*/ 47 w 164"/>
                <a:gd name="T23" fmla="*/ 22 h 176"/>
                <a:gd name="T24" fmla="*/ 36 w 164"/>
                <a:gd name="T25" fmla="*/ 33 h 176"/>
                <a:gd name="T26" fmla="*/ 32 w 164"/>
                <a:gd name="T27" fmla="*/ 28 h 176"/>
                <a:gd name="T28" fmla="*/ 18 w 164"/>
                <a:gd name="T29" fmla="*/ 29 h 176"/>
                <a:gd name="T30" fmla="*/ 15 w 164"/>
                <a:gd name="T31" fmla="*/ 34 h 176"/>
                <a:gd name="T32" fmla="*/ 18 w 164"/>
                <a:gd name="T33" fmla="*/ 42 h 176"/>
                <a:gd name="T34" fmla="*/ 15 w 164"/>
                <a:gd name="T35" fmla="*/ 62 h 176"/>
                <a:gd name="T36" fmla="*/ 11 w 164"/>
                <a:gd name="T37" fmla="*/ 71 h 176"/>
                <a:gd name="T38" fmla="*/ 0 w 164"/>
                <a:gd name="T39" fmla="*/ 71 h 176"/>
                <a:gd name="T40" fmla="*/ 4 w 164"/>
                <a:gd name="T41" fmla="*/ 95 h 176"/>
                <a:gd name="T42" fmla="*/ 3 w 164"/>
                <a:gd name="T43" fmla="*/ 111 h 176"/>
                <a:gd name="T44" fmla="*/ 6 w 164"/>
                <a:gd name="T45" fmla="*/ 116 h 176"/>
                <a:gd name="T46" fmla="*/ 5 w 164"/>
                <a:gd name="T47" fmla="*/ 126 h 176"/>
                <a:gd name="T48" fmla="*/ 15 w 164"/>
                <a:gd name="T49" fmla="*/ 132 h 176"/>
                <a:gd name="T50" fmla="*/ 41 w 164"/>
                <a:gd name="T51" fmla="*/ 137 h 176"/>
                <a:gd name="T52" fmla="*/ 32 w 164"/>
                <a:gd name="T53" fmla="*/ 152 h 176"/>
                <a:gd name="T54" fmla="*/ 31 w 164"/>
                <a:gd name="T55" fmla="*/ 168 h 176"/>
                <a:gd name="T56" fmla="*/ 46 w 164"/>
                <a:gd name="T57" fmla="*/ 168 h 176"/>
                <a:gd name="T58" fmla="*/ 50 w 164"/>
                <a:gd name="T59" fmla="*/ 164 h 176"/>
                <a:gd name="T60" fmla="*/ 70 w 164"/>
                <a:gd name="T61" fmla="*/ 170 h 176"/>
                <a:gd name="T62" fmla="*/ 75 w 164"/>
                <a:gd name="T63" fmla="*/ 169 h 176"/>
                <a:gd name="T64" fmla="*/ 86 w 164"/>
                <a:gd name="T65" fmla="*/ 176 h 176"/>
                <a:gd name="T66" fmla="*/ 88 w 164"/>
                <a:gd name="T67" fmla="*/ 170 h 176"/>
                <a:gd name="T68" fmla="*/ 104 w 164"/>
                <a:gd name="T69" fmla="*/ 171 h 176"/>
                <a:gd name="T70" fmla="*/ 117 w 164"/>
                <a:gd name="T71" fmla="*/ 167 h 176"/>
                <a:gd name="T72" fmla="*/ 126 w 164"/>
                <a:gd name="T73" fmla="*/ 168 h 176"/>
                <a:gd name="T74" fmla="*/ 132 w 164"/>
                <a:gd name="T75" fmla="*/ 172 h 176"/>
                <a:gd name="T76" fmla="*/ 133 w 164"/>
                <a:gd name="T77" fmla="*/ 168 h 176"/>
                <a:gd name="T78" fmla="*/ 130 w 164"/>
                <a:gd name="T79" fmla="*/ 154 h 176"/>
                <a:gd name="T80" fmla="*/ 136 w 164"/>
                <a:gd name="T81" fmla="*/ 150 h 176"/>
                <a:gd name="T82" fmla="*/ 142 w 164"/>
                <a:gd name="T83" fmla="*/ 140 h 176"/>
                <a:gd name="T84" fmla="*/ 131 w 164"/>
                <a:gd name="T85" fmla="*/ 129 h 176"/>
                <a:gd name="T86" fmla="*/ 121 w 164"/>
                <a:gd name="T87" fmla="*/ 124 h 176"/>
                <a:gd name="T88" fmla="*/ 118 w 164"/>
                <a:gd name="T89" fmla="*/ 114 h 176"/>
                <a:gd name="T90" fmla="*/ 115 w 164"/>
                <a:gd name="T91" fmla="*/ 107 h 176"/>
                <a:gd name="T92" fmla="*/ 128 w 164"/>
                <a:gd name="T93" fmla="*/ 102 h 176"/>
                <a:gd name="T94" fmla="*/ 134 w 164"/>
                <a:gd name="T95" fmla="*/ 97 h 176"/>
                <a:gd name="T96" fmla="*/ 146 w 164"/>
                <a:gd name="T97" fmla="*/ 92 h 176"/>
                <a:gd name="T98" fmla="*/ 151 w 164"/>
                <a:gd name="T99" fmla="*/ 88 h 176"/>
                <a:gd name="T100" fmla="*/ 156 w 164"/>
                <a:gd name="T101" fmla="*/ 90 h 176"/>
                <a:gd name="T102" fmla="*/ 164 w 164"/>
                <a:gd name="T103" fmla="*/ 88 h 176"/>
                <a:gd name="T104" fmla="*/ 155 w 164"/>
                <a:gd name="T105" fmla="*/ 73 h 176"/>
                <a:gd name="T106" fmla="*/ 156 w 164"/>
                <a:gd name="T107" fmla="*/ 66 h 176"/>
                <a:gd name="T108" fmla="*/ 150 w 164"/>
                <a:gd name="T109" fmla="*/ 54 h 176"/>
                <a:gd name="T110" fmla="*/ 143 w 164"/>
                <a:gd name="T111" fmla="*/ 45 h 176"/>
                <a:gd name="T112" fmla="*/ 147 w 164"/>
                <a:gd name="T113" fmla="*/ 40 h 176"/>
                <a:gd name="T114" fmla="*/ 142 w 164"/>
                <a:gd name="T115" fmla="*/ 27 h 176"/>
                <a:gd name="T116" fmla="*/ 142 w 164"/>
                <a:gd name="T117" fmla="*/ 27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64" h="176">
                  <a:moveTo>
                    <a:pt x="142" y="27"/>
                  </a:moveTo>
                  <a:lnTo>
                    <a:pt x="133" y="21"/>
                  </a:lnTo>
                  <a:lnTo>
                    <a:pt x="113" y="12"/>
                  </a:lnTo>
                  <a:lnTo>
                    <a:pt x="103" y="18"/>
                  </a:lnTo>
                  <a:lnTo>
                    <a:pt x="86" y="22"/>
                  </a:lnTo>
                  <a:lnTo>
                    <a:pt x="86" y="14"/>
                  </a:lnTo>
                  <a:lnTo>
                    <a:pt x="67" y="9"/>
                  </a:lnTo>
                  <a:lnTo>
                    <a:pt x="66" y="0"/>
                  </a:lnTo>
                  <a:lnTo>
                    <a:pt x="55" y="4"/>
                  </a:lnTo>
                  <a:lnTo>
                    <a:pt x="42" y="0"/>
                  </a:lnTo>
                  <a:lnTo>
                    <a:pt x="43" y="13"/>
                  </a:lnTo>
                  <a:lnTo>
                    <a:pt x="47" y="22"/>
                  </a:lnTo>
                  <a:lnTo>
                    <a:pt x="36" y="33"/>
                  </a:lnTo>
                  <a:lnTo>
                    <a:pt x="32" y="28"/>
                  </a:lnTo>
                  <a:lnTo>
                    <a:pt x="18" y="29"/>
                  </a:lnTo>
                  <a:lnTo>
                    <a:pt x="15" y="34"/>
                  </a:lnTo>
                  <a:lnTo>
                    <a:pt x="18" y="42"/>
                  </a:lnTo>
                  <a:lnTo>
                    <a:pt x="15" y="62"/>
                  </a:lnTo>
                  <a:lnTo>
                    <a:pt x="11" y="71"/>
                  </a:lnTo>
                  <a:lnTo>
                    <a:pt x="0" y="71"/>
                  </a:lnTo>
                  <a:lnTo>
                    <a:pt x="4" y="95"/>
                  </a:lnTo>
                  <a:lnTo>
                    <a:pt x="3" y="111"/>
                  </a:lnTo>
                  <a:lnTo>
                    <a:pt x="6" y="116"/>
                  </a:lnTo>
                  <a:lnTo>
                    <a:pt x="5" y="126"/>
                  </a:lnTo>
                  <a:lnTo>
                    <a:pt x="15" y="132"/>
                  </a:lnTo>
                  <a:lnTo>
                    <a:pt x="41" y="137"/>
                  </a:lnTo>
                  <a:lnTo>
                    <a:pt x="32" y="152"/>
                  </a:lnTo>
                  <a:lnTo>
                    <a:pt x="31" y="168"/>
                  </a:lnTo>
                  <a:lnTo>
                    <a:pt x="46" y="168"/>
                  </a:lnTo>
                  <a:lnTo>
                    <a:pt x="50" y="164"/>
                  </a:lnTo>
                  <a:lnTo>
                    <a:pt x="70" y="170"/>
                  </a:lnTo>
                  <a:lnTo>
                    <a:pt x="75" y="169"/>
                  </a:lnTo>
                  <a:lnTo>
                    <a:pt x="86" y="176"/>
                  </a:lnTo>
                  <a:lnTo>
                    <a:pt x="88" y="170"/>
                  </a:lnTo>
                  <a:lnTo>
                    <a:pt x="104" y="171"/>
                  </a:lnTo>
                  <a:lnTo>
                    <a:pt x="117" y="167"/>
                  </a:lnTo>
                  <a:lnTo>
                    <a:pt x="126" y="168"/>
                  </a:lnTo>
                  <a:lnTo>
                    <a:pt x="132" y="172"/>
                  </a:lnTo>
                  <a:lnTo>
                    <a:pt x="133" y="168"/>
                  </a:lnTo>
                  <a:lnTo>
                    <a:pt x="130" y="154"/>
                  </a:lnTo>
                  <a:lnTo>
                    <a:pt x="136" y="150"/>
                  </a:lnTo>
                  <a:lnTo>
                    <a:pt x="142" y="140"/>
                  </a:lnTo>
                  <a:lnTo>
                    <a:pt x="131" y="129"/>
                  </a:lnTo>
                  <a:lnTo>
                    <a:pt x="121" y="124"/>
                  </a:lnTo>
                  <a:lnTo>
                    <a:pt x="118" y="114"/>
                  </a:lnTo>
                  <a:lnTo>
                    <a:pt x="115" y="107"/>
                  </a:lnTo>
                  <a:lnTo>
                    <a:pt x="128" y="102"/>
                  </a:lnTo>
                  <a:lnTo>
                    <a:pt x="134" y="97"/>
                  </a:lnTo>
                  <a:lnTo>
                    <a:pt x="146" y="92"/>
                  </a:lnTo>
                  <a:lnTo>
                    <a:pt x="151" y="88"/>
                  </a:lnTo>
                  <a:lnTo>
                    <a:pt x="156" y="90"/>
                  </a:lnTo>
                  <a:lnTo>
                    <a:pt x="164" y="88"/>
                  </a:lnTo>
                  <a:lnTo>
                    <a:pt x="155" y="73"/>
                  </a:lnTo>
                  <a:lnTo>
                    <a:pt x="156" y="66"/>
                  </a:lnTo>
                  <a:lnTo>
                    <a:pt x="150" y="54"/>
                  </a:lnTo>
                  <a:lnTo>
                    <a:pt x="143" y="45"/>
                  </a:lnTo>
                  <a:lnTo>
                    <a:pt x="147" y="40"/>
                  </a:lnTo>
                  <a:lnTo>
                    <a:pt x="142" y="27"/>
                  </a:lnTo>
                  <a:lnTo>
                    <a:pt x="142" y="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2" name="Djibouti">
              <a:extLst>
                <a:ext uri="{FF2B5EF4-FFF2-40B4-BE49-F238E27FC236}">
                  <a16:creationId xmlns:a16="http://schemas.microsoft.com/office/drawing/2014/main" id="{81AC3D76-DB29-4B10-BCE9-3F61CADB1E6E}"/>
                </a:ext>
              </a:extLst>
            </p:cNvPr>
            <p:cNvSpPr>
              <a:spLocks/>
            </p:cNvSpPr>
            <p:nvPr/>
          </p:nvSpPr>
          <p:spPr bwMode="auto">
            <a:xfrm>
              <a:off x="7376319" y="3584348"/>
              <a:ext cx="52387" cy="65088"/>
            </a:xfrm>
            <a:custGeom>
              <a:avLst/>
              <a:gdLst>
                <a:gd name="T0" fmla="*/ 30 w 33"/>
                <a:gd name="T1" fmla="*/ 29 h 41"/>
                <a:gd name="T2" fmla="*/ 21 w 33"/>
                <a:gd name="T3" fmla="*/ 22 h 41"/>
                <a:gd name="T4" fmla="*/ 33 w 33"/>
                <a:gd name="T5" fmla="*/ 17 h 41"/>
                <a:gd name="T6" fmla="*/ 33 w 33"/>
                <a:gd name="T7" fmla="*/ 6 h 41"/>
                <a:gd name="T8" fmla="*/ 28 w 33"/>
                <a:gd name="T9" fmla="*/ 0 h 41"/>
                <a:gd name="T10" fmla="*/ 22 w 33"/>
                <a:gd name="T11" fmla="*/ 5 h 41"/>
                <a:gd name="T12" fmla="*/ 13 w 33"/>
                <a:gd name="T13" fmla="*/ 3 h 41"/>
                <a:gd name="T14" fmla="*/ 6 w 33"/>
                <a:gd name="T15" fmla="*/ 14 h 41"/>
                <a:gd name="T16" fmla="*/ 0 w 33"/>
                <a:gd name="T17" fmla="*/ 25 h 41"/>
                <a:gd name="T18" fmla="*/ 2 w 33"/>
                <a:gd name="T19" fmla="*/ 31 h 41"/>
                <a:gd name="T20" fmla="*/ 2 w 33"/>
                <a:gd name="T21" fmla="*/ 39 h 41"/>
                <a:gd name="T22" fmla="*/ 14 w 33"/>
                <a:gd name="T23" fmla="*/ 39 h 41"/>
                <a:gd name="T24" fmla="*/ 18 w 33"/>
                <a:gd name="T25" fmla="*/ 37 h 41"/>
                <a:gd name="T26" fmla="*/ 23 w 33"/>
                <a:gd name="T27" fmla="*/ 41 h 41"/>
                <a:gd name="T28" fmla="*/ 30 w 33"/>
                <a:gd name="T29" fmla="*/ 29 h 41"/>
                <a:gd name="T30" fmla="*/ 30 w 33"/>
                <a:gd name="T31" fmla="*/ 29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 h="41">
                  <a:moveTo>
                    <a:pt x="30" y="29"/>
                  </a:moveTo>
                  <a:lnTo>
                    <a:pt x="21" y="22"/>
                  </a:lnTo>
                  <a:lnTo>
                    <a:pt x="33" y="17"/>
                  </a:lnTo>
                  <a:lnTo>
                    <a:pt x="33" y="6"/>
                  </a:lnTo>
                  <a:lnTo>
                    <a:pt x="28" y="0"/>
                  </a:lnTo>
                  <a:lnTo>
                    <a:pt x="22" y="5"/>
                  </a:lnTo>
                  <a:lnTo>
                    <a:pt x="13" y="3"/>
                  </a:lnTo>
                  <a:lnTo>
                    <a:pt x="6" y="14"/>
                  </a:lnTo>
                  <a:lnTo>
                    <a:pt x="0" y="25"/>
                  </a:lnTo>
                  <a:lnTo>
                    <a:pt x="2" y="31"/>
                  </a:lnTo>
                  <a:lnTo>
                    <a:pt x="2" y="39"/>
                  </a:lnTo>
                  <a:lnTo>
                    <a:pt x="14" y="39"/>
                  </a:lnTo>
                  <a:lnTo>
                    <a:pt x="18" y="37"/>
                  </a:lnTo>
                  <a:lnTo>
                    <a:pt x="23" y="41"/>
                  </a:lnTo>
                  <a:lnTo>
                    <a:pt x="30" y="29"/>
                  </a:lnTo>
                  <a:lnTo>
                    <a:pt x="30"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3" name="Denmark">
              <a:extLst>
                <a:ext uri="{FF2B5EF4-FFF2-40B4-BE49-F238E27FC236}">
                  <a16:creationId xmlns:a16="http://schemas.microsoft.com/office/drawing/2014/main" id="{31F779F5-2D49-43E8-8A42-A029F05C1CBE}"/>
                </a:ext>
              </a:extLst>
            </p:cNvPr>
            <p:cNvSpPr>
              <a:spLocks noEditPoints="1"/>
            </p:cNvSpPr>
            <p:nvPr/>
          </p:nvSpPr>
          <p:spPr bwMode="auto">
            <a:xfrm>
              <a:off x="6217444" y="1906362"/>
              <a:ext cx="130175" cy="103188"/>
            </a:xfrm>
            <a:custGeom>
              <a:avLst/>
              <a:gdLst>
                <a:gd name="T0" fmla="*/ 82 w 82"/>
                <a:gd name="T1" fmla="*/ 47 h 65"/>
                <a:gd name="T2" fmla="*/ 75 w 82"/>
                <a:gd name="T3" fmla="*/ 36 h 65"/>
                <a:gd name="T4" fmla="*/ 50 w 82"/>
                <a:gd name="T5" fmla="*/ 44 h 65"/>
                <a:gd name="T6" fmla="*/ 54 w 82"/>
                <a:gd name="T7" fmla="*/ 53 h 65"/>
                <a:gd name="T8" fmla="*/ 72 w 82"/>
                <a:gd name="T9" fmla="*/ 65 h 65"/>
                <a:gd name="T10" fmla="*/ 82 w 82"/>
                <a:gd name="T11" fmla="*/ 47 h 65"/>
                <a:gd name="T12" fmla="*/ 82 w 82"/>
                <a:gd name="T13" fmla="*/ 47 h 65"/>
                <a:gd name="T14" fmla="*/ 49 w 82"/>
                <a:gd name="T15" fmla="*/ 28 h 65"/>
                <a:gd name="T16" fmla="*/ 40 w 82"/>
                <a:gd name="T17" fmla="*/ 25 h 65"/>
                <a:gd name="T18" fmla="*/ 37 w 82"/>
                <a:gd name="T19" fmla="*/ 18 h 65"/>
                <a:gd name="T20" fmla="*/ 42 w 82"/>
                <a:gd name="T21" fmla="*/ 11 h 65"/>
                <a:gd name="T22" fmla="*/ 42 w 82"/>
                <a:gd name="T23" fmla="*/ 0 h 65"/>
                <a:gd name="T24" fmla="*/ 28 w 82"/>
                <a:gd name="T25" fmla="*/ 6 h 65"/>
                <a:gd name="T26" fmla="*/ 22 w 82"/>
                <a:gd name="T27" fmla="*/ 13 h 65"/>
                <a:gd name="T28" fmla="*/ 7 w 82"/>
                <a:gd name="T29" fmla="*/ 14 h 65"/>
                <a:gd name="T30" fmla="*/ 3 w 82"/>
                <a:gd name="T31" fmla="*/ 20 h 65"/>
                <a:gd name="T32" fmla="*/ 0 w 82"/>
                <a:gd name="T33" fmla="*/ 26 h 65"/>
                <a:gd name="T34" fmla="*/ 1 w 82"/>
                <a:gd name="T35" fmla="*/ 49 h 65"/>
                <a:gd name="T36" fmla="*/ 10 w 82"/>
                <a:gd name="T37" fmla="*/ 61 h 65"/>
                <a:gd name="T38" fmla="*/ 23 w 82"/>
                <a:gd name="T39" fmla="*/ 65 h 65"/>
                <a:gd name="T40" fmla="*/ 34 w 82"/>
                <a:gd name="T41" fmla="*/ 61 h 65"/>
                <a:gd name="T42" fmla="*/ 28 w 82"/>
                <a:gd name="T43" fmla="*/ 50 h 65"/>
                <a:gd name="T44" fmla="*/ 41 w 82"/>
                <a:gd name="T45" fmla="*/ 34 h 65"/>
                <a:gd name="T46" fmla="*/ 45 w 82"/>
                <a:gd name="T47" fmla="*/ 37 h 65"/>
                <a:gd name="T48" fmla="*/ 49 w 82"/>
                <a:gd name="T49" fmla="*/ 28 h 65"/>
                <a:gd name="T50" fmla="*/ 49 w 82"/>
                <a:gd name="T51" fmla="*/ 28 h 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82" h="65">
                  <a:moveTo>
                    <a:pt x="82" y="47"/>
                  </a:moveTo>
                  <a:lnTo>
                    <a:pt x="75" y="36"/>
                  </a:lnTo>
                  <a:lnTo>
                    <a:pt x="50" y="44"/>
                  </a:lnTo>
                  <a:lnTo>
                    <a:pt x="54" y="53"/>
                  </a:lnTo>
                  <a:lnTo>
                    <a:pt x="72" y="65"/>
                  </a:lnTo>
                  <a:lnTo>
                    <a:pt x="82" y="47"/>
                  </a:lnTo>
                  <a:lnTo>
                    <a:pt x="82" y="47"/>
                  </a:lnTo>
                  <a:close/>
                  <a:moveTo>
                    <a:pt x="49" y="28"/>
                  </a:moveTo>
                  <a:lnTo>
                    <a:pt x="40" y="25"/>
                  </a:lnTo>
                  <a:lnTo>
                    <a:pt x="37" y="18"/>
                  </a:lnTo>
                  <a:lnTo>
                    <a:pt x="42" y="11"/>
                  </a:lnTo>
                  <a:lnTo>
                    <a:pt x="42" y="0"/>
                  </a:lnTo>
                  <a:lnTo>
                    <a:pt x="28" y="6"/>
                  </a:lnTo>
                  <a:lnTo>
                    <a:pt x="22" y="13"/>
                  </a:lnTo>
                  <a:lnTo>
                    <a:pt x="7" y="14"/>
                  </a:lnTo>
                  <a:lnTo>
                    <a:pt x="3" y="20"/>
                  </a:lnTo>
                  <a:lnTo>
                    <a:pt x="0" y="26"/>
                  </a:lnTo>
                  <a:lnTo>
                    <a:pt x="1" y="49"/>
                  </a:lnTo>
                  <a:lnTo>
                    <a:pt x="10" y="61"/>
                  </a:lnTo>
                  <a:lnTo>
                    <a:pt x="23" y="65"/>
                  </a:lnTo>
                  <a:lnTo>
                    <a:pt x="34" y="61"/>
                  </a:lnTo>
                  <a:lnTo>
                    <a:pt x="28" y="50"/>
                  </a:lnTo>
                  <a:lnTo>
                    <a:pt x="41" y="34"/>
                  </a:lnTo>
                  <a:lnTo>
                    <a:pt x="45" y="37"/>
                  </a:lnTo>
                  <a:lnTo>
                    <a:pt x="49" y="28"/>
                  </a:lnTo>
                  <a:lnTo>
                    <a:pt x="49" y="2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4" name="Dominican Republic">
              <a:extLst>
                <a:ext uri="{FF2B5EF4-FFF2-40B4-BE49-F238E27FC236}">
                  <a16:creationId xmlns:a16="http://schemas.microsoft.com/office/drawing/2014/main" id="{F98E3CA4-7A93-4FCD-A1DD-363E15439823}"/>
                </a:ext>
              </a:extLst>
            </p:cNvPr>
            <p:cNvSpPr>
              <a:spLocks/>
            </p:cNvSpPr>
            <p:nvPr/>
          </p:nvSpPr>
          <p:spPr bwMode="auto">
            <a:xfrm>
              <a:off x="3634581" y="3311298"/>
              <a:ext cx="120650" cy="87313"/>
            </a:xfrm>
            <a:custGeom>
              <a:avLst/>
              <a:gdLst>
                <a:gd name="T0" fmla="*/ 4 w 76"/>
                <a:gd name="T1" fmla="*/ 45 h 55"/>
                <a:gd name="T2" fmla="*/ 4 w 76"/>
                <a:gd name="T3" fmla="*/ 51 h 55"/>
                <a:gd name="T4" fmla="*/ 9 w 76"/>
                <a:gd name="T5" fmla="*/ 55 h 55"/>
                <a:gd name="T6" fmla="*/ 19 w 76"/>
                <a:gd name="T7" fmla="*/ 38 h 55"/>
                <a:gd name="T8" fmla="*/ 26 w 76"/>
                <a:gd name="T9" fmla="*/ 35 h 55"/>
                <a:gd name="T10" fmla="*/ 29 w 76"/>
                <a:gd name="T11" fmla="*/ 41 h 55"/>
                <a:gd name="T12" fmla="*/ 37 w 76"/>
                <a:gd name="T13" fmla="*/ 39 h 55"/>
                <a:gd name="T14" fmla="*/ 41 w 76"/>
                <a:gd name="T15" fmla="*/ 35 h 55"/>
                <a:gd name="T16" fmla="*/ 48 w 76"/>
                <a:gd name="T17" fmla="*/ 36 h 55"/>
                <a:gd name="T18" fmla="*/ 58 w 76"/>
                <a:gd name="T19" fmla="*/ 35 h 55"/>
                <a:gd name="T20" fmla="*/ 67 w 76"/>
                <a:gd name="T21" fmla="*/ 40 h 55"/>
                <a:gd name="T22" fmla="*/ 76 w 76"/>
                <a:gd name="T23" fmla="*/ 31 h 55"/>
                <a:gd name="T24" fmla="*/ 66 w 76"/>
                <a:gd name="T25" fmla="*/ 22 h 55"/>
                <a:gd name="T26" fmla="*/ 57 w 76"/>
                <a:gd name="T27" fmla="*/ 21 h 55"/>
                <a:gd name="T28" fmla="*/ 58 w 76"/>
                <a:gd name="T29" fmla="*/ 14 h 55"/>
                <a:gd name="T30" fmla="*/ 47 w 76"/>
                <a:gd name="T31" fmla="*/ 15 h 55"/>
                <a:gd name="T32" fmla="*/ 44 w 76"/>
                <a:gd name="T33" fmla="*/ 6 h 55"/>
                <a:gd name="T34" fmla="*/ 39 w 76"/>
                <a:gd name="T35" fmla="*/ 6 h 55"/>
                <a:gd name="T36" fmla="*/ 27 w 76"/>
                <a:gd name="T37" fmla="*/ 1 h 55"/>
                <a:gd name="T38" fmla="*/ 11 w 76"/>
                <a:gd name="T39" fmla="*/ 0 h 55"/>
                <a:gd name="T40" fmla="*/ 8 w 76"/>
                <a:gd name="T41" fmla="*/ 5 h 55"/>
                <a:gd name="T42" fmla="*/ 9 w 76"/>
                <a:gd name="T43" fmla="*/ 18 h 55"/>
                <a:gd name="T44" fmla="*/ 6 w 76"/>
                <a:gd name="T45" fmla="*/ 26 h 55"/>
                <a:gd name="T46" fmla="*/ 0 w 76"/>
                <a:gd name="T47" fmla="*/ 31 h 55"/>
                <a:gd name="T48" fmla="*/ 5 w 76"/>
                <a:gd name="T49" fmla="*/ 37 h 55"/>
                <a:gd name="T50" fmla="*/ 4 w 76"/>
                <a:gd name="T51" fmla="*/ 45 h 55"/>
                <a:gd name="T52" fmla="*/ 4 w 76"/>
                <a:gd name="T53" fmla="*/ 4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6" h="55">
                  <a:moveTo>
                    <a:pt x="4" y="45"/>
                  </a:moveTo>
                  <a:lnTo>
                    <a:pt x="4" y="51"/>
                  </a:lnTo>
                  <a:lnTo>
                    <a:pt x="9" y="55"/>
                  </a:lnTo>
                  <a:lnTo>
                    <a:pt x="19" y="38"/>
                  </a:lnTo>
                  <a:lnTo>
                    <a:pt x="26" y="35"/>
                  </a:lnTo>
                  <a:lnTo>
                    <a:pt x="29" y="41"/>
                  </a:lnTo>
                  <a:lnTo>
                    <a:pt x="37" y="39"/>
                  </a:lnTo>
                  <a:lnTo>
                    <a:pt x="41" y="35"/>
                  </a:lnTo>
                  <a:lnTo>
                    <a:pt x="48" y="36"/>
                  </a:lnTo>
                  <a:lnTo>
                    <a:pt x="58" y="35"/>
                  </a:lnTo>
                  <a:lnTo>
                    <a:pt x="67" y="40"/>
                  </a:lnTo>
                  <a:lnTo>
                    <a:pt x="76" y="31"/>
                  </a:lnTo>
                  <a:lnTo>
                    <a:pt x="66" y="22"/>
                  </a:lnTo>
                  <a:lnTo>
                    <a:pt x="57" y="21"/>
                  </a:lnTo>
                  <a:lnTo>
                    <a:pt x="58" y="14"/>
                  </a:lnTo>
                  <a:lnTo>
                    <a:pt x="47" y="15"/>
                  </a:lnTo>
                  <a:lnTo>
                    <a:pt x="44" y="6"/>
                  </a:lnTo>
                  <a:lnTo>
                    <a:pt x="39" y="6"/>
                  </a:lnTo>
                  <a:lnTo>
                    <a:pt x="27" y="1"/>
                  </a:lnTo>
                  <a:lnTo>
                    <a:pt x="11" y="0"/>
                  </a:lnTo>
                  <a:lnTo>
                    <a:pt x="8" y="5"/>
                  </a:lnTo>
                  <a:lnTo>
                    <a:pt x="9" y="18"/>
                  </a:lnTo>
                  <a:lnTo>
                    <a:pt x="6" y="26"/>
                  </a:lnTo>
                  <a:lnTo>
                    <a:pt x="0" y="31"/>
                  </a:lnTo>
                  <a:lnTo>
                    <a:pt x="5" y="37"/>
                  </a:lnTo>
                  <a:lnTo>
                    <a:pt x="4" y="45"/>
                  </a:lnTo>
                  <a:lnTo>
                    <a:pt x="4" y="4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5" name="Algeria">
              <a:extLst>
                <a:ext uri="{FF2B5EF4-FFF2-40B4-BE49-F238E27FC236}">
                  <a16:creationId xmlns:a16="http://schemas.microsoft.com/office/drawing/2014/main" id="{FC221E05-8B53-4696-A891-D9265BD3276E}"/>
                </a:ext>
              </a:extLst>
            </p:cNvPr>
            <p:cNvSpPr>
              <a:spLocks/>
            </p:cNvSpPr>
            <p:nvPr/>
          </p:nvSpPr>
          <p:spPr bwMode="auto">
            <a:xfrm>
              <a:off x="5715794" y="2660424"/>
              <a:ext cx="669925" cy="682625"/>
            </a:xfrm>
            <a:custGeom>
              <a:avLst/>
              <a:gdLst>
                <a:gd name="T0" fmla="*/ 342 w 422"/>
                <a:gd name="T1" fmla="*/ 5 h 430"/>
                <a:gd name="T2" fmla="*/ 329 w 422"/>
                <a:gd name="T3" fmla="*/ 6 h 430"/>
                <a:gd name="T4" fmla="*/ 320 w 422"/>
                <a:gd name="T5" fmla="*/ 0 h 430"/>
                <a:gd name="T6" fmla="*/ 299 w 422"/>
                <a:gd name="T7" fmla="*/ 0 h 430"/>
                <a:gd name="T8" fmla="*/ 281 w 422"/>
                <a:gd name="T9" fmla="*/ 10 h 430"/>
                <a:gd name="T10" fmla="*/ 271 w 422"/>
                <a:gd name="T11" fmla="*/ 7 h 430"/>
                <a:gd name="T12" fmla="*/ 238 w 422"/>
                <a:gd name="T13" fmla="*/ 8 h 430"/>
                <a:gd name="T14" fmla="*/ 205 w 422"/>
                <a:gd name="T15" fmla="*/ 12 h 430"/>
                <a:gd name="T16" fmla="*/ 187 w 422"/>
                <a:gd name="T17" fmla="*/ 20 h 430"/>
                <a:gd name="T18" fmla="*/ 174 w 422"/>
                <a:gd name="T19" fmla="*/ 30 h 430"/>
                <a:gd name="T20" fmla="*/ 152 w 422"/>
                <a:gd name="T21" fmla="*/ 35 h 430"/>
                <a:gd name="T22" fmla="*/ 133 w 422"/>
                <a:gd name="T23" fmla="*/ 48 h 430"/>
                <a:gd name="T24" fmla="*/ 141 w 422"/>
                <a:gd name="T25" fmla="*/ 63 h 430"/>
                <a:gd name="T26" fmla="*/ 142 w 422"/>
                <a:gd name="T27" fmla="*/ 78 h 430"/>
                <a:gd name="T28" fmla="*/ 148 w 422"/>
                <a:gd name="T29" fmla="*/ 102 h 430"/>
                <a:gd name="T30" fmla="*/ 154 w 422"/>
                <a:gd name="T31" fmla="*/ 107 h 430"/>
                <a:gd name="T32" fmla="*/ 150 w 422"/>
                <a:gd name="T33" fmla="*/ 117 h 430"/>
                <a:gd name="T34" fmla="*/ 124 w 422"/>
                <a:gd name="T35" fmla="*/ 120 h 430"/>
                <a:gd name="T36" fmla="*/ 115 w 422"/>
                <a:gd name="T37" fmla="*/ 130 h 430"/>
                <a:gd name="T38" fmla="*/ 103 w 422"/>
                <a:gd name="T39" fmla="*/ 132 h 430"/>
                <a:gd name="T40" fmla="*/ 102 w 422"/>
                <a:gd name="T41" fmla="*/ 148 h 430"/>
                <a:gd name="T42" fmla="*/ 78 w 422"/>
                <a:gd name="T43" fmla="*/ 158 h 430"/>
                <a:gd name="T44" fmla="*/ 71 w 422"/>
                <a:gd name="T45" fmla="*/ 170 h 430"/>
                <a:gd name="T46" fmla="*/ 54 w 422"/>
                <a:gd name="T47" fmla="*/ 177 h 430"/>
                <a:gd name="T48" fmla="*/ 34 w 422"/>
                <a:gd name="T49" fmla="*/ 180 h 430"/>
                <a:gd name="T50" fmla="*/ 1 w 422"/>
                <a:gd name="T51" fmla="*/ 198 h 430"/>
                <a:gd name="T52" fmla="*/ 0 w 422"/>
                <a:gd name="T53" fmla="*/ 226 h 430"/>
                <a:gd name="T54" fmla="*/ 0 w 422"/>
                <a:gd name="T55" fmla="*/ 227 h 430"/>
                <a:gd name="T56" fmla="*/ 0 w 422"/>
                <a:gd name="T57" fmla="*/ 232 h 430"/>
                <a:gd name="T58" fmla="*/ 76 w 422"/>
                <a:gd name="T59" fmla="*/ 289 h 430"/>
                <a:gd name="T60" fmla="*/ 145 w 422"/>
                <a:gd name="T61" fmla="*/ 342 h 430"/>
                <a:gd name="T62" fmla="*/ 214 w 422"/>
                <a:gd name="T63" fmla="*/ 393 h 430"/>
                <a:gd name="T64" fmla="*/ 218 w 422"/>
                <a:gd name="T65" fmla="*/ 404 h 430"/>
                <a:gd name="T66" fmla="*/ 232 w 422"/>
                <a:gd name="T67" fmla="*/ 411 h 430"/>
                <a:gd name="T68" fmla="*/ 241 w 422"/>
                <a:gd name="T69" fmla="*/ 416 h 430"/>
                <a:gd name="T70" fmla="*/ 242 w 422"/>
                <a:gd name="T71" fmla="*/ 430 h 430"/>
                <a:gd name="T72" fmla="*/ 264 w 422"/>
                <a:gd name="T73" fmla="*/ 428 h 430"/>
                <a:gd name="T74" fmla="*/ 293 w 422"/>
                <a:gd name="T75" fmla="*/ 417 h 430"/>
                <a:gd name="T76" fmla="*/ 353 w 422"/>
                <a:gd name="T77" fmla="*/ 371 h 430"/>
                <a:gd name="T78" fmla="*/ 422 w 422"/>
                <a:gd name="T79" fmla="*/ 325 h 430"/>
                <a:gd name="T80" fmla="*/ 413 w 422"/>
                <a:gd name="T81" fmla="*/ 310 h 430"/>
                <a:gd name="T82" fmla="*/ 397 w 422"/>
                <a:gd name="T83" fmla="*/ 300 h 430"/>
                <a:gd name="T84" fmla="*/ 387 w 422"/>
                <a:gd name="T85" fmla="*/ 303 h 430"/>
                <a:gd name="T86" fmla="*/ 379 w 422"/>
                <a:gd name="T87" fmla="*/ 290 h 430"/>
                <a:gd name="T88" fmla="*/ 379 w 422"/>
                <a:gd name="T89" fmla="*/ 280 h 430"/>
                <a:gd name="T90" fmla="*/ 366 w 422"/>
                <a:gd name="T91" fmla="*/ 262 h 430"/>
                <a:gd name="T92" fmla="*/ 373 w 422"/>
                <a:gd name="T93" fmla="*/ 253 h 430"/>
                <a:gd name="T94" fmla="*/ 372 w 422"/>
                <a:gd name="T95" fmla="*/ 238 h 430"/>
                <a:gd name="T96" fmla="*/ 374 w 422"/>
                <a:gd name="T97" fmla="*/ 225 h 430"/>
                <a:gd name="T98" fmla="*/ 373 w 422"/>
                <a:gd name="T99" fmla="*/ 214 h 430"/>
                <a:gd name="T100" fmla="*/ 375 w 422"/>
                <a:gd name="T101" fmla="*/ 195 h 430"/>
                <a:gd name="T102" fmla="*/ 374 w 422"/>
                <a:gd name="T103" fmla="*/ 184 h 430"/>
                <a:gd name="T104" fmla="*/ 367 w 422"/>
                <a:gd name="T105" fmla="*/ 162 h 430"/>
                <a:gd name="T106" fmla="*/ 358 w 422"/>
                <a:gd name="T107" fmla="*/ 120 h 430"/>
                <a:gd name="T108" fmla="*/ 344 w 422"/>
                <a:gd name="T109" fmla="*/ 111 h 430"/>
                <a:gd name="T110" fmla="*/ 344 w 422"/>
                <a:gd name="T111" fmla="*/ 106 h 430"/>
                <a:gd name="T112" fmla="*/ 328 w 422"/>
                <a:gd name="T113" fmla="*/ 91 h 430"/>
                <a:gd name="T114" fmla="*/ 326 w 422"/>
                <a:gd name="T115" fmla="*/ 73 h 430"/>
                <a:gd name="T116" fmla="*/ 338 w 422"/>
                <a:gd name="T117" fmla="*/ 60 h 430"/>
                <a:gd name="T118" fmla="*/ 342 w 422"/>
                <a:gd name="T119" fmla="*/ 40 h 430"/>
                <a:gd name="T120" fmla="*/ 338 w 422"/>
                <a:gd name="T121" fmla="*/ 17 h 430"/>
                <a:gd name="T122" fmla="*/ 342 w 422"/>
                <a:gd name="T123" fmla="*/ 5 h 430"/>
                <a:gd name="T124" fmla="*/ 342 w 422"/>
                <a:gd name="T125" fmla="*/ 5 h 4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22" h="430">
                  <a:moveTo>
                    <a:pt x="342" y="5"/>
                  </a:moveTo>
                  <a:lnTo>
                    <a:pt x="329" y="6"/>
                  </a:lnTo>
                  <a:lnTo>
                    <a:pt x="320" y="0"/>
                  </a:lnTo>
                  <a:lnTo>
                    <a:pt x="299" y="0"/>
                  </a:lnTo>
                  <a:lnTo>
                    <a:pt x="281" y="10"/>
                  </a:lnTo>
                  <a:lnTo>
                    <a:pt x="271" y="7"/>
                  </a:lnTo>
                  <a:lnTo>
                    <a:pt x="238" y="8"/>
                  </a:lnTo>
                  <a:lnTo>
                    <a:pt x="205" y="12"/>
                  </a:lnTo>
                  <a:lnTo>
                    <a:pt x="187" y="20"/>
                  </a:lnTo>
                  <a:lnTo>
                    <a:pt x="174" y="30"/>
                  </a:lnTo>
                  <a:lnTo>
                    <a:pt x="152" y="35"/>
                  </a:lnTo>
                  <a:lnTo>
                    <a:pt x="133" y="48"/>
                  </a:lnTo>
                  <a:lnTo>
                    <a:pt x="141" y="63"/>
                  </a:lnTo>
                  <a:lnTo>
                    <a:pt x="142" y="78"/>
                  </a:lnTo>
                  <a:lnTo>
                    <a:pt x="148" y="102"/>
                  </a:lnTo>
                  <a:lnTo>
                    <a:pt x="154" y="107"/>
                  </a:lnTo>
                  <a:lnTo>
                    <a:pt x="150" y="117"/>
                  </a:lnTo>
                  <a:lnTo>
                    <a:pt x="124" y="120"/>
                  </a:lnTo>
                  <a:lnTo>
                    <a:pt x="115" y="130"/>
                  </a:lnTo>
                  <a:lnTo>
                    <a:pt x="103" y="132"/>
                  </a:lnTo>
                  <a:lnTo>
                    <a:pt x="102" y="148"/>
                  </a:lnTo>
                  <a:lnTo>
                    <a:pt x="78" y="158"/>
                  </a:lnTo>
                  <a:lnTo>
                    <a:pt x="71" y="170"/>
                  </a:lnTo>
                  <a:lnTo>
                    <a:pt x="54" y="177"/>
                  </a:lnTo>
                  <a:lnTo>
                    <a:pt x="34" y="180"/>
                  </a:lnTo>
                  <a:lnTo>
                    <a:pt x="1" y="198"/>
                  </a:lnTo>
                  <a:lnTo>
                    <a:pt x="0" y="226"/>
                  </a:lnTo>
                  <a:lnTo>
                    <a:pt x="0" y="227"/>
                  </a:lnTo>
                  <a:lnTo>
                    <a:pt x="0" y="232"/>
                  </a:lnTo>
                  <a:lnTo>
                    <a:pt x="76" y="289"/>
                  </a:lnTo>
                  <a:lnTo>
                    <a:pt x="145" y="342"/>
                  </a:lnTo>
                  <a:lnTo>
                    <a:pt x="214" y="393"/>
                  </a:lnTo>
                  <a:lnTo>
                    <a:pt x="218" y="404"/>
                  </a:lnTo>
                  <a:lnTo>
                    <a:pt x="232" y="411"/>
                  </a:lnTo>
                  <a:lnTo>
                    <a:pt x="241" y="416"/>
                  </a:lnTo>
                  <a:lnTo>
                    <a:pt x="242" y="430"/>
                  </a:lnTo>
                  <a:lnTo>
                    <a:pt x="264" y="428"/>
                  </a:lnTo>
                  <a:lnTo>
                    <a:pt x="293" y="417"/>
                  </a:lnTo>
                  <a:lnTo>
                    <a:pt x="353" y="371"/>
                  </a:lnTo>
                  <a:lnTo>
                    <a:pt x="422" y="325"/>
                  </a:lnTo>
                  <a:lnTo>
                    <a:pt x="413" y="310"/>
                  </a:lnTo>
                  <a:lnTo>
                    <a:pt x="397" y="300"/>
                  </a:lnTo>
                  <a:lnTo>
                    <a:pt x="387" y="303"/>
                  </a:lnTo>
                  <a:lnTo>
                    <a:pt x="379" y="290"/>
                  </a:lnTo>
                  <a:lnTo>
                    <a:pt x="379" y="280"/>
                  </a:lnTo>
                  <a:lnTo>
                    <a:pt x="366" y="262"/>
                  </a:lnTo>
                  <a:lnTo>
                    <a:pt x="373" y="253"/>
                  </a:lnTo>
                  <a:lnTo>
                    <a:pt x="372" y="238"/>
                  </a:lnTo>
                  <a:lnTo>
                    <a:pt x="374" y="225"/>
                  </a:lnTo>
                  <a:lnTo>
                    <a:pt x="373" y="214"/>
                  </a:lnTo>
                  <a:lnTo>
                    <a:pt x="375" y="195"/>
                  </a:lnTo>
                  <a:lnTo>
                    <a:pt x="374" y="184"/>
                  </a:lnTo>
                  <a:lnTo>
                    <a:pt x="367" y="162"/>
                  </a:lnTo>
                  <a:lnTo>
                    <a:pt x="358" y="120"/>
                  </a:lnTo>
                  <a:lnTo>
                    <a:pt x="344" y="111"/>
                  </a:lnTo>
                  <a:lnTo>
                    <a:pt x="344" y="106"/>
                  </a:lnTo>
                  <a:lnTo>
                    <a:pt x="328" y="91"/>
                  </a:lnTo>
                  <a:lnTo>
                    <a:pt x="326" y="73"/>
                  </a:lnTo>
                  <a:lnTo>
                    <a:pt x="338" y="60"/>
                  </a:lnTo>
                  <a:lnTo>
                    <a:pt x="342" y="40"/>
                  </a:lnTo>
                  <a:lnTo>
                    <a:pt x="338" y="17"/>
                  </a:lnTo>
                  <a:lnTo>
                    <a:pt x="342" y="5"/>
                  </a:lnTo>
                  <a:lnTo>
                    <a:pt x="342"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6" name="Ecuador">
              <a:extLst>
                <a:ext uri="{FF2B5EF4-FFF2-40B4-BE49-F238E27FC236}">
                  <a16:creationId xmlns:a16="http://schemas.microsoft.com/office/drawing/2014/main" id="{18EEB711-60BD-4D40-83BB-E7DCEF979EF0}"/>
                </a:ext>
              </a:extLst>
            </p:cNvPr>
            <p:cNvSpPr>
              <a:spLocks/>
            </p:cNvSpPr>
            <p:nvPr/>
          </p:nvSpPr>
          <p:spPr bwMode="auto">
            <a:xfrm>
              <a:off x="3298031" y="4011386"/>
              <a:ext cx="192087" cy="238125"/>
            </a:xfrm>
            <a:custGeom>
              <a:avLst/>
              <a:gdLst>
                <a:gd name="T0" fmla="*/ 117 w 121"/>
                <a:gd name="T1" fmla="*/ 35 h 150"/>
                <a:gd name="T2" fmla="*/ 108 w 121"/>
                <a:gd name="T3" fmla="*/ 29 h 150"/>
                <a:gd name="T4" fmla="*/ 98 w 121"/>
                <a:gd name="T5" fmla="*/ 22 h 150"/>
                <a:gd name="T6" fmla="*/ 92 w 121"/>
                <a:gd name="T7" fmla="*/ 26 h 150"/>
                <a:gd name="T8" fmla="*/ 74 w 121"/>
                <a:gd name="T9" fmla="*/ 22 h 150"/>
                <a:gd name="T10" fmla="*/ 69 w 121"/>
                <a:gd name="T11" fmla="*/ 13 h 150"/>
                <a:gd name="T12" fmla="*/ 66 w 121"/>
                <a:gd name="T13" fmla="*/ 13 h 150"/>
                <a:gd name="T14" fmla="*/ 44 w 121"/>
                <a:gd name="T15" fmla="*/ 0 h 150"/>
                <a:gd name="T16" fmla="*/ 30 w 121"/>
                <a:gd name="T17" fmla="*/ 9 h 150"/>
                <a:gd name="T18" fmla="*/ 18 w 121"/>
                <a:gd name="T19" fmla="*/ 14 h 150"/>
                <a:gd name="T20" fmla="*/ 20 w 121"/>
                <a:gd name="T21" fmla="*/ 24 h 150"/>
                <a:gd name="T22" fmla="*/ 11 w 121"/>
                <a:gd name="T23" fmla="*/ 39 h 150"/>
                <a:gd name="T24" fmla="*/ 8 w 121"/>
                <a:gd name="T25" fmla="*/ 54 h 150"/>
                <a:gd name="T26" fmla="*/ 1 w 121"/>
                <a:gd name="T27" fmla="*/ 58 h 150"/>
                <a:gd name="T28" fmla="*/ 5 w 121"/>
                <a:gd name="T29" fmla="*/ 79 h 150"/>
                <a:gd name="T30" fmla="*/ 0 w 121"/>
                <a:gd name="T31" fmla="*/ 86 h 150"/>
                <a:gd name="T32" fmla="*/ 13 w 121"/>
                <a:gd name="T33" fmla="*/ 96 h 150"/>
                <a:gd name="T34" fmla="*/ 21 w 121"/>
                <a:gd name="T35" fmla="*/ 85 h 150"/>
                <a:gd name="T36" fmla="*/ 25 w 121"/>
                <a:gd name="T37" fmla="*/ 95 h 150"/>
                <a:gd name="T38" fmla="*/ 15 w 121"/>
                <a:gd name="T39" fmla="*/ 113 h 150"/>
                <a:gd name="T40" fmla="*/ 18 w 121"/>
                <a:gd name="T41" fmla="*/ 123 h 150"/>
                <a:gd name="T42" fmla="*/ 12 w 121"/>
                <a:gd name="T43" fmla="*/ 128 h 150"/>
                <a:gd name="T44" fmla="*/ 12 w 121"/>
                <a:gd name="T45" fmla="*/ 137 h 150"/>
                <a:gd name="T46" fmla="*/ 22 w 121"/>
                <a:gd name="T47" fmla="*/ 135 h 150"/>
                <a:gd name="T48" fmla="*/ 30 w 121"/>
                <a:gd name="T49" fmla="*/ 138 h 150"/>
                <a:gd name="T50" fmla="*/ 39 w 121"/>
                <a:gd name="T51" fmla="*/ 150 h 150"/>
                <a:gd name="T52" fmla="*/ 51 w 121"/>
                <a:gd name="T53" fmla="*/ 140 h 150"/>
                <a:gd name="T54" fmla="*/ 54 w 121"/>
                <a:gd name="T55" fmla="*/ 124 h 150"/>
                <a:gd name="T56" fmla="*/ 66 w 121"/>
                <a:gd name="T57" fmla="*/ 103 h 150"/>
                <a:gd name="T58" fmla="*/ 92 w 121"/>
                <a:gd name="T59" fmla="*/ 94 h 150"/>
                <a:gd name="T60" fmla="*/ 114 w 121"/>
                <a:gd name="T61" fmla="*/ 69 h 150"/>
                <a:gd name="T62" fmla="*/ 121 w 121"/>
                <a:gd name="T63" fmla="*/ 54 h 150"/>
                <a:gd name="T64" fmla="*/ 117 w 121"/>
                <a:gd name="T65" fmla="*/ 35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1" h="150">
                  <a:moveTo>
                    <a:pt x="117" y="35"/>
                  </a:moveTo>
                  <a:lnTo>
                    <a:pt x="108" y="29"/>
                  </a:lnTo>
                  <a:lnTo>
                    <a:pt x="98" y="22"/>
                  </a:lnTo>
                  <a:lnTo>
                    <a:pt x="92" y="26"/>
                  </a:lnTo>
                  <a:lnTo>
                    <a:pt x="74" y="22"/>
                  </a:lnTo>
                  <a:lnTo>
                    <a:pt x="69" y="13"/>
                  </a:lnTo>
                  <a:lnTo>
                    <a:pt x="66" y="13"/>
                  </a:lnTo>
                  <a:lnTo>
                    <a:pt x="44" y="0"/>
                  </a:lnTo>
                  <a:lnTo>
                    <a:pt x="30" y="9"/>
                  </a:lnTo>
                  <a:lnTo>
                    <a:pt x="18" y="14"/>
                  </a:lnTo>
                  <a:lnTo>
                    <a:pt x="20" y="24"/>
                  </a:lnTo>
                  <a:lnTo>
                    <a:pt x="11" y="39"/>
                  </a:lnTo>
                  <a:lnTo>
                    <a:pt x="8" y="54"/>
                  </a:lnTo>
                  <a:lnTo>
                    <a:pt x="1" y="58"/>
                  </a:lnTo>
                  <a:lnTo>
                    <a:pt x="5" y="79"/>
                  </a:lnTo>
                  <a:lnTo>
                    <a:pt x="0" y="86"/>
                  </a:lnTo>
                  <a:lnTo>
                    <a:pt x="13" y="96"/>
                  </a:lnTo>
                  <a:lnTo>
                    <a:pt x="21" y="85"/>
                  </a:lnTo>
                  <a:lnTo>
                    <a:pt x="25" y="95"/>
                  </a:lnTo>
                  <a:lnTo>
                    <a:pt x="15" y="113"/>
                  </a:lnTo>
                  <a:lnTo>
                    <a:pt x="18" y="123"/>
                  </a:lnTo>
                  <a:lnTo>
                    <a:pt x="12" y="128"/>
                  </a:lnTo>
                  <a:lnTo>
                    <a:pt x="12" y="137"/>
                  </a:lnTo>
                  <a:lnTo>
                    <a:pt x="22" y="135"/>
                  </a:lnTo>
                  <a:lnTo>
                    <a:pt x="30" y="138"/>
                  </a:lnTo>
                  <a:lnTo>
                    <a:pt x="39" y="150"/>
                  </a:lnTo>
                  <a:lnTo>
                    <a:pt x="51" y="140"/>
                  </a:lnTo>
                  <a:lnTo>
                    <a:pt x="54" y="124"/>
                  </a:lnTo>
                  <a:lnTo>
                    <a:pt x="66" y="103"/>
                  </a:lnTo>
                  <a:lnTo>
                    <a:pt x="92" y="94"/>
                  </a:lnTo>
                  <a:lnTo>
                    <a:pt x="114" y="69"/>
                  </a:lnTo>
                  <a:lnTo>
                    <a:pt x="121" y="54"/>
                  </a:lnTo>
                  <a:lnTo>
                    <a:pt x="117" y="3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7" name="Egypt">
              <a:extLst>
                <a:ext uri="{FF2B5EF4-FFF2-40B4-BE49-F238E27FC236}">
                  <a16:creationId xmlns:a16="http://schemas.microsoft.com/office/drawing/2014/main" id="{0F28E689-B31D-400D-A535-1A845F28696A}"/>
                </a:ext>
              </a:extLst>
            </p:cNvPr>
            <p:cNvSpPr>
              <a:spLocks/>
            </p:cNvSpPr>
            <p:nvPr/>
          </p:nvSpPr>
          <p:spPr bwMode="auto">
            <a:xfrm>
              <a:off x="6785769" y="2871562"/>
              <a:ext cx="412750" cy="360363"/>
            </a:xfrm>
            <a:custGeom>
              <a:avLst/>
              <a:gdLst>
                <a:gd name="T0" fmla="*/ 74 w 260"/>
                <a:gd name="T1" fmla="*/ 13 h 227"/>
                <a:gd name="T2" fmla="*/ 53 w 260"/>
                <a:gd name="T3" fmla="*/ 6 h 227"/>
                <a:gd name="T4" fmla="*/ 34 w 260"/>
                <a:gd name="T5" fmla="*/ 0 h 227"/>
                <a:gd name="T6" fmla="*/ 7 w 260"/>
                <a:gd name="T7" fmla="*/ 1 h 227"/>
                <a:gd name="T8" fmla="*/ 0 w 260"/>
                <a:gd name="T9" fmla="*/ 12 h 227"/>
                <a:gd name="T10" fmla="*/ 4 w 260"/>
                <a:gd name="T11" fmla="*/ 21 h 227"/>
                <a:gd name="T12" fmla="*/ 0 w 260"/>
                <a:gd name="T13" fmla="*/ 36 h 227"/>
                <a:gd name="T14" fmla="*/ 8 w 260"/>
                <a:gd name="T15" fmla="*/ 55 h 227"/>
                <a:gd name="T16" fmla="*/ 12 w 260"/>
                <a:gd name="T17" fmla="*/ 140 h 227"/>
                <a:gd name="T18" fmla="*/ 16 w 260"/>
                <a:gd name="T19" fmla="*/ 227 h 227"/>
                <a:gd name="T20" fmla="*/ 98 w 260"/>
                <a:gd name="T21" fmla="*/ 227 h 227"/>
                <a:gd name="T22" fmla="*/ 178 w 260"/>
                <a:gd name="T23" fmla="*/ 227 h 227"/>
                <a:gd name="T24" fmla="*/ 260 w 260"/>
                <a:gd name="T25" fmla="*/ 227 h 227"/>
                <a:gd name="T26" fmla="*/ 256 w 260"/>
                <a:gd name="T27" fmla="*/ 223 h 227"/>
                <a:gd name="T28" fmla="*/ 231 w 260"/>
                <a:gd name="T29" fmla="*/ 201 h 227"/>
                <a:gd name="T30" fmla="*/ 229 w 260"/>
                <a:gd name="T31" fmla="*/ 185 h 227"/>
                <a:gd name="T32" fmla="*/ 233 w 260"/>
                <a:gd name="T33" fmla="*/ 182 h 227"/>
                <a:gd name="T34" fmla="*/ 213 w 260"/>
                <a:gd name="T35" fmla="*/ 156 h 227"/>
                <a:gd name="T36" fmla="*/ 205 w 260"/>
                <a:gd name="T37" fmla="*/ 142 h 227"/>
                <a:gd name="T38" fmla="*/ 197 w 260"/>
                <a:gd name="T39" fmla="*/ 128 h 227"/>
                <a:gd name="T40" fmla="*/ 179 w 260"/>
                <a:gd name="T41" fmla="*/ 92 h 227"/>
                <a:gd name="T42" fmla="*/ 164 w 260"/>
                <a:gd name="T43" fmla="*/ 68 h 227"/>
                <a:gd name="T44" fmla="*/ 154 w 260"/>
                <a:gd name="T45" fmla="*/ 43 h 227"/>
                <a:gd name="T46" fmla="*/ 156 w 260"/>
                <a:gd name="T47" fmla="*/ 41 h 227"/>
                <a:gd name="T48" fmla="*/ 173 w 260"/>
                <a:gd name="T49" fmla="*/ 74 h 227"/>
                <a:gd name="T50" fmla="*/ 183 w 260"/>
                <a:gd name="T51" fmla="*/ 86 h 227"/>
                <a:gd name="T52" fmla="*/ 191 w 260"/>
                <a:gd name="T53" fmla="*/ 93 h 227"/>
                <a:gd name="T54" fmla="*/ 195 w 260"/>
                <a:gd name="T55" fmla="*/ 88 h 227"/>
                <a:gd name="T56" fmla="*/ 200 w 260"/>
                <a:gd name="T57" fmla="*/ 76 h 227"/>
                <a:gd name="T58" fmla="*/ 202 w 260"/>
                <a:gd name="T59" fmla="*/ 58 h 227"/>
                <a:gd name="T60" fmla="*/ 207 w 260"/>
                <a:gd name="T61" fmla="*/ 49 h 227"/>
                <a:gd name="T62" fmla="*/ 205 w 260"/>
                <a:gd name="T63" fmla="*/ 43 h 227"/>
                <a:gd name="T64" fmla="*/ 190 w 260"/>
                <a:gd name="T65" fmla="*/ 8 h 227"/>
                <a:gd name="T66" fmla="*/ 190 w 260"/>
                <a:gd name="T67" fmla="*/ 8 h 227"/>
                <a:gd name="T68" fmla="*/ 180 w 260"/>
                <a:gd name="T69" fmla="*/ 15 h 227"/>
                <a:gd name="T70" fmla="*/ 164 w 260"/>
                <a:gd name="T71" fmla="*/ 13 h 227"/>
                <a:gd name="T72" fmla="*/ 149 w 260"/>
                <a:gd name="T73" fmla="*/ 7 h 227"/>
                <a:gd name="T74" fmla="*/ 144 w 260"/>
                <a:gd name="T75" fmla="*/ 15 h 227"/>
                <a:gd name="T76" fmla="*/ 138 w 260"/>
                <a:gd name="T77" fmla="*/ 3 h 227"/>
                <a:gd name="T78" fmla="*/ 123 w 260"/>
                <a:gd name="T79" fmla="*/ 1 h 227"/>
                <a:gd name="T80" fmla="*/ 106 w 260"/>
                <a:gd name="T81" fmla="*/ 2 h 227"/>
                <a:gd name="T82" fmla="*/ 98 w 260"/>
                <a:gd name="T83" fmla="*/ 9 h 227"/>
                <a:gd name="T84" fmla="*/ 83 w 260"/>
                <a:gd name="T85" fmla="*/ 16 h 227"/>
                <a:gd name="T86" fmla="*/ 74 w 260"/>
                <a:gd name="T87" fmla="*/ 13 h 227"/>
                <a:gd name="T88" fmla="*/ 74 w 260"/>
                <a:gd name="T89" fmla="*/ 1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0" h="227">
                  <a:moveTo>
                    <a:pt x="74" y="13"/>
                  </a:moveTo>
                  <a:lnTo>
                    <a:pt x="53" y="6"/>
                  </a:lnTo>
                  <a:lnTo>
                    <a:pt x="34" y="0"/>
                  </a:lnTo>
                  <a:lnTo>
                    <a:pt x="7" y="1"/>
                  </a:lnTo>
                  <a:lnTo>
                    <a:pt x="0" y="12"/>
                  </a:lnTo>
                  <a:lnTo>
                    <a:pt x="4" y="21"/>
                  </a:lnTo>
                  <a:lnTo>
                    <a:pt x="0" y="36"/>
                  </a:lnTo>
                  <a:lnTo>
                    <a:pt x="8" y="55"/>
                  </a:lnTo>
                  <a:lnTo>
                    <a:pt x="12" y="140"/>
                  </a:lnTo>
                  <a:lnTo>
                    <a:pt x="16" y="227"/>
                  </a:lnTo>
                  <a:lnTo>
                    <a:pt x="98" y="227"/>
                  </a:lnTo>
                  <a:lnTo>
                    <a:pt x="178" y="227"/>
                  </a:lnTo>
                  <a:lnTo>
                    <a:pt x="260" y="227"/>
                  </a:lnTo>
                  <a:lnTo>
                    <a:pt x="256" y="223"/>
                  </a:lnTo>
                  <a:lnTo>
                    <a:pt x="231" y="201"/>
                  </a:lnTo>
                  <a:lnTo>
                    <a:pt x="229" y="185"/>
                  </a:lnTo>
                  <a:lnTo>
                    <a:pt x="233" y="182"/>
                  </a:lnTo>
                  <a:lnTo>
                    <a:pt x="213" y="156"/>
                  </a:lnTo>
                  <a:lnTo>
                    <a:pt x="205" y="142"/>
                  </a:lnTo>
                  <a:lnTo>
                    <a:pt x="197" y="128"/>
                  </a:lnTo>
                  <a:lnTo>
                    <a:pt x="179" y="92"/>
                  </a:lnTo>
                  <a:lnTo>
                    <a:pt x="164" y="68"/>
                  </a:lnTo>
                  <a:lnTo>
                    <a:pt x="154" y="43"/>
                  </a:lnTo>
                  <a:lnTo>
                    <a:pt x="156" y="41"/>
                  </a:lnTo>
                  <a:lnTo>
                    <a:pt x="173" y="74"/>
                  </a:lnTo>
                  <a:lnTo>
                    <a:pt x="183" y="86"/>
                  </a:lnTo>
                  <a:lnTo>
                    <a:pt x="191" y="93"/>
                  </a:lnTo>
                  <a:lnTo>
                    <a:pt x="195" y="88"/>
                  </a:lnTo>
                  <a:lnTo>
                    <a:pt x="200" y="76"/>
                  </a:lnTo>
                  <a:lnTo>
                    <a:pt x="202" y="58"/>
                  </a:lnTo>
                  <a:lnTo>
                    <a:pt x="207" y="49"/>
                  </a:lnTo>
                  <a:lnTo>
                    <a:pt x="205" y="43"/>
                  </a:lnTo>
                  <a:lnTo>
                    <a:pt x="190" y="8"/>
                  </a:lnTo>
                  <a:lnTo>
                    <a:pt x="190" y="8"/>
                  </a:lnTo>
                  <a:lnTo>
                    <a:pt x="180" y="15"/>
                  </a:lnTo>
                  <a:lnTo>
                    <a:pt x="164" y="13"/>
                  </a:lnTo>
                  <a:lnTo>
                    <a:pt x="149" y="7"/>
                  </a:lnTo>
                  <a:lnTo>
                    <a:pt x="144" y="15"/>
                  </a:lnTo>
                  <a:lnTo>
                    <a:pt x="138" y="3"/>
                  </a:lnTo>
                  <a:lnTo>
                    <a:pt x="123" y="1"/>
                  </a:lnTo>
                  <a:lnTo>
                    <a:pt x="106" y="2"/>
                  </a:lnTo>
                  <a:lnTo>
                    <a:pt x="98" y="9"/>
                  </a:lnTo>
                  <a:lnTo>
                    <a:pt x="83" y="16"/>
                  </a:lnTo>
                  <a:lnTo>
                    <a:pt x="74" y="13"/>
                  </a:lnTo>
                  <a:lnTo>
                    <a:pt x="74"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8" name="Eritrea">
              <a:extLst>
                <a:ext uri="{FF2B5EF4-FFF2-40B4-BE49-F238E27FC236}">
                  <a16:creationId xmlns:a16="http://schemas.microsoft.com/office/drawing/2014/main" id="{E4D601CD-177A-46B0-983B-9A0FA95D1D20}"/>
                </a:ext>
              </a:extLst>
            </p:cNvPr>
            <p:cNvSpPr>
              <a:spLocks/>
            </p:cNvSpPr>
            <p:nvPr/>
          </p:nvSpPr>
          <p:spPr bwMode="auto">
            <a:xfrm>
              <a:off x="7195344" y="3384323"/>
              <a:ext cx="225425" cy="207963"/>
            </a:xfrm>
            <a:custGeom>
              <a:avLst/>
              <a:gdLst>
                <a:gd name="T0" fmla="*/ 71 w 142"/>
                <a:gd name="T1" fmla="*/ 60 h 131"/>
                <a:gd name="T2" fmla="*/ 60 w 142"/>
                <a:gd name="T3" fmla="*/ 49 h 131"/>
                <a:gd name="T4" fmla="*/ 52 w 142"/>
                <a:gd name="T5" fmla="*/ 27 h 131"/>
                <a:gd name="T6" fmla="*/ 39 w 142"/>
                <a:gd name="T7" fmla="*/ 0 h 131"/>
                <a:gd name="T8" fmla="*/ 29 w 142"/>
                <a:gd name="T9" fmla="*/ 13 h 131"/>
                <a:gd name="T10" fmla="*/ 14 w 142"/>
                <a:gd name="T11" fmla="*/ 16 h 131"/>
                <a:gd name="T12" fmla="*/ 8 w 142"/>
                <a:gd name="T13" fmla="*/ 24 h 131"/>
                <a:gd name="T14" fmla="*/ 6 w 142"/>
                <a:gd name="T15" fmla="*/ 40 h 131"/>
                <a:gd name="T16" fmla="*/ 0 w 142"/>
                <a:gd name="T17" fmla="*/ 75 h 131"/>
                <a:gd name="T18" fmla="*/ 2 w 142"/>
                <a:gd name="T19" fmla="*/ 85 h 131"/>
                <a:gd name="T20" fmla="*/ 26 w 142"/>
                <a:gd name="T21" fmla="*/ 89 h 131"/>
                <a:gd name="T22" fmla="*/ 32 w 142"/>
                <a:gd name="T23" fmla="*/ 72 h 131"/>
                <a:gd name="T24" fmla="*/ 45 w 142"/>
                <a:gd name="T25" fmla="*/ 83 h 131"/>
                <a:gd name="T26" fmla="*/ 57 w 142"/>
                <a:gd name="T27" fmla="*/ 77 h 131"/>
                <a:gd name="T28" fmla="*/ 62 w 142"/>
                <a:gd name="T29" fmla="*/ 82 h 131"/>
                <a:gd name="T30" fmla="*/ 76 w 142"/>
                <a:gd name="T31" fmla="*/ 82 h 131"/>
                <a:gd name="T32" fmla="*/ 95 w 142"/>
                <a:gd name="T33" fmla="*/ 91 h 131"/>
                <a:gd name="T34" fmla="*/ 101 w 142"/>
                <a:gd name="T35" fmla="*/ 100 h 131"/>
                <a:gd name="T36" fmla="*/ 110 w 142"/>
                <a:gd name="T37" fmla="*/ 107 h 131"/>
                <a:gd name="T38" fmla="*/ 119 w 142"/>
                <a:gd name="T39" fmla="*/ 121 h 131"/>
                <a:gd name="T40" fmla="*/ 127 w 142"/>
                <a:gd name="T41" fmla="*/ 129 h 131"/>
                <a:gd name="T42" fmla="*/ 136 w 142"/>
                <a:gd name="T43" fmla="*/ 131 h 131"/>
                <a:gd name="T44" fmla="*/ 142 w 142"/>
                <a:gd name="T45" fmla="*/ 126 h 131"/>
                <a:gd name="T46" fmla="*/ 131 w 142"/>
                <a:gd name="T47" fmla="*/ 118 h 131"/>
                <a:gd name="T48" fmla="*/ 125 w 142"/>
                <a:gd name="T49" fmla="*/ 110 h 131"/>
                <a:gd name="T50" fmla="*/ 113 w 142"/>
                <a:gd name="T51" fmla="*/ 96 h 131"/>
                <a:gd name="T52" fmla="*/ 101 w 142"/>
                <a:gd name="T53" fmla="*/ 83 h 131"/>
                <a:gd name="T54" fmla="*/ 71 w 142"/>
                <a:gd name="T55" fmla="*/ 60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42" h="131">
                  <a:moveTo>
                    <a:pt x="71" y="60"/>
                  </a:moveTo>
                  <a:lnTo>
                    <a:pt x="60" y="49"/>
                  </a:lnTo>
                  <a:lnTo>
                    <a:pt x="52" y="27"/>
                  </a:lnTo>
                  <a:lnTo>
                    <a:pt x="39" y="0"/>
                  </a:lnTo>
                  <a:lnTo>
                    <a:pt x="29" y="13"/>
                  </a:lnTo>
                  <a:lnTo>
                    <a:pt x="14" y="16"/>
                  </a:lnTo>
                  <a:lnTo>
                    <a:pt x="8" y="24"/>
                  </a:lnTo>
                  <a:lnTo>
                    <a:pt x="6" y="40"/>
                  </a:lnTo>
                  <a:lnTo>
                    <a:pt x="0" y="75"/>
                  </a:lnTo>
                  <a:lnTo>
                    <a:pt x="2" y="85"/>
                  </a:lnTo>
                  <a:lnTo>
                    <a:pt x="26" y="89"/>
                  </a:lnTo>
                  <a:lnTo>
                    <a:pt x="32" y="72"/>
                  </a:lnTo>
                  <a:lnTo>
                    <a:pt x="45" y="83"/>
                  </a:lnTo>
                  <a:lnTo>
                    <a:pt x="57" y="77"/>
                  </a:lnTo>
                  <a:lnTo>
                    <a:pt x="62" y="82"/>
                  </a:lnTo>
                  <a:lnTo>
                    <a:pt x="76" y="82"/>
                  </a:lnTo>
                  <a:lnTo>
                    <a:pt x="95" y="91"/>
                  </a:lnTo>
                  <a:lnTo>
                    <a:pt x="101" y="100"/>
                  </a:lnTo>
                  <a:lnTo>
                    <a:pt x="110" y="107"/>
                  </a:lnTo>
                  <a:lnTo>
                    <a:pt x="119" y="121"/>
                  </a:lnTo>
                  <a:lnTo>
                    <a:pt x="127" y="129"/>
                  </a:lnTo>
                  <a:lnTo>
                    <a:pt x="136" y="131"/>
                  </a:lnTo>
                  <a:lnTo>
                    <a:pt x="142" y="126"/>
                  </a:lnTo>
                  <a:lnTo>
                    <a:pt x="131" y="118"/>
                  </a:lnTo>
                  <a:lnTo>
                    <a:pt x="125" y="110"/>
                  </a:lnTo>
                  <a:lnTo>
                    <a:pt x="113" y="96"/>
                  </a:lnTo>
                  <a:lnTo>
                    <a:pt x="101" y="83"/>
                  </a:lnTo>
                  <a:lnTo>
                    <a:pt x="71"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49" name="Estonia">
              <a:extLst>
                <a:ext uri="{FF2B5EF4-FFF2-40B4-BE49-F238E27FC236}">
                  <a16:creationId xmlns:a16="http://schemas.microsoft.com/office/drawing/2014/main" id="{FD1739DE-FCB5-42D8-A170-FC7AFC788504}"/>
                </a:ext>
              </a:extLst>
            </p:cNvPr>
            <p:cNvSpPr>
              <a:spLocks/>
            </p:cNvSpPr>
            <p:nvPr/>
          </p:nvSpPr>
          <p:spPr bwMode="auto">
            <a:xfrm>
              <a:off x="6620669" y="1841274"/>
              <a:ext cx="128587" cy="73025"/>
            </a:xfrm>
            <a:custGeom>
              <a:avLst/>
              <a:gdLst>
                <a:gd name="T0" fmla="*/ 42 w 81"/>
                <a:gd name="T1" fmla="*/ 0 h 46"/>
                <a:gd name="T2" fmla="*/ 21 w 81"/>
                <a:gd name="T3" fmla="*/ 3 h 46"/>
                <a:gd name="T4" fmla="*/ 0 w 81"/>
                <a:gd name="T5" fmla="*/ 9 h 46"/>
                <a:gd name="T6" fmla="*/ 4 w 81"/>
                <a:gd name="T7" fmla="*/ 22 h 46"/>
                <a:gd name="T8" fmla="*/ 16 w 81"/>
                <a:gd name="T9" fmla="*/ 30 h 46"/>
                <a:gd name="T10" fmla="*/ 22 w 81"/>
                <a:gd name="T11" fmla="*/ 27 h 46"/>
                <a:gd name="T12" fmla="*/ 22 w 81"/>
                <a:gd name="T13" fmla="*/ 40 h 46"/>
                <a:gd name="T14" fmla="*/ 36 w 81"/>
                <a:gd name="T15" fmla="*/ 36 h 46"/>
                <a:gd name="T16" fmla="*/ 44 w 81"/>
                <a:gd name="T17" fmla="*/ 39 h 46"/>
                <a:gd name="T18" fmla="*/ 60 w 81"/>
                <a:gd name="T19" fmla="*/ 46 h 46"/>
                <a:gd name="T20" fmla="*/ 74 w 81"/>
                <a:gd name="T21" fmla="*/ 46 h 46"/>
                <a:gd name="T22" fmla="*/ 81 w 81"/>
                <a:gd name="T23" fmla="*/ 40 h 46"/>
                <a:gd name="T24" fmla="*/ 71 w 81"/>
                <a:gd name="T25" fmla="*/ 19 h 46"/>
                <a:gd name="T26" fmla="*/ 81 w 81"/>
                <a:gd name="T27" fmla="*/ 6 h 46"/>
                <a:gd name="T28" fmla="*/ 78 w 81"/>
                <a:gd name="T29" fmla="*/ 3 h 46"/>
                <a:gd name="T30" fmla="*/ 78 w 81"/>
                <a:gd name="T31" fmla="*/ 3 h 46"/>
                <a:gd name="T32" fmla="*/ 60 w 81"/>
                <a:gd name="T33" fmla="*/ 3 h 46"/>
                <a:gd name="T34" fmla="*/ 42 w 81"/>
                <a:gd name="T35"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81" h="46">
                  <a:moveTo>
                    <a:pt x="42" y="0"/>
                  </a:moveTo>
                  <a:lnTo>
                    <a:pt x="21" y="3"/>
                  </a:lnTo>
                  <a:lnTo>
                    <a:pt x="0" y="9"/>
                  </a:lnTo>
                  <a:lnTo>
                    <a:pt x="4" y="22"/>
                  </a:lnTo>
                  <a:lnTo>
                    <a:pt x="16" y="30"/>
                  </a:lnTo>
                  <a:lnTo>
                    <a:pt x="22" y="27"/>
                  </a:lnTo>
                  <a:lnTo>
                    <a:pt x="22" y="40"/>
                  </a:lnTo>
                  <a:lnTo>
                    <a:pt x="36" y="36"/>
                  </a:lnTo>
                  <a:lnTo>
                    <a:pt x="44" y="39"/>
                  </a:lnTo>
                  <a:lnTo>
                    <a:pt x="60" y="46"/>
                  </a:lnTo>
                  <a:lnTo>
                    <a:pt x="74" y="46"/>
                  </a:lnTo>
                  <a:lnTo>
                    <a:pt x="81" y="40"/>
                  </a:lnTo>
                  <a:lnTo>
                    <a:pt x="71" y="19"/>
                  </a:lnTo>
                  <a:lnTo>
                    <a:pt x="81" y="6"/>
                  </a:lnTo>
                  <a:lnTo>
                    <a:pt x="78" y="3"/>
                  </a:lnTo>
                  <a:lnTo>
                    <a:pt x="78" y="3"/>
                  </a:lnTo>
                  <a:lnTo>
                    <a:pt x="60" y="3"/>
                  </a:lnTo>
                  <a:lnTo>
                    <a:pt x="4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0" name="Ethipia">
              <a:extLst>
                <a:ext uri="{FF2B5EF4-FFF2-40B4-BE49-F238E27FC236}">
                  <a16:creationId xmlns:a16="http://schemas.microsoft.com/office/drawing/2014/main" id="{D8D03857-5481-441B-8F35-A2EA2C303AF6}"/>
                </a:ext>
              </a:extLst>
            </p:cNvPr>
            <p:cNvSpPr>
              <a:spLocks/>
            </p:cNvSpPr>
            <p:nvPr/>
          </p:nvSpPr>
          <p:spPr bwMode="auto">
            <a:xfrm>
              <a:off x="7090569" y="3498623"/>
              <a:ext cx="492125" cy="434975"/>
            </a:xfrm>
            <a:custGeom>
              <a:avLst/>
              <a:gdLst>
                <a:gd name="T0" fmla="*/ 98 w 310"/>
                <a:gd name="T1" fmla="*/ 0 h 274"/>
                <a:gd name="T2" fmla="*/ 92 w 310"/>
                <a:gd name="T3" fmla="*/ 17 h 274"/>
                <a:gd name="T4" fmla="*/ 68 w 310"/>
                <a:gd name="T5" fmla="*/ 13 h 274"/>
                <a:gd name="T6" fmla="*/ 66 w 310"/>
                <a:gd name="T7" fmla="*/ 33 h 274"/>
                <a:gd name="T8" fmla="*/ 57 w 310"/>
                <a:gd name="T9" fmla="*/ 56 h 274"/>
                <a:gd name="T10" fmla="*/ 45 w 310"/>
                <a:gd name="T11" fmla="*/ 68 h 274"/>
                <a:gd name="T12" fmla="*/ 37 w 310"/>
                <a:gd name="T13" fmla="*/ 85 h 274"/>
                <a:gd name="T14" fmla="*/ 35 w 310"/>
                <a:gd name="T15" fmla="*/ 96 h 274"/>
                <a:gd name="T16" fmla="*/ 26 w 310"/>
                <a:gd name="T17" fmla="*/ 102 h 274"/>
                <a:gd name="T18" fmla="*/ 20 w 310"/>
                <a:gd name="T19" fmla="*/ 127 h 274"/>
                <a:gd name="T20" fmla="*/ 20 w 310"/>
                <a:gd name="T21" fmla="*/ 130 h 274"/>
                <a:gd name="T22" fmla="*/ 21 w 310"/>
                <a:gd name="T23" fmla="*/ 149 h 274"/>
                <a:gd name="T24" fmla="*/ 18 w 310"/>
                <a:gd name="T25" fmla="*/ 156 h 274"/>
                <a:gd name="T26" fmla="*/ 7 w 310"/>
                <a:gd name="T27" fmla="*/ 156 h 274"/>
                <a:gd name="T28" fmla="*/ 0 w 310"/>
                <a:gd name="T29" fmla="*/ 169 h 274"/>
                <a:gd name="T30" fmla="*/ 13 w 310"/>
                <a:gd name="T31" fmla="*/ 171 h 274"/>
                <a:gd name="T32" fmla="*/ 24 w 310"/>
                <a:gd name="T33" fmla="*/ 184 h 274"/>
                <a:gd name="T34" fmla="*/ 27 w 310"/>
                <a:gd name="T35" fmla="*/ 193 h 274"/>
                <a:gd name="T36" fmla="*/ 37 w 310"/>
                <a:gd name="T37" fmla="*/ 198 h 274"/>
                <a:gd name="T38" fmla="*/ 50 w 310"/>
                <a:gd name="T39" fmla="*/ 224 h 274"/>
                <a:gd name="T40" fmla="*/ 61 w 310"/>
                <a:gd name="T41" fmla="*/ 228 h 274"/>
                <a:gd name="T42" fmla="*/ 61 w 310"/>
                <a:gd name="T43" fmla="*/ 241 h 274"/>
                <a:gd name="T44" fmla="*/ 69 w 310"/>
                <a:gd name="T45" fmla="*/ 250 h 274"/>
                <a:gd name="T46" fmla="*/ 83 w 310"/>
                <a:gd name="T47" fmla="*/ 250 h 274"/>
                <a:gd name="T48" fmla="*/ 110 w 310"/>
                <a:gd name="T49" fmla="*/ 269 h 274"/>
                <a:gd name="T50" fmla="*/ 116 w 310"/>
                <a:gd name="T51" fmla="*/ 269 h 274"/>
                <a:gd name="T52" fmla="*/ 122 w 310"/>
                <a:gd name="T53" fmla="*/ 269 h 274"/>
                <a:gd name="T54" fmla="*/ 126 w 310"/>
                <a:gd name="T55" fmla="*/ 272 h 274"/>
                <a:gd name="T56" fmla="*/ 140 w 310"/>
                <a:gd name="T57" fmla="*/ 274 h 274"/>
                <a:gd name="T58" fmla="*/ 146 w 310"/>
                <a:gd name="T59" fmla="*/ 264 h 274"/>
                <a:gd name="T60" fmla="*/ 165 w 310"/>
                <a:gd name="T61" fmla="*/ 254 h 274"/>
                <a:gd name="T62" fmla="*/ 174 w 310"/>
                <a:gd name="T63" fmla="*/ 262 h 274"/>
                <a:gd name="T64" fmla="*/ 188 w 310"/>
                <a:gd name="T65" fmla="*/ 262 h 274"/>
                <a:gd name="T66" fmla="*/ 194 w 310"/>
                <a:gd name="T67" fmla="*/ 254 h 274"/>
                <a:gd name="T68" fmla="*/ 207 w 310"/>
                <a:gd name="T69" fmla="*/ 254 h 274"/>
                <a:gd name="T70" fmla="*/ 225 w 310"/>
                <a:gd name="T71" fmla="*/ 237 h 274"/>
                <a:gd name="T72" fmla="*/ 253 w 310"/>
                <a:gd name="T73" fmla="*/ 236 h 274"/>
                <a:gd name="T74" fmla="*/ 310 w 310"/>
                <a:gd name="T75" fmla="*/ 165 h 274"/>
                <a:gd name="T76" fmla="*/ 293 w 310"/>
                <a:gd name="T77" fmla="*/ 165 h 274"/>
                <a:gd name="T78" fmla="*/ 224 w 310"/>
                <a:gd name="T79" fmla="*/ 137 h 274"/>
                <a:gd name="T80" fmla="*/ 215 w 310"/>
                <a:gd name="T81" fmla="*/ 128 h 274"/>
                <a:gd name="T82" fmla="*/ 208 w 310"/>
                <a:gd name="T83" fmla="*/ 117 h 274"/>
                <a:gd name="T84" fmla="*/ 199 w 310"/>
                <a:gd name="T85" fmla="*/ 104 h 274"/>
                <a:gd name="T86" fmla="*/ 203 w 310"/>
                <a:gd name="T87" fmla="*/ 95 h 274"/>
                <a:gd name="T88" fmla="*/ 198 w 310"/>
                <a:gd name="T89" fmla="*/ 91 h 274"/>
                <a:gd name="T90" fmla="*/ 194 w 310"/>
                <a:gd name="T91" fmla="*/ 93 h 274"/>
                <a:gd name="T92" fmla="*/ 182 w 310"/>
                <a:gd name="T93" fmla="*/ 93 h 274"/>
                <a:gd name="T94" fmla="*/ 182 w 310"/>
                <a:gd name="T95" fmla="*/ 85 h 274"/>
                <a:gd name="T96" fmla="*/ 180 w 310"/>
                <a:gd name="T97" fmla="*/ 79 h 274"/>
                <a:gd name="T98" fmla="*/ 186 w 310"/>
                <a:gd name="T99" fmla="*/ 68 h 274"/>
                <a:gd name="T100" fmla="*/ 193 w 310"/>
                <a:gd name="T101" fmla="*/ 57 h 274"/>
                <a:gd name="T102" fmla="*/ 185 w 310"/>
                <a:gd name="T103" fmla="*/ 49 h 274"/>
                <a:gd name="T104" fmla="*/ 176 w 310"/>
                <a:gd name="T105" fmla="*/ 35 h 274"/>
                <a:gd name="T106" fmla="*/ 167 w 310"/>
                <a:gd name="T107" fmla="*/ 28 h 274"/>
                <a:gd name="T108" fmla="*/ 161 w 310"/>
                <a:gd name="T109" fmla="*/ 19 h 274"/>
                <a:gd name="T110" fmla="*/ 142 w 310"/>
                <a:gd name="T111" fmla="*/ 10 h 274"/>
                <a:gd name="T112" fmla="*/ 128 w 310"/>
                <a:gd name="T113" fmla="*/ 10 h 274"/>
                <a:gd name="T114" fmla="*/ 123 w 310"/>
                <a:gd name="T115" fmla="*/ 5 h 274"/>
                <a:gd name="T116" fmla="*/ 111 w 310"/>
                <a:gd name="T117" fmla="*/ 11 h 274"/>
                <a:gd name="T118" fmla="*/ 98 w 310"/>
                <a:gd name="T119" fmla="*/ 0 h 274"/>
                <a:gd name="T120" fmla="*/ 98 w 310"/>
                <a:gd name="T121" fmla="*/ 0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10" h="274">
                  <a:moveTo>
                    <a:pt x="98" y="0"/>
                  </a:moveTo>
                  <a:lnTo>
                    <a:pt x="92" y="17"/>
                  </a:lnTo>
                  <a:lnTo>
                    <a:pt x="68" y="13"/>
                  </a:lnTo>
                  <a:lnTo>
                    <a:pt x="66" y="33"/>
                  </a:lnTo>
                  <a:lnTo>
                    <a:pt x="57" y="56"/>
                  </a:lnTo>
                  <a:lnTo>
                    <a:pt x="45" y="68"/>
                  </a:lnTo>
                  <a:lnTo>
                    <a:pt x="37" y="85"/>
                  </a:lnTo>
                  <a:lnTo>
                    <a:pt x="35" y="96"/>
                  </a:lnTo>
                  <a:lnTo>
                    <a:pt x="26" y="102"/>
                  </a:lnTo>
                  <a:lnTo>
                    <a:pt x="20" y="127"/>
                  </a:lnTo>
                  <a:lnTo>
                    <a:pt x="20" y="130"/>
                  </a:lnTo>
                  <a:lnTo>
                    <a:pt x="21" y="149"/>
                  </a:lnTo>
                  <a:lnTo>
                    <a:pt x="18" y="156"/>
                  </a:lnTo>
                  <a:lnTo>
                    <a:pt x="7" y="156"/>
                  </a:lnTo>
                  <a:lnTo>
                    <a:pt x="0" y="169"/>
                  </a:lnTo>
                  <a:lnTo>
                    <a:pt x="13" y="171"/>
                  </a:lnTo>
                  <a:lnTo>
                    <a:pt x="24" y="184"/>
                  </a:lnTo>
                  <a:lnTo>
                    <a:pt x="27" y="193"/>
                  </a:lnTo>
                  <a:lnTo>
                    <a:pt x="37" y="198"/>
                  </a:lnTo>
                  <a:lnTo>
                    <a:pt x="50" y="224"/>
                  </a:lnTo>
                  <a:lnTo>
                    <a:pt x="61" y="228"/>
                  </a:lnTo>
                  <a:lnTo>
                    <a:pt x="61" y="241"/>
                  </a:lnTo>
                  <a:lnTo>
                    <a:pt x="69" y="250"/>
                  </a:lnTo>
                  <a:lnTo>
                    <a:pt x="83" y="250"/>
                  </a:lnTo>
                  <a:lnTo>
                    <a:pt x="110" y="269"/>
                  </a:lnTo>
                  <a:lnTo>
                    <a:pt x="116" y="269"/>
                  </a:lnTo>
                  <a:lnTo>
                    <a:pt x="122" y="269"/>
                  </a:lnTo>
                  <a:lnTo>
                    <a:pt x="126" y="272"/>
                  </a:lnTo>
                  <a:lnTo>
                    <a:pt x="140" y="274"/>
                  </a:lnTo>
                  <a:lnTo>
                    <a:pt x="146" y="264"/>
                  </a:lnTo>
                  <a:lnTo>
                    <a:pt x="165" y="254"/>
                  </a:lnTo>
                  <a:lnTo>
                    <a:pt x="174" y="262"/>
                  </a:lnTo>
                  <a:lnTo>
                    <a:pt x="188" y="262"/>
                  </a:lnTo>
                  <a:lnTo>
                    <a:pt x="194" y="254"/>
                  </a:lnTo>
                  <a:lnTo>
                    <a:pt x="207" y="254"/>
                  </a:lnTo>
                  <a:lnTo>
                    <a:pt x="225" y="237"/>
                  </a:lnTo>
                  <a:lnTo>
                    <a:pt x="253" y="236"/>
                  </a:lnTo>
                  <a:lnTo>
                    <a:pt x="310" y="165"/>
                  </a:lnTo>
                  <a:lnTo>
                    <a:pt x="293" y="165"/>
                  </a:lnTo>
                  <a:lnTo>
                    <a:pt x="224" y="137"/>
                  </a:lnTo>
                  <a:lnTo>
                    <a:pt x="215" y="128"/>
                  </a:lnTo>
                  <a:lnTo>
                    <a:pt x="208" y="117"/>
                  </a:lnTo>
                  <a:lnTo>
                    <a:pt x="199" y="104"/>
                  </a:lnTo>
                  <a:lnTo>
                    <a:pt x="203" y="95"/>
                  </a:lnTo>
                  <a:lnTo>
                    <a:pt x="198" y="91"/>
                  </a:lnTo>
                  <a:lnTo>
                    <a:pt x="194" y="93"/>
                  </a:lnTo>
                  <a:lnTo>
                    <a:pt x="182" y="93"/>
                  </a:lnTo>
                  <a:lnTo>
                    <a:pt x="182" y="85"/>
                  </a:lnTo>
                  <a:lnTo>
                    <a:pt x="180" y="79"/>
                  </a:lnTo>
                  <a:lnTo>
                    <a:pt x="186" y="68"/>
                  </a:lnTo>
                  <a:lnTo>
                    <a:pt x="193" y="57"/>
                  </a:lnTo>
                  <a:lnTo>
                    <a:pt x="185" y="49"/>
                  </a:lnTo>
                  <a:lnTo>
                    <a:pt x="176" y="35"/>
                  </a:lnTo>
                  <a:lnTo>
                    <a:pt x="167" y="28"/>
                  </a:lnTo>
                  <a:lnTo>
                    <a:pt x="161" y="19"/>
                  </a:lnTo>
                  <a:lnTo>
                    <a:pt x="142" y="10"/>
                  </a:lnTo>
                  <a:lnTo>
                    <a:pt x="128" y="10"/>
                  </a:lnTo>
                  <a:lnTo>
                    <a:pt x="123" y="5"/>
                  </a:lnTo>
                  <a:lnTo>
                    <a:pt x="111" y="11"/>
                  </a:lnTo>
                  <a:lnTo>
                    <a:pt x="98" y="0"/>
                  </a:lnTo>
                  <a:lnTo>
                    <a:pt x="9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1" name="Finland">
              <a:extLst>
                <a:ext uri="{FF2B5EF4-FFF2-40B4-BE49-F238E27FC236}">
                  <a16:creationId xmlns:a16="http://schemas.microsoft.com/office/drawing/2014/main" id="{49076BD6-134C-4D21-AA4A-F338383F40E3}"/>
                </a:ext>
              </a:extLst>
            </p:cNvPr>
            <p:cNvSpPr>
              <a:spLocks/>
            </p:cNvSpPr>
            <p:nvPr/>
          </p:nvSpPr>
          <p:spPr bwMode="auto">
            <a:xfrm>
              <a:off x="6495256" y="1490436"/>
              <a:ext cx="315912" cy="341313"/>
            </a:xfrm>
            <a:custGeom>
              <a:avLst/>
              <a:gdLst>
                <a:gd name="T0" fmla="*/ 121 w 199"/>
                <a:gd name="T1" fmla="*/ 23 h 215"/>
                <a:gd name="T2" fmla="*/ 124 w 199"/>
                <a:gd name="T3" fmla="*/ 8 h 215"/>
                <a:gd name="T4" fmla="*/ 103 w 199"/>
                <a:gd name="T5" fmla="*/ 0 h 215"/>
                <a:gd name="T6" fmla="*/ 81 w 199"/>
                <a:gd name="T7" fmla="*/ 7 h 215"/>
                <a:gd name="T8" fmla="*/ 77 w 199"/>
                <a:gd name="T9" fmla="*/ 22 h 215"/>
                <a:gd name="T10" fmla="*/ 65 w 199"/>
                <a:gd name="T11" fmla="*/ 30 h 215"/>
                <a:gd name="T12" fmla="*/ 47 w 199"/>
                <a:gd name="T13" fmla="*/ 26 h 215"/>
                <a:gd name="T14" fmla="*/ 27 w 199"/>
                <a:gd name="T15" fmla="*/ 27 h 215"/>
                <a:gd name="T16" fmla="*/ 8 w 199"/>
                <a:gd name="T17" fmla="*/ 16 h 215"/>
                <a:gd name="T18" fmla="*/ 0 w 199"/>
                <a:gd name="T19" fmla="*/ 21 h 215"/>
                <a:gd name="T20" fmla="*/ 22 w 199"/>
                <a:gd name="T21" fmla="*/ 31 h 215"/>
                <a:gd name="T22" fmla="*/ 49 w 199"/>
                <a:gd name="T23" fmla="*/ 45 h 215"/>
                <a:gd name="T24" fmla="*/ 55 w 199"/>
                <a:gd name="T25" fmla="*/ 77 h 215"/>
                <a:gd name="T26" fmla="*/ 63 w 199"/>
                <a:gd name="T27" fmla="*/ 84 h 215"/>
                <a:gd name="T28" fmla="*/ 86 w 199"/>
                <a:gd name="T29" fmla="*/ 95 h 215"/>
                <a:gd name="T30" fmla="*/ 90 w 199"/>
                <a:gd name="T31" fmla="*/ 103 h 215"/>
                <a:gd name="T32" fmla="*/ 80 w 199"/>
                <a:gd name="T33" fmla="*/ 108 h 215"/>
                <a:gd name="T34" fmla="*/ 48 w 199"/>
                <a:gd name="T35" fmla="*/ 130 h 215"/>
                <a:gd name="T36" fmla="*/ 36 w 199"/>
                <a:gd name="T37" fmla="*/ 144 h 215"/>
                <a:gd name="T38" fmla="*/ 30 w 199"/>
                <a:gd name="T39" fmla="*/ 156 h 215"/>
                <a:gd name="T40" fmla="*/ 40 w 199"/>
                <a:gd name="T41" fmla="*/ 176 h 215"/>
                <a:gd name="T42" fmla="*/ 40 w 199"/>
                <a:gd name="T43" fmla="*/ 196 h 215"/>
                <a:gd name="T44" fmla="*/ 58 w 199"/>
                <a:gd name="T45" fmla="*/ 204 h 215"/>
                <a:gd name="T46" fmla="*/ 69 w 199"/>
                <a:gd name="T47" fmla="*/ 215 h 215"/>
                <a:gd name="T48" fmla="*/ 95 w 199"/>
                <a:gd name="T49" fmla="*/ 211 h 215"/>
                <a:gd name="T50" fmla="*/ 123 w 199"/>
                <a:gd name="T51" fmla="*/ 203 h 215"/>
                <a:gd name="T52" fmla="*/ 153 w 199"/>
                <a:gd name="T53" fmla="*/ 201 h 215"/>
                <a:gd name="T54" fmla="*/ 153 w 199"/>
                <a:gd name="T55" fmla="*/ 201 h 215"/>
                <a:gd name="T56" fmla="*/ 183 w 199"/>
                <a:gd name="T57" fmla="*/ 174 h 215"/>
                <a:gd name="T58" fmla="*/ 195 w 199"/>
                <a:gd name="T59" fmla="*/ 161 h 215"/>
                <a:gd name="T60" fmla="*/ 199 w 199"/>
                <a:gd name="T61" fmla="*/ 151 h 215"/>
                <a:gd name="T62" fmla="*/ 172 w 199"/>
                <a:gd name="T63" fmla="*/ 136 h 215"/>
                <a:gd name="T64" fmla="*/ 175 w 199"/>
                <a:gd name="T65" fmla="*/ 122 h 215"/>
                <a:gd name="T66" fmla="*/ 157 w 199"/>
                <a:gd name="T67" fmla="*/ 107 h 215"/>
                <a:gd name="T68" fmla="*/ 163 w 199"/>
                <a:gd name="T69" fmla="*/ 89 h 215"/>
                <a:gd name="T70" fmla="*/ 139 w 199"/>
                <a:gd name="T71" fmla="*/ 66 h 215"/>
                <a:gd name="T72" fmla="*/ 149 w 199"/>
                <a:gd name="T73" fmla="*/ 50 h 215"/>
                <a:gd name="T74" fmla="*/ 122 w 199"/>
                <a:gd name="T75" fmla="*/ 36 h 215"/>
                <a:gd name="T76" fmla="*/ 121 w 199"/>
                <a:gd name="T77" fmla="*/ 23 h 215"/>
                <a:gd name="T78" fmla="*/ 121 w 199"/>
                <a:gd name="T79" fmla="*/ 23 h 2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99" h="215">
                  <a:moveTo>
                    <a:pt x="121" y="23"/>
                  </a:moveTo>
                  <a:lnTo>
                    <a:pt x="124" y="8"/>
                  </a:lnTo>
                  <a:lnTo>
                    <a:pt x="103" y="0"/>
                  </a:lnTo>
                  <a:lnTo>
                    <a:pt x="81" y="7"/>
                  </a:lnTo>
                  <a:lnTo>
                    <a:pt x="77" y="22"/>
                  </a:lnTo>
                  <a:lnTo>
                    <a:pt x="65" y="30"/>
                  </a:lnTo>
                  <a:lnTo>
                    <a:pt x="47" y="26"/>
                  </a:lnTo>
                  <a:lnTo>
                    <a:pt x="27" y="27"/>
                  </a:lnTo>
                  <a:lnTo>
                    <a:pt x="8" y="16"/>
                  </a:lnTo>
                  <a:lnTo>
                    <a:pt x="0" y="21"/>
                  </a:lnTo>
                  <a:lnTo>
                    <a:pt x="22" y="31"/>
                  </a:lnTo>
                  <a:lnTo>
                    <a:pt x="49" y="45"/>
                  </a:lnTo>
                  <a:lnTo>
                    <a:pt x="55" y="77"/>
                  </a:lnTo>
                  <a:lnTo>
                    <a:pt x="63" y="84"/>
                  </a:lnTo>
                  <a:lnTo>
                    <a:pt x="86" y="95"/>
                  </a:lnTo>
                  <a:lnTo>
                    <a:pt x="90" y="103"/>
                  </a:lnTo>
                  <a:lnTo>
                    <a:pt x="80" y="108"/>
                  </a:lnTo>
                  <a:lnTo>
                    <a:pt x="48" y="130"/>
                  </a:lnTo>
                  <a:lnTo>
                    <a:pt x="36" y="144"/>
                  </a:lnTo>
                  <a:lnTo>
                    <a:pt x="30" y="156"/>
                  </a:lnTo>
                  <a:lnTo>
                    <a:pt x="40" y="176"/>
                  </a:lnTo>
                  <a:lnTo>
                    <a:pt x="40" y="196"/>
                  </a:lnTo>
                  <a:lnTo>
                    <a:pt x="58" y="204"/>
                  </a:lnTo>
                  <a:lnTo>
                    <a:pt x="69" y="215"/>
                  </a:lnTo>
                  <a:lnTo>
                    <a:pt x="95" y="211"/>
                  </a:lnTo>
                  <a:lnTo>
                    <a:pt x="123" y="203"/>
                  </a:lnTo>
                  <a:lnTo>
                    <a:pt x="153" y="201"/>
                  </a:lnTo>
                  <a:lnTo>
                    <a:pt x="153" y="201"/>
                  </a:lnTo>
                  <a:lnTo>
                    <a:pt x="183" y="174"/>
                  </a:lnTo>
                  <a:lnTo>
                    <a:pt x="195" y="161"/>
                  </a:lnTo>
                  <a:lnTo>
                    <a:pt x="199" y="151"/>
                  </a:lnTo>
                  <a:lnTo>
                    <a:pt x="172" y="136"/>
                  </a:lnTo>
                  <a:lnTo>
                    <a:pt x="175" y="122"/>
                  </a:lnTo>
                  <a:lnTo>
                    <a:pt x="157" y="107"/>
                  </a:lnTo>
                  <a:lnTo>
                    <a:pt x="163" y="89"/>
                  </a:lnTo>
                  <a:lnTo>
                    <a:pt x="139" y="66"/>
                  </a:lnTo>
                  <a:lnTo>
                    <a:pt x="149" y="50"/>
                  </a:lnTo>
                  <a:lnTo>
                    <a:pt x="122" y="36"/>
                  </a:lnTo>
                  <a:lnTo>
                    <a:pt x="121" y="23"/>
                  </a:lnTo>
                  <a:lnTo>
                    <a:pt x="121" y="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2" name="Fiji">
              <a:extLst>
                <a:ext uri="{FF2B5EF4-FFF2-40B4-BE49-F238E27FC236}">
                  <a16:creationId xmlns:a16="http://schemas.microsoft.com/office/drawing/2014/main" id="{E6C7F59B-A132-4E84-AF71-D898C149B4C6}"/>
                </a:ext>
              </a:extLst>
            </p:cNvPr>
            <p:cNvSpPr>
              <a:spLocks noEditPoints="1"/>
            </p:cNvSpPr>
            <p:nvPr/>
          </p:nvSpPr>
          <p:spPr bwMode="auto">
            <a:xfrm>
              <a:off x="11819731" y="4668610"/>
              <a:ext cx="104775" cy="82550"/>
            </a:xfrm>
            <a:custGeom>
              <a:avLst/>
              <a:gdLst>
                <a:gd name="T0" fmla="*/ 66 w 66"/>
                <a:gd name="T1" fmla="*/ 0 h 52"/>
                <a:gd name="T2" fmla="*/ 52 w 66"/>
                <a:gd name="T3" fmla="*/ 8 h 52"/>
                <a:gd name="T4" fmla="*/ 45 w 66"/>
                <a:gd name="T5" fmla="*/ 9 h 52"/>
                <a:gd name="T6" fmla="*/ 33 w 66"/>
                <a:gd name="T7" fmla="*/ 13 h 52"/>
                <a:gd name="T8" fmla="*/ 34 w 66"/>
                <a:gd name="T9" fmla="*/ 23 h 52"/>
                <a:gd name="T10" fmla="*/ 48 w 66"/>
                <a:gd name="T11" fmla="*/ 17 h 52"/>
                <a:gd name="T12" fmla="*/ 63 w 66"/>
                <a:gd name="T13" fmla="*/ 11 h 52"/>
                <a:gd name="T14" fmla="*/ 66 w 66"/>
                <a:gd name="T15" fmla="*/ 0 h 52"/>
                <a:gd name="T16" fmla="*/ 66 w 66"/>
                <a:gd name="T17" fmla="*/ 0 h 52"/>
                <a:gd name="T18" fmla="*/ 25 w 66"/>
                <a:gd name="T19" fmla="*/ 30 h 52"/>
                <a:gd name="T20" fmla="*/ 18 w 66"/>
                <a:gd name="T21" fmla="*/ 34 h 52"/>
                <a:gd name="T22" fmla="*/ 10 w 66"/>
                <a:gd name="T23" fmla="*/ 31 h 52"/>
                <a:gd name="T24" fmla="*/ 0 w 66"/>
                <a:gd name="T25" fmla="*/ 39 h 52"/>
                <a:gd name="T26" fmla="*/ 0 w 66"/>
                <a:gd name="T27" fmla="*/ 50 h 52"/>
                <a:gd name="T28" fmla="*/ 10 w 66"/>
                <a:gd name="T29" fmla="*/ 52 h 52"/>
                <a:gd name="T30" fmla="*/ 24 w 66"/>
                <a:gd name="T31" fmla="*/ 49 h 52"/>
                <a:gd name="T32" fmla="*/ 31 w 66"/>
                <a:gd name="T33" fmla="*/ 37 h 52"/>
                <a:gd name="T34" fmla="*/ 25 w 66"/>
                <a:gd name="T35" fmla="*/ 30 h 52"/>
                <a:gd name="T36" fmla="*/ 25 w 66"/>
                <a:gd name="T37" fmla="*/ 3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6" h="52">
                  <a:moveTo>
                    <a:pt x="66" y="0"/>
                  </a:moveTo>
                  <a:lnTo>
                    <a:pt x="52" y="8"/>
                  </a:lnTo>
                  <a:lnTo>
                    <a:pt x="45" y="9"/>
                  </a:lnTo>
                  <a:lnTo>
                    <a:pt x="33" y="13"/>
                  </a:lnTo>
                  <a:lnTo>
                    <a:pt x="34" y="23"/>
                  </a:lnTo>
                  <a:lnTo>
                    <a:pt x="48" y="17"/>
                  </a:lnTo>
                  <a:lnTo>
                    <a:pt x="63" y="11"/>
                  </a:lnTo>
                  <a:lnTo>
                    <a:pt x="66" y="0"/>
                  </a:lnTo>
                  <a:lnTo>
                    <a:pt x="66" y="0"/>
                  </a:lnTo>
                  <a:close/>
                  <a:moveTo>
                    <a:pt x="25" y="30"/>
                  </a:moveTo>
                  <a:lnTo>
                    <a:pt x="18" y="34"/>
                  </a:lnTo>
                  <a:lnTo>
                    <a:pt x="10" y="31"/>
                  </a:lnTo>
                  <a:lnTo>
                    <a:pt x="0" y="39"/>
                  </a:lnTo>
                  <a:lnTo>
                    <a:pt x="0" y="50"/>
                  </a:lnTo>
                  <a:lnTo>
                    <a:pt x="10" y="52"/>
                  </a:lnTo>
                  <a:lnTo>
                    <a:pt x="24" y="49"/>
                  </a:lnTo>
                  <a:lnTo>
                    <a:pt x="31" y="37"/>
                  </a:lnTo>
                  <a:lnTo>
                    <a:pt x="25" y="30"/>
                  </a:lnTo>
                  <a:lnTo>
                    <a:pt x="25" y="3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3" name="Gabon">
              <a:extLst>
                <a:ext uri="{FF2B5EF4-FFF2-40B4-BE49-F238E27FC236}">
                  <a16:creationId xmlns:a16="http://schemas.microsoft.com/office/drawing/2014/main" id="{7E09DBCD-DB0D-45E4-9E19-9221E849ED56}"/>
                </a:ext>
              </a:extLst>
            </p:cNvPr>
            <p:cNvSpPr>
              <a:spLocks/>
            </p:cNvSpPr>
            <p:nvPr/>
          </p:nvSpPr>
          <p:spPr bwMode="auto">
            <a:xfrm>
              <a:off x="6287294" y="3974873"/>
              <a:ext cx="188912" cy="238125"/>
            </a:xfrm>
            <a:custGeom>
              <a:avLst/>
              <a:gdLst>
                <a:gd name="T0" fmla="*/ 91 w 119"/>
                <a:gd name="T1" fmla="*/ 1 h 150"/>
                <a:gd name="T2" fmla="*/ 88 w 119"/>
                <a:gd name="T3" fmla="*/ 0 h 150"/>
                <a:gd name="T4" fmla="*/ 75 w 119"/>
                <a:gd name="T5" fmla="*/ 3 h 150"/>
                <a:gd name="T6" fmla="*/ 63 w 119"/>
                <a:gd name="T7" fmla="*/ 0 h 150"/>
                <a:gd name="T8" fmla="*/ 53 w 119"/>
                <a:gd name="T9" fmla="*/ 1 h 150"/>
                <a:gd name="T10" fmla="*/ 53 w 119"/>
                <a:gd name="T11" fmla="*/ 30 h 150"/>
                <a:gd name="T12" fmla="*/ 23 w 119"/>
                <a:gd name="T13" fmla="*/ 30 h 150"/>
                <a:gd name="T14" fmla="*/ 15 w 119"/>
                <a:gd name="T15" fmla="*/ 31 h 150"/>
                <a:gd name="T16" fmla="*/ 12 w 119"/>
                <a:gd name="T17" fmla="*/ 49 h 150"/>
                <a:gd name="T18" fmla="*/ 6 w 119"/>
                <a:gd name="T19" fmla="*/ 66 h 150"/>
                <a:gd name="T20" fmla="*/ 1 w 119"/>
                <a:gd name="T21" fmla="*/ 73 h 150"/>
                <a:gd name="T22" fmla="*/ 0 w 119"/>
                <a:gd name="T23" fmla="*/ 81 h 150"/>
                <a:gd name="T24" fmla="*/ 13 w 119"/>
                <a:gd name="T25" fmla="*/ 106 h 150"/>
                <a:gd name="T26" fmla="*/ 27 w 119"/>
                <a:gd name="T27" fmla="*/ 125 h 150"/>
                <a:gd name="T28" fmla="*/ 49 w 119"/>
                <a:gd name="T29" fmla="*/ 150 h 150"/>
                <a:gd name="T30" fmla="*/ 65 w 119"/>
                <a:gd name="T31" fmla="*/ 137 h 150"/>
                <a:gd name="T32" fmla="*/ 57 w 119"/>
                <a:gd name="T33" fmla="*/ 121 h 150"/>
                <a:gd name="T34" fmla="*/ 64 w 119"/>
                <a:gd name="T35" fmla="*/ 115 h 150"/>
                <a:gd name="T36" fmla="*/ 79 w 119"/>
                <a:gd name="T37" fmla="*/ 112 h 150"/>
                <a:gd name="T38" fmla="*/ 81 w 119"/>
                <a:gd name="T39" fmla="*/ 101 h 150"/>
                <a:gd name="T40" fmla="*/ 92 w 119"/>
                <a:gd name="T41" fmla="*/ 112 h 150"/>
                <a:gd name="T42" fmla="*/ 110 w 119"/>
                <a:gd name="T43" fmla="*/ 114 h 150"/>
                <a:gd name="T44" fmla="*/ 116 w 119"/>
                <a:gd name="T45" fmla="*/ 103 h 150"/>
                <a:gd name="T46" fmla="*/ 119 w 119"/>
                <a:gd name="T47" fmla="*/ 86 h 150"/>
                <a:gd name="T48" fmla="*/ 117 w 119"/>
                <a:gd name="T49" fmla="*/ 68 h 150"/>
                <a:gd name="T50" fmla="*/ 107 w 119"/>
                <a:gd name="T51" fmla="*/ 54 h 150"/>
                <a:gd name="T52" fmla="*/ 116 w 119"/>
                <a:gd name="T53" fmla="*/ 26 h 150"/>
                <a:gd name="T54" fmla="*/ 111 w 119"/>
                <a:gd name="T55" fmla="*/ 22 h 150"/>
                <a:gd name="T56" fmla="*/ 95 w 119"/>
                <a:gd name="T57" fmla="*/ 24 h 150"/>
                <a:gd name="T58" fmla="*/ 89 w 119"/>
                <a:gd name="T59" fmla="*/ 11 h 150"/>
                <a:gd name="T60" fmla="*/ 91 w 119"/>
                <a:gd name="T61" fmla="*/ 1 h 150"/>
                <a:gd name="T62" fmla="*/ 91 w 119"/>
                <a:gd name="T63" fmla="*/ 1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19" h="150">
                  <a:moveTo>
                    <a:pt x="91" y="1"/>
                  </a:moveTo>
                  <a:lnTo>
                    <a:pt x="88" y="0"/>
                  </a:lnTo>
                  <a:lnTo>
                    <a:pt x="75" y="3"/>
                  </a:lnTo>
                  <a:lnTo>
                    <a:pt x="63" y="0"/>
                  </a:lnTo>
                  <a:lnTo>
                    <a:pt x="53" y="1"/>
                  </a:lnTo>
                  <a:lnTo>
                    <a:pt x="53" y="30"/>
                  </a:lnTo>
                  <a:lnTo>
                    <a:pt x="23" y="30"/>
                  </a:lnTo>
                  <a:lnTo>
                    <a:pt x="15" y="31"/>
                  </a:lnTo>
                  <a:lnTo>
                    <a:pt x="12" y="49"/>
                  </a:lnTo>
                  <a:lnTo>
                    <a:pt x="6" y="66"/>
                  </a:lnTo>
                  <a:lnTo>
                    <a:pt x="1" y="73"/>
                  </a:lnTo>
                  <a:lnTo>
                    <a:pt x="0" y="81"/>
                  </a:lnTo>
                  <a:lnTo>
                    <a:pt x="13" y="106"/>
                  </a:lnTo>
                  <a:lnTo>
                    <a:pt x="27" y="125"/>
                  </a:lnTo>
                  <a:lnTo>
                    <a:pt x="49" y="150"/>
                  </a:lnTo>
                  <a:lnTo>
                    <a:pt x="65" y="137"/>
                  </a:lnTo>
                  <a:lnTo>
                    <a:pt x="57" y="121"/>
                  </a:lnTo>
                  <a:lnTo>
                    <a:pt x="64" y="115"/>
                  </a:lnTo>
                  <a:lnTo>
                    <a:pt x="79" y="112"/>
                  </a:lnTo>
                  <a:lnTo>
                    <a:pt x="81" y="101"/>
                  </a:lnTo>
                  <a:lnTo>
                    <a:pt x="92" y="112"/>
                  </a:lnTo>
                  <a:lnTo>
                    <a:pt x="110" y="114"/>
                  </a:lnTo>
                  <a:lnTo>
                    <a:pt x="116" y="103"/>
                  </a:lnTo>
                  <a:lnTo>
                    <a:pt x="119" y="86"/>
                  </a:lnTo>
                  <a:lnTo>
                    <a:pt x="117" y="68"/>
                  </a:lnTo>
                  <a:lnTo>
                    <a:pt x="107" y="54"/>
                  </a:lnTo>
                  <a:lnTo>
                    <a:pt x="116" y="26"/>
                  </a:lnTo>
                  <a:lnTo>
                    <a:pt x="111" y="22"/>
                  </a:lnTo>
                  <a:lnTo>
                    <a:pt x="95" y="24"/>
                  </a:lnTo>
                  <a:lnTo>
                    <a:pt x="89" y="11"/>
                  </a:lnTo>
                  <a:lnTo>
                    <a:pt x="91" y="1"/>
                  </a:lnTo>
                  <a:lnTo>
                    <a:pt x="91"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4" name="United Kingdom">
              <a:extLst>
                <a:ext uri="{FF2B5EF4-FFF2-40B4-BE49-F238E27FC236}">
                  <a16:creationId xmlns:a16="http://schemas.microsoft.com/office/drawing/2014/main" id="{0C6D8F10-A371-41C1-92BF-80D54401CC19}"/>
                </a:ext>
              </a:extLst>
            </p:cNvPr>
            <p:cNvSpPr>
              <a:spLocks noEditPoints="1"/>
            </p:cNvSpPr>
            <p:nvPr/>
          </p:nvSpPr>
          <p:spPr bwMode="auto">
            <a:xfrm>
              <a:off x="5784056" y="1874612"/>
              <a:ext cx="258762" cy="309562"/>
            </a:xfrm>
            <a:custGeom>
              <a:avLst/>
              <a:gdLst>
                <a:gd name="T0" fmla="*/ 34 w 163"/>
                <a:gd name="T1" fmla="*/ 91 h 195"/>
                <a:gd name="T2" fmla="*/ 15 w 163"/>
                <a:gd name="T3" fmla="*/ 77 h 195"/>
                <a:gd name="T4" fmla="*/ 1 w 163"/>
                <a:gd name="T5" fmla="*/ 78 h 195"/>
                <a:gd name="T6" fmla="*/ 4 w 163"/>
                <a:gd name="T7" fmla="*/ 90 h 195"/>
                <a:gd name="T8" fmla="*/ 0 w 163"/>
                <a:gd name="T9" fmla="*/ 102 h 195"/>
                <a:gd name="T10" fmla="*/ 10 w 163"/>
                <a:gd name="T11" fmla="*/ 102 h 195"/>
                <a:gd name="T12" fmla="*/ 23 w 163"/>
                <a:gd name="T13" fmla="*/ 107 h 195"/>
                <a:gd name="T14" fmla="*/ 34 w 163"/>
                <a:gd name="T15" fmla="*/ 91 h 195"/>
                <a:gd name="T16" fmla="*/ 82 w 163"/>
                <a:gd name="T17" fmla="*/ 0 h 195"/>
                <a:gd name="T18" fmla="*/ 62 w 163"/>
                <a:gd name="T19" fmla="*/ 2 h 195"/>
                <a:gd name="T20" fmla="*/ 48 w 163"/>
                <a:gd name="T21" fmla="*/ 0 h 195"/>
                <a:gd name="T22" fmla="*/ 34 w 163"/>
                <a:gd name="T23" fmla="*/ 18 h 195"/>
                <a:gd name="T24" fmla="*/ 27 w 163"/>
                <a:gd name="T25" fmla="*/ 41 h 195"/>
                <a:gd name="T26" fmla="*/ 35 w 163"/>
                <a:gd name="T27" fmla="*/ 52 h 195"/>
                <a:gd name="T28" fmla="*/ 35 w 163"/>
                <a:gd name="T29" fmla="*/ 74 h 195"/>
                <a:gd name="T30" fmla="*/ 46 w 163"/>
                <a:gd name="T31" fmla="*/ 64 h 195"/>
                <a:gd name="T32" fmla="*/ 50 w 163"/>
                <a:gd name="T33" fmla="*/ 69 h 195"/>
                <a:gd name="T34" fmla="*/ 45 w 163"/>
                <a:gd name="T35" fmla="*/ 80 h 195"/>
                <a:gd name="T36" fmla="*/ 48 w 163"/>
                <a:gd name="T37" fmla="*/ 85 h 195"/>
                <a:gd name="T38" fmla="*/ 69 w 163"/>
                <a:gd name="T39" fmla="*/ 90 h 195"/>
                <a:gd name="T40" fmla="*/ 70 w 163"/>
                <a:gd name="T41" fmla="*/ 90 h 195"/>
                <a:gd name="T42" fmla="*/ 81 w 163"/>
                <a:gd name="T43" fmla="*/ 104 h 195"/>
                <a:gd name="T44" fmla="*/ 78 w 163"/>
                <a:gd name="T45" fmla="*/ 117 h 195"/>
                <a:gd name="T46" fmla="*/ 78 w 163"/>
                <a:gd name="T47" fmla="*/ 117 h 195"/>
                <a:gd name="T48" fmla="*/ 52 w 163"/>
                <a:gd name="T49" fmla="*/ 115 h 195"/>
                <a:gd name="T50" fmla="*/ 48 w 163"/>
                <a:gd name="T51" fmla="*/ 130 h 195"/>
                <a:gd name="T52" fmla="*/ 58 w 163"/>
                <a:gd name="T53" fmla="*/ 142 h 195"/>
                <a:gd name="T54" fmla="*/ 39 w 163"/>
                <a:gd name="T55" fmla="*/ 149 h 195"/>
                <a:gd name="T56" fmla="*/ 44 w 163"/>
                <a:gd name="T57" fmla="*/ 158 h 195"/>
                <a:gd name="T58" fmla="*/ 72 w 163"/>
                <a:gd name="T59" fmla="*/ 162 h 195"/>
                <a:gd name="T60" fmla="*/ 72 w 163"/>
                <a:gd name="T61" fmla="*/ 162 h 195"/>
                <a:gd name="T62" fmla="*/ 56 w 163"/>
                <a:gd name="T63" fmla="*/ 166 h 195"/>
                <a:gd name="T64" fmla="*/ 28 w 163"/>
                <a:gd name="T65" fmla="*/ 191 h 195"/>
                <a:gd name="T66" fmla="*/ 37 w 163"/>
                <a:gd name="T67" fmla="*/ 195 h 195"/>
                <a:gd name="T68" fmla="*/ 50 w 163"/>
                <a:gd name="T69" fmla="*/ 187 h 195"/>
                <a:gd name="T70" fmla="*/ 67 w 163"/>
                <a:gd name="T71" fmla="*/ 190 h 195"/>
                <a:gd name="T72" fmla="*/ 80 w 163"/>
                <a:gd name="T73" fmla="*/ 179 h 195"/>
                <a:gd name="T74" fmla="*/ 88 w 163"/>
                <a:gd name="T75" fmla="*/ 183 h 195"/>
                <a:gd name="T76" fmla="*/ 119 w 163"/>
                <a:gd name="T77" fmla="*/ 177 h 195"/>
                <a:gd name="T78" fmla="*/ 144 w 163"/>
                <a:gd name="T79" fmla="*/ 177 h 195"/>
                <a:gd name="T80" fmla="*/ 160 w 163"/>
                <a:gd name="T81" fmla="*/ 165 h 195"/>
                <a:gd name="T82" fmla="*/ 152 w 163"/>
                <a:gd name="T83" fmla="*/ 153 h 195"/>
                <a:gd name="T84" fmla="*/ 161 w 163"/>
                <a:gd name="T85" fmla="*/ 147 h 195"/>
                <a:gd name="T86" fmla="*/ 163 w 163"/>
                <a:gd name="T87" fmla="*/ 132 h 195"/>
                <a:gd name="T88" fmla="*/ 142 w 163"/>
                <a:gd name="T89" fmla="*/ 127 h 195"/>
                <a:gd name="T90" fmla="*/ 136 w 163"/>
                <a:gd name="T91" fmla="*/ 119 h 195"/>
                <a:gd name="T92" fmla="*/ 126 w 163"/>
                <a:gd name="T93" fmla="*/ 93 h 195"/>
                <a:gd name="T94" fmla="*/ 114 w 163"/>
                <a:gd name="T95" fmla="*/ 89 h 195"/>
                <a:gd name="T96" fmla="*/ 99 w 163"/>
                <a:gd name="T97" fmla="*/ 63 h 195"/>
                <a:gd name="T98" fmla="*/ 97 w 163"/>
                <a:gd name="T99" fmla="*/ 61 h 195"/>
                <a:gd name="T100" fmla="*/ 79 w 163"/>
                <a:gd name="T101" fmla="*/ 59 h 195"/>
                <a:gd name="T102" fmla="*/ 95 w 163"/>
                <a:gd name="T103" fmla="*/ 39 h 195"/>
                <a:gd name="T104" fmla="*/ 100 w 163"/>
                <a:gd name="T105" fmla="*/ 21 h 195"/>
                <a:gd name="T106" fmla="*/ 81 w 163"/>
                <a:gd name="T107" fmla="*/ 21 h 195"/>
                <a:gd name="T108" fmla="*/ 63 w 163"/>
                <a:gd name="T109" fmla="*/ 24 h 195"/>
                <a:gd name="T110" fmla="*/ 82 w 163"/>
                <a:gd name="T111" fmla="*/ 0 h 195"/>
                <a:gd name="T112" fmla="*/ 82 w 163"/>
                <a:gd name="T113" fmla="*/ 0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63" h="195">
                  <a:moveTo>
                    <a:pt x="34" y="91"/>
                  </a:moveTo>
                  <a:lnTo>
                    <a:pt x="15" y="77"/>
                  </a:lnTo>
                  <a:lnTo>
                    <a:pt x="1" y="78"/>
                  </a:lnTo>
                  <a:lnTo>
                    <a:pt x="4" y="90"/>
                  </a:lnTo>
                  <a:lnTo>
                    <a:pt x="0" y="102"/>
                  </a:lnTo>
                  <a:lnTo>
                    <a:pt x="10" y="102"/>
                  </a:lnTo>
                  <a:lnTo>
                    <a:pt x="23" y="107"/>
                  </a:lnTo>
                  <a:lnTo>
                    <a:pt x="34" y="91"/>
                  </a:lnTo>
                  <a:close/>
                  <a:moveTo>
                    <a:pt x="82" y="0"/>
                  </a:moveTo>
                  <a:lnTo>
                    <a:pt x="62" y="2"/>
                  </a:lnTo>
                  <a:lnTo>
                    <a:pt x="48" y="0"/>
                  </a:lnTo>
                  <a:lnTo>
                    <a:pt x="34" y="18"/>
                  </a:lnTo>
                  <a:lnTo>
                    <a:pt x="27" y="41"/>
                  </a:lnTo>
                  <a:lnTo>
                    <a:pt x="35" y="52"/>
                  </a:lnTo>
                  <a:lnTo>
                    <a:pt x="35" y="74"/>
                  </a:lnTo>
                  <a:lnTo>
                    <a:pt x="46" y="64"/>
                  </a:lnTo>
                  <a:lnTo>
                    <a:pt x="50" y="69"/>
                  </a:lnTo>
                  <a:lnTo>
                    <a:pt x="45" y="80"/>
                  </a:lnTo>
                  <a:lnTo>
                    <a:pt x="48" y="85"/>
                  </a:lnTo>
                  <a:lnTo>
                    <a:pt x="69" y="90"/>
                  </a:lnTo>
                  <a:lnTo>
                    <a:pt x="70" y="90"/>
                  </a:lnTo>
                  <a:lnTo>
                    <a:pt x="81" y="104"/>
                  </a:lnTo>
                  <a:lnTo>
                    <a:pt x="78" y="117"/>
                  </a:lnTo>
                  <a:lnTo>
                    <a:pt x="78" y="117"/>
                  </a:lnTo>
                  <a:lnTo>
                    <a:pt x="52" y="115"/>
                  </a:lnTo>
                  <a:lnTo>
                    <a:pt x="48" y="130"/>
                  </a:lnTo>
                  <a:lnTo>
                    <a:pt x="58" y="142"/>
                  </a:lnTo>
                  <a:lnTo>
                    <a:pt x="39" y="149"/>
                  </a:lnTo>
                  <a:lnTo>
                    <a:pt x="44" y="158"/>
                  </a:lnTo>
                  <a:lnTo>
                    <a:pt x="72" y="162"/>
                  </a:lnTo>
                  <a:lnTo>
                    <a:pt x="72" y="162"/>
                  </a:lnTo>
                  <a:lnTo>
                    <a:pt x="56" y="166"/>
                  </a:lnTo>
                  <a:lnTo>
                    <a:pt x="28" y="191"/>
                  </a:lnTo>
                  <a:lnTo>
                    <a:pt x="37" y="195"/>
                  </a:lnTo>
                  <a:lnTo>
                    <a:pt x="50" y="187"/>
                  </a:lnTo>
                  <a:lnTo>
                    <a:pt x="67" y="190"/>
                  </a:lnTo>
                  <a:lnTo>
                    <a:pt x="80" y="179"/>
                  </a:lnTo>
                  <a:lnTo>
                    <a:pt x="88" y="183"/>
                  </a:lnTo>
                  <a:lnTo>
                    <a:pt x="119" y="177"/>
                  </a:lnTo>
                  <a:lnTo>
                    <a:pt x="144" y="177"/>
                  </a:lnTo>
                  <a:lnTo>
                    <a:pt x="160" y="165"/>
                  </a:lnTo>
                  <a:lnTo>
                    <a:pt x="152" y="153"/>
                  </a:lnTo>
                  <a:lnTo>
                    <a:pt x="161" y="147"/>
                  </a:lnTo>
                  <a:lnTo>
                    <a:pt x="163" y="132"/>
                  </a:lnTo>
                  <a:lnTo>
                    <a:pt x="142" y="127"/>
                  </a:lnTo>
                  <a:lnTo>
                    <a:pt x="136" y="119"/>
                  </a:lnTo>
                  <a:lnTo>
                    <a:pt x="126" y="93"/>
                  </a:lnTo>
                  <a:lnTo>
                    <a:pt x="114" y="89"/>
                  </a:lnTo>
                  <a:lnTo>
                    <a:pt x="99" y="63"/>
                  </a:lnTo>
                  <a:lnTo>
                    <a:pt x="97" y="61"/>
                  </a:lnTo>
                  <a:lnTo>
                    <a:pt x="79" y="59"/>
                  </a:lnTo>
                  <a:lnTo>
                    <a:pt x="95" y="39"/>
                  </a:lnTo>
                  <a:lnTo>
                    <a:pt x="100" y="21"/>
                  </a:lnTo>
                  <a:lnTo>
                    <a:pt x="81" y="21"/>
                  </a:lnTo>
                  <a:lnTo>
                    <a:pt x="63" y="24"/>
                  </a:lnTo>
                  <a:lnTo>
                    <a:pt x="82" y="0"/>
                  </a:lnTo>
                  <a:lnTo>
                    <a:pt x="8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5" name="Georgia">
              <a:extLst>
                <a:ext uri="{FF2B5EF4-FFF2-40B4-BE49-F238E27FC236}">
                  <a16:creationId xmlns:a16="http://schemas.microsoft.com/office/drawing/2014/main" id="{DEDEEA32-37E8-45B0-B5F2-876327085AA2}"/>
                </a:ext>
              </a:extLst>
            </p:cNvPr>
            <p:cNvSpPr>
              <a:spLocks/>
            </p:cNvSpPr>
            <p:nvPr/>
          </p:nvSpPr>
          <p:spPr bwMode="auto">
            <a:xfrm>
              <a:off x="7200106" y="2420711"/>
              <a:ext cx="219075" cy="90488"/>
            </a:xfrm>
            <a:custGeom>
              <a:avLst/>
              <a:gdLst>
                <a:gd name="T0" fmla="*/ 75 w 138"/>
                <a:gd name="T1" fmla="*/ 18 h 57"/>
                <a:gd name="T2" fmla="*/ 47 w 138"/>
                <a:gd name="T3" fmla="*/ 7 h 57"/>
                <a:gd name="T4" fmla="*/ 18 w 138"/>
                <a:gd name="T5" fmla="*/ 4 h 57"/>
                <a:gd name="T6" fmla="*/ 1 w 138"/>
                <a:gd name="T7" fmla="*/ 0 h 57"/>
                <a:gd name="T8" fmla="*/ 0 w 138"/>
                <a:gd name="T9" fmla="*/ 3 h 57"/>
                <a:gd name="T10" fmla="*/ 8 w 138"/>
                <a:gd name="T11" fmla="*/ 9 h 57"/>
                <a:gd name="T12" fmla="*/ 19 w 138"/>
                <a:gd name="T13" fmla="*/ 12 h 57"/>
                <a:gd name="T14" fmla="*/ 32 w 138"/>
                <a:gd name="T15" fmla="*/ 20 h 57"/>
                <a:gd name="T16" fmla="*/ 40 w 138"/>
                <a:gd name="T17" fmla="*/ 36 h 57"/>
                <a:gd name="T18" fmla="*/ 39 w 138"/>
                <a:gd name="T19" fmla="*/ 46 h 57"/>
                <a:gd name="T20" fmla="*/ 58 w 138"/>
                <a:gd name="T21" fmla="*/ 46 h 57"/>
                <a:gd name="T22" fmla="*/ 80 w 138"/>
                <a:gd name="T23" fmla="*/ 57 h 57"/>
                <a:gd name="T24" fmla="*/ 105 w 138"/>
                <a:gd name="T25" fmla="*/ 53 h 57"/>
                <a:gd name="T26" fmla="*/ 110 w 138"/>
                <a:gd name="T27" fmla="*/ 49 h 57"/>
                <a:gd name="T28" fmla="*/ 126 w 138"/>
                <a:gd name="T29" fmla="*/ 56 h 57"/>
                <a:gd name="T30" fmla="*/ 136 w 138"/>
                <a:gd name="T31" fmla="*/ 57 h 57"/>
                <a:gd name="T32" fmla="*/ 138 w 138"/>
                <a:gd name="T33" fmla="*/ 55 h 57"/>
                <a:gd name="T34" fmla="*/ 126 w 138"/>
                <a:gd name="T35" fmla="*/ 42 h 57"/>
                <a:gd name="T36" fmla="*/ 130 w 138"/>
                <a:gd name="T37" fmla="*/ 38 h 57"/>
                <a:gd name="T38" fmla="*/ 117 w 138"/>
                <a:gd name="T39" fmla="*/ 33 h 57"/>
                <a:gd name="T40" fmla="*/ 109 w 138"/>
                <a:gd name="T41" fmla="*/ 24 h 57"/>
                <a:gd name="T42" fmla="*/ 90 w 138"/>
                <a:gd name="T43" fmla="*/ 19 h 57"/>
                <a:gd name="T44" fmla="*/ 79 w 138"/>
                <a:gd name="T45" fmla="*/ 23 h 57"/>
                <a:gd name="T46" fmla="*/ 75 w 138"/>
                <a:gd name="T47" fmla="*/ 18 h 57"/>
                <a:gd name="T48" fmla="*/ 75 w 138"/>
                <a:gd name="T49" fmla="*/ 18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38" h="57">
                  <a:moveTo>
                    <a:pt x="75" y="18"/>
                  </a:moveTo>
                  <a:lnTo>
                    <a:pt x="47" y="7"/>
                  </a:lnTo>
                  <a:lnTo>
                    <a:pt x="18" y="4"/>
                  </a:lnTo>
                  <a:lnTo>
                    <a:pt x="1" y="0"/>
                  </a:lnTo>
                  <a:lnTo>
                    <a:pt x="0" y="3"/>
                  </a:lnTo>
                  <a:lnTo>
                    <a:pt x="8" y="9"/>
                  </a:lnTo>
                  <a:lnTo>
                    <a:pt x="19" y="12"/>
                  </a:lnTo>
                  <a:lnTo>
                    <a:pt x="32" y="20"/>
                  </a:lnTo>
                  <a:lnTo>
                    <a:pt x="40" y="36"/>
                  </a:lnTo>
                  <a:lnTo>
                    <a:pt x="39" y="46"/>
                  </a:lnTo>
                  <a:lnTo>
                    <a:pt x="58" y="46"/>
                  </a:lnTo>
                  <a:lnTo>
                    <a:pt x="80" y="57"/>
                  </a:lnTo>
                  <a:lnTo>
                    <a:pt x="105" y="53"/>
                  </a:lnTo>
                  <a:lnTo>
                    <a:pt x="110" y="49"/>
                  </a:lnTo>
                  <a:lnTo>
                    <a:pt x="126" y="56"/>
                  </a:lnTo>
                  <a:lnTo>
                    <a:pt x="136" y="57"/>
                  </a:lnTo>
                  <a:lnTo>
                    <a:pt x="138" y="55"/>
                  </a:lnTo>
                  <a:lnTo>
                    <a:pt x="126" y="42"/>
                  </a:lnTo>
                  <a:lnTo>
                    <a:pt x="130" y="38"/>
                  </a:lnTo>
                  <a:lnTo>
                    <a:pt x="117" y="33"/>
                  </a:lnTo>
                  <a:lnTo>
                    <a:pt x="109" y="24"/>
                  </a:lnTo>
                  <a:lnTo>
                    <a:pt x="90" y="19"/>
                  </a:lnTo>
                  <a:lnTo>
                    <a:pt x="79" y="23"/>
                  </a:lnTo>
                  <a:lnTo>
                    <a:pt x="75" y="18"/>
                  </a:lnTo>
                  <a:lnTo>
                    <a:pt x="75" y="1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6" name="Ghana">
              <a:extLst>
                <a:ext uri="{FF2B5EF4-FFF2-40B4-BE49-F238E27FC236}">
                  <a16:creationId xmlns:a16="http://schemas.microsoft.com/office/drawing/2014/main" id="{4F8AFE14-BBF7-4FE8-8272-B832E245C210}"/>
                </a:ext>
              </a:extLst>
            </p:cNvPr>
            <p:cNvSpPr>
              <a:spLocks/>
            </p:cNvSpPr>
            <p:nvPr/>
          </p:nvSpPr>
          <p:spPr bwMode="auto">
            <a:xfrm>
              <a:off x="5887244" y="3643086"/>
              <a:ext cx="142875" cy="241300"/>
            </a:xfrm>
            <a:custGeom>
              <a:avLst/>
              <a:gdLst>
                <a:gd name="T0" fmla="*/ 68 w 90"/>
                <a:gd name="T1" fmla="*/ 2 h 152"/>
                <a:gd name="T2" fmla="*/ 59 w 90"/>
                <a:gd name="T3" fmla="*/ 0 h 152"/>
                <a:gd name="T4" fmla="*/ 53 w 90"/>
                <a:gd name="T5" fmla="*/ 4 h 152"/>
                <a:gd name="T6" fmla="*/ 43 w 90"/>
                <a:gd name="T7" fmla="*/ 2 h 152"/>
                <a:gd name="T8" fmla="*/ 7 w 90"/>
                <a:gd name="T9" fmla="*/ 4 h 152"/>
                <a:gd name="T10" fmla="*/ 6 w 90"/>
                <a:gd name="T11" fmla="*/ 17 h 152"/>
                <a:gd name="T12" fmla="*/ 10 w 90"/>
                <a:gd name="T13" fmla="*/ 35 h 152"/>
                <a:gd name="T14" fmla="*/ 14 w 90"/>
                <a:gd name="T15" fmla="*/ 69 h 152"/>
                <a:gd name="T16" fmla="*/ 6 w 90"/>
                <a:gd name="T17" fmla="*/ 89 h 152"/>
                <a:gd name="T18" fmla="*/ 0 w 90"/>
                <a:gd name="T19" fmla="*/ 116 h 152"/>
                <a:gd name="T20" fmla="*/ 10 w 90"/>
                <a:gd name="T21" fmla="*/ 136 h 152"/>
                <a:gd name="T22" fmla="*/ 9 w 90"/>
                <a:gd name="T23" fmla="*/ 146 h 152"/>
                <a:gd name="T24" fmla="*/ 27 w 90"/>
                <a:gd name="T25" fmla="*/ 152 h 152"/>
                <a:gd name="T26" fmla="*/ 46 w 90"/>
                <a:gd name="T27" fmla="*/ 145 h 152"/>
                <a:gd name="T28" fmla="*/ 58 w 90"/>
                <a:gd name="T29" fmla="*/ 137 h 152"/>
                <a:gd name="T30" fmla="*/ 90 w 90"/>
                <a:gd name="T31" fmla="*/ 123 h 152"/>
                <a:gd name="T32" fmla="*/ 86 w 90"/>
                <a:gd name="T33" fmla="*/ 115 h 152"/>
                <a:gd name="T34" fmla="*/ 81 w 90"/>
                <a:gd name="T35" fmla="*/ 100 h 152"/>
                <a:gd name="T36" fmla="*/ 79 w 90"/>
                <a:gd name="T37" fmla="*/ 88 h 152"/>
                <a:gd name="T38" fmla="*/ 83 w 90"/>
                <a:gd name="T39" fmla="*/ 66 h 152"/>
                <a:gd name="T40" fmla="*/ 78 w 90"/>
                <a:gd name="T41" fmla="*/ 58 h 152"/>
                <a:gd name="T42" fmla="*/ 76 w 90"/>
                <a:gd name="T43" fmla="*/ 39 h 152"/>
                <a:gd name="T44" fmla="*/ 76 w 90"/>
                <a:gd name="T45" fmla="*/ 22 h 152"/>
                <a:gd name="T46" fmla="*/ 68 w 90"/>
                <a:gd name="T47" fmla="*/ 9 h 152"/>
                <a:gd name="T48" fmla="*/ 68 w 90"/>
                <a:gd name="T49" fmla="*/ 2 h 152"/>
                <a:gd name="T50" fmla="*/ 68 w 90"/>
                <a:gd name="T51" fmla="*/ 2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0" h="152">
                  <a:moveTo>
                    <a:pt x="68" y="2"/>
                  </a:moveTo>
                  <a:lnTo>
                    <a:pt x="59" y="0"/>
                  </a:lnTo>
                  <a:lnTo>
                    <a:pt x="53" y="4"/>
                  </a:lnTo>
                  <a:lnTo>
                    <a:pt x="43" y="2"/>
                  </a:lnTo>
                  <a:lnTo>
                    <a:pt x="7" y="4"/>
                  </a:lnTo>
                  <a:lnTo>
                    <a:pt x="6" y="17"/>
                  </a:lnTo>
                  <a:lnTo>
                    <a:pt x="10" y="35"/>
                  </a:lnTo>
                  <a:lnTo>
                    <a:pt x="14" y="69"/>
                  </a:lnTo>
                  <a:lnTo>
                    <a:pt x="6" y="89"/>
                  </a:lnTo>
                  <a:lnTo>
                    <a:pt x="0" y="116"/>
                  </a:lnTo>
                  <a:lnTo>
                    <a:pt x="10" y="136"/>
                  </a:lnTo>
                  <a:lnTo>
                    <a:pt x="9" y="146"/>
                  </a:lnTo>
                  <a:lnTo>
                    <a:pt x="27" y="152"/>
                  </a:lnTo>
                  <a:lnTo>
                    <a:pt x="46" y="145"/>
                  </a:lnTo>
                  <a:lnTo>
                    <a:pt x="58" y="137"/>
                  </a:lnTo>
                  <a:lnTo>
                    <a:pt x="90" y="123"/>
                  </a:lnTo>
                  <a:lnTo>
                    <a:pt x="86" y="115"/>
                  </a:lnTo>
                  <a:lnTo>
                    <a:pt x="81" y="100"/>
                  </a:lnTo>
                  <a:lnTo>
                    <a:pt x="79" y="88"/>
                  </a:lnTo>
                  <a:lnTo>
                    <a:pt x="83" y="66"/>
                  </a:lnTo>
                  <a:lnTo>
                    <a:pt x="78" y="58"/>
                  </a:lnTo>
                  <a:lnTo>
                    <a:pt x="76" y="39"/>
                  </a:lnTo>
                  <a:lnTo>
                    <a:pt x="76" y="22"/>
                  </a:lnTo>
                  <a:lnTo>
                    <a:pt x="68" y="9"/>
                  </a:lnTo>
                  <a:lnTo>
                    <a:pt x="68" y="2"/>
                  </a:lnTo>
                  <a:lnTo>
                    <a:pt x="68"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7" name="Guinea">
              <a:extLst>
                <a:ext uri="{FF2B5EF4-FFF2-40B4-BE49-F238E27FC236}">
                  <a16:creationId xmlns:a16="http://schemas.microsoft.com/office/drawing/2014/main" id="{59CEDFF4-209E-45BE-A040-F091B23AD831}"/>
                </a:ext>
              </a:extLst>
            </p:cNvPr>
            <p:cNvSpPr>
              <a:spLocks/>
            </p:cNvSpPr>
            <p:nvPr/>
          </p:nvSpPr>
          <p:spPr bwMode="auto">
            <a:xfrm>
              <a:off x="5493544" y="3587524"/>
              <a:ext cx="241300" cy="200025"/>
            </a:xfrm>
            <a:custGeom>
              <a:avLst/>
              <a:gdLst>
                <a:gd name="T0" fmla="*/ 73 w 152"/>
                <a:gd name="T1" fmla="*/ 5 h 126"/>
                <a:gd name="T2" fmla="*/ 61 w 152"/>
                <a:gd name="T3" fmla="*/ 5 h 126"/>
                <a:gd name="T4" fmla="*/ 41 w 152"/>
                <a:gd name="T5" fmla="*/ 1 h 126"/>
                <a:gd name="T6" fmla="*/ 30 w 152"/>
                <a:gd name="T7" fmla="*/ 8 h 126"/>
                <a:gd name="T8" fmla="*/ 30 w 152"/>
                <a:gd name="T9" fmla="*/ 18 h 126"/>
                <a:gd name="T10" fmla="*/ 21 w 152"/>
                <a:gd name="T11" fmla="*/ 22 h 126"/>
                <a:gd name="T12" fmla="*/ 10 w 152"/>
                <a:gd name="T13" fmla="*/ 25 h 126"/>
                <a:gd name="T14" fmla="*/ 6 w 152"/>
                <a:gd name="T15" fmla="*/ 41 h 126"/>
                <a:gd name="T16" fmla="*/ 12 w 152"/>
                <a:gd name="T17" fmla="*/ 57 h 126"/>
                <a:gd name="T18" fmla="*/ 22 w 152"/>
                <a:gd name="T19" fmla="*/ 64 h 126"/>
                <a:gd name="T20" fmla="*/ 39 w 152"/>
                <a:gd name="T21" fmla="*/ 87 h 126"/>
                <a:gd name="T22" fmla="*/ 53 w 152"/>
                <a:gd name="T23" fmla="*/ 71 h 126"/>
                <a:gd name="T24" fmla="*/ 62 w 152"/>
                <a:gd name="T25" fmla="*/ 65 h 126"/>
                <a:gd name="T26" fmla="*/ 84 w 152"/>
                <a:gd name="T27" fmla="*/ 60 h 126"/>
                <a:gd name="T28" fmla="*/ 94 w 152"/>
                <a:gd name="T29" fmla="*/ 79 h 126"/>
                <a:gd name="T30" fmla="*/ 97 w 152"/>
                <a:gd name="T31" fmla="*/ 92 h 126"/>
                <a:gd name="T32" fmla="*/ 103 w 152"/>
                <a:gd name="T33" fmla="*/ 99 h 126"/>
                <a:gd name="T34" fmla="*/ 112 w 152"/>
                <a:gd name="T35" fmla="*/ 96 h 126"/>
                <a:gd name="T36" fmla="*/ 119 w 152"/>
                <a:gd name="T37" fmla="*/ 120 h 126"/>
                <a:gd name="T38" fmla="*/ 130 w 152"/>
                <a:gd name="T39" fmla="*/ 126 h 126"/>
                <a:gd name="T40" fmla="*/ 140 w 152"/>
                <a:gd name="T41" fmla="*/ 116 h 126"/>
                <a:gd name="T42" fmla="*/ 144 w 152"/>
                <a:gd name="T43" fmla="*/ 106 h 126"/>
                <a:gd name="T44" fmla="*/ 145 w 152"/>
                <a:gd name="T45" fmla="*/ 99 h 126"/>
                <a:gd name="T46" fmla="*/ 147 w 152"/>
                <a:gd name="T47" fmla="*/ 76 h 126"/>
                <a:gd name="T48" fmla="*/ 145 w 152"/>
                <a:gd name="T49" fmla="*/ 58 h 126"/>
                <a:gd name="T50" fmla="*/ 142 w 152"/>
                <a:gd name="T51" fmla="*/ 50 h 126"/>
                <a:gd name="T52" fmla="*/ 141 w 152"/>
                <a:gd name="T53" fmla="*/ 40 h 126"/>
                <a:gd name="T54" fmla="*/ 137 w 152"/>
                <a:gd name="T55" fmla="*/ 34 h 126"/>
                <a:gd name="T56" fmla="*/ 133 w 152"/>
                <a:gd name="T57" fmla="*/ 18 h 126"/>
                <a:gd name="T58" fmla="*/ 126 w 152"/>
                <a:gd name="T59" fmla="*/ 7 h 126"/>
                <a:gd name="T60" fmla="*/ 117 w 152"/>
                <a:gd name="T61" fmla="*/ 9 h 126"/>
                <a:gd name="T62" fmla="*/ 104 w 152"/>
                <a:gd name="T63" fmla="*/ 17 h 126"/>
                <a:gd name="T64" fmla="*/ 90 w 152"/>
                <a:gd name="T65" fmla="*/ 10 h 126"/>
                <a:gd name="T66" fmla="*/ 80 w 152"/>
                <a:gd name="T67" fmla="*/ 12 h 126"/>
                <a:gd name="T68" fmla="*/ 76 w 152"/>
                <a:gd name="T69" fmla="*/ 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52" h="126">
                  <a:moveTo>
                    <a:pt x="76" y="3"/>
                  </a:moveTo>
                  <a:lnTo>
                    <a:pt x="73" y="5"/>
                  </a:lnTo>
                  <a:lnTo>
                    <a:pt x="62" y="3"/>
                  </a:lnTo>
                  <a:lnTo>
                    <a:pt x="61" y="5"/>
                  </a:lnTo>
                  <a:lnTo>
                    <a:pt x="56" y="6"/>
                  </a:lnTo>
                  <a:lnTo>
                    <a:pt x="41" y="1"/>
                  </a:lnTo>
                  <a:lnTo>
                    <a:pt x="31" y="0"/>
                  </a:lnTo>
                  <a:lnTo>
                    <a:pt x="30" y="8"/>
                  </a:lnTo>
                  <a:lnTo>
                    <a:pt x="28" y="11"/>
                  </a:lnTo>
                  <a:lnTo>
                    <a:pt x="30" y="18"/>
                  </a:lnTo>
                  <a:lnTo>
                    <a:pt x="26" y="22"/>
                  </a:lnTo>
                  <a:lnTo>
                    <a:pt x="21" y="22"/>
                  </a:lnTo>
                  <a:lnTo>
                    <a:pt x="17" y="26"/>
                  </a:lnTo>
                  <a:lnTo>
                    <a:pt x="10" y="25"/>
                  </a:lnTo>
                  <a:lnTo>
                    <a:pt x="0" y="37"/>
                  </a:lnTo>
                  <a:lnTo>
                    <a:pt x="6" y="41"/>
                  </a:lnTo>
                  <a:lnTo>
                    <a:pt x="9" y="46"/>
                  </a:lnTo>
                  <a:lnTo>
                    <a:pt x="12" y="57"/>
                  </a:lnTo>
                  <a:lnTo>
                    <a:pt x="17" y="61"/>
                  </a:lnTo>
                  <a:lnTo>
                    <a:pt x="22" y="64"/>
                  </a:lnTo>
                  <a:lnTo>
                    <a:pt x="30" y="73"/>
                  </a:lnTo>
                  <a:lnTo>
                    <a:pt x="39" y="87"/>
                  </a:lnTo>
                  <a:lnTo>
                    <a:pt x="50" y="77"/>
                  </a:lnTo>
                  <a:lnTo>
                    <a:pt x="53" y="71"/>
                  </a:lnTo>
                  <a:lnTo>
                    <a:pt x="57" y="65"/>
                  </a:lnTo>
                  <a:lnTo>
                    <a:pt x="62" y="65"/>
                  </a:lnTo>
                  <a:lnTo>
                    <a:pt x="67" y="60"/>
                  </a:lnTo>
                  <a:lnTo>
                    <a:pt x="84" y="60"/>
                  </a:lnTo>
                  <a:lnTo>
                    <a:pt x="90" y="69"/>
                  </a:lnTo>
                  <a:lnTo>
                    <a:pt x="94" y="79"/>
                  </a:lnTo>
                  <a:lnTo>
                    <a:pt x="93" y="85"/>
                  </a:lnTo>
                  <a:lnTo>
                    <a:pt x="97" y="92"/>
                  </a:lnTo>
                  <a:lnTo>
                    <a:pt x="97" y="100"/>
                  </a:lnTo>
                  <a:lnTo>
                    <a:pt x="103" y="99"/>
                  </a:lnTo>
                  <a:lnTo>
                    <a:pt x="106" y="99"/>
                  </a:lnTo>
                  <a:lnTo>
                    <a:pt x="112" y="96"/>
                  </a:lnTo>
                  <a:lnTo>
                    <a:pt x="121" y="111"/>
                  </a:lnTo>
                  <a:lnTo>
                    <a:pt x="119" y="120"/>
                  </a:lnTo>
                  <a:lnTo>
                    <a:pt x="123" y="125"/>
                  </a:lnTo>
                  <a:lnTo>
                    <a:pt x="130" y="126"/>
                  </a:lnTo>
                  <a:lnTo>
                    <a:pt x="133" y="115"/>
                  </a:lnTo>
                  <a:lnTo>
                    <a:pt x="140" y="116"/>
                  </a:lnTo>
                  <a:lnTo>
                    <a:pt x="143" y="116"/>
                  </a:lnTo>
                  <a:lnTo>
                    <a:pt x="144" y="106"/>
                  </a:lnTo>
                  <a:lnTo>
                    <a:pt x="143" y="101"/>
                  </a:lnTo>
                  <a:lnTo>
                    <a:pt x="145" y="99"/>
                  </a:lnTo>
                  <a:lnTo>
                    <a:pt x="152" y="95"/>
                  </a:lnTo>
                  <a:lnTo>
                    <a:pt x="147" y="76"/>
                  </a:lnTo>
                  <a:lnTo>
                    <a:pt x="143" y="67"/>
                  </a:lnTo>
                  <a:lnTo>
                    <a:pt x="145" y="58"/>
                  </a:lnTo>
                  <a:lnTo>
                    <a:pt x="148" y="57"/>
                  </a:lnTo>
                  <a:lnTo>
                    <a:pt x="142" y="50"/>
                  </a:lnTo>
                  <a:lnTo>
                    <a:pt x="144" y="43"/>
                  </a:lnTo>
                  <a:lnTo>
                    <a:pt x="141" y="40"/>
                  </a:lnTo>
                  <a:lnTo>
                    <a:pt x="136" y="43"/>
                  </a:lnTo>
                  <a:lnTo>
                    <a:pt x="137" y="34"/>
                  </a:lnTo>
                  <a:lnTo>
                    <a:pt x="142" y="29"/>
                  </a:lnTo>
                  <a:lnTo>
                    <a:pt x="133" y="18"/>
                  </a:lnTo>
                  <a:lnTo>
                    <a:pt x="131" y="12"/>
                  </a:lnTo>
                  <a:lnTo>
                    <a:pt x="126" y="7"/>
                  </a:lnTo>
                  <a:lnTo>
                    <a:pt x="121" y="6"/>
                  </a:lnTo>
                  <a:lnTo>
                    <a:pt x="117" y="9"/>
                  </a:lnTo>
                  <a:lnTo>
                    <a:pt x="110" y="13"/>
                  </a:lnTo>
                  <a:lnTo>
                    <a:pt x="104" y="17"/>
                  </a:lnTo>
                  <a:lnTo>
                    <a:pt x="95" y="15"/>
                  </a:lnTo>
                  <a:lnTo>
                    <a:pt x="90" y="10"/>
                  </a:lnTo>
                  <a:lnTo>
                    <a:pt x="86" y="9"/>
                  </a:lnTo>
                  <a:lnTo>
                    <a:pt x="80" y="12"/>
                  </a:lnTo>
                  <a:lnTo>
                    <a:pt x="77" y="12"/>
                  </a:lnTo>
                  <a:lnTo>
                    <a:pt x="76" y="3"/>
                  </a:lnTo>
                  <a:lnTo>
                    <a:pt x="76"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8" name="Gambia">
              <a:extLst>
                <a:ext uri="{FF2B5EF4-FFF2-40B4-BE49-F238E27FC236}">
                  <a16:creationId xmlns:a16="http://schemas.microsoft.com/office/drawing/2014/main" id="{17967F04-3AD4-4316-9D3E-0CD1587BB597}"/>
                </a:ext>
              </a:extLst>
            </p:cNvPr>
            <p:cNvSpPr>
              <a:spLocks/>
            </p:cNvSpPr>
            <p:nvPr/>
          </p:nvSpPr>
          <p:spPr bwMode="auto">
            <a:xfrm>
              <a:off x="5437981" y="3539898"/>
              <a:ext cx="100012" cy="26988"/>
            </a:xfrm>
            <a:custGeom>
              <a:avLst/>
              <a:gdLst>
                <a:gd name="T0" fmla="*/ 0 w 63"/>
                <a:gd name="T1" fmla="*/ 17 h 17"/>
                <a:gd name="T2" fmla="*/ 19 w 63"/>
                <a:gd name="T3" fmla="*/ 17 h 17"/>
                <a:gd name="T4" fmla="*/ 25 w 63"/>
                <a:gd name="T5" fmla="*/ 14 h 17"/>
                <a:gd name="T6" fmla="*/ 28 w 63"/>
                <a:gd name="T7" fmla="*/ 14 h 17"/>
                <a:gd name="T8" fmla="*/ 36 w 63"/>
                <a:gd name="T9" fmla="*/ 8 h 17"/>
                <a:gd name="T10" fmla="*/ 45 w 63"/>
                <a:gd name="T11" fmla="*/ 13 h 17"/>
                <a:gd name="T12" fmla="*/ 54 w 63"/>
                <a:gd name="T13" fmla="*/ 14 h 17"/>
                <a:gd name="T14" fmla="*/ 63 w 63"/>
                <a:gd name="T15" fmla="*/ 8 h 17"/>
                <a:gd name="T16" fmla="*/ 59 w 63"/>
                <a:gd name="T17" fmla="*/ 2 h 17"/>
                <a:gd name="T18" fmla="*/ 52 w 63"/>
                <a:gd name="T19" fmla="*/ 5 h 17"/>
                <a:gd name="T20" fmla="*/ 45 w 63"/>
                <a:gd name="T21" fmla="*/ 5 h 17"/>
                <a:gd name="T22" fmla="*/ 38 w 63"/>
                <a:gd name="T23" fmla="*/ 0 h 17"/>
                <a:gd name="T24" fmla="*/ 31 w 63"/>
                <a:gd name="T25" fmla="*/ 0 h 17"/>
                <a:gd name="T26" fmla="*/ 26 w 63"/>
                <a:gd name="T27" fmla="*/ 5 h 17"/>
                <a:gd name="T28" fmla="*/ 3 w 63"/>
                <a:gd name="T29" fmla="*/ 6 h 17"/>
                <a:gd name="T30" fmla="*/ 0 w 63"/>
                <a:gd name="T31" fmla="*/ 17 h 17"/>
                <a:gd name="T32" fmla="*/ 0 w 63"/>
                <a:gd name="T33" fmla="*/ 17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17">
                  <a:moveTo>
                    <a:pt x="0" y="17"/>
                  </a:moveTo>
                  <a:lnTo>
                    <a:pt x="19" y="17"/>
                  </a:lnTo>
                  <a:lnTo>
                    <a:pt x="25" y="14"/>
                  </a:lnTo>
                  <a:lnTo>
                    <a:pt x="28" y="14"/>
                  </a:lnTo>
                  <a:lnTo>
                    <a:pt x="36" y="8"/>
                  </a:lnTo>
                  <a:lnTo>
                    <a:pt x="45" y="13"/>
                  </a:lnTo>
                  <a:lnTo>
                    <a:pt x="54" y="14"/>
                  </a:lnTo>
                  <a:lnTo>
                    <a:pt x="63" y="8"/>
                  </a:lnTo>
                  <a:lnTo>
                    <a:pt x="59" y="2"/>
                  </a:lnTo>
                  <a:lnTo>
                    <a:pt x="52" y="5"/>
                  </a:lnTo>
                  <a:lnTo>
                    <a:pt x="45" y="5"/>
                  </a:lnTo>
                  <a:lnTo>
                    <a:pt x="38" y="0"/>
                  </a:lnTo>
                  <a:lnTo>
                    <a:pt x="31" y="0"/>
                  </a:lnTo>
                  <a:lnTo>
                    <a:pt x="26" y="5"/>
                  </a:lnTo>
                  <a:lnTo>
                    <a:pt x="3" y="6"/>
                  </a:lnTo>
                  <a:lnTo>
                    <a:pt x="0" y="17"/>
                  </a:lnTo>
                  <a:lnTo>
                    <a:pt x="0"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59" name="Guinea-Bissau">
              <a:extLst>
                <a:ext uri="{FF2B5EF4-FFF2-40B4-BE49-F238E27FC236}">
                  <a16:creationId xmlns:a16="http://schemas.microsoft.com/office/drawing/2014/main" id="{2411FE2F-B6DB-4317-8112-BFA82865C13D}"/>
                </a:ext>
              </a:extLst>
            </p:cNvPr>
            <p:cNvSpPr>
              <a:spLocks/>
            </p:cNvSpPr>
            <p:nvPr/>
          </p:nvSpPr>
          <p:spPr bwMode="auto">
            <a:xfrm>
              <a:off x="5442744" y="3585936"/>
              <a:ext cx="100012" cy="60325"/>
            </a:xfrm>
            <a:custGeom>
              <a:avLst/>
              <a:gdLst>
                <a:gd name="T0" fmla="*/ 63 w 63"/>
                <a:gd name="T1" fmla="*/ 1 h 38"/>
                <a:gd name="T2" fmla="*/ 24 w 63"/>
                <a:gd name="T3" fmla="*/ 0 h 38"/>
                <a:gd name="T4" fmla="*/ 19 w 63"/>
                <a:gd name="T5" fmla="*/ 2 h 38"/>
                <a:gd name="T6" fmla="*/ 11 w 63"/>
                <a:gd name="T7" fmla="*/ 2 h 38"/>
                <a:gd name="T8" fmla="*/ 0 w 63"/>
                <a:gd name="T9" fmla="*/ 6 h 38"/>
                <a:gd name="T10" fmla="*/ 2 w 63"/>
                <a:gd name="T11" fmla="*/ 11 h 38"/>
                <a:gd name="T12" fmla="*/ 8 w 63"/>
                <a:gd name="T13" fmla="*/ 16 h 38"/>
                <a:gd name="T14" fmla="*/ 8 w 63"/>
                <a:gd name="T15" fmla="*/ 19 h 38"/>
                <a:gd name="T16" fmla="*/ 12 w 63"/>
                <a:gd name="T17" fmla="*/ 26 h 38"/>
                <a:gd name="T18" fmla="*/ 22 w 63"/>
                <a:gd name="T19" fmla="*/ 28 h 38"/>
                <a:gd name="T20" fmla="*/ 32 w 63"/>
                <a:gd name="T21" fmla="*/ 38 h 38"/>
                <a:gd name="T22" fmla="*/ 42 w 63"/>
                <a:gd name="T23" fmla="*/ 26 h 38"/>
                <a:gd name="T24" fmla="*/ 49 w 63"/>
                <a:gd name="T25" fmla="*/ 27 h 38"/>
                <a:gd name="T26" fmla="*/ 53 w 63"/>
                <a:gd name="T27" fmla="*/ 23 h 38"/>
                <a:gd name="T28" fmla="*/ 58 w 63"/>
                <a:gd name="T29" fmla="*/ 23 h 38"/>
                <a:gd name="T30" fmla="*/ 62 w 63"/>
                <a:gd name="T31" fmla="*/ 19 h 38"/>
                <a:gd name="T32" fmla="*/ 60 w 63"/>
                <a:gd name="T33" fmla="*/ 12 h 38"/>
                <a:gd name="T34" fmla="*/ 62 w 63"/>
                <a:gd name="T35" fmla="*/ 9 h 38"/>
                <a:gd name="T36" fmla="*/ 63 w 63"/>
                <a:gd name="T37" fmla="*/ 1 h 38"/>
                <a:gd name="T38" fmla="*/ 63 w 63"/>
                <a:gd name="T39" fmla="*/ 1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63" h="38">
                  <a:moveTo>
                    <a:pt x="63" y="1"/>
                  </a:moveTo>
                  <a:lnTo>
                    <a:pt x="24" y="0"/>
                  </a:lnTo>
                  <a:lnTo>
                    <a:pt x="19" y="2"/>
                  </a:lnTo>
                  <a:lnTo>
                    <a:pt x="11" y="2"/>
                  </a:lnTo>
                  <a:lnTo>
                    <a:pt x="0" y="6"/>
                  </a:lnTo>
                  <a:lnTo>
                    <a:pt x="2" y="11"/>
                  </a:lnTo>
                  <a:lnTo>
                    <a:pt x="8" y="16"/>
                  </a:lnTo>
                  <a:lnTo>
                    <a:pt x="8" y="19"/>
                  </a:lnTo>
                  <a:lnTo>
                    <a:pt x="12" y="26"/>
                  </a:lnTo>
                  <a:lnTo>
                    <a:pt x="22" y="28"/>
                  </a:lnTo>
                  <a:lnTo>
                    <a:pt x="32" y="38"/>
                  </a:lnTo>
                  <a:lnTo>
                    <a:pt x="42" y="26"/>
                  </a:lnTo>
                  <a:lnTo>
                    <a:pt x="49" y="27"/>
                  </a:lnTo>
                  <a:lnTo>
                    <a:pt x="53" y="23"/>
                  </a:lnTo>
                  <a:lnTo>
                    <a:pt x="58" y="23"/>
                  </a:lnTo>
                  <a:lnTo>
                    <a:pt x="62" y="19"/>
                  </a:lnTo>
                  <a:lnTo>
                    <a:pt x="60" y="12"/>
                  </a:lnTo>
                  <a:lnTo>
                    <a:pt x="62" y="9"/>
                  </a:lnTo>
                  <a:lnTo>
                    <a:pt x="63" y="1"/>
                  </a:lnTo>
                  <a:lnTo>
                    <a:pt x="6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0" name="Equatorial Guinea">
              <a:extLst>
                <a:ext uri="{FF2B5EF4-FFF2-40B4-BE49-F238E27FC236}">
                  <a16:creationId xmlns:a16="http://schemas.microsoft.com/office/drawing/2014/main" id="{43189828-0095-4A0A-B480-F5CAB42C5AF5}"/>
                </a:ext>
              </a:extLst>
            </p:cNvPr>
            <p:cNvSpPr>
              <a:spLocks/>
            </p:cNvSpPr>
            <p:nvPr/>
          </p:nvSpPr>
          <p:spPr bwMode="auto">
            <a:xfrm>
              <a:off x="6306344" y="3974873"/>
              <a:ext cx="65087" cy="49213"/>
            </a:xfrm>
            <a:custGeom>
              <a:avLst/>
              <a:gdLst>
                <a:gd name="T0" fmla="*/ 41 w 41"/>
                <a:gd name="T1" fmla="*/ 1 h 31"/>
                <a:gd name="T2" fmla="*/ 7 w 41"/>
                <a:gd name="T3" fmla="*/ 0 h 31"/>
                <a:gd name="T4" fmla="*/ 0 w 41"/>
                <a:gd name="T5" fmla="*/ 27 h 31"/>
                <a:gd name="T6" fmla="*/ 3 w 41"/>
                <a:gd name="T7" fmla="*/ 31 h 31"/>
                <a:gd name="T8" fmla="*/ 11 w 41"/>
                <a:gd name="T9" fmla="*/ 30 h 31"/>
                <a:gd name="T10" fmla="*/ 41 w 41"/>
                <a:gd name="T11" fmla="*/ 30 h 31"/>
                <a:gd name="T12" fmla="*/ 41 w 41"/>
                <a:gd name="T13" fmla="*/ 1 h 31"/>
                <a:gd name="T14" fmla="*/ 41 w 41"/>
                <a:gd name="T15" fmla="*/ 1 h 3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1" h="31">
                  <a:moveTo>
                    <a:pt x="41" y="1"/>
                  </a:moveTo>
                  <a:lnTo>
                    <a:pt x="7" y="0"/>
                  </a:lnTo>
                  <a:lnTo>
                    <a:pt x="0" y="27"/>
                  </a:lnTo>
                  <a:lnTo>
                    <a:pt x="3" y="31"/>
                  </a:lnTo>
                  <a:lnTo>
                    <a:pt x="11" y="30"/>
                  </a:lnTo>
                  <a:lnTo>
                    <a:pt x="41" y="30"/>
                  </a:lnTo>
                  <a:lnTo>
                    <a:pt x="41" y="1"/>
                  </a:lnTo>
                  <a:lnTo>
                    <a:pt x="41"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1" name="Greece">
              <a:extLst>
                <a:ext uri="{FF2B5EF4-FFF2-40B4-BE49-F238E27FC236}">
                  <a16:creationId xmlns:a16="http://schemas.microsoft.com/office/drawing/2014/main" id="{ACF995CC-EF7D-4E48-A5A2-6792590E75F0}"/>
                </a:ext>
              </a:extLst>
            </p:cNvPr>
            <p:cNvSpPr>
              <a:spLocks noEditPoints="1"/>
            </p:cNvSpPr>
            <p:nvPr/>
          </p:nvSpPr>
          <p:spPr bwMode="auto">
            <a:xfrm>
              <a:off x="6615906" y="2484211"/>
              <a:ext cx="204787" cy="260350"/>
            </a:xfrm>
            <a:custGeom>
              <a:avLst/>
              <a:gdLst>
                <a:gd name="T0" fmla="*/ 77 w 129"/>
                <a:gd name="T1" fmla="*/ 146 h 164"/>
                <a:gd name="T2" fmla="*/ 73 w 129"/>
                <a:gd name="T3" fmla="*/ 156 h 164"/>
                <a:gd name="T4" fmla="*/ 99 w 129"/>
                <a:gd name="T5" fmla="*/ 161 h 164"/>
                <a:gd name="T6" fmla="*/ 99 w 129"/>
                <a:gd name="T7" fmla="*/ 164 h 164"/>
                <a:gd name="T8" fmla="*/ 127 w 129"/>
                <a:gd name="T9" fmla="*/ 162 h 164"/>
                <a:gd name="T10" fmla="*/ 129 w 129"/>
                <a:gd name="T11" fmla="*/ 155 h 164"/>
                <a:gd name="T12" fmla="*/ 118 w 129"/>
                <a:gd name="T13" fmla="*/ 158 h 164"/>
                <a:gd name="T14" fmla="*/ 118 w 129"/>
                <a:gd name="T15" fmla="*/ 154 h 164"/>
                <a:gd name="T16" fmla="*/ 103 w 129"/>
                <a:gd name="T17" fmla="*/ 152 h 164"/>
                <a:gd name="T18" fmla="*/ 88 w 129"/>
                <a:gd name="T19" fmla="*/ 153 h 164"/>
                <a:gd name="T20" fmla="*/ 77 w 129"/>
                <a:gd name="T21" fmla="*/ 146 h 164"/>
                <a:gd name="T22" fmla="*/ 77 w 129"/>
                <a:gd name="T23" fmla="*/ 146 h 164"/>
                <a:gd name="T24" fmla="*/ 120 w 129"/>
                <a:gd name="T25" fmla="*/ 6 h 164"/>
                <a:gd name="T26" fmla="*/ 110 w 129"/>
                <a:gd name="T27" fmla="*/ 0 h 164"/>
                <a:gd name="T28" fmla="*/ 111 w 129"/>
                <a:gd name="T29" fmla="*/ 11 h 164"/>
                <a:gd name="T30" fmla="*/ 94 w 129"/>
                <a:gd name="T31" fmla="*/ 13 h 164"/>
                <a:gd name="T32" fmla="*/ 79 w 129"/>
                <a:gd name="T33" fmla="*/ 6 h 164"/>
                <a:gd name="T34" fmla="*/ 64 w 129"/>
                <a:gd name="T35" fmla="*/ 11 h 164"/>
                <a:gd name="T36" fmla="*/ 50 w 129"/>
                <a:gd name="T37" fmla="*/ 11 h 164"/>
                <a:gd name="T38" fmla="*/ 46 w 129"/>
                <a:gd name="T39" fmla="*/ 11 h 164"/>
                <a:gd name="T40" fmla="*/ 44 w 129"/>
                <a:gd name="T41" fmla="*/ 16 h 164"/>
                <a:gd name="T42" fmla="*/ 33 w 129"/>
                <a:gd name="T43" fmla="*/ 15 h 164"/>
                <a:gd name="T44" fmla="*/ 27 w 129"/>
                <a:gd name="T45" fmla="*/ 20 h 164"/>
                <a:gd name="T46" fmla="*/ 14 w 129"/>
                <a:gd name="T47" fmla="*/ 22 h 164"/>
                <a:gd name="T48" fmla="*/ 14 w 129"/>
                <a:gd name="T49" fmla="*/ 28 h 164"/>
                <a:gd name="T50" fmla="*/ 8 w 129"/>
                <a:gd name="T51" fmla="*/ 32 h 164"/>
                <a:gd name="T52" fmla="*/ 8 w 129"/>
                <a:gd name="T53" fmla="*/ 39 h 164"/>
                <a:gd name="T54" fmla="*/ 0 w 129"/>
                <a:gd name="T55" fmla="*/ 50 h 164"/>
                <a:gd name="T56" fmla="*/ 2 w 129"/>
                <a:gd name="T57" fmla="*/ 58 h 164"/>
                <a:gd name="T58" fmla="*/ 13 w 129"/>
                <a:gd name="T59" fmla="*/ 71 h 164"/>
                <a:gd name="T60" fmla="*/ 21 w 129"/>
                <a:gd name="T61" fmla="*/ 82 h 164"/>
                <a:gd name="T62" fmla="*/ 26 w 129"/>
                <a:gd name="T63" fmla="*/ 99 h 164"/>
                <a:gd name="T64" fmla="*/ 34 w 129"/>
                <a:gd name="T65" fmla="*/ 118 h 164"/>
                <a:gd name="T66" fmla="*/ 52 w 129"/>
                <a:gd name="T67" fmla="*/ 129 h 164"/>
                <a:gd name="T68" fmla="*/ 64 w 129"/>
                <a:gd name="T69" fmla="*/ 128 h 164"/>
                <a:gd name="T70" fmla="*/ 56 w 129"/>
                <a:gd name="T71" fmla="*/ 106 h 164"/>
                <a:gd name="T72" fmla="*/ 68 w 129"/>
                <a:gd name="T73" fmla="*/ 105 h 164"/>
                <a:gd name="T74" fmla="*/ 60 w 129"/>
                <a:gd name="T75" fmla="*/ 91 h 164"/>
                <a:gd name="T76" fmla="*/ 79 w 129"/>
                <a:gd name="T77" fmla="*/ 98 h 164"/>
                <a:gd name="T78" fmla="*/ 78 w 129"/>
                <a:gd name="T79" fmla="*/ 84 h 164"/>
                <a:gd name="T80" fmla="*/ 68 w 129"/>
                <a:gd name="T81" fmla="*/ 77 h 164"/>
                <a:gd name="T82" fmla="*/ 56 w 129"/>
                <a:gd name="T83" fmla="*/ 66 h 164"/>
                <a:gd name="T84" fmla="*/ 62 w 129"/>
                <a:gd name="T85" fmla="*/ 62 h 164"/>
                <a:gd name="T86" fmla="*/ 52 w 129"/>
                <a:gd name="T87" fmla="*/ 50 h 164"/>
                <a:gd name="T88" fmla="*/ 46 w 129"/>
                <a:gd name="T89" fmla="*/ 35 h 164"/>
                <a:gd name="T90" fmla="*/ 49 w 129"/>
                <a:gd name="T91" fmla="*/ 31 h 164"/>
                <a:gd name="T92" fmla="*/ 60 w 129"/>
                <a:gd name="T93" fmla="*/ 43 h 164"/>
                <a:gd name="T94" fmla="*/ 72 w 129"/>
                <a:gd name="T95" fmla="*/ 43 h 164"/>
                <a:gd name="T96" fmla="*/ 81 w 129"/>
                <a:gd name="T97" fmla="*/ 39 h 164"/>
                <a:gd name="T98" fmla="*/ 66 w 129"/>
                <a:gd name="T99" fmla="*/ 26 h 164"/>
                <a:gd name="T100" fmla="*/ 89 w 129"/>
                <a:gd name="T101" fmla="*/ 20 h 164"/>
                <a:gd name="T102" fmla="*/ 100 w 129"/>
                <a:gd name="T103" fmla="*/ 22 h 164"/>
                <a:gd name="T104" fmla="*/ 111 w 129"/>
                <a:gd name="T105" fmla="*/ 22 h 164"/>
                <a:gd name="T106" fmla="*/ 115 w 129"/>
                <a:gd name="T107" fmla="*/ 20 h 164"/>
                <a:gd name="T108" fmla="*/ 120 w 129"/>
                <a:gd name="T109" fmla="*/ 6 h 164"/>
                <a:gd name="T110" fmla="*/ 120 w 129"/>
                <a:gd name="T111" fmla="*/ 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9" h="164">
                  <a:moveTo>
                    <a:pt x="77" y="146"/>
                  </a:moveTo>
                  <a:lnTo>
                    <a:pt x="73" y="156"/>
                  </a:lnTo>
                  <a:lnTo>
                    <a:pt x="99" y="161"/>
                  </a:lnTo>
                  <a:lnTo>
                    <a:pt x="99" y="164"/>
                  </a:lnTo>
                  <a:lnTo>
                    <a:pt x="127" y="162"/>
                  </a:lnTo>
                  <a:lnTo>
                    <a:pt x="129" y="155"/>
                  </a:lnTo>
                  <a:lnTo>
                    <a:pt x="118" y="158"/>
                  </a:lnTo>
                  <a:lnTo>
                    <a:pt x="118" y="154"/>
                  </a:lnTo>
                  <a:lnTo>
                    <a:pt x="103" y="152"/>
                  </a:lnTo>
                  <a:lnTo>
                    <a:pt x="88" y="153"/>
                  </a:lnTo>
                  <a:lnTo>
                    <a:pt x="77" y="146"/>
                  </a:lnTo>
                  <a:lnTo>
                    <a:pt x="77" y="146"/>
                  </a:lnTo>
                  <a:close/>
                  <a:moveTo>
                    <a:pt x="120" y="6"/>
                  </a:moveTo>
                  <a:lnTo>
                    <a:pt x="110" y="0"/>
                  </a:lnTo>
                  <a:lnTo>
                    <a:pt x="111" y="11"/>
                  </a:lnTo>
                  <a:lnTo>
                    <a:pt x="94" y="13"/>
                  </a:lnTo>
                  <a:lnTo>
                    <a:pt x="79" y="6"/>
                  </a:lnTo>
                  <a:lnTo>
                    <a:pt x="64" y="11"/>
                  </a:lnTo>
                  <a:lnTo>
                    <a:pt x="50" y="11"/>
                  </a:lnTo>
                  <a:lnTo>
                    <a:pt x="46" y="11"/>
                  </a:lnTo>
                  <a:lnTo>
                    <a:pt x="44" y="16"/>
                  </a:lnTo>
                  <a:lnTo>
                    <a:pt x="33" y="15"/>
                  </a:lnTo>
                  <a:lnTo>
                    <a:pt x="27" y="20"/>
                  </a:lnTo>
                  <a:lnTo>
                    <a:pt x="14" y="22"/>
                  </a:lnTo>
                  <a:lnTo>
                    <a:pt x="14" y="28"/>
                  </a:lnTo>
                  <a:lnTo>
                    <a:pt x="8" y="32"/>
                  </a:lnTo>
                  <a:lnTo>
                    <a:pt x="8" y="39"/>
                  </a:lnTo>
                  <a:lnTo>
                    <a:pt x="0" y="50"/>
                  </a:lnTo>
                  <a:lnTo>
                    <a:pt x="2" y="58"/>
                  </a:lnTo>
                  <a:lnTo>
                    <a:pt x="13" y="71"/>
                  </a:lnTo>
                  <a:lnTo>
                    <a:pt x="21" y="82"/>
                  </a:lnTo>
                  <a:lnTo>
                    <a:pt x="26" y="99"/>
                  </a:lnTo>
                  <a:lnTo>
                    <a:pt x="34" y="118"/>
                  </a:lnTo>
                  <a:lnTo>
                    <a:pt x="52" y="129"/>
                  </a:lnTo>
                  <a:lnTo>
                    <a:pt x="64" y="128"/>
                  </a:lnTo>
                  <a:lnTo>
                    <a:pt x="56" y="106"/>
                  </a:lnTo>
                  <a:lnTo>
                    <a:pt x="68" y="105"/>
                  </a:lnTo>
                  <a:lnTo>
                    <a:pt x="60" y="91"/>
                  </a:lnTo>
                  <a:lnTo>
                    <a:pt x="79" y="98"/>
                  </a:lnTo>
                  <a:lnTo>
                    <a:pt x="78" y="84"/>
                  </a:lnTo>
                  <a:lnTo>
                    <a:pt x="68" y="77"/>
                  </a:lnTo>
                  <a:lnTo>
                    <a:pt x="56" y="66"/>
                  </a:lnTo>
                  <a:lnTo>
                    <a:pt x="62" y="62"/>
                  </a:lnTo>
                  <a:lnTo>
                    <a:pt x="52" y="50"/>
                  </a:lnTo>
                  <a:lnTo>
                    <a:pt x="46" y="35"/>
                  </a:lnTo>
                  <a:lnTo>
                    <a:pt x="49" y="31"/>
                  </a:lnTo>
                  <a:lnTo>
                    <a:pt x="60" y="43"/>
                  </a:lnTo>
                  <a:lnTo>
                    <a:pt x="72" y="43"/>
                  </a:lnTo>
                  <a:lnTo>
                    <a:pt x="81" y="39"/>
                  </a:lnTo>
                  <a:lnTo>
                    <a:pt x="66" y="26"/>
                  </a:lnTo>
                  <a:lnTo>
                    <a:pt x="89" y="20"/>
                  </a:lnTo>
                  <a:lnTo>
                    <a:pt x="100" y="22"/>
                  </a:lnTo>
                  <a:lnTo>
                    <a:pt x="111" y="22"/>
                  </a:lnTo>
                  <a:lnTo>
                    <a:pt x="115" y="20"/>
                  </a:lnTo>
                  <a:lnTo>
                    <a:pt x="120" y="6"/>
                  </a:lnTo>
                  <a:lnTo>
                    <a:pt x="120"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2" name="Greenland">
              <a:extLst>
                <a:ext uri="{FF2B5EF4-FFF2-40B4-BE49-F238E27FC236}">
                  <a16:creationId xmlns:a16="http://schemas.microsoft.com/office/drawing/2014/main" id="{34FBC3B0-7DEB-482E-9A7A-31B32A3D9086}"/>
                </a:ext>
              </a:extLst>
            </p:cNvPr>
            <p:cNvSpPr>
              <a:spLocks/>
            </p:cNvSpPr>
            <p:nvPr/>
          </p:nvSpPr>
          <p:spPr bwMode="auto">
            <a:xfrm>
              <a:off x="4428331" y="1120549"/>
              <a:ext cx="1320800" cy="704849"/>
            </a:xfrm>
            <a:custGeom>
              <a:avLst/>
              <a:gdLst>
                <a:gd name="T0" fmla="*/ 512 w 832"/>
                <a:gd name="T1" fmla="*/ 1 h 444"/>
                <a:gd name="T2" fmla="*/ 404 w 832"/>
                <a:gd name="T3" fmla="*/ 13 h 444"/>
                <a:gd name="T4" fmla="*/ 399 w 832"/>
                <a:gd name="T5" fmla="*/ 22 h 444"/>
                <a:gd name="T6" fmla="*/ 317 w 832"/>
                <a:gd name="T7" fmla="*/ 24 h 444"/>
                <a:gd name="T8" fmla="*/ 227 w 832"/>
                <a:gd name="T9" fmla="*/ 21 h 444"/>
                <a:gd name="T10" fmla="*/ 173 w 832"/>
                <a:gd name="T11" fmla="*/ 34 h 444"/>
                <a:gd name="T12" fmla="*/ 132 w 832"/>
                <a:gd name="T13" fmla="*/ 57 h 444"/>
                <a:gd name="T14" fmla="*/ 8 w 832"/>
                <a:gd name="T15" fmla="*/ 79 h 444"/>
                <a:gd name="T16" fmla="*/ 78 w 832"/>
                <a:gd name="T17" fmla="*/ 97 h 444"/>
                <a:gd name="T18" fmla="*/ 23 w 832"/>
                <a:gd name="T19" fmla="*/ 116 h 444"/>
                <a:gd name="T20" fmla="*/ 107 w 832"/>
                <a:gd name="T21" fmla="*/ 119 h 444"/>
                <a:gd name="T22" fmla="*/ 160 w 832"/>
                <a:gd name="T23" fmla="*/ 139 h 444"/>
                <a:gd name="T24" fmla="*/ 183 w 832"/>
                <a:gd name="T25" fmla="*/ 179 h 444"/>
                <a:gd name="T26" fmla="*/ 171 w 832"/>
                <a:gd name="T27" fmla="*/ 209 h 444"/>
                <a:gd name="T28" fmla="*/ 217 w 832"/>
                <a:gd name="T29" fmla="*/ 226 h 444"/>
                <a:gd name="T30" fmla="*/ 164 w 832"/>
                <a:gd name="T31" fmla="*/ 231 h 444"/>
                <a:gd name="T32" fmla="*/ 189 w 832"/>
                <a:gd name="T33" fmla="*/ 248 h 444"/>
                <a:gd name="T34" fmla="*/ 209 w 832"/>
                <a:gd name="T35" fmla="*/ 254 h 444"/>
                <a:gd name="T36" fmla="*/ 146 w 832"/>
                <a:gd name="T37" fmla="*/ 293 h 444"/>
                <a:gd name="T38" fmla="*/ 156 w 832"/>
                <a:gd name="T39" fmla="*/ 335 h 444"/>
                <a:gd name="T40" fmla="*/ 170 w 832"/>
                <a:gd name="T41" fmla="*/ 394 h 444"/>
                <a:gd name="T42" fmla="*/ 218 w 832"/>
                <a:gd name="T43" fmla="*/ 427 h 444"/>
                <a:gd name="T44" fmla="*/ 276 w 832"/>
                <a:gd name="T45" fmla="*/ 422 h 444"/>
                <a:gd name="T46" fmla="*/ 320 w 832"/>
                <a:gd name="T47" fmla="*/ 371 h 444"/>
                <a:gd name="T48" fmla="*/ 355 w 832"/>
                <a:gd name="T49" fmla="*/ 329 h 444"/>
                <a:gd name="T50" fmla="*/ 413 w 832"/>
                <a:gd name="T51" fmla="*/ 318 h 444"/>
                <a:gd name="T52" fmla="*/ 497 w 832"/>
                <a:gd name="T53" fmla="*/ 274 h 444"/>
                <a:gd name="T54" fmla="*/ 607 w 832"/>
                <a:gd name="T55" fmla="*/ 251 h 444"/>
                <a:gd name="T56" fmla="*/ 591 w 832"/>
                <a:gd name="T57" fmla="*/ 232 h 444"/>
                <a:gd name="T58" fmla="*/ 624 w 832"/>
                <a:gd name="T59" fmla="*/ 219 h 444"/>
                <a:gd name="T60" fmla="*/ 660 w 832"/>
                <a:gd name="T61" fmla="*/ 207 h 444"/>
                <a:gd name="T62" fmla="*/ 633 w 832"/>
                <a:gd name="T63" fmla="*/ 186 h 444"/>
                <a:gd name="T64" fmla="*/ 647 w 832"/>
                <a:gd name="T65" fmla="*/ 173 h 444"/>
                <a:gd name="T66" fmla="*/ 693 w 832"/>
                <a:gd name="T67" fmla="*/ 162 h 444"/>
                <a:gd name="T68" fmla="*/ 696 w 832"/>
                <a:gd name="T69" fmla="*/ 138 h 444"/>
                <a:gd name="T70" fmla="*/ 689 w 832"/>
                <a:gd name="T71" fmla="*/ 111 h 444"/>
                <a:gd name="T72" fmla="*/ 720 w 832"/>
                <a:gd name="T73" fmla="*/ 92 h 444"/>
                <a:gd name="T74" fmla="*/ 757 w 832"/>
                <a:gd name="T75" fmla="*/ 50 h 444"/>
                <a:gd name="T76" fmla="*/ 777 w 832"/>
                <a:gd name="T77" fmla="*/ 44 h 444"/>
                <a:gd name="T78" fmla="*/ 789 w 832"/>
                <a:gd name="T79" fmla="*/ 23 h 444"/>
                <a:gd name="T80" fmla="*/ 707 w 832"/>
                <a:gd name="T81" fmla="*/ 26 h 444"/>
                <a:gd name="T82" fmla="*/ 636 w 832"/>
                <a:gd name="T83" fmla="*/ 20 h 444"/>
                <a:gd name="T84" fmla="*/ 654 w 832"/>
                <a:gd name="T85" fmla="*/ 18 h 444"/>
                <a:gd name="T86" fmla="*/ 654 w 832"/>
                <a:gd name="T87" fmla="*/ 1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832" h="444">
                  <a:moveTo>
                    <a:pt x="654" y="1"/>
                  </a:moveTo>
                  <a:lnTo>
                    <a:pt x="557" y="0"/>
                  </a:lnTo>
                  <a:lnTo>
                    <a:pt x="512" y="1"/>
                  </a:lnTo>
                  <a:lnTo>
                    <a:pt x="494" y="6"/>
                  </a:lnTo>
                  <a:lnTo>
                    <a:pt x="451" y="6"/>
                  </a:lnTo>
                  <a:lnTo>
                    <a:pt x="404" y="13"/>
                  </a:lnTo>
                  <a:lnTo>
                    <a:pt x="397" y="20"/>
                  </a:lnTo>
                  <a:lnTo>
                    <a:pt x="423" y="27"/>
                  </a:lnTo>
                  <a:lnTo>
                    <a:pt x="399" y="22"/>
                  </a:lnTo>
                  <a:lnTo>
                    <a:pt x="382" y="21"/>
                  </a:lnTo>
                  <a:lnTo>
                    <a:pt x="356" y="16"/>
                  </a:lnTo>
                  <a:lnTo>
                    <a:pt x="317" y="24"/>
                  </a:lnTo>
                  <a:lnTo>
                    <a:pt x="307" y="20"/>
                  </a:lnTo>
                  <a:lnTo>
                    <a:pt x="268" y="20"/>
                  </a:lnTo>
                  <a:lnTo>
                    <a:pt x="227" y="21"/>
                  </a:lnTo>
                  <a:lnTo>
                    <a:pt x="194" y="25"/>
                  </a:lnTo>
                  <a:lnTo>
                    <a:pt x="193" y="32"/>
                  </a:lnTo>
                  <a:lnTo>
                    <a:pt x="173" y="34"/>
                  </a:lnTo>
                  <a:lnTo>
                    <a:pt x="119" y="45"/>
                  </a:lnTo>
                  <a:lnTo>
                    <a:pt x="101" y="51"/>
                  </a:lnTo>
                  <a:lnTo>
                    <a:pt x="132" y="57"/>
                  </a:lnTo>
                  <a:lnTo>
                    <a:pt x="122" y="63"/>
                  </a:lnTo>
                  <a:lnTo>
                    <a:pt x="66" y="71"/>
                  </a:lnTo>
                  <a:lnTo>
                    <a:pt x="8" y="79"/>
                  </a:lnTo>
                  <a:lnTo>
                    <a:pt x="0" y="86"/>
                  </a:lnTo>
                  <a:lnTo>
                    <a:pt x="24" y="93"/>
                  </a:lnTo>
                  <a:lnTo>
                    <a:pt x="78" y="97"/>
                  </a:lnTo>
                  <a:lnTo>
                    <a:pt x="50" y="98"/>
                  </a:lnTo>
                  <a:lnTo>
                    <a:pt x="9" y="104"/>
                  </a:lnTo>
                  <a:lnTo>
                    <a:pt x="23" y="116"/>
                  </a:lnTo>
                  <a:lnTo>
                    <a:pt x="34" y="121"/>
                  </a:lnTo>
                  <a:lnTo>
                    <a:pt x="70" y="119"/>
                  </a:lnTo>
                  <a:lnTo>
                    <a:pt x="107" y="119"/>
                  </a:lnTo>
                  <a:lnTo>
                    <a:pt x="136" y="120"/>
                  </a:lnTo>
                  <a:lnTo>
                    <a:pt x="166" y="131"/>
                  </a:lnTo>
                  <a:lnTo>
                    <a:pt x="160" y="139"/>
                  </a:lnTo>
                  <a:lnTo>
                    <a:pt x="174" y="146"/>
                  </a:lnTo>
                  <a:lnTo>
                    <a:pt x="179" y="166"/>
                  </a:lnTo>
                  <a:lnTo>
                    <a:pt x="183" y="179"/>
                  </a:lnTo>
                  <a:lnTo>
                    <a:pt x="188" y="187"/>
                  </a:lnTo>
                  <a:lnTo>
                    <a:pt x="162" y="204"/>
                  </a:lnTo>
                  <a:lnTo>
                    <a:pt x="171" y="209"/>
                  </a:lnTo>
                  <a:lnTo>
                    <a:pt x="188" y="206"/>
                  </a:lnTo>
                  <a:lnTo>
                    <a:pt x="198" y="213"/>
                  </a:lnTo>
                  <a:lnTo>
                    <a:pt x="217" y="226"/>
                  </a:lnTo>
                  <a:lnTo>
                    <a:pt x="189" y="220"/>
                  </a:lnTo>
                  <a:lnTo>
                    <a:pt x="175" y="220"/>
                  </a:lnTo>
                  <a:lnTo>
                    <a:pt x="164" y="231"/>
                  </a:lnTo>
                  <a:lnTo>
                    <a:pt x="158" y="245"/>
                  </a:lnTo>
                  <a:lnTo>
                    <a:pt x="174" y="251"/>
                  </a:lnTo>
                  <a:lnTo>
                    <a:pt x="189" y="248"/>
                  </a:lnTo>
                  <a:lnTo>
                    <a:pt x="198" y="245"/>
                  </a:lnTo>
                  <a:lnTo>
                    <a:pt x="219" y="238"/>
                  </a:lnTo>
                  <a:lnTo>
                    <a:pt x="209" y="254"/>
                  </a:lnTo>
                  <a:lnTo>
                    <a:pt x="199" y="262"/>
                  </a:lnTo>
                  <a:lnTo>
                    <a:pt x="172" y="270"/>
                  </a:lnTo>
                  <a:lnTo>
                    <a:pt x="146" y="293"/>
                  </a:lnTo>
                  <a:lnTo>
                    <a:pt x="154" y="301"/>
                  </a:lnTo>
                  <a:lnTo>
                    <a:pt x="142" y="316"/>
                  </a:lnTo>
                  <a:lnTo>
                    <a:pt x="156" y="335"/>
                  </a:lnTo>
                  <a:lnTo>
                    <a:pt x="150" y="354"/>
                  </a:lnTo>
                  <a:lnTo>
                    <a:pt x="152" y="368"/>
                  </a:lnTo>
                  <a:lnTo>
                    <a:pt x="170" y="394"/>
                  </a:lnTo>
                  <a:lnTo>
                    <a:pt x="173" y="414"/>
                  </a:lnTo>
                  <a:lnTo>
                    <a:pt x="184" y="427"/>
                  </a:lnTo>
                  <a:lnTo>
                    <a:pt x="218" y="427"/>
                  </a:lnTo>
                  <a:lnTo>
                    <a:pt x="237" y="444"/>
                  </a:lnTo>
                  <a:lnTo>
                    <a:pt x="261" y="443"/>
                  </a:lnTo>
                  <a:lnTo>
                    <a:pt x="276" y="422"/>
                  </a:lnTo>
                  <a:lnTo>
                    <a:pt x="289" y="404"/>
                  </a:lnTo>
                  <a:lnTo>
                    <a:pt x="288" y="387"/>
                  </a:lnTo>
                  <a:lnTo>
                    <a:pt x="320" y="371"/>
                  </a:lnTo>
                  <a:lnTo>
                    <a:pt x="333" y="357"/>
                  </a:lnTo>
                  <a:lnTo>
                    <a:pt x="338" y="342"/>
                  </a:lnTo>
                  <a:lnTo>
                    <a:pt x="355" y="329"/>
                  </a:lnTo>
                  <a:lnTo>
                    <a:pt x="380" y="324"/>
                  </a:lnTo>
                  <a:lnTo>
                    <a:pt x="402" y="319"/>
                  </a:lnTo>
                  <a:lnTo>
                    <a:pt x="413" y="318"/>
                  </a:lnTo>
                  <a:lnTo>
                    <a:pt x="452" y="303"/>
                  </a:lnTo>
                  <a:lnTo>
                    <a:pt x="480" y="282"/>
                  </a:lnTo>
                  <a:lnTo>
                    <a:pt x="497" y="274"/>
                  </a:lnTo>
                  <a:lnTo>
                    <a:pt x="514" y="274"/>
                  </a:lnTo>
                  <a:lnTo>
                    <a:pt x="561" y="267"/>
                  </a:lnTo>
                  <a:lnTo>
                    <a:pt x="607" y="251"/>
                  </a:lnTo>
                  <a:lnTo>
                    <a:pt x="650" y="234"/>
                  </a:lnTo>
                  <a:lnTo>
                    <a:pt x="630" y="233"/>
                  </a:lnTo>
                  <a:lnTo>
                    <a:pt x="591" y="232"/>
                  </a:lnTo>
                  <a:lnTo>
                    <a:pt x="610" y="222"/>
                  </a:lnTo>
                  <a:lnTo>
                    <a:pt x="608" y="208"/>
                  </a:lnTo>
                  <a:lnTo>
                    <a:pt x="624" y="219"/>
                  </a:lnTo>
                  <a:lnTo>
                    <a:pt x="635" y="228"/>
                  </a:lnTo>
                  <a:lnTo>
                    <a:pt x="662" y="224"/>
                  </a:lnTo>
                  <a:lnTo>
                    <a:pt x="660" y="207"/>
                  </a:lnTo>
                  <a:lnTo>
                    <a:pt x="643" y="196"/>
                  </a:lnTo>
                  <a:lnTo>
                    <a:pt x="624" y="191"/>
                  </a:lnTo>
                  <a:lnTo>
                    <a:pt x="633" y="186"/>
                  </a:lnTo>
                  <a:lnTo>
                    <a:pt x="660" y="194"/>
                  </a:lnTo>
                  <a:lnTo>
                    <a:pt x="662" y="185"/>
                  </a:lnTo>
                  <a:lnTo>
                    <a:pt x="647" y="173"/>
                  </a:lnTo>
                  <a:lnTo>
                    <a:pt x="666" y="173"/>
                  </a:lnTo>
                  <a:lnTo>
                    <a:pt x="688" y="170"/>
                  </a:lnTo>
                  <a:lnTo>
                    <a:pt x="693" y="162"/>
                  </a:lnTo>
                  <a:lnTo>
                    <a:pt x="678" y="155"/>
                  </a:lnTo>
                  <a:lnTo>
                    <a:pt x="711" y="154"/>
                  </a:lnTo>
                  <a:lnTo>
                    <a:pt x="696" y="138"/>
                  </a:lnTo>
                  <a:lnTo>
                    <a:pt x="711" y="136"/>
                  </a:lnTo>
                  <a:lnTo>
                    <a:pt x="712" y="120"/>
                  </a:lnTo>
                  <a:lnTo>
                    <a:pt x="689" y="111"/>
                  </a:lnTo>
                  <a:lnTo>
                    <a:pt x="712" y="105"/>
                  </a:lnTo>
                  <a:lnTo>
                    <a:pt x="734" y="105"/>
                  </a:lnTo>
                  <a:lnTo>
                    <a:pt x="720" y="92"/>
                  </a:lnTo>
                  <a:lnTo>
                    <a:pt x="725" y="74"/>
                  </a:lnTo>
                  <a:lnTo>
                    <a:pt x="738" y="63"/>
                  </a:lnTo>
                  <a:lnTo>
                    <a:pt x="757" y="50"/>
                  </a:lnTo>
                  <a:lnTo>
                    <a:pt x="727" y="50"/>
                  </a:lnTo>
                  <a:lnTo>
                    <a:pt x="769" y="48"/>
                  </a:lnTo>
                  <a:lnTo>
                    <a:pt x="777" y="44"/>
                  </a:lnTo>
                  <a:lnTo>
                    <a:pt x="832" y="33"/>
                  </a:lnTo>
                  <a:lnTo>
                    <a:pt x="826" y="26"/>
                  </a:lnTo>
                  <a:lnTo>
                    <a:pt x="789" y="23"/>
                  </a:lnTo>
                  <a:lnTo>
                    <a:pt x="725" y="29"/>
                  </a:lnTo>
                  <a:lnTo>
                    <a:pt x="691" y="34"/>
                  </a:lnTo>
                  <a:lnTo>
                    <a:pt x="707" y="26"/>
                  </a:lnTo>
                  <a:lnTo>
                    <a:pt x="699" y="20"/>
                  </a:lnTo>
                  <a:lnTo>
                    <a:pt x="673" y="25"/>
                  </a:lnTo>
                  <a:lnTo>
                    <a:pt x="636" y="20"/>
                  </a:lnTo>
                  <a:lnTo>
                    <a:pt x="592" y="22"/>
                  </a:lnTo>
                  <a:lnTo>
                    <a:pt x="586" y="20"/>
                  </a:lnTo>
                  <a:lnTo>
                    <a:pt x="654" y="18"/>
                  </a:lnTo>
                  <a:lnTo>
                    <a:pt x="703" y="17"/>
                  </a:lnTo>
                  <a:lnTo>
                    <a:pt x="727" y="12"/>
                  </a:lnTo>
                  <a:lnTo>
                    <a:pt x="654" y="1"/>
                  </a:lnTo>
                  <a:lnTo>
                    <a:pt x="65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3" name="Guatemala">
              <a:extLst>
                <a:ext uri="{FF2B5EF4-FFF2-40B4-BE49-F238E27FC236}">
                  <a16:creationId xmlns:a16="http://schemas.microsoft.com/office/drawing/2014/main" id="{34C6FD80-6908-4CCF-8BFC-9A934CE72CB2}"/>
                </a:ext>
              </a:extLst>
            </p:cNvPr>
            <p:cNvSpPr>
              <a:spLocks/>
            </p:cNvSpPr>
            <p:nvPr/>
          </p:nvSpPr>
          <p:spPr bwMode="auto">
            <a:xfrm>
              <a:off x="2951956" y="3389086"/>
              <a:ext cx="136525" cy="155574"/>
            </a:xfrm>
            <a:custGeom>
              <a:avLst/>
              <a:gdLst>
                <a:gd name="T0" fmla="*/ 73 w 86"/>
                <a:gd name="T1" fmla="*/ 1 h 98"/>
                <a:gd name="T2" fmla="*/ 54 w 86"/>
                <a:gd name="T3" fmla="*/ 0 h 98"/>
                <a:gd name="T4" fmla="*/ 34 w 86"/>
                <a:gd name="T5" fmla="*/ 0 h 98"/>
                <a:gd name="T6" fmla="*/ 32 w 86"/>
                <a:gd name="T7" fmla="*/ 14 h 98"/>
                <a:gd name="T8" fmla="*/ 23 w 86"/>
                <a:gd name="T9" fmla="*/ 14 h 98"/>
                <a:gd name="T10" fmla="*/ 30 w 86"/>
                <a:gd name="T11" fmla="*/ 22 h 98"/>
                <a:gd name="T12" fmla="*/ 37 w 86"/>
                <a:gd name="T13" fmla="*/ 27 h 98"/>
                <a:gd name="T14" fmla="*/ 39 w 86"/>
                <a:gd name="T15" fmla="*/ 33 h 98"/>
                <a:gd name="T16" fmla="*/ 42 w 86"/>
                <a:gd name="T17" fmla="*/ 34 h 98"/>
                <a:gd name="T18" fmla="*/ 40 w 86"/>
                <a:gd name="T19" fmla="*/ 42 h 98"/>
                <a:gd name="T20" fmla="*/ 14 w 86"/>
                <a:gd name="T21" fmla="*/ 42 h 98"/>
                <a:gd name="T22" fmla="*/ 2 w 86"/>
                <a:gd name="T23" fmla="*/ 61 h 98"/>
                <a:gd name="T24" fmla="*/ 4 w 86"/>
                <a:gd name="T25" fmla="*/ 66 h 98"/>
                <a:gd name="T26" fmla="*/ 1 w 86"/>
                <a:gd name="T27" fmla="*/ 71 h 98"/>
                <a:gd name="T28" fmla="*/ 0 w 86"/>
                <a:gd name="T29" fmla="*/ 79 h 98"/>
                <a:gd name="T30" fmla="*/ 10 w 86"/>
                <a:gd name="T31" fmla="*/ 88 h 98"/>
                <a:gd name="T32" fmla="*/ 19 w 86"/>
                <a:gd name="T33" fmla="*/ 93 h 98"/>
                <a:gd name="T34" fmla="*/ 31 w 86"/>
                <a:gd name="T35" fmla="*/ 94 h 98"/>
                <a:gd name="T36" fmla="*/ 42 w 86"/>
                <a:gd name="T37" fmla="*/ 98 h 98"/>
                <a:gd name="T38" fmla="*/ 43 w 86"/>
                <a:gd name="T39" fmla="*/ 94 h 98"/>
                <a:gd name="T40" fmla="*/ 51 w 86"/>
                <a:gd name="T41" fmla="*/ 88 h 98"/>
                <a:gd name="T42" fmla="*/ 55 w 86"/>
                <a:gd name="T43" fmla="*/ 85 h 98"/>
                <a:gd name="T44" fmla="*/ 54 w 86"/>
                <a:gd name="T45" fmla="*/ 83 h 98"/>
                <a:gd name="T46" fmla="*/ 59 w 86"/>
                <a:gd name="T47" fmla="*/ 82 h 98"/>
                <a:gd name="T48" fmla="*/ 64 w 86"/>
                <a:gd name="T49" fmla="*/ 75 h 98"/>
                <a:gd name="T50" fmla="*/ 63 w 86"/>
                <a:gd name="T51" fmla="*/ 70 h 98"/>
                <a:gd name="T52" fmla="*/ 65 w 86"/>
                <a:gd name="T53" fmla="*/ 66 h 98"/>
                <a:gd name="T54" fmla="*/ 75 w 86"/>
                <a:gd name="T55" fmla="*/ 59 h 98"/>
                <a:gd name="T56" fmla="*/ 86 w 86"/>
                <a:gd name="T57" fmla="*/ 50 h 98"/>
                <a:gd name="T58" fmla="*/ 80 w 86"/>
                <a:gd name="T59" fmla="*/ 47 h 98"/>
                <a:gd name="T60" fmla="*/ 78 w 86"/>
                <a:gd name="T61" fmla="*/ 51 h 98"/>
                <a:gd name="T62" fmla="*/ 72 w 86"/>
                <a:gd name="T63" fmla="*/ 46 h 98"/>
                <a:gd name="T64" fmla="*/ 66 w 86"/>
                <a:gd name="T65" fmla="*/ 46 h 98"/>
                <a:gd name="T66" fmla="*/ 70 w 86"/>
                <a:gd name="T67" fmla="*/ 20 h 98"/>
                <a:gd name="T68" fmla="*/ 73 w 86"/>
                <a:gd name="T69" fmla="*/ 1 h 98"/>
                <a:gd name="T70" fmla="*/ 73 w 86"/>
                <a:gd name="T71" fmla="*/ 1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86" h="98">
                  <a:moveTo>
                    <a:pt x="73" y="1"/>
                  </a:moveTo>
                  <a:lnTo>
                    <a:pt x="54" y="0"/>
                  </a:lnTo>
                  <a:lnTo>
                    <a:pt x="34" y="0"/>
                  </a:lnTo>
                  <a:lnTo>
                    <a:pt x="32" y="14"/>
                  </a:lnTo>
                  <a:lnTo>
                    <a:pt x="23" y="14"/>
                  </a:lnTo>
                  <a:lnTo>
                    <a:pt x="30" y="22"/>
                  </a:lnTo>
                  <a:lnTo>
                    <a:pt x="37" y="27"/>
                  </a:lnTo>
                  <a:lnTo>
                    <a:pt x="39" y="33"/>
                  </a:lnTo>
                  <a:lnTo>
                    <a:pt x="42" y="34"/>
                  </a:lnTo>
                  <a:lnTo>
                    <a:pt x="40" y="42"/>
                  </a:lnTo>
                  <a:lnTo>
                    <a:pt x="14" y="42"/>
                  </a:lnTo>
                  <a:lnTo>
                    <a:pt x="2" y="61"/>
                  </a:lnTo>
                  <a:lnTo>
                    <a:pt x="4" y="66"/>
                  </a:lnTo>
                  <a:lnTo>
                    <a:pt x="1" y="71"/>
                  </a:lnTo>
                  <a:lnTo>
                    <a:pt x="0" y="79"/>
                  </a:lnTo>
                  <a:lnTo>
                    <a:pt x="10" y="88"/>
                  </a:lnTo>
                  <a:lnTo>
                    <a:pt x="19" y="93"/>
                  </a:lnTo>
                  <a:lnTo>
                    <a:pt x="31" y="94"/>
                  </a:lnTo>
                  <a:lnTo>
                    <a:pt x="42" y="98"/>
                  </a:lnTo>
                  <a:lnTo>
                    <a:pt x="43" y="94"/>
                  </a:lnTo>
                  <a:lnTo>
                    <a:pt x="51" y="88"/>
                  </a:lnTo>
                  <a:lnTo>
                    <a:pt x="55" y="85"/>
                  </a:lnTo>
                  <a:lnTo>
                    <a:pt x="54" y="83"/>
                  </a:lnTo>
                  <a:lnTo>
                    <a:pt x="59" y="82"/>
                  </a:lnTo>
                  <a:lnTo>
                    <a:pt x="64" y="75"/>
                  </a:lnTo>
                  <a:lnTo>
                    <a:pt x="63" y="70"/>
                  </a:lnTo>
                  <a:lnTo>
                    <a:pt x="65" y="66"/>
                  </a:lnTo>
                  <a:lnTo>
                    <a:pt x="75" y="59"/>
                  </a:lnTo>
                  <a:lnTo>
                    <a:pt x="86" y="50"/>
                  </a:lnTo>
                  <a:lnTo>
                    <a:pt x="80" y="47"/>
                  </a:lnTo>
                  <a:lnTo>
                    <a:pt x="78" y="51"/>
                  </a:lnTo>
                  <a:lnTo>
                    <a:pt x="72" y="46"/>
                  </a:lnTo>
                  <a:lnTo>
                    <a:pt x="66" y="46"/>
                  </a:lnTo>
                  <a:lnTo>
                    <a:pt x="70" y="20"/>
                  </a:lnTo>
                  <a:lnTo>
                    <a:pt x="73" y="1"/>
                  </a:lnTo>
                  <a:lnTo>
                    <a:pt x="7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4" name="Guyana">
              <a:extLst>
                <a:ext uri="{FF2B5EF4-FFF2-40B4-BE49-F238E27FC236}">
                  <a16:creationId xmlns:a16="http://schemas.microsoft.com/office/drawing/2014/main" id="{FD5C7C31-3430-4CC0-8816-5FB55E409FDC}"/>
                </a:ext>
              </a:extLst>
            </p:cNvPr>
            <p:cNvSpPr>
              <a:spLocks/>
            </p:cNvSpPr>
            <p:nvPr/>
          </p:nvSpPr>
          <p:spPr bwMode="auto">
            <a:xfrm>
              <a:off x="3953669" y="3746273"/>
              <a:ext cx="158750" cy="266700"/>
            </a:xfrm>
            <a:custGeom>
              <a:avLst/>
              <a:gdLst>
                <a:gd name="T0" fmla="*/ 89 w 100"/>
                <a:gd name="T1" fmla="*/ 57 h 168"/>
                <a:gd name="T2" fmla="*/ 81 w 100"/>
                <a:gd name="T3" fmla="*/ 49 h 168"/>
                <a:gd name="T4" fmla="*/ 70 w 100"/>
                <a:gd name="T5" fmla="*/ 37 h 168"/>
                <a:gd name="T6" fmla="*/ 62 w 100"/>
                <a:gd name="T7" fmla="*/ 37 h 168"/>
                <a:gd name="T8" fmla="*/ 62 w 100"/>
                <a:gd name="T9" fmla="*/ 25 h 168"/>
                <a:gd name="T10" fmla="*/ 49 w 100"/>
                <a:gd name="T11" fmla="*/ 9 h 168"/>
                <a:gd name="T12" fmla="*/ 36 w 100"/>
                <a:gd name="T13" fmla="*/ 0 h 168"/>
                <a:gd name="T14" fmla="*/ 19 w 100"/>
                <a:gd name="T15" fmla="*/ 14 h 168"/>
                <a:gd name="T16" fmla="*/ 17 w 100"/>
                <a:gd name="T17" fmla="*/ 23 h 168"/>
                <a:gd name="T18" fmla="*/ 24 w 100"/>
                <a:gd name="T19" fmla="*/ 31 h 168"/>
                <a:gd name="T20" fmla="*/ 19 w 100"/>
                <a:gd name="T21" fmla="*/ 36 h 168"/>
                <a:gd name="T22" fmla="*/ 5 w 100"/>
                <a:gd name="T23" fmla="*/ 40 h 168"/>
                <a:gd name="T24" fmla="*/ 5 w 100"/>
                <a:gd name="T25" fmla="*/ 51 h 168"/>
                <a:gd name="T26" fmla="*/ 0 w 100"/>
                <a:gd name="T27" fmla="*/ 57 h 168"/>
                <a:gd name="T28" fmla="*/ 14 w 100"/>
                <a:gd name="T29" fmla="*/ 75 h 168"/>
                <a:gd name="T30" fmla="*/ 24 w 100"/>
                <a:gd name="T31" fmla="*/ 74 h 168"/>
                <a:gd name="T32" fmla="*/ 29 w 100"/>
                <a:gd name="T33" fmla="*/ 80 h 168"/>
                <a:gd name="T34" fmla="*/ 26 w 100"/>
                <a:gd name="T35" fmla="*/ 90 h 168"/>
                <a:gd name="T36" fmla="*/ 33 w 100"/>
                <a:gd name="T37" fmla="*/ 94 h 168"/>
                <a:gd name="T38" fmla="*/ 38 w 100"/>
                <a:gd name="T39" fmla="*/ 105 h 168"/>
                <a:gd name="T40" fmla="*/ 32 w 100"/>
                <a:gd name="T41" fmla="*/ 113 h 168"/>
                <a:gd name="T42" fmla="*/ 28 w 100"/>
                <a:gd name="T43" fmla="*/ 133 h 168"/>
                <a:gd name="T44" fmla="*/ 33 w 100"/>
                <a:gd name="T45" fmla="*/ 146 h 168"/>
                <a:gd name="T46" fmla="*/ 34 w 100"/>
                <a:gd name="T47" fmla="*/ 156 h 168"/>
                <a:gd name="T48" fmla="*/ 47 w 100"/>
                <a:gd name="T49" fmla="*/ 168 h 168"/>
                <a:gd name="T50" fmla="*/ 58 w 100"/>
                <a:gd name="T51" fmla="*/ 168 h 168"/>
                <a:gd name="T52" fmla="*/ 61 w 100"/>
                <a:gd name="T53" fmla="*/ 164 h 168"/>
                <a:gd name="T54" fmla="*/ 66 w 100"/>
                <a:gd name="T55" fmla="*/ 163 h 168"/>
                <a:gd name="T56" fmla="*/ 76 w 100"/>
                <a:gd name="T57" fmla="*/ 159 h 168"/>
                <a:gd name="T58" fmla="*/ 83 w 100"/>
                <a:gd name="T59" fmla="*/ 153 h 168"/>
                <a:gd name="T60" fmla="*/ 94 w 100"/>
                <a:gd name="T61" fmla="*/ 154 h 168"/>
                <a:gd name="T62" fmla="*/ 100 w 100"/>
                <a:gd name="T63" fmla="*/ 154 h 168"/>
                <a:gd name="T64" fmla="*/ 88 w 100"/>
                <a:gd name="T65" fmla="*/ 133 h 168"/>
                <a:gd name="T66" fmla="*/ 85 w 100"/>
                <a:gd name="T67" fmla="*/ 120 h 168"/>
                <a:gd name="T68" fmla="*/ 78 w 100"/>
                <a:gd name="T69" fmla="*/ 120 h 168"/>
                <a:gd name="T70" fmla="*/ 69 w 100"/>
                <a:gd name="T71" fmla="*/ 102 h 168"/>
                <a:gd name="T72" fmla="*/ 74 w 100"/>
                <a:gd name="T73" fmla="*/ 90 h 168"/>
                <a:gd name="T74" fmla="*/ 72 w 100"/>
                <a:gd name="T75" fmla="*/ 84 h 168"/>
                <a:gd name="T76" fmla="*/ 85 w 100"/>
                <a:gd name="T77" fmla="*/ 79 h 168"/>
                <a:gd name="T78" fmla="*/ 89 w 100"/>
                <a:gd name="T79" fmla="*/ 57 h 168"/>
                <a:gd name="T80" fmla="*/ 89 w 100"/>
                <a:gd name="T81" fmla="*/ 57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68">
                  <a:moveTo>
                    <a:pt x="89" y="57"/>
                  </a:moveTo>
                  <a:lnTo>
                    <a:pt x="81" y="49"/>
                  </a:lnTo>
                  <a:lnTo>
                    <a:pt x="70" y="37"/>
                  </a:lnTo>
                  <a:lnTo>
                    <a:pt x="62" y="37"/>
                  </a:lnTo>
                  <a:lnTo>
                    <a:pt x="62" y="25"/>
                  </a:lnTo>
                  <a:lnTo>
                    <a:pt x="49" y="9"/>
                  </a:lnTo>
                  <a:lnTo>
                    <a:pt x="36" y="0"/>
                  </a:lnTo>
                  <a:lnTo>
                    <a:pt x="19" y="14"/>
                  </a:lnTo>
                  <a:lnTo>
                    <a:pt x="17" y="23"/>
                  </a:lnTo>
                  <a:lnTo>
                    <a:pt x="24" y="31"/>
                  </a:lnTo>
                  <a:lnTo>
                    <a:pt x="19" y="36"/>
                  </a:lnTo>
                  <a:lnTo>
                    <a:pt x="5" y="40"/>
                  </a:lnTo>
                  <a:lnTo>
                    <a:pt x="5" y="51"/>
                  </a:lnTo>
                  <a:lnTo>
                    <a:pt x="0" y="57"/>
                  </a:lnTo>
                  <a:lnTo>
                    <a:pt x="14" y="75"/>
                  </a:lnTo>
                  <a:lnTo>
                    <a:pt x="24" y="74"/>
                  </a:lnTo>
                  <a:lnTo>
                    <a:pt x="29" y="80"/>
                  </a:lnTo>
                  <a:lnTo>
                    <a:pt x="26" y="90"/>
                  </a:lnTo>
                  <a:lnTo>
                    <a:pt x="33" y="94"/>
                  </a:lnTo>
                  <a:lnTo>
                    <a:pt x="38" y="105"/>
                  </a:lnTo>
                  <a:lnTo>
                    <a:pt x="32" y="113"/>
                  </a:lnTo>
                  <a:lnTo>
                    <a:pt x="28" y="133"/>
                  </a:lnTo>
                  <a:lnTo>
                    <a:pt x="33" y="146"/>
                  </a:lnTo>
                  <a:lnTo>
                    <a:pt x="34" y="156"/>
                  </a:lnTo>
                  <a:lnTo>
                    <a:pt x="47" y="168"/>
                  </a:lnTo>
                  <a:lnTo>
                    <a:pt x="58" y="168"/>
                  </a:lnTo>
                  <a:lnTo>
                    <a:pt x="61" y="164"/>
                  </a:lnTo>
                  <a:lnTo>
                    <a:pt x="66" y="163"/>
                  </a:lnTo>
                  <a:lnTo>
                    <a:pt x="76" y="159"/>
                  </a:lnTo>
                  <a:lnTo>
                    <a:pt x="83" y="153"/>
                  </a:lnTo>
                  <a:lnTo>
                    <a:pt x="94" y="154"/>
                  </a:lnTo>
                  <a:lnTo>
                    <a:pt x="100" y="154"/>
                  </a:lnTo>
                  <a:lnTo>
                    <a:pt x="88" y="133"/>
                  </a:lnTo>
                  <a:lnTo>
                    <a:pt x="85" y="120"/>
                  </a:lnTo>
                  <a:lnTo>
                    <a:pt x="78" y="120"/>
                  </a:lnTo>
                  <a:lnTo>
                    <a:pt x="69" y="102"/>
                  </a:lnTo>
                  <a:lnTo>
                    <a:pt x="74" y="90"/>
                  </a:lnTo>
                  <a:lnTo>
                    <a:pt x="72" y="84"/>
                  </a:lnTo>
                  <a:lnTo>
                    <a:pt x="85" y="79"/>
                  </a:lnTo>
                  <a:lnTo>
                    <a:pt x="89" y="57"/>
                  </a:lnTo>
                  <a:lnTo>
                    <a:pt x="89" y="5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5" name="Honduras">
              <a:extLst>
                <a:ext uri="{FF2B5EF4-FFF2-40B4-BE49-F238E27FC236}">
                  <a16:creationId xmlns:a16="http://schemas.microsoft.com/office/drawing/2014/main" id="{220D0B49-6B07-4F2D-A1D1-72E470F55F3B}"/>
                </a:ext>
              </a:extLst>
            </p:cNvPr>
            <p:cNvSpPr>
              <a:spLocks/>
            </p:cNvSpPr>
            <p:nvPr/>
          </p:nvSpPr>
          <p:spPr bwMode="auto">
            <a:xfrm>
              <a:off x="3045619" y="3457348"/>
              <a:ext cx="206375" cy="114300"/>
            </a:xfrm>
            <a:custGeom>
              <a:avLst/>
              <a:gdLst>
                <a:gd name="T0" fmla="*/ 130 w 130"/>
                <a:gd name="T1" fmla="*/ 25 h 72"/>
                <a:gd name="T2" fmla="*/ 126 w 130"/>
                <a:gd name="T3" fmla="*/ 18 h 72"/>
                <a:gd name="T4" fmla="*/ 119 w 130"/>
                <a:gd name="T5" fmla="*/ 14 h 72"/>
                <a:gd name="T6" fmla="*/ 113 w 130"/>
                <a:gd name="T7" fmla="*/ 9 h 72"/>
                <a:gd name="T8" fmla="*/ 107 w 130"/>
                <a:gd name="T9" fmla="*/ 5 h 72"/>
                <a:gd name="T10" fmla="*/ 104 w 130"/>
                <a:gd name="T11" fmla="*/ 4 h 72"/>
                <a:gd name="T12" fmla="*/ 95 w 130"/>
                <a:gd name="T13" fmla="*/ 1 h 72"/>
                <a:gd name="T14" fmla="*/ 91 w 130"/>
                <a:gd name="T15" fmla="*/ 3 h 72"/>
                <a:gd name="T16" fmla="*/ 85 w 130"/>
                <a:gd name="T17" fmla="*/ 3 h 72"/>
                <a:gd name="T18" fmla="*/ 80 w 130"/>
                <a:gd name="T19" fmla="*/ 2 h 72"/>
                <a:gd name="T20" fmla="*/ 74 w 130"/>
                <a:gd name="T21" fmla="*/ 0 h 72"/>
                <a:gd name="T22" fmla="*/ 70 w 130"/>
                <a:gd name="T23" fmla="*/ 3 h 72"/>
                <a:gd name="T24" fmla="*/ 64 w 130"/>
                <a:gd name="T25" fmla="*/ 6 h 72"/>
                <a:gd name="T26" fmla="*/ 55 w 130"/>
                <a:gd name="T27" fmla="*/ 7 h 72"/>
                <a:gd name="T28" fmla="*/ 45 w 130"/>
                <a:gd name="T29" fmla="*/ 4 h 72"/>
                <a:gd name="T30" fmla="*/ 42 w 130"/>
                <a:gd name="T31" fmla="*/ 6 h 72"/>
                <a:gd name="T32" fmla="*/ 40 w 130"/>
                <a:gd name="T33" fmla="*/ 3 h 72"/>
                <a:gd name="T34" fmla="*/ 34 w 130"/>
                <a:gd name="T35" fmla="*/ 4 h 72"/>
                <a:gd name="T36" fmla="*/ 29 w 130"/>
                <a:gd name="T37" fmla="*/ 8 h 72"/>
                <a:gd name="T38" fmla="*/ 27 w 130"/>
                <a:gd name="T39" fmla="*/ 7 h 72"/>
                <a:gd name="T40" fmla="*/ 16 w 130"/>
                <a:gd name="T41" fmla="*/ 16 h 72"/>
                <a:gd name="T42" fmla="*/ 6 w 130"/>
                <a:gd name="T43" fmla="*/ 23 h 72"/>
                <a:gd name="T44" fmla="*/ 4 w 130"/>
                <a:gd name="T45" fmla="*/ 27 h 72"/>
                <a:gd name="T46" fmla="*/ 5 w 130"/>
                <a:gd name="T47" fmla="*/ 32 h 72"/>
                <a:gd name="T48" fmla="*/ 0 w 130"/>
                <a:gd name="T49" fmla="*/ 39 h 72"/>
                <a:gd name="T50" fmla="*/ 6 w 130"/>
                <a:gd name="T51" fmla="*/ 41 h 72"/>
                <a:gd name="T52" fmla="*/ 10 w 130"/>
                <a:gd name="T53" fmla="*/ 45 h 72"/>
                <a:gd name="T54" fmla="*/ 16 w 130"/>
                <a:gd name="T55" fmla="*/ 49 h 72"/>
                <a:gd name="T56" fmla="*/ 16 w 130"/>
                <a:gd name="T57" fmla="*/ 52 h 72"/>
                <a:gd name="T58" fmla="*/ 26 w 130"/>
                <a:gd name="T59" fmla="*/ 49 h 72"/>
                <a:gd name="T60" fmla="*/ 29 w 130"/>
                <a:gd name="T61" fmla="*/ 51 h 72"/>
                <a:gd name="T62" fmla="*/ 32 w 130"/>
                <a:gd name="T63" fmla="*/ 54 h 72"/>
                <a:gd name="T64" fmla="*/ 30 w 130"/>
                <a:gd name="T65" fmla="*/ 63 h 72"/>
                <a:gd name="T66" fmla="*/ 37 w 130"/>
                <a:gd name="T67" fmla="*/ 65 h 72"/>
                <a:gd name="T68" fmla="*/ 39 w 130"/>
                <a:gd name="T69" fmla="*/ 72 h 72"/>
                <a:gd name="T70" fmla="*/ 46 w 130"/>
                <a:gd name="T71" fmla="*/ 71 h 72"/>
                <a:gd name="T72" fmla="*/ 49 w 130"/>
                <a:gd name="T73" fmla="*/ 66 h 72"/>
                <a:gd name="T74" fmla="*/ 52 w 130"/>
                <a:gd name="T75" fmla="*/ 66 h 72"/>
                <a:gd name="T76" fmla="*/ 53 w 130"/>
                <a:gd name="T77" fmla="*/ 55 h 72"/>
                <a:gd name="T78" fmla="*/ 57 w 130"/>
                <a:gd name="T79" fmla="*/ 54 h 72"/>
                <a:gd name="T80" fmla="*/ 62 w 130"/>
                <a:gd name="T81" fmla="*/ 54 h 72"/>
                <a:gd name="T82" fmla="*/ 67 w 130"/>
                <a:gd name="T83" fmla="*/ 47 h 72"/>
                <a:gd name="T84" fmla="*/ 72 w 130"/>
                <a:gd name="T85" fmla="*/ 52 h 72"/>
                <a:gd name="T86" fmla="*/ 75 w 130"/>
                <a:gd name="T87" fmla="*/ 49 h 72"/>
                <a:gd name="T88" fmla="*/ 79 w 130"/>
                <a:gd name="T89" fmla="*/ 46 h 72"/>
                <a:gd name="T90" fmla="*/ 87 w 130"/>
                <a:gd name="T91" fmla="*/ 40 h 72"/>
                <a:gd name="T92" fmla="*/ 88 w 130"/>
                <a:gd name="T93" fmla="*/ 35 h 72"/>
                <a:gd name="T94" fmla="*/ 90 w 130"/>
                <a:gd name="T95" fmla="*/ 35 h 72"/>
                <a:gd name="T96" fmla="*/ 93 w 130"/>
                <a:gd name="T97" fmla="*/ 29 h 72"/>
                <a:gd name="T98" fmla="*/ 95 w 130"/>
                <a:gd name="T99" fmla="*/ 29 h 72"/>
                <a:gd name="T100" fmla="*/ 98 w 130"/>
                <a:gd name="T101" fmla="*/ 32 h 72"/>
                <a:gd name="T102" fmla="*/ 102 w 130"/>
                <a:gd name="T103" fmla="*/ 33 h 72"/>
                <a:gd name="T104" fmla="*/ 108 w 130"/>
                <a:gd name="T105" fmla="*/ 30 h 72"/>
                <a:gd name="T106" fmla="*/ 112 w 130"/>
                <a:gd name="T107" fmla="*/ 30 h 72"/>
                <a:gd name="T108" fmla="*/ 120 w 130"/>
                <a:gd name="T109" fmla="*/ 27 h 72"/>
                <a:gd name="T110" fmla="*/ 124 w 130"/>
                <a:gd name="T111" fmla="*/ 24 h 72"/>
                <a:gd name="T112" fmla="*/ 130 w 130"/>
                <a:gd name="T113" fmla="*/ 25 h 72"/>
                <a:gd name="T114" fmla="*/ 130 w 130"/>
                <a:gd name="T115" fmla="*/ 25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0" h="72">
                  <a:moveTo>
                    <a:pt x="130" y="25"/>
                  </a:moveTo>
                  <a:lnTo>
                    <a:pt x="126" y="18"/>
                  </a:lnTo>
                  <a:lnTo>
                    <a:pt x="119" y="14"/>
                  </a:lnTo>
                  <a:lnTo>
                    <a:pt x="113" y="9"/>
                  </a:lnTo>
                  <a:lnTo>
                    <a:pt x="107" y="5"/>
                  </a:lnTo>
                  <a:lnTo>
                    <a:pt x="104" y="4"/>
                  </a:lnTo>
                  <a:lnTo>
                    <a:pt x="95" y="1"/>
                  </a:lnTo>
                  <a:lnTo>
                    <a:pt x="91" y="3"/>
                  </a:lnTo>
                  <a:lnTo>
                    <a:pt x="85" y="3"/>
                  </a:lnTo>
                  <a:lnTo>
                    <a:pt x="80" y="2"/>
                  </a:lnTo>
                  <a:lnTo>
                    <a:pt x="74" y="0"/>
                  </a:lnTo>
                  <a:lnTo>
                    <a:pt x="70" y="3"/>
                  </a:lnTo>
                  <a:lnTo>
                    <a:pt x="64" y="6"/>
                  </a:lnTo>
                  <a:lnTo>
                    <a:pt x="55" y="7"/>
                  </a:lnTo>
                  <a:lnTo>
                    <a:pt x="45" y="4"/>
                  </a:lnTo>
                  <a:lnTo>
                    <a:pt x="42" y="6"/>
                  </a:lnTo>
                  <a:lnTo>
                    <a:pt x="40" y="3"/>
                  </a:lnTo>
                  <a:lnTo>
                    <a:pt x="34" y="4"/>
                  </a:lnTo>
                  <a:lnTo>
                    <a:pt x="29" y="8"/>
                  </a:lnTo>
                  <a:lnTo>
                    <a:pt x="27" y="7"/>
                  </a:lnTo>
                  <a:lnTo>
                    <a:pt x="16" y="16"/>
                  </a:lnTo>
                  <a:lnTo>
                    <a:pt x="6" y="23"/>
                  </a:lnTo>
                  <a:lnTo>
                    <a:pt x="4" y="27"/>
                  </a:lnTo>
                  <a:lnTo>
                    <a:pt x="5" y="32"/>
                  </a:lnTo>
                  <a:lnTo>
                    <a:pt x="0" y="39"/>
                  </a:lnTo>
                  <a:lnTo>
                    <a:pt x="6" y="41"/>
                  </a:lnTo>
                  <a:lnTo>
                    <a:pt x="10" y="45"/>
                  </a:lnTo>
                  <a:lnTo>
                    <a:pt x="16" y="49"/>
                  </a:lnTo>
                  <a:lnTo>
                    <a:pt x="16" y="52"/>
                  </a:lnTo>
                  <a:lnTo>
                    <a:pt x="26" y="49"/>
                  </a:lnTo>
                  <a:lnTo>
                    <a:pt x="29" y="51"/>
                  </a:lnTo>
                  <a:lnTo>
                    <a:pt x="32" y="54"/>
                  </a:lnTo>
                  <a:lnTo>
                    <a:pt x="30" y="63"/>
                  </a:lnTo>
                  <a:lnTo>
                    <a:pt x="37" y="65"/>
                  </a:lnTo>
                  <a:lnTo>
                    <a:pt x="39" y="72"/>
                  </a:lnTo>
                  <a:lnTo>
                    <a:pt x="46" y="71"/>
                  </a:lnTo>
                  <a:lnTo>
                    <a:pt x="49" y="66"/>
                  </a:lnTo>
                  <a:lnTo>
                    <a:pt x="52" y="66"/>
                  </a:lnTo>
                  <a:lnTo>
                    <a:pt x="53" y="55"/>
                  </a:lnTo>
                  <a:lnTo>
                    <a:pt x="57" y="54"/>
                  </a:lnTo>
                  <a:lnTo>
                    <a:pt x="62" y="54"/>
                  </a:lnTo>
                  <a:lnTo>
                    <a:pt x="67" y="47"/>
                  </a:lnTo>
                  <a:lnTo>
                    <a:pt x="72" y="52"/>
                  </a:lnTo>
                  <a:lnTo>
                    <a:pt x="75" y="49"/>
                  </a:lnTo>
                  <a:lnTo>
                    <a:pt x="79" y="46"/>
                  </a:lnTo>
                  <a:lnTo>
                    <a:pt x="87" y="40"/>
                  </a:lnTo>
                  <a:lnTo>
                    <a:pt x="88" y="35"/>
                  </a:lnTo>
                  <a:lnTo>
                    <a:pt x="90" y="35"/>
                  </a:lnTo>
                  <a:lnTo>
                    <a:pt x="93" y="29"/>
                  </a:lnTo>
                  <a:lnTo>
                    <a:pt x="95" y="29"/>
                  </a:lnTo>
                  <a:lnTo>
                    <a:pt x="98" y="32"/>
                  </a:lnTo>
                  <a:lnTo>
                    <a:pt x="102" y="33"/>
                  </a:lnTo>
                  <a:lnTo>
                    <a:pt x="108" y="30"/>
                  </a:lnTo>
                  <a:lnTo>
                    <a:pt x="112" y="30"/>
                  </a:lnTo>
                  <a:lnTo>
                    <a:pt x="120" y="27"/>
                  </a:lnTo>
                  <a:lnTo>
                    <a:pt x="124" y="24"/>
                  </a:lnTo>
                  <a:lnTo>
                    <a:pt x="130" y="25"/>
                  </a:lnTo>
                  <a:lnTo>
                    <a:pt x="130" y="2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6" name="Croatia">
              <a:extLst>
                <a:ext uri="{FF2B5EF4-FFF2-40B4-BE49-F238E27FC236}">
                  <a16:creationId xmlns:a16="http://schemas.microsoft.com/office/drawing/2014/main" id="{73D52BF5-39AE-41B8-8D92-77541B30FCE4}"/>
                </a:ext>
              </a:extLst>
            </p:cNvPr>
            <p:cNvSpPr>
              <a:spLocks/>
            </p:cNvSpPr>
            <p:nvPr/>
          </p:nvSpPr>
          <p:spPr bwMode="auto">
            <a:xfrm>
              <a:off x="6403181" y="2312762"/>
              <a:ext cx="171450" cy="146050"/>
            </a:xfrm>
            <a:custGeom>
              <a:avLst/>
              <a:gdLst>
                <a:gd name="T0" fmla="*/ 73 w 108"/>
                <a:gd name="T1" fmla="*/ 13 h 92"/>
                <a:gd name="T2" fmla="*/ 58 w 108"/>
                <a:gd name="T3" fmla="*/ 2 h 92"/>
                <a:gd name="T4" fmla="*/ 52 w 108"/>
                <a:gd name="T5" fmla="*/ 0 h 92"/>
                <a:gd name="T6" fmla="*/ 38 w 108"/>
                <a:gd name="T7" fmla="*/ 6 h 92"/>
                <a:gd name="T8" fmla="*/ 37 w 108"/>
                <a:gd name="T9" fmla="*/ 15 h 92"/>
                <a:gd name="T10" fmla="*/ 30 w 108"/>
                <a:gd name="T11" fmla="*/ 17 h 92"/>
                <a:gd name="T12" fmla="*/ 31 w 108"/>
                <a:gd name="T13" fmla="*/ 24 h 92"/>
                <a:gd name="T14" fmla="*/ 24 w 108"/>
                <a:gd name="T15" fmla="*/ 24 h 92"/>
                <a:gd name="T16" fmla="*/ 17 w 108"/>
                <a:gd name="T17" fmla="*/ 20 h 92"/>
                <a:gd name="T18" fmla="*/ 13 w 108"/>
                <a:gd name="T19" fmla="*/ 24 h 92"/>
                <a:gd name="T20" fmla="*/ 0 w 108"/>
                <a:gd name="T21" fmla="*/ 23 h 92"/>
                <a:gd name="T22" fmla="*/ 0 w 108"/>
                <a:gd name="T23" fmla="*/ 23 h 92"/>
                <a:gd name="T24" fmla="*/ 0 w 108"/>
                <a:gd name="T25" fmla="*/ 31 h 92"/>
                <a:gd name="T26" fmla="*/ 6 w 108"/>
                <a:gd name="T27" fmla="*/ 39 h 92"/>
                <a:gd name="T28" fmla="*/ 11 w 108"/>
                <a:gd name="T29" fmla="*/ 30 h 92"/>
                <a:gd name="T30" fmla="*/ 24 w 108"/>
                <a:gd name="T31" fmla="*/ 33 h 92"/>
                <a:gd name="T32" fmla="*/ 24 w 108"/>
                <a:gd name="T33" fmla="*/ 41 h 92"/>
                <a:gd name="T34" fmla="*/ 34 w 108"/>
                <a:gd name="T35" fmla="*/ 50 h 92"/>
                <a:gd name="T36" fmla="*/ 30 w 108"/>
                <a:gd name="T37" fmla="*/ 52 h 92"/>
                <a:gd name="T38" fmla="*/ 47 w 108"/>
                <a:gd name="T39" fmla="*/ 69 h 92"/>
                <a:gd name="T40" fmla="*/ 66 w 108"/>
                <a:gd name="T41" fmla="*/ 75 h 92"/>
                <a:gd name="T42" fmla="*/ 77 w 108"/>
                <a:gd name="T43" fmla="*/ 84 h 92"/>
                <a:gd name="T44" fmla="*/ 95 w 108"/>
                <a:gd name="T45" fmla="*/ 92 h 92"/>
                <a:gd name="T46" fmla="*/ 95 w 108"/>
                <a:gd name="T47" fmla="*/ 92 h 92"/>
                <a:gd name="T48" fmla="*/ 97 w 108"/>
                <a:gd name="T49" fmla="*/ 88 h 92"/>
                <a:gd name="T50" fmla="*/ 80 w 108"/>
                <a:gd name="T51" fmla="*/ 80 h 92"/>
                <a:gd name="T52" fmla="*/ 71 w 108"/>
                <a:gd name="T53" fmla="*/ 71 h 92"/>
                <a:gd name="T54" fmla="*/ 64 w 108"/>
                <a:gd name="T55" fmla="*/ 65 h 92"/>
                <a:gd name="T56" fmla="*/ 54 w 108"/>
                <a:gd name="T57" fmla="*/ 57 h 92"/>
                <a:gd name="T58" fmla="*/ 50 w 108"/>
                <a:gd name="T59" fmla="*/ 49 h 92"/>
                <a:gd name="T60" fmla="*/ 39 w 108"/>
                <a:gd name="T61" fmla="*/ 39 h 92"/>
                <a:gd name="T62" fmla="*/ 43 w 108"/>
                <a:gd name="T63" fmla="*/ 30 h 92"/>
                <a:gd name="T64" fmla="*/ 51 w 108"/>
                <a:gd name="T65" fmla="*/ 34 h 92"/>
                <a:gd name="T66" fmla="*/ 54 w 108"/>
                <a:gd name="T67" fmla="*/ 30 h 92"/>
                <a:gd name="T68" fmla="*/ 63 w 108"/>
                <a:gd name="T69" fmla="*/ 30 h 92"/>
                <a:gd name="T70" fmla="*/ 79 w 108"/>
                <a:gd name="T71" fmla="*/ 33 h 92"/>
                <a:gd name="T72" fmla="*/ 92 w 108"/>
                <a:gd name="T73" fmla="*/ 32 h 92"/>
                <a:gd name="T74" fmla="*/ 101 w 108"/>
                <a:gd name="T75" fmla="*/ 38 h 92"/>
                <a:gd name="T76" fmla="*/ 101 w 108"/>
                <a:gd name="T77" fmla="*/ 38 h 92"/>
                <a:gd name="T78" fmla="*/ 108 w 108"/>
                <a:gd name="T79" fmla="*/ 30 h 92"/>
                <a:gd name="T80" fmla="*/ 101 w 108"/>
                <a:gd name="T81" fmla="*/ 22 h 92"/>
                <a:gd name="T82" fmla="*/ 95 w 108"/>
                <a:gd name="T83" fmla="*/ 14 h 92"/>
                <a:gd name="T84" fmla="*/ 95 w 108"/>
                <a:gd name="T85" fmla="*/ 14 h 92"/>
                <a:gd name="T86" fmla="*/ 89 w 108"/>
                <a:gd name="T87" fmla="*/ 16 h 92"/>
                <a:gd name="T88" fmla="*/ 73 w 108"/>
                <a:gd name="T89" fmla="*/ 13 h 92"/>
                <a:gd name="T90" fmla="*/ 73 w 108"/>
                <a:gd name="T91" fmla="*/ 13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08" h="92">
                  <a:moveTo>
                    <a:pt x="73" y="13"/>
                  </a:moveTo>
                  <a:lnTo>
                    <a:pt x="58" y="2"/>
                  </a:lnTo>
                  <a:lnTo>
                    <a:pt x="52" y="0"/>
                  </a:lnTo>
                  <a:lnTo>
                    <a:pt x="38" y="6"/>
                  </a:lnTo>
                  <a:lnTo>
                    <a:pt x="37" y="15"/>
                  </a:lnTo>
                  <a:lnTo>
                    <a:pt x="30" y="17"/>
                  </a:lnTo>
                  <a:lnTo>
                    <a:pt x="31" y="24"/>
                  </a:lnTo>
                  <a:lnTo>
                    <a:pt x="24" y="24"/>
                  </a:lnTo>
                  <a:lnTo>
                    <a:pt x="17" y="20"/>
                  </a:lnTo>
                  <a:lnTo>
                    <a:pt x="13" y="24"/>
                  </a:lnTo>
                  <a:lnTo>
                    <a:pt x="0" y="23"/>
                  </a:lnTo>
                  <a:lnTo>
                    <a:pt x="0" y="23"/>
                  </a:lnTo>
                  <a:lnTo>
                    <a:pt x="0" y="31"/>
                  </a:lnTo>
                  <a:lnTo>
                    <a:pt x="6" y="39"/>
                  </a:lnTo>
                  <a:lnTo>
                    <a:pt x="11" y="30"/>
                  </a:lnTo>
                  <a:lnTo>
                    <a:pt x="24" y="33"/>
                  </a:lnTo>
                  <a:lnTo>
                    <a:pt x="24" y="41"/>
                  </a:lnTo>
                  <a:lnTo>
                    <a:pt x="34" y="50"/>
                  </a:lnTo>
                  <a:lnTo>
                    <a:pt x="30" y="52"/>
                  </a:lnTo>
                  <a:lnTo>
                    <a:pt x="47" y="69"/>
                  </a:lnTo>
                  <a:lnTo>
                    <a:pt x="66" y="75"/>
                  </a:lnTo>
                  <a:lnTo>
                    <a:pt x="77" y="84"/>
                  </a:lnTo>
                  <a:lnTo>
                    <a:pt x="95" y="92"/>
                  </a:lnTo>
                  <a:lnTo>
                    <a:pt x="95" y="92"/>
                  </a:lnTo>
                  <a:lnTo>
                    <a:pt x="97" y="88"/>
                  </a:lnTo>
                  <a:lnTo>
                    <a:pt x="80" y="80"/>
                  </a:lnTo>
                  <a:lnTo>
                    <a:pt x="71" y="71"/>
                  </a:lnTo>
                  <a:lnTo>
                    <a:pt x="64" y="65"/>
                  </a:lnTo>
                  <a:lnTo>
                    <a:pt x="54" y="57"/>
                  </a:lnTo>
                  <a:lnTo>
                    <a:pt x="50" y="49"/>
                  </a:lnTo>
                  <a:lnTo>
                    <a:pt x="39" y="39"/>
                  </a:lnTo>
                  <a:lnTo>
                    <a:pt x="43" y="30"/>
                  </a:lnTo>
                  <a:lnTo>
                    <a:pt x="51" y="34"/>
                  </a:lnTo>
                  <a:lnTo>
                    <a:pt x="54" y="30"/>
                  </a:lnTo>
                  <a:lnTo>
                    <a:pt x="63" y="30"/>
                  </a:lnTo>
                  <a:lnTo>
                    <a:pt x="79" y="33"/>
                  </a:lnTo>
                  <a:lnTo>
                    <a:pt x="92" y="32"/>
                  </a:lnTo>
                  <a:lnTo>
                    <a:pt x="101" y="38"/>
                  </a:lnTo>
                  <a:lnTo>
                    <a:pt x="101" y="38"/>
                  </a:lnTo>
                  <a:lnTo>
                    <a:pt x="108" y="30"/>
                  </a:lnTo>
                  <a:lnTo>
                    <a:pt x="101" y="22"/>
                  </a:lnTo>
                  <a:lnTo>
                    <a:pt x="95" y="14"/>
                  </a:lnTo>
                  <a:lnTo>
                    <a:pt x="95" y="14"/>
                  </a:lnTo>
                  <a:lnTo>
                    <a:pt x="89" y="16"/>
                  </a:lnTo>
                  <a:lnTo>
                    <a:pt x="73" y="13"/>
                  </a:lnTo>
                  <a:lnTo>
                    <a:pt x="73"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7" name="Haiti">
              <a:extLst>
                <a:ext uri="{FF2B5EF4-FFF2-40B4-BE49-F238E27FC236}">
                  <a16:creationId xmlns:a16="http://schemas.microsoft.com/office/drawing/2014/main" id="{37F47F3A-233D-428E-872A-BD7324C6F907}"/>
                </a:ext>
              </a:extLst>
            </p:cNvPr>
            <p:cNvSpPr>
              <a:spLocks/>
            </p:cNvSpPr>
            <p:nvPr/>
          </p:nvSpPr>
          <p:spPr bwMode="auto">
            <a:xfrm>
              <a:off x="3552031" y="3311298"/>
              <a:ext cx="96837" cy="71438"/>
            </a:xfrm>
            <a:custGeom>
              <a:avLst/>
              <a:gdLst>
                <a:gd name="T0" fmla="*/ 60 w 61"/>
                <a:gd name="T1" fmla="*/ 5 h 45"/>
                <a:gd name="T2" fmla="*/ 43 w 61"/>
                <a:gd name="T3" fmla="*/ 1 h 45"/>
                <a:gd name="T4" fmla="*/ 30 w 61"/>
                <a:gd name="T5" fmla="*/ 0 h 45"/>
                <a:gd name="T6" fmla="*/ 25 w 61"/>
                <a:gd name="T7" fmla="*/ 6 h 45"/>
                <a:gd name="T8" fmla="*/ 37 w 61"/>
                <a:gd name="T9" fmla="*/ 10 h 45"/>
                <a:gd name="T10" fmla="*/ 36 w 61"/>
                <a:gd name="T11" fmla="*/ 19 h 45"/>
                <a:gd name="T12" fmla="*/ 45 w 61"/>
                <a:gd name="T13" fmla="*/ 30 h 45"/>
                <a:gd name="T14" fmla="*/ 37 w 61"/>
                <a:gd name="T15" fmla="*/ 34 h 45"/>
                <a:gd name="T16" fmla="*/ 21 w 61"/>
                <a:gd name="T17" fmla="*/ 33 h 45"/>
                <a:gd name="T18" fmla="*/ 3 w 61"/>
                <a:gd name="T19" fmla="*/ 30 h 45"/>
                <a:gd name="T20" fmla="*/ 0 w 61"/>
                <a:gd name="T21" fmla="*/ 37 h 45"/>
                <a:gd name="T22" fmla="*/ 10 w 61"/>
                <a:gd name="T23" fmla="*/ 45 h 45"/>
                <a:gd name="T24" fmla="*/ 20 w 61"/>
                <a:gd name="T25" fmla="*/ 40 h 45"/>
                <a:gd name="T26" fmla="*/ 33 w 61"/>
                <a:gd name="T27" fmla="*/ 42 h 45"/>
                <a:gd name="T28" fmla="*/ 43 w 61"/>
                <a:gd name="T29" fmla="*/ 40 h 45"/>
                <a:gd name="T30" fmla="*/ 56 w 61"/>
                <a:gd name="T31" fmla="*/ 45 h 45"/>
                <a:gd name="T32" fmla="*/ 57 w 61"/>
                <a:gd name="T33" fmla="*/ 37 h 45"/>
                <a:gd name="T34" fmla="*/ 52 w 61"/>
                <a:gd name="T35" fmla="*/ 31 h 45"/>
                <a:gd name="T36" fmla="*/ 58 w 61"/>
                <a:gd name="T37" fmla="*/ 26 h 45"/>
                <a:gd name="T38" fmla="*/ 61 w 61"/>
                <a:gd name="T39" fmla="*/ 18 h 45"/>
                <a:gd name="T40" fmla="*/ 60 w 61"/>
                <a:gd name="T41" fmla="*/ 5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1" h="45">
                  <a:moveTo>
                    <a:pt x="60" y="5"/>
                  </a:moveTo>
                  <a:lnTo>
                    <a:pt x="43" y="1"/>
                  </a:lnTo>
                  <a:lnTo>
                    <a:pt x="30" y="0"/>
                  </a:lnTo>
                  <a:lnTo>
                    <a:pt x="25" y="6"/>
                  </a:lnTo>
                  <a:lnTo>
                    <a:pt x="37" y="10"/>
                  </a:lnTo>
                  <a:lnTo>
                    <a:pt x="36" y="19"/>
                  </a:lnTo>
                  <a:lnTo>
                    <a:pt x="45" y="30"/>
                  </a:lnTo>
                  <a:lnTo>
                    <a:pt x="37" y="34"/>
                  </a:lnTo>
                  <a:lnTo>
                    <a:pt x="21" y="33"/>
                  </a:lnTo>
                  <a:lnTo>
                    <a:pt x="3" y="30"/>
                  </a:lnTo>
                  <a:lnTo>
                    <a:pt x="0" y="37"/>
                  </a:lnTo>
                  <a:lnTo>
                    <a:pt x="10" y="45"/>
                  </a:lnTo>
                  <a:lnTo>
                    <a:pt x="20" y="40"/>
                  </a:lnTo>
                  <a:lnTo>
                    <a:pt x="33" y="42"/>
                  </a:lnTo>
                  <a:lnTo>
                    <a:pt x="43" y="40"/>
                  </a:lnTo>
                  <a:lnTo>
                    <a:pt x="56" y="45"/>
                  </a:lnTo>
                  <a:lnTo>
                    <a:pt x="57" y="37"/>
                  </a:lnTo>
                  <a:lnTo>
                    <a:pt x="52" y="31"/>
                  </a:lnTo>
                  <a:lnTo>
                    <a:pt x="58" y="26"/>
                  </a:lnTo>
                  <a:lnTo>
                    <a:pt x="61" y="18"/>
                  </a:lnTo>
                  <a:lnTo>
                    <a:pt x="60"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8" name="Hungary">
              <a:extLst>
                <a:ext uri="{FF2B5EF4-FFF2-40B4-BE49-F238E27FC236}">
                  <a16:creationId xmlns:a16="http://schemas.microsoft.com/office/drawing/2014/main" id="{5024FAE7-7E48-407A-907C-0FA76EB256CC}"/>
                </a:ext>
              </a:extLst>
            </p:cNvPr>
            <p:cNvSpPr>
              <a:spLocks/>
            </p:cNvSpPr>
            <p:nvPr/>
          </p:nvSpPr>
          <p:spPr bwMode="auto">
            <a:xfrm>
              <a:off x="6474619" y="2233386"/>
              <a:ext cx="187325" cy="104775"/>
            </a:xfrm>
            <a:custGeom>
              <a:avLst/>
              <a:gdLst>
                <a:gd name="T0" fmla="*/ 80 w 118"/>
                <a:gd name="T1" fmla="*/ 0 h 66"/>
                <a:gd name="T2" fmla="*/ 75 w 118"/>
                <a:gd name="T3" fmla="*/ 2 h 66"/>
                <a:gd name="T4" fmla="*/ 71 w 118"/>
                <a:gd name="T5" fmla="*/ 8 h 66"/>
                <a:gd name="T6" fmla="*/ 63 w 118"/>
                <a:gd name="T7" fmla="*/ 10 h 66"/>
                <a:gd name="T8" fmla="*/ 61 w 118"/>
                <a:gd name="T9" fmla="*/ 9 h 66"/>
                <a:gd name="T10" fmla="*/ 52 w 118"/>
                <a:gd name="T11" fmla="*/ 12 h 66"/>
                <a:gd name="T12" fmla="*/ 45 w 118"/>
                <a:gd name="T13" fmla="*/ 13 h 66"/>
                <a:gd name="T14" fmla="*/ 44 w 118"/>
                <a:gd name="T15" fmla="*/ 18 h 66"/>
                <a:gd name="T16" fmla="*/ 28 w 118"/>
                <a:gd name="T17" fmla="*/ 21 h 66"/>
                <a:gd name="T18" fmla="*/ 21 w 118"/>
                <a:gd name="T19" fmla="*/ 18 h 66"/>
                <a:gd name="T20" fmla="*/ 11 w 118"/>
                <a:gd name="T21" fmla="*/ 12 h 66"/>
                <a:gd name="T22" fmla="*/ 11 w 118"/>
                <a:gd name="T23" fmla="*/ 22 h 66"/>
                <a:gd name="T24" fmla="*/ 0 w 118"/>
                <a:gd name="T25" fmla="*/ 22 h 66"/>
                <a:gd name="T26" fmla="*/ 5 w 118"/>
                <a:gd name="T27" fmla="*/ 26 h 66"/>
                <a:gd name="T28" fmla="*/ 0 w 118"/>
                <a:gd name="T29" fmla="*/ 41 h 66"/>
                <a:gd name="T30" fmla="*/ 3 w 118"/>
                <a:gd name="T31" fmla="*/ 42 h 66"/>
                <a:gd name="T32" fmla="*/ 7 w 118"/>
                <a:gd name="T33" fmla="*/ 50 h 66"/>
                <a:gd name="T34" fmla="*/ 13 w 118"/>
                <a:gd name="T35" fmla="*/ 52 h 66"/>
                <a:gd name="T36" fmla="*/ 28 w 118"/>
                <a:gd name="T37" fmla="*/ 63 h 66"/>
                <a:gd name="T38" fmla="*/ 44 w 118"/>
                <a:gd name="T39" fmla="*/ 66 h 66"/>
                <a:gd name="T40" fmla="*/ 50 w 118"/>
                <a:gd name="T41" fmla="*/ 64 h 66"/>
                <a:gd name="T42" fmla="*/ 50 w 118"/>
                <a:gd name="T43" fmla="*/ 64 h 66"/>
                <a:gd name="T44" fmla="*/ 64 w 118"/>
                <a:gd name="T45" fmla="*/ 57 h 66"/>
                <a:gd name="T46" fmla="*/ 77 w 118"/>
                <a:gd name="T47" fmla="*/ 58 h 66"/>
                <a:gd name="T48" fmla="*/ 91 w 118"/>
                <a:gd name="T49" fmla="*/ 54 h 66"/>
                <a:gd name="T50" fmla="*/ 100 w 118"/>
                <a:gd name="T51" fmla="*/ 38 h 66"/>
                <a:gd name="T52" fmla="*/ 107 w 118"/>
                <a:gd name="T53" fmla="*/ 23 h 66"/>
                <a:gd name="T54" fmla="*/ 118 w 118"/>
                <a:gd name="T55" fmla="*/ 18 h 66"/>
                <a:gd name="T56" fmla="*/ 116 w 118"/>
                <a:gd name="T57" fmla="*/ 11 h 66"/>
                <a:gd name="T58" fmla="*/ 105 w 118"/>
                <a:gd name="T59" fmla="*/ 5 h 66"/>
                <a:gd name="T60" fmla="*/ 101 w 118"/>
                <a:gd name="T61" fmla="*/ 8 h 66"/>
                <a:gd name="T62" fmla="*/ 80 w 118"/>
                <a:gd name="T63" fmla="*/ 0 h 66"/>
                <a:gd name="T64" fmla="*/ 80 w 118"/>
                <a:gd name="T65"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8" h="66">
                  <a:moveTo>
                    <a:pt x="80" y="0"/>
                  </a:moveTo>
                  <a:lnTo>
                    <a:pt x="75" y="2"/>
                  </a:lnTo>
                  <a:lnTo>
                    <a:pt x="71" y="8"/>
                  </a:lnTo>
                  <a:lnTo>
                    <a:pt x="63" y="10"/>
                  </a:lnTo>
                  <a:lnTo>
                    <a:pt x="61" y="9"/>
                  </a:lnTo>
                  <a:lnTo>
                    <a:pt x="52" y="12"/>
                  </a:lnTo>
                  <a:lnTo>
                    <a:pt x="45" y="13"/>
                  </a:lnTo>
                  <a:lnTo>
                    <a:pt x="44" y="18"/>
                  </a:lnTo>
                  <a:lnTo>
                    <a:pt x="28" y="21"/>
                  </a:lnTo>
                  <a:lnTo>
                    <a:pt x="21" y="18"/>
                  </a:lnTo>
                  <a:lnTo>
                    <a:pt x="11" y="12"/>
                  </a:lnTo>
                  <a:lnTo>
                    <a:pt x="11" y="22"/>
                  </a:lnTo>
                  <a:lnTo>
                    <a:pt x="0" y="22"/>
                  </a:lnTo>
                  <a:lnTo>
                    <a:pt x="5" y="26"/>
                  </a:lnTo>
                  <a:lnTo>
                    <a:pt x="0" y="41"/>
                  </a:lnTo>
                  <a:lnTo>
                    <a:pt x="3" y="42"/>
                  </a:lnTo>
                  <a:lnTo>
                    <a:pt x="7" y="50"/>
                  </a:lnTo>
                  <a:lnTo>
                    <a:pt x="13" y="52"/>
                  </a:lnTo>
                  <a:lnTo>
                    <a:pt x="28" y="63"/>
                  </a:lnTo>
                  <a:lnTo>
                    <a:pt x="44" y="66"/>
                  </a:lnTo>
                  <a:lnTo>
                    <a:pt x="50" y="64"/>
                  </a:lnTo>
                  <a:lnTo>
                    <a:pt x="50" y="64"/>
                  </a:lnTo>
                  <a:lnTo>
                    <a:pt x="64" y="57"/>
                  </a:lnTo>
                  <a:lnTo>
                    <a:pt x="77" y="58"/>
                  </a:lnTo>
                  <a:lnTo>
                    <a:pt x="91" y="54"/>
                  </a:lnTo>
                  <a:lnTo>
                    <a:pt x="100" y="38"/>
                  </a:lnTo>
                  <a:lnTo>
                    <a:pt x="107" y="23"/>
                  </a:lnTo>
                  <a:lnTo>
                    <a:pt x="118" y="18"/>
                  </a:lnTo>
                  <a:lnTo>
                    <a:pt x="116" y="11"/>
                  </a:lnTo>
                  <a:lnTo>
                    <a:pt x="105" y="5"/>
                  </a:lnTo>
                  <a:lnTo>
                    <a:pt x="101" y="8"/>
                  </a:lnTo>
                  <a:lnTo>
                    <a:pt x="80" y="0"/>
                  </a:lnTo>
                  <a:lnTo>
                    <a:pt x="8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69" name="Indonesia">
              <a:extLst>
                <a:ext uri="{FF2B5EF4-FFF2-40B4-BE49-F238E27FC236}">
                  <a16:creationId xmlns:a16="http://schemas.microsoft.com/office/drawing/2014/main" id="{DCEC336C-B551-4C19-A3E7-5ECE231A70F7}"/>
                </a:ext>
              </a:extLst>
            </p:cNvPr>
            <p:cNvSpPr>
              <a:spLocks noEditPoints="1"/>
            </p:cNvSpPr>
            <p:nvPr/>
          </p:nvSpPr>
          <p:spPr bwMode="auto">
            <a:xfrm>
              <a:off x="9167019" y="3855811"/>
              <a:ext cx="1524000" cy="596900"/>
            </a:xfrm>
            <a:custGeom>
              <a:avLst/>
              <a:gdLst>
                <a:gd name="T0" fmla="*/ 489 w 960"/>
                <a:gd name="T1" fmla="*/ 357 h 376"/>
                <a:gd name="T2" fmla="*/ 617 w 960"/>
                <a:gd name="T3" fmla="*/ 353 h 376"/>
                <a:gd name="T4" fmla="*/ 581 w 960"/>
                <a:gd name="T5" fmla="*/ 373 h 376"/>
                <a:gd name="T6" fmla="*/ 463 w 960"/>
                <a:gd name="T7" fmla="*/ 331 h 376"/>
                <a:gd name="T8" fmla="*/ 493 w 960"/>
                <a:gd name="T9" fmla="*/ 337 h 376"/>
                <a:gd name="T10" fmla="*/ 574 w 960"/>
                <a:gd name="T11" fmla="*/ 323 h 376"/>
                <a:gd name="T12" fmla="*/ 510 w 960"/>
                <a:gd name="T13" fmla="*/ 339 h 376"/>
                <a:gd name="T14" fmla="*/ 277 w 960"/>
                <a:gd name="T15" fmla="*/ 291 h 376"/>
                <a:gd name="T16" fmla="*/ 209 w 960"/>
                <a:gd name="T17" fmla="*/ 293 h 376"/>
                <a:gd name="T18" fmla="*/ 293 w 960"/>
                <a:gd name="T19" fmla="*/ 314 h 376"/>
                <a:gd name="T20" fmla="*/ 398 w 960"/>
                <a:gd name="T21" fmla="*/ 338 h 376"/>
                <a:gd name="T22" fmla="*/ 322 w 960"/>
                <a:gd name="T23" fmla="*/ 283 h 376"/>
                <a:gd name="T24" fmla="*/ 825 w 960"/>
                <a:gd name="T25" fmla="*/ 267 h 376"/>
                <a:gd name="T26" fmla="*/ 825 w 960"/>
                <a:gd name="T27" fmla="*/ 278 h 376"/>
                <a:gd name="T28" fmla="*/ 663 w 960"/>
                <a:gd name="T29" fmla="*/ 220 h 376"/>
                <a:gd name="T30" fmla="*/ 690 w 960"/>
                <a:gd name="T31" fmla="*/ 198 h 376"/>
                <a:gd name="T32" fmla="*/ 746 w 960"/>
                <a:gd name="T33" fmla="*/ 222 h 376"/>
                <a:gd name="T34" fmla="*/ 781 w 960"/>
                <a:gd name="T35" fmla="*/ 139 h 376"/>
                <a:gd name="T36" fmla="*/ 776 w 960"/>
                <a:gd name="T37" fmla="*/ 183 h 376"/>
                <a:gd name="T38" fmla="*/ 787 w 960"/>
                <a:gd name="T39" fmla="*/ 209 h 376"/>
                <a:gd name="T40" fmla="*/ 836 w 960"/>
                <a:gd name="T41" fmla="*/ 236 h 376"/>
                <a:gd name="T42" fmla="*/ 891 w 960"/>
                <a:gd name="T43" fmla="*/ 311 h 376"/>
                <a:gd name="T44" fmla="*/ 951 w 960"/>
                <a:gd name="T45" fmla="*/ 347 h 376"/>
                <a:gd name="T46" fmla="*/ 905 w 960"/>
                <a:gd name="T47" fmla="*/ 170 h 376"/>
                <a:gd name="T48" fmla="*/ 817 w 960"/>
                <a:gd name="T49" fmla="*/ 157 h 376"/>
                <a:gd name="T50" fmla="*/ 556 w 960"/>
                <a:gd name="T51" fmla="*/ 106 h 376"/>
                <a:gd name="T52" fmla="*/ 503 w 960"/>
                <a:gd name="T53" fmla="*/ 181 h 376"/>
                <a:gd name="T54" fmla="*/ 504 w 960"/>
                <a:gd name="T55" fmla="*/ 258 h 376"/>
                <a:gd name="T56" fmla="*/ 540 w 960"/>
                <a:gd name="T57" fmla="*/ 193 h 376"/>
                <a:gd name="T58" fmla="*/ 575 w 960"/>
                <a:gd name="T59" fmla="*/ 236 h 376"/>
                <a:gd name="T60" fmla="*/ 567 w 960"/>
                <a:gd name="T61" fmla="*/ 213 h 376"/>
                <a:gd name="T62" fmla="*/ 590 w 960"/>
                <a:gd name="T63" fmla="*/ 156 h 376"/>
                <a:gd name="T64" fmla="*/ 525 w 960"/>
                <a:gd name="T65" fmla="*/ 125 h 376"/>
                <a:gd name="T66" fmla="*/ 631 w 960"/>
                <a:gd name="T67" fmla="*/ 96 h 376"/>
                <a:gd name="T68" fmla="*/ 687 w 960"/>
                <a:gd name="T69" fmla="*/ 78 h 376"/>
                <a:gd name="T70" fmla="*/ 697 w 960"/>
                <a:gd name="T71" fmla="*/ 148 h 376"/>
                <a:gd name="T72" fmla="*/ 704 w 960"/>
                <a:gd name="T73" fmla="*/ 103 h 376"/>
                <a:gd name="T74" fmla="*/ 455 w 960"/>
                <a:gd name="T75" fmla="*/ 28 h 376"/>
                <a:gd name="T76" fmla="*/ 391 w 960"/>
                <a:gd name="T77" fmla="*/ 101 h 376"/>
                <a:gd name="T78" fmla="*/ 322 w 960"/>
                <a:gd name="T79" fmla="*/ 112 h 376"/>
                <a:gd name="T80" fmla="*/ 292 w 960"/>
                <a:gd name="T81" fmla="*/ 141 h 376"/>
                <a:gd name="T82" fmla="*/ 345 w 960"/>
                <a:gd name="T83" fmla="*/ 201 h 376"/>
                <a:gd name="T84" fmla="*/ 410 w 960"/>
                <a:gd name="T85" fmla="*/ 227 h 376"/>
                <a:gd name="T86" fmla="*/ 469 w 960"/>
                <a:gd name="T87" fmla="*/ 149 h 376"/>
                <a:gd name="T88" fmla="*/ 476 w 960"/>
                <a:gd name="T89" fmla="*/ 86 h 376"/>
                <a:gd name="T90" fmla="*/ 203 w 960"/>
                <a:gd name="T91" fmla="*/ 185 h 376"/>
                <a:gd name="T92" fmla="*/ 182 w 960"/>
                <a:gd name="T93" fmla="*/ 127 h 376"/>
                <a:gd name="T94" fmla="*/ 94 w 960"/>
                <a:gd name="T95" fmla="*/ 55 h 376"/>
                <a:gd name="T96" fmla="*/ 0 w 960"/>
                <a:gd name="T97" fmla="*/ 0 h 376"/>
                <a:gd name="T98" fmla="*/ 71 w 960"/>
                <a:gd name="T99" fmla="*/ 86 h 376"/>
                <a:gd name="T100" fmla="*/ 129 w 960"/>
                <a:gd name="T101" fmla="*/ 197 h 376"/>
                <a:gd name="T102" fmla="*/ 219 w 960"/>
                <a:gd name="T103" fmla="*/ 26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60" h="376">
                  <a:moveTo>
                    <a:pt x="524" y="373"/>
                  </a:moveTo>
                  <a:lnTo>
                    <a:pt x="526" y="367"/>
                  </a:lnTo>
                  <a:lnTo>
                    <a:pt x="519" y="360"/>
                  </a:lnTo>
                  <a:lnTo>
                    <a:pt x="508" y="353"/>
                  </a:lnTo>
                  <a:lnTo>
                    <a:pt x="489" y="357"/>
                  </a:lnTo>
                  <a:lnTo>
                    <a:pt x="515" y="374"/>
                  </a:lnTo>
                  <a:lnTo>
                    <a:pt x="524" y="373"/>
                  </a:lnTo>
                  <a:lnTo>
                    <a:pt x="524" y="373"/>
                  </a:lnTo>
                  <a:close/>
                  <a:moveTo>
                    <a:pt x="602" y="371"/>
                  </a:moveTo>
                  <a:lnTo>
                    <a:pt x="617" y="353"/>
                  </a:lnTo>
                  <a:lnTo>
                    <a:pt x="618" y="346"/>
                  </a:lnTo>
                  <a:lnTo>
                    <a:pt x="616" y="341"/>
                  </a:lnTo>
                  <a:lnTo>
                    <a:pt x="594" y="351"/>
                  </a:lnTo>
                  <a:lnTo>
                    <a:pt x="584" y="366"/>
                  </a:lnTo>
                  <a:lnTo>
                    <a:pt x="581" y="373"/>
                  </a:lnTo>
                  <a:lnTo>
                    <a:pt x="583" y="376"/>
                  </a:lnTo>
                  <a:lnTo>
                    <a:pt x="602" y="371"/>
                  </a:lnTo>
                  <a:lnTo>
                    <a:pt x="602" y="371"/>
                  </a:lnTo>
                  <a:close/>
                  <a:moveTo>
                    <a:pt x="469" y="323"/>
                  </a:moveTo>
                  <a:lnTo>
                    <a:pt x="463" y="331"/>
                  </a:lnTo>
                  <a:lnTo>
                    <a:pt x="451" y="331"/>
                  </a:lnTo>
                  <a:lnTo>
                    <a:pt x="443" y="344"/>
                  </a:lnTo>
                  <a:lnTo>
                    <a:pt x="454" y="345"/>
                  </a:lnTo>
                  <a:lnTo>
                    <a:pt x="469" y="341"/>
                  </a:lnTo>
                  <a:lnTo>
                    <a:pt x="493" y="337"/>
                  </a:lnTo>
                  <a:lnTo>
                    <a:pt x="489" y="326"/>
                  </a:lnTo>
                  <a:lnTo>
                    <a:pt x="476" y="329"/>
                  </a:lnTo>
                  <a:lnTo>
                    <a:pt x="469" y="323"/>
                  </a:lnTo>
                  <a:lnTo>
                    <a:pt x="469" y="323"/>
                  </a:lnTo>
                  <a:close/>
                  <a:moveTo>
                    <a:pt x="574" y="323"/>
                  </a:moveTo>
                  <a:lnTo>
                    <a:pt x="554" y="331"/>
                  </a:lnTo>
                  <a:lnTo>
                    <a:pt x="540" y="333"/>
                  </a:lnTo>
                  <a:lnTo>
                    <a:pt x="528" y="325"/>
                  </a:lnTo>
                  <a:lnTo>
                    <a:pt x="511" y="331"/>
                  </a:lnTo>
                  <a:lnTo>
                    <a:pt x="510" y="339"/>
                  </a:lnTo>
                  <a:lnTo>
                    <a:pt x="537" y="342"/>
                  </a:lnTo>
                  <a:lnTo>
                    <a:pt x="570" y="336"/>
                  </a:lnTo>
                  <a:lnTo>
                    <a:pt x="574" y="323"/>
                  </a:lnTo>
                  <a:lnTo>
                    <a:pt x="574" y="323"/>
                  </a:lnTo>
                  <a:close/>
                  <a:moveTo>
                    <a:pt x="277" y="291"/>
                  </a:moveTo>
                  <a:lnTo>
                    <a:pt x="274" y="282"/>
                  </a:lnTo>
                  <a:lnTo>
                    <a:pt x="266" y="281"/>
                  </a:lnTo>
                  <a:lnTo>
                    <a:pt x="250" y="271"/>
                  </a:lnTo>
                  <a:lnTo>
                    <a:pt x="224" y="270"/>
                  </a:lnTo>
                  <a:lnTo>
                    <a:pt x="209" y="293"/>
                  </a:lnTo>
                  <a:lnTo>
                    <a:pt x="227" y="295"/>
                  </a:lnTo>
                  <a:lnTo>
                    <a:pt x="231" y="305"/>
                  </a:lnTo>
                  <a:lnTo>
                    <a:pt x="268" y="314"/>
                  </a:lnTo>
                  <a:lnTo>
                    <a:pt x="277" y="311"/>
                  </a:lnTo>
                  <a:lnTo>
                    <a:pt x="293" y="314"/>
                  </a:lnTo>
                  <a:lnTo>
                    <a:pt x="316" y="323"/>
                  </a:lnTo>
                  <a:lnTo>
                    <a:pt x="336" y="327"/>
                  </a:lnTo>
                  <a:lnTo>
                    <a:pt x="357" y="329"/>
                  </a:lnTo>
                  <a:lnTo>
                    <a:pt x="376" y="328"/>
                  </a:lnTo>
                  <a:lnTo>
                    <a:pt x="398" y="338"/>
                  </a:lnTo>
                  <a:lnTo>
                    <a:pt x="422" y="329"/>
                  </a:lnTo>
                  <a:lnTo>
                    <a:pt x="398" y="314"/>
                  </a:lnTo>
                  <a:lnTo>
                    <a:pt x="367" y="311"/>
                  </a:lnTo>
                  <a:lnTo>
                    <a:pt x="360" y="296"/>
                  </a:lnTo>
                  <a:lnTo>
                    <a:pt x="322" y="283"/>
                  </a:lnTo>
                  <a:lnTo>
                    <a:pt x="317" y="294"/>
                  </a:lnTo>
                  <a:lnTo>
                    <a:pt x="277" y="291"/>
                  </a:lnTo>
                  <a:lnTo>
                    <a:pt x="277" y="291"/>
                  </a:lnTo>
                  <a:close/>
                  <a:moveTo>
                    <a:pt x="825" y="278"/>
                  </a:moveTo>
                  <a:lnTo>
                    <a:pt x="825" y="267"/>
                  </a:lnTo>
                  <a:lnTo>
                    <a:pt x="821" y="259"/>
                  </a:lnTo>
                  <a:lnTo>
                    <a:pt x="816" y="268"/>
                  </a:lnTo>
                  <a:lnTo>
                    <a:pt x="812" y="276"/>
                  </a:lnTo>
                  <a:lnTo>
                    <a:pt x="813" y="294"/>
                  </a:lnTo>
                  <a:lnTo>
                    <a:pt x="825" y="278"/>
                  </a:lnTo>
                  <a:close/>
                  <a:moveTo>
                    <a:pt x="672" y="212"/>
                  </a:moveTo>
                  <a:lnTo>
                    <a:pt x="666" y="204"/>
                  </a:lnTo>
                  <a:lnTo>
                    <a:pt x="645" y="206"/>
                  </a:lnTo>
                  <a:lnTo>
                    <a:pt x="648" y="215"/>
                  </a:lnTo>
                  <a:lnTo>
                    <a:pt x="663" y="220"/>
                  </a:lnTo>
                  <a:lnTo>
                    <a:pt x="672" y="212"/>
                  </a:lnTo>
                  <a:lnTo>
                    <a:pt x="672" y="212"/>
                  </a:lnTo>
                  <a:close/>
                  <a:moveTo>
                    <a:pt x="739" y="203"/>
                  </a:moveTo>
                  <a:lnTo>
                    <a:pt x="717" y="197"/>
                  </a:lnTo>
                  <a:lnTo>
                    <a:pt x="690" y="198"/>
                  </a:lnTo>
                  <a:lnTo>
                    <a:pt x="685" y="211"/>
                  </a:lnTo>
                  <a:lnTo>
                    <a:pt x="700" y="212"/>
                  </a:lnTo>
                  <a:lnTo>
                    <a:pt x="711" y="210"/>
                  </a:lnTo>
                  <a:lnTo>
                    <a:pt x="729" y="212"/>
                  </a:lnTo>
                  <a:lnTo>
                    <a:pt x="746" y="222"/>
                  </a:lnTo>
                  <a:lnTo>
                    <a:pt x="739" y="203"/>
                  </a:lnTo>
                  <a:lnTo>
                    <a:pt x="739" y="203"/>
                  </a:lnTo>
                  <a:close/>
                  <a:moveTo>
                    <a:pt x="817" y="157"/>
                  </a:moveTo>
                  <a:lnTo>
                    <a:pt x="815" y="148"/>
                  </a:lnTo>
                  <a:lnTo>
                    <a:pt x="781" y="139"/>
                  </a:lnTo>
                  <a:lnTo>
                    <a:pt x="770" y="146"/>
                  </a:lnTo>
                  <a:lnTo>
                    <a:pt x="742" y="152"/>
                  </a:lnTo>
                  <a:lnTo>
                    <a:pt x="750" y="164"/>
                  </a:lnTo>
                  <a:lnTo>
                    <a:pt x="769" y="169"/>
                  </a:lnTo>
                  <a:lnTo>
                    <a:pt x="776" y="183"/>
                  </a:lnTo>
                  <a:lnTo>
                    <a:pt x="808" y="183"/>
                  </a:lnTo>
                  <a:lnTo>
                    <a:pt x="809" y="189"/>
                  </a:lnTo>
                  <a:lnTo>
                    <a:pt x="794" y="188"/>
                  </a:lnTo>
                  <a:lnTo>
                    <a:pt x="771" y="197"/>
                  </a:lnTo>
                  <a:lnTo>
                    <a:pt x="787" y="209"/>
                  </a:lnTo>
                  <a:lnTo>
                    <a:pt x="787" y="219"/>
                  </a:lnTo>
                  <a:lnTo>
                    <a:pt x="791" y="227"/>
                  </a:lnTo>
                  <a:lnTo>
                    <a:pt x="799" y="226"/>
                  </a:lnTo>
                  <a:lnTo>
                    <a:pt x="805" y="214"/>
                  </a:lnTo>
                  <a:lnTo>
                    <a:pt x="836" y="236"/>
                  </a:lnTo>
                  <a:lnTo>
                    <a:pt x="853" y="238"/>
                  </a:lnTo>
                  <a:lnTo>
                    <a:pt x="893" y="258"/>
                  </a:lnTo>
                  <a:lnTo>
                    <a:pt x="901" y="278"/>
                  </a:lnTo>
                  <a:lnTo>
                    <a:pt x="905" y="304"/>
                  </a:lnTo>
                  <a:lnTo>
                    <a:pt x="891" y="311"/>
                  </a:lnTo>
                  <a:lnTo>
                    <a:pt x="881" y="330"/>
                  </a:lnTo>
                  <a:lnTo>
                    <a:pt x="907" y="329"/>
                  </a:lnTo>
                  <a:lnTo>
                    <a:pt x="914" y="323"/>
                  </a:lnTo>
                  <a:lnTo>
                    <a:pt x="934" y="327"/>
                  </a:lnTo>
                  <a:lnTo>
                    <a:pt x="951" y="347"/>
                  </a:lnTo>
                  <a:lnTo>
                    <a:pt x="957" y="269"/>
                  </a:lnTo>
                  <a:lnTo>
                    <a:pt x="960" y="192"/>
                  </a:lnTo>
                  <a:lnTo>
                    <a:pt x="938" y="187"/>
                  </a:lnTo>
                  <a:lnTo>
                    <a:pt x="923" y="179"/>
                  </a:lnTo>
                  <a:lnTo>
                    <a:pt x="905" y="170"/>
                  </a:lnTo>
                  <a:lnTo>
                    <a:pt x="887" y="170"/>
                  </a:lnTo>
                  <a:lnTo>
                    <a:pt x="862" y="184"/>
                  </a:lnTo>
                  <a:lnTo>
                    <a:pt x="844" y="210"/>
                  </a:lnTo>
                  <a:lnTo>
                    <a:pt x="822" y="196"/>
                  </a:lnTo>
                  <a:lnTo>
                    <a:pt x="817" y="157"/>
                  </a:lnTo>
                  <a:close/>
                  <a:moveTo>
                    <a:pt x="631" y="96"/>
                  </a:moveTo>
                  <a:lnTo>
                    <a:pt x="627" y="91"/>
                  </a:lnTo>
                  <a:lnTo>
                    <a:pt x="606" y="108"/>
                  </a:lnTo>
                  <a:lnTo>
                    <a:pt x="582" y="109"/>
                  </a:lnTo>
                  <a:lnTo>
                    <a:pt x="556" y="106"/>
                  </a:lnTo>
                  <a:lnTo>
                    <a:pt x="539" y="99"/>
                  </a:lnTo>
                  <a:lnTo>
                    <a:pt x="521" y="116"/>
                  </a:lnTo>
                  <a:lnTo>
                    <a:pt x="517" y="127"/>
                  </a:lnTo>
                  <a:lnTo>
                    <a:pt x="507" y="162"/>
                  </a:lnTo>
                  <a:lnTo>
                    <a:pt x="503" y="181"/>
                  </a:lnTo>
                  <a:lnTo>
                    <a:pt x="494" y="197"/>
                  </a:lnTo>
                  <a:lnTo>
                    <a:pt x="500" y="212"/>
                  </a:lnTo>
                  <a:lnTo>
                    <a:pt x="508" y="213"/>
                  </a:lnTo>
                  <a:lnTo>
                    <a:pt x="511" y="236"/>
                  </a:lnTo>
                  <a:lnTo>
                    <a:pt x="504" y="258"/>
                  </a:lnTo>
                  <a:lnTo>
                    <a:pt x="512" y="265"/>
                  </a:lnTo>
                  <a:lnTo>
                    <a:pt x="526" y="261"/>
                  </a:lnTo>
                  <a:lnTo>
                    <a:pt x="527" y="227"/>
                  </a:lnTo>
                  <a:lnTo>
                    <a:pt x="526" y="199"/>
                  </a:lnTo>
                  <a:lnTo>
                    <a:pt x="540" y="193"/>
                  </a:lnTo>
                  <a:lnTo>
                    <a:pt x="537" y="215"/>
                  </a:lnTo>
                  <a:lnTo>
                    <a:pt x="552" y="229"/>
                  </a:lnTo>
                  <a:lnTo>
                    <a:pt x="549" y="239"/>
                  </a:lnTo>
                  <a:lnTo>
                    <a:pt x="554" y="245"/>
                  </a:lnTo>
                  <a:lnTo>
                    <a:pt x="575" y="236"/>
                  </a:lnTo>
                  <a:lnTo>
                    <a:pt x="563" y="255"/>
                  </a:lnTo>
                  <a:lnTo>
                    <a:pt x="572" y="264"/>
                  </a:lnTo>
                  <a:lnTo>
                    <a:pt x="583" y="256"/>
                  </a:lnTo>
                  <a:lnTo>
                    <a:pt x="584" y="241"/>
                  </a:lnTo>
                  <a:lnTo>
                    <a:pt x="567" y="213"/>
                  </a:lnTo>
                  <a:lnTo>
                    <a:pt x="571" y="206"/>
                  </a:lnTo>
                  <a:lnTo>
                    <a:pt x="552" y="175"/>
                  </a:lnTo>
                  <a:lnTo>
                    <a:pt x="571" y="166"/>
                  </a:lnTo>
                  <a:lnTo>
                    <a:pt x="580" y="152"/>
                  </a:lnTo>
                  <a:lnTo>
                    <a:pt x="590" y="156"/>
                  </a:lnTo>
                  <a:lnTo>
                    <a:pt x="591" y="144"/>
                  </a:lnTo>
                  <a:lnTo>
                    <a:pt x="552" y="153"/>
                  </a:lnTo>
                  <a:lnTo>
                    <a:pt x="540" y="163"/>
                  </a:lnTo>
                  <a:lnTo>
                    <a:pt x="521" y="142"/>
                  </a:lnTo>
                  <a:lnTo>
                    <a:pt x="525" y="125"/>
                  </a:lnTo>
                  <a:lnTo>
                    <a:pt x="543" y="121"/>
                  </a:lnTo>
                  <a:lnTo>
                    <a:pt x="578" y="120"/>
                  </a:lnTo>
                  <a:lnTo>
                    <a:pt x="598" y="125"/>
                  </a:lnTo>
                  <a:lnTo>
                    <a:pt x="614" y="120"/>
                  </a:lnTo>
                  <a:lnTo>
                    <a:pt x="631" y="96"/>
                  </a:lnTo>
                  <a:lnTo>
                    <a:pt x="631" y="96"/>
                  </a:lnTo>
                  <a:close/>
                  <a:moveTo>
                    <a:pt x="704" y="103"/>
                  </a:moveTo>
                  <a:lnTo>
                    <a:pt x="701" y="94"/>
                  </a:lnTo>
                  <a:lnTo>
                    <a:pt x="689" y="91"/>
                  </a:lnTo>
                  <a:lnTo>
                    <a:pt x="687" y="78"/>
                  </a:lnTo>
                  <a:lnTo>
                    <a:pt x="680" y="86"/>
                  </a:lnTo>
                  <a:lnTo>
                    <a:pt x="676" y="106"/>
                  </a:lnTo>
                  <a:lnTo>
                    <a:pt x="683" y="137"/>
                  </a:lnTo>
                  <a:lnTo>
                    <a:pt x="690" y="152"/>
                  </a:lnTo>
                  <a:lnTo>
                    <a:pt x="697" y="148"/>
                  </a:lnTo>
                  <a:lnTo>
                    <a:pt x="689" y="136"/>
                  </a:lnTo>
                  <a:lnTo>
                    <a:pt x="691" y="122"/>
                  </a:lnTo>
                  <a:lnTo>
                    <a:pt x="703" y="124"/>
                  </a:lnTo>
                  <a:lnTo>
                    <a:pt x="704" y="103"/>
                  </a:lnTo>
                  <a:lnTo>
                    <a:pt x="704" y="103"/>
                  </a:lnTo>
                  <a:close/>
                  <a:moveTo>
                    <a:pt x="476" y="86"/>
                  </a:moveTo>
                  <a:lnTo>
                    <a:pt x="479" y="75"/>
                  </a:lnTo>
                  <a:lnTo>
                    <a:pt x="463" y="53"/>
                  </a:lnTo>
                  <a:lnTo>
                    <a:pt x="474" y="31"/>
                  </a:lnTo>
                  <a:lnTo>
                    <a:pt x="455" y="28"/>
                  </a:lnTo>
                  <a:lnTo>
                    <a:pt x="432" y="28"/>
                  </a:lnTo>
                  <a:lnTo>
                    <a:pt x="425" y="55"/>
                  </a:lnTo>
                  <a:lnTo>
                    <a:pt x="418" y="63"/>
                  </a:lnTo>
                  <a:lnTo>
                    <a:pt x="408" y="96"/>
                  </a:lnTo>
                  <a:lnTo>
                    <a:pt x="391" y="101"/>
                  </a:lnTo>
                  <a:lnTo>
                    <a:pt x="371" y="94"/>
                  </a:lnTo>
                  <a:lnTo>
                    <a:pt x="361" y="97"/>
                  </a:lnTo>
                  <a:lnTo>
                    <a:pt x="349" y="109"/>
                  </a:lnTo>
                  <a:lnTo>
                    <a:pt x="336" y="107"/>
                  </a:lnTo>
                  <a:lnTo>
                    <a:pt x="322" y="112"/>
                  </a:lnTo>
                  <a:lnTo>
                    <a:pt x="308" y="99"/>
                  </a:lnTo>
                  <a:lnTo>
                    <a:pt x="304" y="83"/>
                  </a:lnTo>
                  <a:lnTo>
                    <a:pt x="291" y="98"/>
                  </a:lnTo>
                  <a:lnTo>
                    <a:pt x="289" y="120"/>
                  </a:lnTo>
                  <a:lnTo>
                    <a:pt x="292" y="141"/>
                  </a:lnTo>
                  <a:lnTo>
                    <a:pt x="302" y="161"/>
                  </a:lnTo>
                  <a:lnTo>
                    <a:pt x="312" y="168"/>
                  </a:lnTo>
                  <a:lnTo>
                    <a:pt x="315" y="199"/>
                  </a:lnTo>
                  <a:lnTo>
                    <a:pt x="332" y="202"/>
                  </a:lnTo>
                  <a:lnTo>
                    <a:pt x="345" y="201"/>
                  </a:lnTo>
                  <a:lnTo>
                    <a:pt x="352" y="212"/>
                  </a:lnTo>
                  <a:lnTo>
                    <a:pt x="378" y="204"/>
                  </a:lnTo>
                  <a:lnTo>
                    <a:pt x="388" y="212"/>
                  </a:lnTo>
                  <a:lnTo>
                    <a:pt x="403" y="213"/>
                  </a:lnTo>
                  <a:lnTo>
                    <a:pt x="410" y="227"/>
                  </a:lnTo>
                  <a:lnTo>
                    <a:pt x="435" y="217"/>
                  </a:lnTo>
                  <a:lnTo>
                    <a:pt x="438" y="226"/>
                  </a:lnTo>
                  <a:lnTo>
                    <a:pt x="448" y="189"/>
                  </a:lnTo>
                  <a:lnTo>
                    <a:pt x="449" y="165"/>
                  </a:lnTo>
                  <a:lnTo>
                    <a:pt x="469" y="149"/>
                  </a:lnTo>
                  <a:lnTo>
                    <a:pt x="468" y="127"/>
                  </a:lnTo>
                  <a:lnTo>
                    <a:pt x="475" y="112"/>
                  </a:lnTo>
                  <a:lnTo>
                    <a:pt x="500" y="109"/>
                  </a:lnTo>
                  <a:lnTo>
                    <a:pt x="476" y="86"/>
                  </a:lnTo>
                  <a:lnTo>
                    <a:pt x="476" y="86"/>
                  </a:lnTo>
                  <a:close/>
                  <a:moveTo>
                    <a:pt x="219" y="269"/>
                  </a:moveTo>
                  <a:lnTo>
                    <a:pt x="222" y="232"/>
                  </a:lnTo>
                  <a:lnTo>
                    <a:pt x="228" y="202"/>
                  </a:lnTo>
                  <a:lnTo>
                    <a:pt x="218" y="187"/>
                  </a:lnTo>
                  <a:lnTo>
                    <a:pt x="203" y="185"/>
                  </a:lnTo>
                  <a:lnTo>
                    <a:pt x="196" y="172"/>
                  </a:lnTo>
                  <a:lnTo>
                    <a:pt x="193" y="156"/>
                  </a:lnTo>
                  <a:lnTo>
                    <a:pt x="185" y="156"/>
                  </a:lnTo>
                  <a:lnTo>
                    <a:pt x="173" y="147"/>
                  </a:lnTo>
                  <a:lnTo>
                    <a:pt x="182" y="127"/>
                  </a:lnTo>
                  <a:lnTo>
                    <a:pt x="166" y="116"/>
                  </a:lnTo>
                  <a:lnTo>
                    <a:pt x="154" y="97"/>
                  </a:lnTo>
                  <a:lnTo>
                    <a:pt x="136" y="81"/>
                  </a:lnTo>
                  <a:lnTo>
                    <a:pt x="114" y="80"/>
                  </a:lnTo>
                  <a:lnTo>
                    <a:pt x="94" y="55"/>
                  </a:lnTo>
                  <a:lnTo>
                    <a:pt x="82" y="44"/>
                  </a:lnTo>
                  <a:lnTo>
                    <a:pt x="65" y="29"/>
                  </a:lnTo>
                  <a:lnTo>
                    <a:pt x="45" y="5"/>
                  </a:lnTo>
                  <a:lnTo>
                    <a:pt x="13" y="1"/>
                  </a:lnTo>
                  <a:lnTo>
                    <a:pt x="0" y="0"/>
                  </a:lnTo>
                  <a:lnTo>
                    <a:pt x="1" y="12"/>
                  </a:lnTo>
                  <a:lnTo>
                    <a:pt x="24" y="38"/>
                  </a:lnTo>
                  <a:lnTo>
                    <a:pt x="41" y="51"/>
                  </a:lnTo>
                  <a:lnTo>
                    <a:pt x="52" y="71"/>
                  </a:lnTo>
                  <a:lnTo>
                    <a:pt x="71" y="86"/>
                  </a:lnTo>
                  <a:lnTo>
                    <a:pt x="80" y="105"/>
                  </a:lnTo>
                  <a:lnTo>
                    <a:pt x="85" y="126"/>
                  </a:lnTo>
                  <a:lnTo>
                    <a:pt x="104" y="145"/>
                  </a:lnTo>
                  <a:lnTo>
                    <a:pt x="119" y="179"/>
                  </a:lnTo>
                  <a:lnTo>
                    <a:pt x="129" y="197"/>
                  </a:lnTo>
                  <a:lnTo>
                    <a:pt x="145" y="216"/>
                  </a:lnTo>
                  <a:lnTo>
                    <a:pt x="153" y="230"/>
                  </a:lnTo>
                  <a:lnTo>
                    <a:pt x="179" y="250"/>
                  </a:lnTo>
                  <a:lnTo>
                    <a:pt x="196" y="269"/>
                  </a:lnTo>
                  <a:lnTo>
                    <a:pt x="219" y="269"/>
                  </a:lnTo>
                  <a:lnTo>
                    <a:pt x="219" y="26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0" name="India">
              <a:extLst>
                <a:ext uri="{FF2B5EF4-FFF2-40B4-BE49-F238E27FC236}">
                  <a16:creationId xmlns:a16="http://schemas.microsoft.com/office/drawing/2014/main" id="{72671D2E-173A-430A-BC6F-6C114718D433}"/>
                </a:ext>
              </a:extLst>
            </p:cNvPr>
            <p:cNvSpPr>
              <a:spLocks/>
            </p:cNvSpPr>
            <p:nvPr/>
          </p:nvSpPr>
          <p:spPr bwMode="auto">
            <a:xfrm>
              <a:off x="8211344" y="2722336"/>
              <a:ext cx="919162" cy="1039812"/>
            </a:xfrm>
            <a:custGeom>
              <a:avLst/>
              <a:gdLst>
                <a:gd name="T0" fmla="*/ 183 w 579"/>
                <a:gd name="T1" fmla="*/ 95 h 655"/>
                <a:gd name="T2" fmla="*/ 184 w 579"/>
                <a:gd name="T3" fmla="*/ 60 h 655"/>
                <a:gd name="T4" fmla="*/ 141 w 579"/>
                <a:gd name="T5" fmla="*/ 0 h 655"/>
                <a:gd name="T6" fmla="*/ 75 w 579"/>
                <a:gd name="T7" fmla="*/ 18 h 655"/>
                <a:gd name="T8" fmla="*/ 90 w 579"/>
                <a:gd name="T9" fmla="*/ 66 h 655"/>
                <a:gd name="T10" fmla="*/ 99 w 579"/>
                <a:gd name="T11" fmla="*/ 108 h 655"/>
                <a:gd name="T12" fmla="*/ 60 w 579"/>
                <a:gd name="T13" fmla="*/ 180 h 655"/>
                <a:gd name="T14" fmla="*/ 32 w 579"/>
                <a:gd name="T15" fmla="*/ 214 h 655"/>
                <a:gd name="T16" fmla="*/ 57 w 579"/>
                <a:gd name="T17" fmla="*/ 265 h 655"/>
                <a:gd name="T18" fmla="*/ 26 w 579"/>
                <a:gd name="T19" fmla="*/ 301 h 655"/>
                <a:gd name="T20" fmla="*/ 54 w 579"/>
                <a:gd name="T21" fmla="*/ 348 h 655"/>
                <a:gd name="T22" fmla="*/ 105 w 579"/>
                <a:gd name="T23" fmla="*/ 359 h 655"/>
                <a:gd name="T24" fmla="*/ 130 w 579"/>
                <a:gd name="T25" fmla="*/ 464 h 655"/>
                <a:gd name="T26" fmla="*/ 165 w 579"/>
                <a:gd name="T27" fmla="*/ 541 h 655"/>
                <a:gd name="T28" fmla="*/ 194 w 579"/>
                <a:gd name="T29" fmla="*/ 599 h 655"/>
                <a:gd name="T30" fmla="*/ 235 w 579"/>
                <a:gd name="T31" fmla="*/ 648 h 655"/>
                <a:gd name="T32" fmla="*/ 253 w 579"/>
                <a:gd name="T33" fmla="*/ 617 h 655"/>
                <a:gd name="T34" fmla="*/ 269 w 579"/>
                <a:gd name="T35" fmla="*/ 558 h 655"/>
                <a:gd name="T36" fmla="*/ 267 w 579"/>
                <a:gd name="T37" fmla="*/ 485 h 655"/>
                <a:gd name="T38" fmla="*/ 299 w 579"/>
                <a:gd name="T39" fmla="*/ 457 h 655"/>
                <a:gd name="T40" fmla="*/ 326 w 579"/>
                <a:gd name="T41" fmla="*/ 424 h 655"/>
                <a:gd name="T42" fmla="*/ 387 w 579"/>
                <a:gd name="T43" fmla="*/ 365 h 655"/>
                <a:gd name="T44" fmla="*/ 418 w 579"/>
                <a:gd name="T45" fmla="*/ 328 h 655"/>
                <a:gd name="T46" fmla="*/ 427 w 579"/>
                <a:gd name="T47" fmla="*/ 300 h 655"/>
                <a:gd name="T48" fmla="*/ 405 w 579"/>
                <a:gd name="T49" fmla="*/ 262 h 655"/>
                <a:gd name="T50" fmla="*/ 403 w 579"/>
                <a:gd name="T51" fmla="*/ 232 h 655"/>
                <a:gd name="T52" fmla="*/ 435 w 579"/>
                <a:gd name="T53" fmla="*/ 227 h 655"/>
                <a:gd name="T54" fmla="*/ 478 w 579"/>
                <a:gd name="T55" fmla="*/ 247 h 655"/>
                <a:gd name="T56" fmla="*/ 476 w 579"/>
                <a:gd name="T57" fmla="*/ 272 h 655"/>
                <a:gd name="T58" fmla="*/ 486 w 579"/>
                <a:gd name="T59" fmla="*/ 283 h 655"/>
                <a:gd name="T60" fmla="*/ 518 w 579"/>
                <a:gd name="T61" fmla="*/ 315 h 655"/>
                <a:gd name="T62" fmla="*/ 514 w 579"/>
                <a:gd name="T63" fmla="*/ 272 h 655"/>
                <a:gd name="T64" fmla="*/ 535 w 579"/>
                <a:gd name="T65" fmla="*/ 246 h 655"/>
                <a:gd name="T66" fmla="*/ 562 w 579"/>
                <a:gd name="T67" fmla="*/ 196 h 655"/>
                <a:gd name="T68" fmla="*/ 579 w 579"/>
                <a:gd name="T69" fmla="*/ 181 h 655"/>
                <a:gd name="T70" fmla="*/ 558 w 579"/>
                <a:gd name="T71" fmla="*/ 159 h 655"/>
                <a:gd name="T72" fmla="*/ 514 w 579"/>
                <a:gd name="T73" fmla="*/ 149 h 655"/>
                <a:gd name="T74" fmla="*/ 464 w 579"/>
                <a:gd name="T75" fmla="*/ 184 h 655"/>
                <a:gd name="T76" fmla="*/ 460 w 579"/>
                <a:gd name="T77" fmla="*/ 207 h 655"/>
                <a:gd name="T78" fmla="*/ 409 w 579"/>
                <a:gd name="T79" fmla="*/ 200 h 655"/>
                <a:gd name="T80" fmla="*/ 391 w 579"/>
                <a:gd name="T81" fmla="*/ 181 h 655"/>
                <a:gd name="T82" fmla="*/ 397 w 579"/>
                <a:gd name="T83" fmla="*/ 216 h 655"/>
                <a:gd name="T84" fmla="*/ 338 w 579"/>
                <a:gd name="T85" fmla="*/ 208 h 655"/>
                <a:gd name="T86" fmla="*/ 267 w 579"/>
                <a:gd name="T87" fmla="*/ 180 h 655"/>
                <a:gd name="T88" fmla="*/ 227 w 579"/>
                <a:gd name="T89" fmla="*/ 138 h 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79" h="655">
                  <a:moveTo>
                    <a:pt x="237" y="126"/>
                  </a:moveTo>
                  <a:lnTo>
                    <a:pt x="206" y="110"/>
                  </a:lnTo>
                  <a:lnTo>
                    <a:pt x="183" y="95"/>
                  </a:lnTo>
                  <a:lnTo>
                    <a:pt x="171" y="69"/>
                  </a:lnTo>
                  <a:lnTo>
                    <a:pt x="186" y="72"/>
                  </a:lnTo>
                  <a:lnTo>
                    <a:pt x="184" y="60"/>
                  </a:lnTo>
                  <a:lnTo>
                    <a:pt x="173" y="48"/>
                  </a:lnTo>
                  <a:lnTo>
                    <a:pt x="170" y="28"/>
                  </a:lnTo>
                  <a:lnTo>
                    <a:pt x="141" y="0"/>
                  </a:lnTo>
                  <a:lnTo>
                    <a:pt x="127" y="21"/>
                  </a:lnTo>
                  <a:lnTo>
                    <a:pt x="107" y="25"/>
                  </a:lnTo>
                  <a:lnTo>
                    <a:pt x="75" y="18"/>
                  </a:lnTo>
                  <a:lnTo>
                    <a:pt x="67" y="29"/>
                  </a:lnTo>
                  <a:lnTo>
                    <a:pt x="80" y="50"/>
                  </a:lnTo>
                  <a:lnTo>
                    <a:pt x="90" y="66"/>
                  </a:lnTo>
                  <a:lnTo>
                    <a:pt x="109" y="78"/>
                  </a:lnTo>
                  <a:lnTo>
                    <a:pt x="95" y="91"/>
                  </a:lnTo>
                  <a:lnTo>
                    <a:pt x="99" y="108"/>
                  </a:lnTo>
                  <a:lnTo>
                    <a:pt x="84" y="132"/>
                  </a:lnTo>
                  <a:lnTo>
                    <a:pt x="77" y="156"/>
                  </a:lnTo>
                  <a:lnTo>
                    <a:pt x="60" y="180"/>
                  </a:lnTo>
                  <a:lnTo>
                    <a:pt x="36" y="179"/>
                  </a:lnTo>
                  <a:lnTo>
                    <a:pt x="17" y="204"/>
                  </a:lnTo>
                  <a:lnTo>
                    <a:pt x="32" y="214"/>
                  </a:lnTo>
                  <a:lnTo>
                    <a:pt x="38" y="233"/>
                  </a:lnTo>
                  <a:lnTo>
                    <a:pt x="51" y="245"/>
                  </a:lnTo>
                  <a:lnTo>
                    <a:pt x="57" y="265"/>
                  </a:lnTo>
                  <a:lnTo>
                    <a:pt x="12" y="265"/>
                  </a:lnTo>
                  <a:lnTo>
                    <a:pt x="0" y="281"/>
                  </a:lnTo>
                  <a:lnTo>
                    <a:pt x="26" y="301"/>
                  </a:lnTo>
                  <a:lnTo>
                    <a:pt x="34" y="310"/>
                  </a:lnTo>
                  <a:lnTo>
                    <a:pt x="25" y="319"/>
                  </a:lnTo>
                  <a:lnTo>
                    <a:pt x="54" y="348"/>
                  </a:lnTo>
                  <a:lnTo>
                    <a:pt x="69" y="350"/>
                  </a:lnTo>
                  <a:lnTo>
                    <a:pt x="98" y="336"/>
                  </a:lnTo>
                  <a:lnTo>
                    <a:pt x="105" y="359"/>
                  </a:lnTo>
                  <a:lnTo>
                    <a:pt x="108" y="388"/>
                  </a:lnTo>
                  <a:lnTo>
                    <a:pt x="117" y="418"/>
                  </a:lnTo>
                  <a:lnTo>
                    <a:pt x="130" y="464"/>
                  </a:lnTo>
                  <a:lnTo>
                    <a:pt x="152" y="497"/>
                  </a:lnTo>
                  <a:lnTo>
                    <a:pt x="157" y="511"/>
                  </a:lnTo>
                  <a:lnTo>
                    <a:pt x="165" y="541"/>
                  </a:lnTo>
                  <a:lnTo>
                    <a:pt x="177" y="564"/>
                  </a:lnTo>
                  <a:lnTo>
                    <a:pt x="185" y="575"/>
                  </a:lnTo>
                  <a:lnTo>
                    <a:pt x="194" y="599"/>
                  </a:lnTo>
                  <a:lnTo>
                    <a:pt x="206" y="632"/>
                  </a:lnTo>
                  <a:lnTo>
                    <a:pt x="226" y="655"/>
                  </a:lnTo>
                  <a:lnTo>
                    <a:pt x="235" y="648"/>
                  </a:lnTo>
                  <a:lnTo>
                    <a:pt x="241" y="631"/>
                  </a:lnTo>
                  <a:lnTo>
                    <a:pt x="260" y="625"/>
                  </a:lnTo>
                  <a:lnTo>
                    <a:pt x="253" y="617"/>
                  </a:lnTo>
                  <a:lnTo>
                    <a:pt x="262" y="599"/>
                  </a:lnTo>
                  <a:lnTo>
                    <a:pt x="272" y="598"/>
                  </a:lnTo>
                  <a:lnTo>
                    <a:pt x="269" y="558"/>
                  </a:lnTo>
                  <a:lnTo>
                    <a:pt x="277" y="535"/>
                  </a:lnTo>
                  <a:lnTo>
                    <a:pt x="274" y="515"/>
                  </a:lnTo>
                  <a:lnTo>
                    <a:pt x="267" y="485"/>
                  </a:lnTo>
                  <a:lnTo>
                    <a:pt x="271" y="466"/>
                  </a:lnTo>
                  <a:lnTo>
                    <a:pt x="280" y="465"/>
                  </a:lnTo>
                  <a:lnTo>
                    <a:pt x="299" y="457"/>
                  </a:lnTo>
                  <a:lnTo>
                    <a:pt x="308" y="450"/>
                  </a:lnTo>
                  <a:lnTo>
                    <a:pt x="307" y="440"/>
                  </a:lnTo>
                  <a:lnTo>
                    <a:pt x="326" y="424"/>
                  </a:lnTo>
                  <a:lnTo>
                    <a:pt x="340" y="409"/>
                  </a:lnTo>
                  <a:lnTo>
                    <a:pt x="360" y="381"/>
                  </a:lnTo>
                  <a:lnTo>
                    <a:pt x="387" y="365"/>
                  </a:lnTo>
                  <a:lnTo>
                    <a:pt x="396" y="351"/>
                  </a:lnTo>
                  <a:lnTo>
                    <a:pt x="392" y="334"/>
                  </a:lnTo>
                  <a:lnTo>
                    <a:pt x="418" y="328"/>
                  </a:lnTo>
                  <a:lnTo>
                    <a:pt x="432" y="329"/>
                  </a:lnTo>
                  <a:lnTo>
                    <a:pt x="433" y="320"/>
                  </a:lnTo>
                  <a:lnTo>
                    <a:pt x="427" y="300"/>
                  </a:lnTo>
                  <a:lnTo>
                    <a:pt x="418" y="282"/>
                  </a:lnTo>
                  <a:lnTo>
                    <a:pt x="419" y="268"/>
                  </a:lnTo>
                  <a:lnTo>
                    <a:pt x="405" y="262"/>
                  </a:lnTo>
                  <a:lnTo>
                    <a:pt x="408" y="253"/>
                  </a:lnTo>
                  <a:lnTo>
                    <a:pt x="419" y="244"/>
                  </a:lnTo>
                  <a:lnTo>
                    <a:pt x="403" y="232"/>
                  </a:lnTo>
                  <a:lnTo>
                    <a:pt x="407" y="216"/>
                  </a:lnTo>
                  <a:lnTo>
                    <a:pt x="425" y="225"/>
                  </a:lnTo>
                  <a:lnTo>
                    <a:pt x="435" y="227"/>
                  </a:lnTo>
                  <a:lnTo>
                    <a:pt x="439" y="244"/>
                  </a:lnTo>
                  <a:lnTo>
                    <a:pt x="460" y="247"/>
                  </a:lnTo>
                  <a:lnTo>
                    <a:pt x="478" y="247"/>
                  </a:lnTo>
                  <a:lnTo>
                    <a:pt x="491" y="250"/>
                  </a:lnTo>
                  <a:lnTo>
                    <a:pt x="485" y="270"/>
                  </a:lnTo>
                  <a:lnTo>
                    <a:pt x="476" y="272"/>
                  </a:lnTo>
                  <a:lnTo>
                    <a:pt x="472" y="285"/>
                  </a:lnTo>
                  <a:lnTo>
                    <a:pt x="485" y="298"/>
                  </a:lnTo>
                  <a:lnTo>
                    <a:pt x="486" y="283"/>
                  </a:lnTo>
                  <a:lnTo>
                    <a:pt x="491" y="282"/>
                  </a:lnTo>
                  <a:lnTo>
                    <a:pt x="508" y="321"/>
                  </a:lnTo>
                  <a:lnTo>
                    <a:pt x="518" y="315"/>
                  </a:lnTo>
                  <a:lnTo>
                    <a:pt x="514" y="305"/>
                  </a:lnTo>
                  <a:lnTo>
                    <a:pt x="518" y="296"/>
                  </a:lnTo>
                  <a:lnTo>
                    <a:pt x="514" y="272"/>
                  </a:lnTo>
                  <a:lnTo>
                    <a:pt x="531" y="278"/>
                  </a:lnTo>
                  <a:lnTo>
                    <a:pt x="536" y="258"/>
                  </a:lnTo>
                  <a:lnTo>
                    <a:pt x="535" y="246"/>
                  </a:lnTo>
                  <a:lnTo>
                    <a:pt x="544" y="226"/>
                  </a:lnTo>
                  <a:lnTo>
                    <a:pt x="540" y="212"/>
                  </a:lnTo>
                  <a:lnTo>
                    <a:pt x="562" y="196"/>
                  </a:lnTo>
                  <a:lnTo>
                    <a:pt x="578" y="200"/>
                  </a:lnTo>
                  <a:lnTo>
                    <a:pt x="574" y="186"/>
                  </a:lnTo>
                  <a:lnTo>
                    <a:pt x="579" y="181"/>
                  </a:lnTo>
                  <a:lnTo>
                    <a:pt x="575" y="172"/>
                  </a:lnTo>
                  <a:lnTo>
                    <a:pt x="553" y="169"/>
                  </a:lnTo>
                  <a:lnTo>
                    <a:pt x="558" y="159"/>
                  </a:lnTo>
                  <a:lnTo>
                    <a:pt x="545" y="144"/>
                  </a:lnTo>
                  <a:lnTo>
                    <a:pt x="532" y="154"/>
                  </a:lnTo>
                  <a:lnTo>
                    <a:pt x="514" y="149"/>
                  </a:lnTo>
                  <a:lnTo>
                    <a:pt x="494" y="164"/>
                  </a:lnTo>
                  <a:lnTo>
                    <a:pt x="480" y="181"/>
                  </a:lnTo>
                  <a:lnTo>
                    <a:pt x="464" y="184"/>
                  </a:lnTo>
                  <a:lnTo>
                    <a:pt x="475" y="192"/>
                  </a:lnTo>
                  <a:lnTo>
                    <a:pt x="475" y="207"/>
                  </a:lnTo>
                  <a:lnTo>
                    <a:pt x="460" y="207"/>
                  </a:lnTo>
                  <a:lnTo>
                    <a:pt x="442" y="206"/>
                  </a:lnTo>
                  <a:lnTo>
                    <a:pt x="430" y="209"/>
                  </a:lnTo>
                  <a:lnTo>
                    <a:pt x="409" y="200"/>
                  </a:lnTo>
                  <a:lnTo>
                    <a:pt x="408" y="195"/>
                  </a:lnTo>
                  <a:lnTo>
                    <a:pt x="403" y="177"/>
                  </a:lnTo>
                  <a:lnTo>
                    <a:pt x="391" y="181"/>
                  </a:lnTo>
                  <a:lnTo>
                    <a:pt x="391" y="192"/>
                  </a:lnTo>
                  <a:lnTo>
                    <a:pt x="397" y="207"/>
                  </a:lnTo>
                  <a:lnTo>
                    <a:pt x="397" y="216"/>
                  </a:lnTo>
                  <a:lnTo>
                    <a:pt x="379" y="217"/>
                  </a:lnTo>
                  <a:lnTo>
                    <a:pt x="354" y="211"/>
                  </a:lnTo>
                  <a:lnTo>
                    <a:pt x="338" y="208"/>
                  </a:lnTo>
                  <a:lnTo>
                    <a:pt x="324" y="197"/>
                  </a:lnTo>
                  <a:lnTo>
                    <a:pt x="295" y="194"/>
                  </a:lnTo>
                  <a:lnTo>
                    <a:pt x="267" y="180"/>
                  </a:lnTo>
                  <a:lnTo>
                    <a:pt x="245" y="169"/>
                  </a:lnTo>
                  <a:lnTo>
                    <a:pt x="224" y="160"/>
                  </a:lnTo>
                  <a:lnTo>
                    <a:pt x="227" y="138"/>
                  </a:lnTo>
                  <a:lnTo>
                    <a:pt x="237" y="126"/>
                  </a:lnTo>
                  <a:lnTo>
                    <a:pt x="237" y="12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1" name="Ireland">
              <a:extLst>
                <a:ext uri="{FF2B5EF4-FFF2-40B4-BE49-F238E27FC236}">
                  <a16:creationId xmlns:a16="http://schemas.microsoft.com/office/drawing/2014/main" id="{79F85EB5-4B9D-405C-9DC0-AF19CB0CE35A}"/>
                </a:ext>
              </a:extLst>
            </p:cNvPr>
            <p:cNvSpPr>
              <a:spLocks/>
            </p:cNvSpPr>
            <p:nvPr/>
          </p:nvSpPr>
          <p:spPr bwMode="auto">
            <a:xfrm>
              <a:off x="5711031" y="1998437"/>
              <a:ext cx="114300" cy="123825"/>
            </a:xfrm>
            <a:custGeom>
              <a:avLst/>
              <a:gdLst>
                <a:gd name="T0" fmla="*/ 69 w 72"/>
                <a:gd name="T1" fmla="*/ 29 h 78"/>
                <a:gd name="T2" fmla="*/ 56 w 72"/>
                <a:gd name="T3" fmla="*/ 24 h 78"/>
                <a:gd name="T4" fmla="*/ 46 w 72"/>
                <a:gd name="T5" fmla="*/ 24 h 78"/>
                <a:gd name="T6" fmla="*/ 50 w 72"/>
                <a:gd name="T7" fmla="*/ 12 h 78"/>
                <a:gd name="T8" fmla="*/ 47 w 72"/>
                <a:gd name="T9" fmla="*/ 0 h 78"/>
                <a:gd name="T10" fmla="*/ 33 w 72"/>
                <a:gd name="T11" fmla="*/ 11 h 78"/>
                <a:gd name="T12" fmla="*/ 8 w 72"/>
                <a:gd name="T13" fmla="*/ 28 h 78"/>
                <a:gd name="T14" fmla="*/ 16 w 72"/>
                <a:gd name="T15" fmla="*/ 51 h 78"/>
                <a:gd name="T16" fmla="*/ 0 w 72"/>
                <a:gd name="T17" fmla="*/ 74 h 78"/>
                <a:gd name="T18" fmla="*/ 25 w 72"/>
                <a:gd name="T19" fmla="*/ 78 h 78"/>
                <a:gd name="T20" fmla="*/ 57 w 72"/>
                <a:gd name="T21" fmla="*/ 65 h 78"/>
                <a:gd name="T22" fmla="*/ 72 w 72"/>
                <a:gd name="T23" fmla="*/ 45 h 78"/>
                <a:gd name="T24" fmla="*/ 69 w 72"/>
                <a:gd name="T25" fmla="*/ 29 h 78"/>
                <a:gd name="T26" fmla="*/ 69 w 72"/>
                <a:gd name="T27" fmla="*/ 2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2" h="78">
                  <a:moveTo>
                    <a:pt x="69" y="29"/>
                  </a:moveTo>
                  <a:lnTo>
                    <a:pt x="56" y="24"/>
                  </a:lnTo>
                  <a:lnTo>
                    <a:pt x="46" y="24"/>
                  </a:lnTo>
                  <a:lnTo>
                    <a:pt x="50" y="12"/>
                  </a:lnTo>
                  <a:lnTo>
                    <a:pt x="47" y="0"/>
                  </a:lnTo>
                  <a:lnTo>
                    <a:pt x="33" y="11"/>
                  </a:lnTo>
                  <a:lnTo>
                    <a:pt x="8" y="28"/>
                  </a:lnTo>
                  <a:lnTo>
                    <a:pt x="16" y="51"/>
                  </a:lnTo>
                  <a:lnTo>
                    <a:pt x="0" y="74"/>
                  </a:lnTo>
                  <a:lnTo>
                    <a:pt x="25" y="78"/>
                  </a:lnTo>
                  <a:lnTo>
                    <a:pt x="57" y="65"/>
                  </a:lnTo>
                  <a:lnTo>
                    <a:pt x="72" y="45"/>
                  </a:lnTo>
                  <a:lnTo>
                    <a:pt x="69" y="29"/>
                  </a:lnTo>
                  <a:lnTo>
                    <a:pt x="69" y="2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2" name="Iran">
              <a:extLst>
                <a:ext uri="{FF2B5EF4-FFF2-40B4-BE49-F238E27FC236}">
                  <a16:creationId xmlns:a16="http://schemas.microsoft.com/office/drawing/2014/main" id="{CF15BA7C-05F7-4CDE-9E93-6794A6BB2A0B}"/>
                </a:ext>
              </a:extLst>
            </p:cNvPr>
            <p:cNvSpPr>
              <a:spLocks/>
            </p:cNvSpPr>
            <p:nvPr/>
          </p:nvSpPr>
          <p:spPr bwMode="auto">
            <a:xfrm>
              <a:off x="7354094" y="2560412"/>
              <a:ext cx="685800" cy="555625"/>
            </a:xfrm>
            <a:custGeom>
              <a:avLst/>
              <a:gdLst>
                <a:gd name="T0" fmla="*/ 16 w 432"/>
                <a:gd name="T1" fmla="*/ 10 h 350"/>
                <a:gd name="T2" fmla="*/ 0 w 432"/>
                <a:gd name="T3" fmla="*/ 8 h 350"/>
                <a:gd name="T4" fmla="*/ 8 w 432"/>
                <a:gd name="T5" fmla="*/ 42 h 350"/>
                <a:gd name="T6" fmla="*/ 22 w 432"/>
                <a:gd name="T7" fmla="*/ 62 h 350"/>
                <a:gd name="T8" fmla="*/ 53 w 432"/>
                <a:gd name="T9" fmla="*/ 98 h 350"/>
                <a:gd name="T10" fmla="*/ 48 w 432"/>
                <a:gd name="T11" fmla="*/ 120 h 350"/>
                <a:gd name="T12" fmla="*/ 64 w 432"/>
                <a:gd name="T13" fmla="*/ 162 h 350"/>
                <a:gd name="T14" fmla="*/ 103 w 432"/>
                <a:gd name="T15" fmla="*/ 193 h 350"/>
                <a:gd name="T16" fmla="*/ 109 w 432"/>
                <a:gd name="T17" fmla="*/ 210 h 350"/>
                <a:gd name="T18" fmla="*/ 123 w 432"/>
                <a:gd name="T19" fmla="*/ 235 h 350"/>
                <a:gd name="T20" fmla="*/ 143 w 432"/>
                <a:gd name="T21" fmla="*/ 234 h 350"/>
                <a:gd name="T22" fmla="*/ 172 w 432"/>
                <a:gd name="T23" fmla="*/ 261 h 350"/>
                <a:gd name="T24" fmla="*/ 210 w 432"/>
                <a:gd name="T25" fmla="*/ 291 h 350"/>
                <a:gd name="T26" fmla="*/ 258 w 432"/>
                <a:gd name="T27" fmla="*/ 317 h 350"/>
                <a:gd name="T28" fmla="*/ 292 w 432"/>
                <a:gd name="T29" fmla="*/ 301 h 350"/>
                <a:gd name="T30" fmla="*/ 314 w 432"/>
                <a:gd name="T31" fmla="*/ 335 h 350"/>
                <a:gd name="T32" fmla="*/ 361 w 432"/>
                <a:gd name="T33" fmla="*/ 343 h 350"/>
                <a:gd name="T34" fmla="*/ 404 w 432"/>
                <a:gd name="T35" fmla="*/ 323 h 350"/>
                <a:gd name="T36" fmla="*/ 428 w 432"/>
                <a:gd name="T37" fmla="*/ 299 h 350"/>
                <a:gd name="T38" fmla="*/ 415 w 432"/>
                <a:gd name="T39" fmla="*/ 274 h 350"/>
                <a:gd name="T40" fmla="*/ 383 w 432"/>
                <a:gd name="T41" fmla="*/ 250 h 350"/>
                <a:gd name="T42" fmla="*/ 386 w 432"/>
                <a:gd name="T43" fmla="*/ 215 h 350"/>
                <a:gd name="T44" fmla="*/ 366 w 432"/>
                <a:gd name="T45" fmla="*/ 197 h 350"/>
                <a:gd name="T46" fmla="*/ 352 w 432"/>
                <a:gd name="T47" fmla="*/ 163 h 350"/>
                <a:gd name="T48" fmla="*/ 348 w 432"/>
                <a:gd name="T49" fmla="*/ 146 h 350"/>
                <a:gd name="T50" fmla="*/ 352 w 432"/>
                <a:gd name="T51" fmla="*/ 99 h 350"/>
                <a:gd name="T52" fmla="*/ 331 w 432"/>
                <a:gd name="T53" fmla="*/ 77 h 350"/>
                <a:gd name="T54" fmla="*/ 288 w 432"/>
                <a:gd name="T55" fmla="*/ 54 h 350"/>
                <a:gd name="T56" fmla="*/ 250 w 432"/>
                <a:gd name="T57" fmla="*/ 39 h 350"/>
                <a:gd name="T58" fmla="*/ 228 w 432"/>
                <a:gd name="T59" fmla="*/ 42 h 350"/>
                <a:gd name="T60" fmla="*/ 201 w 432"/>
                <a:gd name="T61" fmla="*/ 61 h 350"/>
                <a:gd name="T62" fmla="*/ 171 w 432"/>
                <a:gd name="T63" fmla="*/ 73 h 350"/>
                <a:gd name="T64" fmla="*/ 127 w 432"/>
                <a:gd name="T65" fmla="*/ 57 h 350"/>
                <a:gd name="T66" fmla="*/ 98 w 432"/>
                <a:gd name="T67" fmla="*/ 34 h 350"/>
                <a:gd name="T68" fmla="*/ 79 w 432"/>
                <a:gd name="T69" fmla="*/ 23 h 350"/>
                <a:gd name="T70" fmla="*/ 76 w 432"/>
                <a:gd name="T71" fmla="*/ 4 h 350"/>
                <a:gd name="T72" fmla="*/ 49 w 432"/>
                <a:gd name="T73" fmla="*/ 23 h 350"/>
                <a:gd name="T74" fmla="*/ 29 w 432"/>
                <a:gd name="T75" fmla="*/ 21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32" h="350">
                  <a:moveTo>
                    <a:pt x="29" y="21"/>
                  </a:moveTo>
                  <a:lnTo>
                    <a:pt x="16" y="10"/>
                  </a:lnTo>
                  <a:lnTo>
                    <a:pt x="12" y="0"/>
                  </a:lnTo>
                  <a:lnTo>
                    <a:pt x="0" y="8"/>
                  </a:lnTo>
                  <a:lnTo>
                    <a:pt x="11" y="35"/>
                  </a:lnTo>
                  <a:lnTo>
                    <a:pt x="8" y="42"/>
                  </a:lnTo>
                  <a:lnTo>
                    <a:pt x="22" y="62"/>
                  </a:lnTo>
                  <a:lnTo>
                    <a:pt x="22" y="62"/>
                  </a:lnTo>
                  <a:lnTo>
                    <a:pt x="40" y="91"/>
                  </a:lnTo>
                  <a:lnTo>
                    <a:pt x="53" y="98"/>
                  </a:lnTo>
                  <a:lnTo>
                    <a:pt x="57" y="113"/>
                  </a:lnTo>
                  <a:lnTo>
                    <a:pt x="48" y="120"/>
                  </a:lnTo>
                  <a:lnTo>
                    <a:pt x="46" y="139"/>
                  </a:lnTo>
                  <a:lnTo>
                    <a:pt x="64" y="162"/>
                  </a:lnTo>
                  <a:lnTo>
                    <a:pt x="90" y="174"/>
                  </a:lnTo>
                  <a:lnTo>
                    <a:pt x="103" y="193"/>
                  </a:lnTo>
                  <a:lnTo>
                    <a:pt x="102" y="210"/>
                  </a:lnTo>
                  <a:lnTo>
                    <a:pt x="109" y="210"/>
                  </a:lnTo>
                  <a:lnTo>
                    <a:pt x="111" y="223"/>
                  </a:lnTo>
                  <a:lnTo>
                    <a:pt x="123" y="235"/>
                  </a:lnTo>
                  <a:lnTo>
                    <a:pt x="129" y="225"/>
                  </a:lnTo>
                  <a:lnTo>
                    <a:pt x="143" y="234"/>
                  </a:lnTo>
                  <a:lnTo>
                    <a:pt x="154" y="230"/>
                  </a:lnTo>
                  <a:lnTo>
                    <a:pt x="172" y="261"/>
                  </a:lnTo>
                  <a:lnTo>
                    <a:pt x="189" y="284"/>
                  </a:lnTo>
                  <a:lnTo>
                    <a:pt x="210" y="291"/>
                  </a:lnTo>
                  <a:lnTo>
                    <a:pt x="232" y="309"/>
                  </a:lnTo>
                  <a:lnTo>
                    <a:pt x="258" y="317"/>
                  </a:lnTo>
                  <a:lnTo>
                    <a:pt x="277" y="305"/>
                  </a:lnTo>
                  <a:lnTo>
                    <a:pt x="292" y="301"/>
                  </a:lnTo>
                  <a:lnTo>
                    <a:pt x="302" y="305"/>
                  </a:lnTo>
                  <a:lnTo>
                    <a:pt x="314" y="335"/>
                  </a:lnTo>
                  <a:lnTo>
                    <a:pt x="338" y="338"/>
                  </a:lnTo>
                  <a:lnTo>
                    <a:pt x="361" y="343"/>
                  </a:lnTo>
                  <a:lnTo>
                    <a:pt x="400" y="350"/>
                  </a:lnTo>
                  <a:lnTo>
                    <a:pt x="404" y="323"/>
                  </a:lnTo>
                  <a:lnTo>
                    <a:pt x="432" y="310"/>
                  </a:lnTo>
                  <a:lnTo>
                    <a:pt x="428" y="299"/>
                  </a:lnTo>
                  <a:lnTo>
                    <a:pt x="419" y="296"/>
                  </a:lnTo>
                  <a:lnTo>
                    <a:pt x="415" y="274"/>
                  </a:lnTo>
                  <a:lnTo>
                    <a:pt x="394" y="264"/>
                  </a:lnTo>
                  <a:lnTo>
                    <a:pt x="383" y="250"/>
                  </a:lnTo>
                  <a:lnTo>
                    <a:pt x="371" y="238"/>
                  </a:lnTo>
                  <a:lnTo>
                    <a:pt x="386" y="215"/>
                  </a:lnTo>
                  <a:lnTo>
                    <a:pt x="382" y="200"/>
                  </a:lnTo>
                  <a:lnTo>
                    <a:pt x="366" y="197"/>
                  </a:lnTo>
                  <a:lnTo>
                    <a:pt x="362" y="182"/>
                  </a:lnTo>
                  <a:lnTo>
                    <a:pt x="352" y="163"/>
                  </a:lnTo>
                  <a:lnTo>
                    <a:pt x="357" y="150"/>
                  </a:lnTo>
                  <a:lnTo>
                    <a:pt x="348" y="146"/>
                  </a:lnTo>
                  <a:lnTo>
                    <a:pt x="350" y="128"/>
                  </a:lnTo>
                  <a:lnTo>
                    <a:pt x="352" y="99"/>
                  </a:lnTo>
                  <a:lnTo>
                    <a:pt x="346" y="78"/>
                  </a:lnTo>
                  <a:lnTo>
                    <a:pt x="331" y="77"/>
                  </a:lnTo>
                  <a:lnTo>
                    <a:pt x="304" y="57"/>
                  </a:lnTo>
                  <a:lnTo>
                    <a:pt x="288" y="54"/>
                  </a:lnTo>
                  <a:lnTo>
                    <a:pt x="264" y="42"/>
                  </a:lnTo>
                  <a:lnTo>
                    <a:pt x="250" y="39"/>
                  </a:lnTo>
                  <a:lnTo>
                    <a:pt x="241" y="43"/>
                  </a:lnTo>
                  <a:lnTo>
                    <a:pt x="228" y="42"/>
                  </a:lnTo>
                  <a:lnTo>
                    <a:pt x="217" y="57"/>
                  </a:lnTo>
                  <a:lnTo>
                    <a:pt x="201" y="61"/>
                  </a:lnTo>
                  <a:lnTo>
                    <a:pt x="200" y="67"/>
                  </a:lnTo>
                  <a:lnTo>
                    <a:pt x="171" y="73"/>
                  </a:lnTo>
                  <a:lnTo>
                    <a:pt x="143" y="70"/>
                  </a:lnTo>
                  <a:lnTo>
                    <a:pt x="127" y="57"/>
                  </a:lnTo>
                  <a:lnTo>
                    <a:pt x="107" y="52"/>
                  </a:lnTo>
                  <a:lnTo>
                    <a:pt x="98" y="34"/>
                  </a:lnTo>
                  <a:lnTo>
                    <a:pt x="93" y="35"/>
                  </a:lnTo>
                  <a:lnTo>
                    <a:pt x="79" y="23"/>
                  </a:lnTo>
                  <a:lnTo>
                    <a:pt x="83" y="11"/>
                  </a:lnTo>
                  <a:lnTo>
                    <a:pt x="76" y="4"/>
                  </a:lnTo>
                  <a:lnTo>
                    <a:pt x="69" y="6"/>
                  </a:lnTo>
                  <a:lnTo>
                    <a:pt x="49" y="23"/>
                  </a:lnTo>
                  <a:lnTo>
                    <a:pt x="43" y="24"/>
                  </a:lnTo>
                  <a:lnTo>
                    <a:pt x="29" y="21"/>
                  </a:lnTo>
                  <a:lnTo>
                    <a:pt x="29" y="2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3" name="Irak">
              <a:extLst>
                <a:ext uri="{FF2B5EF4-FFF2-40B4-BE49-F238E27FC236}">
                  <a16:creationId xmlns:a16="http://schemas.microsoft.com/office/drawing/2014/main" id="{BCA13BC6-56F7-42D9-9903-311FC7104424}"/>
                </a:ext>
              </a:extLst>
            </p:cNvPr>
            <p:cNvSpPr>
              <a:spLocks/>
            </p:cNvSpPr>
            <p:nvPr/>
          </p:nvSpPr>
          <p:spPr bwMode="auto">
            <a:xfrm>
              <a:off x="7222331" y="2650899"/>
              <a:ext cx="327025" cy="312738"/>
            </a:xfrm>
            <a:custGeom>
              <a:avLst/>
              <a:gdLst>
                <a:gd name="T0" fmla="*/ 88 w 206"/>
                <a:gd name="T1" fmla="*/ 3 h 197"/>
                <a:gd name="T2" fmla="*/ 65 w 206"/>
                <a:gd name="T3" fmla="*/ 0 h 197"/>
                <a:gd name="T4" fmla="*/ 57 w 206"/>
                <a:gd name="T5" fmla="*/ 3 h 197"/>
                <a:gd name="T6" fmla="*/ 50 w 206"/>
                <a:gd name="T7" fmla="*/ 18 h 197"/>
                <a:gd name="T8" fmla="*/ 40 w 206"/>
                <a:gd name="T9" fmla="*/ 25 h 197"/>
                <a:gd name="T10" fmla="*/ 44 w 206"/>
                <a:gd name="T11" fmla="*/ 42 h 197"/>
                <a:gd name="T12" fmla="*/ 41 w 206"/>
                <a:gd name="T13" fmla="*/ 71 h 197"/>
                <a:gd name="T14" fmla="*/ 0 w 206"/>
                <a:gd name="T15" fmla="*/ 97 h 197"/>
                <a:gd name="T16" fmla="*/ 11 w 206"/>
                <a:gd name="T17" fmla="*/ 125 h 197"/>
                <a:gd name="T18" fmla="*/ 36 w 206"/>
                <a:gd name="T19" fmla="*/ 131 h 197"/>
                <a:gd name="T20" fmla="*/ 68 w 206"/>
                <a:gd name="T21" fmla="*/ 148 h 197"/>
                <a:gd name="T22" fmla="*/ 130 w 206"/>
                <a:gd name="T23" fmla="*/ 196 h 197"/>
                <a:gd name="T24" fmla="*/ 169 w 206"/>
                <a:gd name="T25" fmla="*/ 197 h 197"/>
                <a:gd name="T26" fmla="*/ 181 w 206"/>
                <a:gd name="T27" fmla="*/ 175 h 197"/>
                <a:gd name="T28" fmla="*/ 194 w 206"/>
                <a:gd name="T29" fmla="*/ 177 h 197"/>
                <a:gd name="T30" fmla="*/ 206 w 206"/>
                <a:gd name="T31" fmla="*/ 178 h 197"/>
                <a:gd name="T32" fmla="*/ 194 w 206"/>
                <a:gd name="T33" fmla="*/ 166 h 197"/>
                <a:gd name="T34" fmla="*/ 192 w 206"/>
                <a:gd name="T35" fmla="*/ 153 h 197"/>
                <a:gd name="T36" fmla="*/ 185 w 206"/>
                <a:gd name="T37" fmla="*/ 153 h 197"/>
                <a:gd name="T38" fmla="*/ 186 w 206"/>
                <a:gd name="T39" fmla="*/ 136 h 197"/>
                <a:gd name="T40" fmla="*/ 173 w 206"/>
                <a:gd name="T41" fmla="*/ 117 h 197"/>
                <a:gd name="T42" fmla="*/ 147 w 206"/>
                <a:gd name="T43" fmla="*/ 105 h 197"/>
                <a:gd name="T44" fmla="*/ 129 w 206"/>
                <a:gd name="T45" fmla="*/ 82 h 197"/>
                <a:gd name="T46" fmla="*/ 131 w 206"/>
                <a:gd name="T47" fmla="*/ 63 h 197"/>
                <a:gd name="T48" fmla="*/ 140 w 206"/>
                <a:gd name="T49" fmla="*/ 56 h 197"/>
                <a:gd name="T50" fmla="*/ 136 w 206"/>
                <a:gd name="T51" fmla="*/ 41 h 197"/>
                <a:gd name="T52" fmla="*/ 123 w 206"/>
                <a:gd name="T53" fmla="*/ 34 h 197"/>
                <a:gd name="T54" fmla="*/ 105 w 206"/>
                <a:gd name="T55" fmla="*/ 5 h 197"/>
                <a:gd name="T56" fmla="*/ 105 w 206"/>
                <a:gd name="T57" fmla="*/ 5 h 197"/>
                <a:gd name="T58" fmla="*/ 97 w 206"/>
                <a:gd name="T59" fmla="*/ 9 h 197"/>
                <a:gd name="T60" fmla="*/ 88 w 206"/>
                <a:gd name="T61" fmla="*/ 3 h 197"/>
                <a:gd name="T62" fmla="*/ 88 w 206"/>
                <a:gd name="T63" fmla="*/ 3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06" h="197">
                  <a:moveTo>
                    <a:pt x="88" y="3"/>
                  </a:moveTo>
                  <a:lnTo>
                    <a:pt x="65" y="0"/>
                  </a:lnTo>
                  <a:lnTo>
                    <a:pt x="57" y="3"/>
                  </a:lnTo>
                  <a:lnTo>
                    <a:pt x="50" y="18"/>
                  </a:lnTo>
                  <a:lnTo>
                    <a:pt x="40" y="25"/>
                  </a:lnTo>
                  <a:lnTo>
                    <a:pt x="44" y="42"/>
                  </a:lnTo>
                  <a:lnTo>
                    <a:pt x="41" y="71"/>
                  </a:lnTo>
                  <a:lnTo>
                    <a:pt x="0" y="97"/>
                  </a:lnTo>
                  <a:lnTo>
                    <a:pt x="11" y="125"/>
                  </a:lnTo>
                  <a:lnTo>
                    <a:pt x="36" y="131"/>
                  </a:lnTo>
                  <a:lnTo>
                    <a:pt x="68" y="148"/>
                  </a:lnTo>
                  <a:lnTo>
                    <a:pt x="130" y="196"/>
                  </a:lnTo>
                  <a:lnTo>
                    <a:pt x="169" y="197"/>
                  </a:lnTo>
                  <a:lnTo>
                    <a:pt x="181" y="175"/>
                  </a:lnTo>
                  <a:lnTo>
                    <a:pt x="194" y="177"/>
                  </a:lnTo>
                  <a:lnTo>
                    <a:pt x="206" y="178"/>
                  </a:lnTo>
                  <a:lnTo>
                    <a:pt x="194" y="166"/>
                  </a:lnTo>
                  <a:lnTo>
                    <a:pt x="192" y="153"/>
                  </a:lnTo>
                  <a:lnTo>
                    <a:pt x="185" y="153"/>
                  </a:lnTo>
                  <a:lnTo>
                    <a:pt x="186" y="136"/>
                  </a:lnTo>
                  <a:lnTo>
                    <a:pt x="173" y="117"/>
                  </a:lnTo>
                  <a:lnTo>
                    <a:pt x="147" y="105"/>
                  </a:lnTo>
                  <a:lnTo>
                    <a:pt x="129" y="82"/>
                  </a:lnTo>
                  <a:lnTo>
                    <a:pt x="131" y="63"/>
                  </a:lnTo>
                  <a:lnTo>
                    <a:pt x="140" y="56"/>
                  </a:lnTo>
                  <a:lnTo>
                    <a:pt x="136" y="41"/>
                  </a:lnTo>
                  <a:lnTo>
                    <a:pt x="123" y="34"/>
                  </a:lnTo>
                  <a:lnTo>
                    <a:pt x="105" y="5"/>
                  </a:lnTo>
                  <a:lnTo>
                    <a:pt x="105" y="5"/>
                  </a:lnTo>
                  <a:lnTo>
                    <a:pt x="97" y="9"/>
                  </a:lnTo>
                  <a:lnTo>
                    <a:pt x="88" y="3"/>
                  </a:lnTo>
                  <a:lnTo>
                    <a:pt x="88"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4" name="Iceland">
              <a:extLst>
                <a:ext uri="{FF2B5EF4-FFF2-40B4-BE49-F238E27FC236}">
                  <a16:creationId xmlns:a16="http://schemas.microsoft.com/office/drawing/2014/main" id="{8407C429-1C25-40E0-A812-CD8E7C50B146}"/>
                </a:ext>
              </a:extLst>
            </p:cNvPr>
            <p:cNvSpPr>
              <a:spLocks/>
            </p:cNvSpPr>
            <p:nvPr/>
          </p:nvSpPr>
          <p:spPr bwMode="auto">
            <a:xfrm>
              <a:off x="5384006" y="1607911"/>
              <a:ext cx="268287" cy="100013"/>
            </a:xfrm>
            <a:custGeom>
              <a:avLst/>
              <a:gdLst>
                <a:gd name="T0" fmla="*/ 158 w 169"/>
                <a:gd name="T1" fmla="*/ 1 h 63"/>
                <a:gd name="T2" fmla="*/ 131 w 169"/>
                <a:gd name="T3" fmla="*/ 0 h 63"/>
                <a:gd name="T4" fmla="*/ 104 w 169"/>
                <a:gd name="T5" fmla="*/ 10 h 63"/>
                <a:gd name="T6" fmla="*/ 86 w 169"/>
                <a:gd name="T7" fmla="*/ 5 h 63"/>
                <a:gd name="T8" fmla="*/ 60 w 169"/>
                <a:gd name="T9" fmla="*/ 16 h 63"/>
                <a:gd name="T10" fmla="*/ 37 w 169"/>
                <a:gd name="T11" fmla="*/ 2 h 63"/>
                <a:gd name="T12" fmla="*/ 13 w 169"/>
                <a:gd name="T13" fmla="*/ 5 h 63"/>
                <a:gd name="T14" fmla="*/ 0 w 169"/>
                <a:gd name="T15" fmla="*/ 19 h 63"/>
                <a:gd name="T16" fmla="*/ 33 w 169"/>
                <a:gd name="T17" fmla="*/ 23 h 63"/>
                <a:gd name="T18" fmla="*/ 32 w 169"/>
                <a:gd name="T19" fmla="*/ 30 h 63"/>
                <a:gd name="T20" fmla="*/ 3 w 169"/>
                <a:gd name="T21" fmla="*/ 34 h 63"/>
                <a:gd name="T22" fmla="*/ 35 w 169"/>
                <a:gd name="T23" fmla="*/ 44 h 63"/>
                <a:gd name="T24" fmla="*/ 19 w 169"/>
                <a:gd name="T25" fmla="*/ 53 h 63"/>
                <a:gd name="T26" fmla="*/ 62 w 169"/>
                <a:gd name="T27" fmla="*/ 60 h 63"/>
                <a:gd name="T28" fmla="*/ 83 w 169"/>
                <a:gd name="T29" fmla="*/ 63 h 63"/>
                <a:gd name="T30" fmla="*/ 98 w 169"/>
                <a:gd name="T31" fmla="*/ 59 h 63"/>
                <a:gd name="T32" fmla="*/ 145 w 169"/>
                <a:gd name="T33" fmla="*/ 45 h 63"/>
                <a:gd name="T34" fmla="*/ 169 w 169"/>
                <a:gd name="T35" fmla="*/ 29 h 63"/>
                <a:gd name="T36" fmla="*/ 152 w 169"/>
                <a:gd name="T37" fmla="*/ 15 h 63"/>
                <a:gd name="T38" fmla="*/ 158 w 169"/>
                <a:gd name="T39" fmla="*/ 1 h 63"/>
                <a:gd name="T40" fmla="*/ 158 w 169"/>
                <a:gd name="T41" fmla="*/ 1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69" h="63">
                  <a:moveTo>
                    <a:pt x="158" y="1"/>
                  </a:moveTo>
                  <a:lnTo>
                    <a:pt x="131" y="0"/>
                  </a:lnTo>
                  <a:lnTo>
                    <a:pt x="104" y="10"/>
                  </a:lnTo>
                  <a:lnTo>
                    <a:pt x="86" y="5"/>
                  </a:lnTo>
                  <a:lnTo>
                    <a:pt x="60" y="16"/>
                  </a:lnTo>
                  <a:lnTo>
                    <a:pt x="37" y="2"/>
                  </a:lnTo>
                  <a:lnTo>
                    <a:pt x="13" y="5"/>
                  </a:lnTo>
                  <a:lnTo>
                    <a:pt x="0" y="19"/>
                  </a:lnTo>
                  <a:lnTo>
                    <a:pt x="33" y="23"/>
                  </a:lnTo>
                  <a:lnTo>
                    <a:pt x="32" y="30"/>
                  </a:lnTo>
                  <a:lnTo>
                    <a:pt x="3" y="34"/>
                  </a:lnTo>
                  <a:lnTo>
                    <a:pt x="35" y="44"/>
                  </a:lnTo>
                  <a:lnTo>
                    <a:pt x="19" y="53"/>
                  </a:lnTo>
                  <a:lnTo>
                    <a:pt x="62" y="60"/>
                  </a:lnTo>
                  <a:lnTo>
                    <a:pt x="83" y="63"/>
                  </a:lnTo>
                  <a:lnTo>
                    <a:pt x="98" y="59"/>
                  </a:lnTo>
                  <a:lnTo>
                    <a:pt x="145" y="45"/>
                  </a:lnTo>
                  <a:lnTo>
                    <a:pt x="169" y="29"/>
                  </a:lnTo>
                  <a:lnTo>
                    <a:pt x="152" y="15"/>
                  </a:lnTo>
                  <a:lnTo>
                    <a:pt x="158" y="1"/>
                  </a:lnTo>
                  <a:lnTo>
                    <a:pt x="158"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5" name="Israel">
              <a:extLst>
                <a:ext uri="{FF2B5EF4-FFF2-40B4-BE49-F238E27FC236}">
                  <a16:creationId xmlns:a16="http://schemas.microsoft.com/office/drawing/2014/main" id="{F074F213-2502-40BA-8E17-72AA4E035DA8}"/>
                </a:ext>
              </a:extLst>
            </p:cNvPr>
            <p:cNvSpPr>
              <a:spLocks/>
            </p:cNvSpPr>
            <p:nvPr/>
          </p:nvSpPr>
          <p:spPr bwMode="auto">
            <a:xfrm>
              <a:off x="7087394" y="2806473"/>
              <a:ext cx="42862" cy="142875"/>
            </a:xfrm>
            <a:custGeom>
              <a:avLst/>
              <a:gdLst>
                <a:gd name="T0" fmla="*/ 26 w 27"/>
                <a:gd name="T1" fmla="*/ 0 h 90"/>
                <a:gd name="T2" fmla="*/ 21 w 27"/>
                <a:gd name="T3" fmla="*/ 0 h 90"/>
                <a:gd name="T4" fmla="*/ 19 w 27"/>
                <a:gd name="T5" fmla="*/ 5 h 90"/>
                <a:gd name="T6" fmla="*/ 13 w 27"/>
                <a:gd name="T7" fmla="*/ 5 h 90"/>
                <a:gd name="T8" fmla="*/ 12 w 27"/>
                <a:gd name="T9" fmla="*/ 5 h 90"/>
                <a:gd name="T10" fmla="*/ 10 w 27"/>
                <a:gd name="T11" fmla="*/ 12 h 90"/>
                <a:gd name="T12" fmla="*/ 8 w 27"/>
                <a:gd name="T13" fmla="*/ 29 h 90"/>
                <a:gd name="T14" fmla="*/ 3 w 27"/>
                <a:gd name="T15" fmla="*/ 40 h 90"/>
                <a:gd name="T16" fmla="*/ 5 w 27"/>
                <a:gd name="T17" fmla="*/ 42 h 90"/>
                <a:gd name="T18" fmla="*/ 0 w 27"/>
                <a:gd name="T19" fmla="*/ 49 h 90"/>
                <a:gd name="T20" fmla="*/ 0 w 27"/>
                <a:gd name="T21" fmla="*/ 49 h 90"/>
                <a:gd name="T22" fmla="*/ 15 w 27"/>
                <a:gd name="T23" fmla="*/ 84 h 90"/>
                <a:gd name="T24" fmla="*/ 17 w 27"/>
                <a:gd name="T25" fmla="*/ 90 h 90"/>
                <a:gd name="T26" fmla="*/ 23 w 27"/>
                <a:gd name="T27" fmla="*/ 52 h 90"/>
                <a:gd name="T28" fmla="*/ 22 w 27"/>
                <a:gd name="T29" fmla="*/ 43 h 90"/>
                <a:gd name="T30" fmla="*/ 13 w 27"/>
                <a:gd name="T31" fmla="*/ 46 h 90"/>
                <a:gd name="T32" fmla="*/ 14 w 27"/>
                <a:gd name="T33" fmla="*/ 40 h 90"/>
                <a:gd name="T34" fmla="*/ 17 w 27"/>
                <a:gd name="T35" fmla="*/ 37 h 90"/>
                <a:gd name="T36" fmla="*/ 13 w 27"/>
                <a:gd name="T37" fmla="*/ 34 h 90"/>
                <a:gd name="T38" fmla="*/ 15 w 27"/>
                <a:gd name="T39" fmla="*/ 18 h 90"/>
                <a:gd name="T40" fmla="*/ 23 w 27"/>
                <a:gd name="T41" fmla="*/ 21 h 90"/>
                <a:gd name="T42" fmla="*/ 25 w 27"/>
                <a:gd name="T43" fmla="*/ 14 h 90"/>
                <a:gd name="T44" fmla="*/ 25 w 27"/>
                <a:gd name="T45" fmla="*/ 14 h 90"/>
                <a:gd name="T46" fmla="*/ 27 w 27"/>
                <a:gd name="T47" fmla="*/ 10 h 90"/>
                <a:gd name="T48" fmla="*/ 26 w 27"/>
                <a:gd name="T49" fmla="*/ 0 h 90"/>
                <a:gd name="T50" fmla="*/ 26 w 27"/>
                <a:gd name="T51" fmla="*/ 0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7" h="90">
                  <a:moveTo>
                    <a:pt x="26" y="0"/>
                  </a:moveTo>
                  <a:lnTo>
                    <a:pt x="21" y="0"/>
                  </a:lnTo>
                  <a:lnTo>
                    <a:pt x="19" y="5"/>
                  </a:lnTo>
                  <a:lnTo>
                    <a:pt x="13" y="5"/>
                  </a:lnTo>
                  <a:lnTo>
                    <a:pt x="12" y="5"/>
                  </a:lnTo>
                  <a:lnTo>
                    <a:pt x="10" y="12"/>
                  </a:lnTo>
                  <a:lnTo>
                    <a:pt x="8" y="29"/>
                  </a:lnTo>
                  <a:lnTo>
                    <a:pt x="3" y="40"/>
                  </a:lnTo>
                  <a:lnTo>
                    <a:pt x="5" y="42"/>
                  </a:lnTo>
                  <a:lnTo>
                    <a:pt x="0" y="49"/>
                  </a:lnTo>
                  <a:lnTo>
                    <a:pt x="0" y="49"/>
                  </a:lnTo>
                  <a:lnTo>
                    <a:pt x="15" y="84"/>
                  </a:lnTo>
                  <a:lnTo>
                    <a:pt x="17" y="90"/>
                  </a:lnTo>
                  <a:lnTo>
                    <a:pt x="23" y="52"/>
                  </a:lnTo>
                  <a:lnTo>
                    <a:pt x="22" y="43"/>
                  </a:lnTo>
                  <a:lnTo>
                    <a:pt x="13" y="46"/>
                  </a:lnTo>
                  <a:lnTo>
                    <a:pt x="14" y="40"/>
                  </a:lnTo>
                  <a:lnTo>
                    <a:pt x="17" y="37"/>
                  </a:lnTo>
                  <a:lnTo>
                    <a:pt x="13" y="34"/>
                  </a:lnTo>
                  <a:lnTo>
                    <a:pt x="15" y="18"/>
                  </a:lnTo>
                  <a:lnTo>
                    <a:pt x="23" y="21"/>
                  </a:lnTo>
                  <a:lnTo>
                    <a:pt x="25" y="14"/>
                  </a:lnTo>
                  <a:lnTo>
                    <a:pt x="25" y="14"/>
                  </a:lnTo>
                  <a:lnTo>
                    <a:pt x="27" y="10"/>
                  </a:lnTo>
                  <a:lnTo>
                    <a:pt x="26" y="0"/>
                  </a:lnTo>
                  <a:lnTo>
                    <a:pt x="2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6" name="Italy">
              <a:extLst>
                <a:ext uri="{FF2B5EF4-FFF2-40B4-BE49-F238E27FC236}">
                  <a16:creationId xmlns:a16="http://schemas.microsoft.com/office/drawing/2014/main" id="{E9EF09EE-E8F4-4408-88D2-DE09ECCEB85C}"/>
                </a:ext>
              </a:extLst>
            </p:cNvPr>
            <p:cNvSpPr>
              <a:spLocks noEditPoints="1"/>
            </p:cNvSpPr>
            <p:nvPr/>
          </p:nvSpPr>
          <p:spPr bwMode="auto">
            <a:xfrm>
              <a:off x="6196806" y="2290536"/>
              <a:ext cx="365125" cy="388938"/>
            </a:xfrm>
            <a:custGeom>
              <a:avLst/>
              <a:gdLst>
                <a:gd name="T0" fmla="*/ 161 w 230"/>
                <a:gd name="T1" fmla="*/ 208 h 245"/>
                <a:gd name="T2" fmla="*/ 119 w 230"/>
                <a:gd name="T3" fmla="*/ 209 h 245"/>
                <a:gd name="T4" fmla="*/ 144 w 230"/>
                <a:gd name="T5" fmla="*/ 234 h 245"/>
                <a:gd name="T6" fmla="*/ 170 w 230"/>
                <a:gd name="T7" fmla="*/ 245 h 245"/>
                <a:gd name="T8" fmla="*/ 170 w 230"/>
                <a:gd name="T9" fmla="*/ 226 h 245"/>
                <a:gd name="T10" fmla="*/ 50 w 230"/>
                <a:gd name="T11" fmla="*/ 136 h 245"/>
                <a:gd name="T12" fmla="*/ 30 w 230"/>
                <a:gd name="T13" fmla="*/ 142 h 245"/>
                <a:gd name="T14" fmla="*/ 37 w 230"/>
                <a:gd name="T15" fmla="*/ 184 h 245"/>
                <a:gd name="T16" fmla="*/ 52 w 230"/>
                <a:gd name="T17" fmla="*/ 182 h 245"/>
                <a:gd name="T18" fmla="*/ 63 w 230"/>
                <a:gd name="T19" fmla="*/ 152 h 245"/>
                <a:gd name="T20" fmla="*/ 50 w 230"/>
                <a:gd name="T21" fmla="*/ 136 h 245"/>
                <a:gd name="T22" fmla="*/ 98 w 230"/>
                <a:gd name="T23" fmla="*/ 0 h 245"/>
                <a:gd name="T24" fmla="*/ 79 w 230"/>
                <a:gd name="T25" fmla="*/ 8 h 245"/>
                <a:gd name="T26" fmla="*/ 67 w 230"/>
                <a:gd name="T27" fmla="*/ 14 h 245"/>
                <a:gd name="T28" fmla="*/ 44 w 230"/>
                <a:gd name="T29" fmla="*/ 15 h 245"/>
                <a:gd name="T30" fmla="*/ 32 w 230"/>
                <a:gd name="T31" fmla="*/ 25 h 245"/>
                <a:gd name="T32" fmla="*/ 18 w 230"/>
                <a:gd name="T33" fmla="*/ 29 h 245"/>
                <a:gd name="T34" fmla="*/ 1 w 230"/>
                <a:gd name="T35" fmla="*/ 26 h 245"/>
                <a:gd name="T36" fmla="*/ 7 w 230"/>
                <a:gd name="T37" fmla="*/ 41 h 245"/>
                <a:gd name="T38" fmla="*/ 6 w 230"/>
                <a:gd name="T39" fmla="*/ 66 h 245"/>
                <a:gd name="T40" fmla="*/ 14 w 230"/>
                <a:gd name="T41" fmla="*/ 79 h 245"/>
                <a:gd name="T42" fmla="*/ 32 w 230"/>
                <a:gd name="T43" fmla="*/ 66 h 245"/>
                <a:gd name="T44" fmla="*/ 56 w 230"/>
                <a:gd name="T45" fmla="*/ 71 h 245"/>
                <a:gd name="T46" fmla="*/ 73 w 230"/>
                <a:gd name="T47" fmla="*/ 96 h 245"/>
                <a:gd name="T48" fmla="*/ 105 w 230"/>
                <a:gd name="T49" fmla="*/ 124 h 245"/>
                <a:gd name="T50" fmla="*/ 136 w 230"/>
                <a:gd name="T51" fmla="*/ 136 h 245"/>
                <a:gd name="T52" fmla="*/ 156 w 230"/>
                <a:gd name="T53" fmla="*/ 150 h 245"/>
                <a:gd name="T54" fmla="*/ 171 w 230"/>
                <a:gd name="T55" fmla="*/ 163 h 245"/>
                <a:gd name="T56" fmla="*/ 186 w 230"/>
                <a:gd name="T57" fmla="*/ 189 h 245"/>
                <a:gd name="T58" fmla="*/ 180 w 230"/>
                <a:gd name="T59" fmla="*/ 207 h 245"/>
                <a:gd name="T60" fmla="*/ 188 w 230"/>
                <a:gd name="T61" fmla="*/ 212 h 245"/>
                <a:gd name="T62" fmla="*/ 205 w 230"/>
                <a:gd name="T63" fmla="*/ 190 h 245"/>
                <a:gd name="T64" fmla="*/ 192 w 230"/>
                <a:gd name="T65" fmla="*/ 169 h 245"/>
                <a:gd name="T66" fmla="*/ 216 w 230"/>
                <a:gd name="T67" fmla="*/ 157 h 245"/>
                <a:gd name="T68" fmla="*/ 230 w 230"/>
                <a:gd name="T69" fmla="*/ 160 h 245"/>
                <a:gd name="T70" fmla="*/ 210 w 230"/>
                <a:gd name="T71" fmla="*/ 143 h 245"/>
                <a:gd name="T72" fmla="*/ 178 w 230"/>
                <a:gd name="T73" fmla="*/ 128 h 245"/>
                <a:gd name="T74" fmla="*/ 178 w 230"/>
                <a:gd name="T75" fmla="*/ 118 h 245"/>
                <a:gd name="T76" fmla="*/ 140 w 230"/>
                <a:gd name="T77" fmla="*/ 100 h 245"/>
                <a:gd name="T78" fmla="*/ 112 w 230"/>
                <a:gd name="T79" fmla="*/ 70 h 245"/>
                <a:gd name="T80" fmla="*/ 106 w 230"/>
                <a:gd name="T81" fmla="*/ 51 h 245"/>
                <a:gd name="T82" fmla="*/ 119 w 230"/>
                <a:gd name="T83" fmla="*/ 31 h 245"/>
                <a:gd name="T84" fmla="*/ 129 w 230"/>
                <a:gd name="T85" fmla="*/ 25 h 245"/>
                <a:gd name="T86" fmla="*/ 104 w 230"/>
                <a:gd name="T87" fmla="*/ 8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0" h="245">
                  <a:moveTo>
                    <a:pt x="176" y="206"/>
                  </a:moveTo>
                  <a:lnTo>
                    <a:pt x="161" y="208"/>
                  </a:lnTo>
                  <a:lnTo>
                    <a:pt x="141" y="211"/>
                  </a:lnTo>
                  <a:lnTo>
                    <a:pt x="119" y="209"/>
                  </a:lnTo>
                  <a:lnTo>
                    <a:pt x="116" y="221"/>
                  </a:lnTo>
                  <a:lnTo>
                    <a:pt x="144" y="234"/>
                  </a:lnTo>
                  <a:lnTo>
                    <a:pt x="154" y="236"/>
                  </a:lnTo>
                  <a:lnTo>
                    <a:pt x="170" y="245"/>
                  </a:lnTo>
                  <a:lnTo>
                    <a:pt x="173" y="233"/>
                  </a:lnTo>
                  <a:lnTo>
                    <a:pt x="170" y="226"/>
                  </a:lnTo>
                  <a:lnTo>
                    <a:pt x="176" y="206"/>
                  </a:lnTo>
                  <a:close/>
                  <a:moveTo>
                    <a:pt x="50" y="136"/>
                  </a:moveTo>
                  <a:lnTo>
                    <a:pt x="41" y="142"/>
                  </a:lnTo>
                  <a:lnTo>
                    <a:pt x="30" y="142"/>
                  </a:lnTo>
                  <a:lnTo>
                    <a:pt x="35" y="156"/>
                  </a:lnTo>
                  <a:lnTo>
                    <a:pt x="37" y="184"/>
                  </a:lnTo>
                  <a:lnTo>
                    <a:pt x="44" y="190"/>
                  </a:lnTo>
                  <a:lnTo>
                    <a:pt x="52" y="182"/>
                  </a:lnTo>
                  <a:lnTo>
                    <a:pt x="61" y="184"/>
                  </a:lnTo>
                  <a:lnTo>
                    <a:pt x="63" y="152"/>
                  </a:lnTo>
                  <a:lnTo>
                    <a:pt x="50" y="136"/>
                  </a:lnTo>
                  <a:lnTo>
                    <a:pt x="50" y="136"/>
                  </a:lnTo>
                  <a:close/>
                  <a:moveTo>
                    <a:pt x="104" y="8"/>
                  </a:moveTo>
                  <a:lnTo>
                    <a:pt x="98" y="0"/>
                  </a:lnTo>
                  <a:lnTo>
                    <a:pt x="81" y="3"/>
                  </a:lnTo>
                  <a:lnTo>
                    <a:pt x="79" y="8"/>
                  </a:lnTo>
                  <a:lnTo>
                    <a:pt x="68" y="4"/>
                  </a:lnTo>
                  <a:lnTo>
                    <a:pt x="67" y="14"/>
                  </a:lnTo>
                  <a:lnTo>
                    <a:pt x="58" y="18"/>
                  </a:lnTo>
                  <a:lnTo>
                    <a:pt x="44" y="15"/>
                  </a:lnTo>
                  <a:lnTo>
                    <a:pt x="41" y="25"/>
                  </a:lnTo>
                  <a:lnTo>
                    <a:pt x="32" y="25"/>
                  </a:lnTo>
                  <a:lnTo>
                    <a:pt x="28" y="21"/>
                  </a:lnTo>
                  <a:lnTo>
                    <a:pt x="18" y="29"/>
                  </a:lnTo>
                  <a:lnTo>
                    <a:pt x="10" y="30"/>
                  </a:lnTo>
                  <a:lnTo>
                    <a:pt x="1" y="26"/>
                  </a:lnTo>
                  <a:lnTo>
                    <a:pt x="0" y="32"/>
                  </a:lnTo>
                  <a:lnTo>
                    <a:pt x="7" y="41"/>
                  </a:lnTo>
                  <a:lnTo>
                    <a:pt x="0" y="47"/>
                  </a:lnTo>
                  <a:lnTo>
                    <a:pt x="6" y="66"/>
                  </a:lnTo>
                  <a:lnTo>
                    <a:pt x="16" y="69"/>
                  </a:lnTo>
                  <a:lnTo>
                    <a:pt x="14" y="79"/>
                  </a:lnTo>
                  <a:lnTo>
                    <a:pt x="22" y="77"/>
                  </a:lnTo>
                  <a:lnTo>
                    <a:pt x="32" y="66"/>
                  </a:lnTo>
                  <a:lnTo>
                    <a:pt x="41" y="63"/>
                  </a:lnTo>
                  <a:lnTo>
                    <a:pt x="56" y="71"/>
                  </a:lnTo>
                  <a:lnTo>
                    <a:pt x="67" y="73"/>
                  </a:lnTo>
                  <a:lnTo>
                    <a:pt x="73" y="96"/>
                  </a:lnTo>
                  <a:lnTo>
                    <a:pt x="87" y="109"/>
                  </a:lnTo>
                  <a:lnTo>
                    <a:pt x="105" y="124"/>
                  </a:lnTo>
                  <a:lnTo>
                    <a:pt x="121" y="135"/>
                  </a:lnTo>
                  <a:lnTo>
                    <a:pt x="136" y="136"/>
                  </a:lnTo>
                  <a:lnTo>
                    <a:pt x="144" y="145"/>
                  </a:lnTo>
                  <a:lnTo>
                    <a:pt x="156" y="150"/>
                  </a:lnTo>
                  <a:lnTo>
                    <a:pt x="163" y="160"/>
                  </a:lnTo>
                  <a:lnTo>
                    <a:pt x="171" y="163"/>
                  </a:lnTo>
                  <a:lnTo>
                    <a:pt x="178" y="175"/>
                  </a:lnTo>
                  <a:lnTo>
                    <a:pt x="186" y="189"/>
                  </a:lnTo>
                  <a:lnTo>
                    <a:pt x="182" y="194"/>
                  </a:lnTo>
                  <a:lnTo>
                    <a:pt x="180" y="207"/>
                  </a:lnTo>
                  <a:lnTo>
                    <a:pt x="180" y="214"/>
                  </a:lnTo>
                  <a:lnTo>
                    <a:pt x="188" y="212"/>
                  </a:lnTo>
                  <a:lnTo>
                    <a:pt x="197" y="191"/>
                  </a:lnTo>
                  <a:lnTo>
                    <a:pt x="205" y="190"/>
                  </a:lnTo>
                  <a:lnTo>
                    <a:pt x="207" y="178"/>
                  </a:lnTo>
                  <a:lnTo>
                    <a:pt x="192" y="169"/>
                  </a:lnTo>
                  <a:lnTo>
                    <a:pt x="199" y="154"/>
                  </a:lnTo>
                  <a:lnTo>
                    <a:pt x="216" y="157"/>
                  </a:lnTo>
                  <a:lnTo>
                    <a:pt x="227" y="169"/>
                  </a:lnTo>
                  <a:lnTo>
                    <a:pt x="230" y="160"/>
                  </a:lnTo>
                  <a:lnTo>
                    <a:pt x="228" y="156"/>
                  </a:lnTo>
                  <a:lnTo>
                    <a:pt x="210" y="143"/>
                  </a:lnTo>
                  <a:lnTo>
                    <a:pt x="196" y="137"/>
                  </a:lnTo>
                  <a:lnTo>
                    <a:pt x="178" y="128"/>
                  </a:lnTo>
                  <a:lnTo>
                    <a:pt x="183" y="124"/>
                  </a:lnTo>
                  <a:lnTo>
                    <a:pt x="178" y="118"/>
                  </a:lnTo>
                  <a:lnTo>
                    <a:pt x="163" y="118"/>
                  </a:lnTo>
                  <a:lnTo>
                    <a:pt x="140" y="100"/>
                  </a:lnTo>
                  <a:lnTo>
                    <a:pt x="130" y="81"/>
                  </a:lnTo>
                  <a:lnTo>
                    <a:pt x="112" y="70"/>
                  </a:lnTo>
                  <a:lnTo>
                    <a:pt x="104" y="58"/>
                  </a:lnTo>
                  <a:lnTo>
                    <a:pt x="106" y="51"/>
                  </a:lnTo>
                  <a:lnTo>
                    <a:pt x="105" y="40"/>
                  </a:lnTo>
                  <a:lnTo>
                    <a:pt x="119" y="31"/>
                  </a:lnTo>
                  <a:lnTo>
                    <a:pt x="135" y="35"/>
                  </a:lnTo>
                  <a:lnTo>
                    <a:pt x="129" y="25"/>
                  </a:lnTo>
                  <a:lnTo>
                    <a:pt x="130" y="14"/>
                  </a:lnTo>
                  <a:lnTo>
                    <a:pt x="104" y="8"/>
                  </a:lnTo>
                  <a:lnTo>
                    <a:pt x="104"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7" name="Jamaica">
              <a:extLst>
                <a:ext uri="{FF2B5EF4-FFF2-40B4-BE49-F238E27FC236}">
                  <a16:creationId xmlns:a16="http://schemas.microsoft.com/office/drawing/2014/main" id="{9A62EB9B-F2F7-4F22-A49A-A38412D859D8}"/>
                </a:ext>
              </a:extLst>
            </p:cNvPr>
            <p:cNvSpPr>
              <a:spLocks/>
            </p:cNvSpPr>
            <p:nvPr/>
          </p:nvSpPr>
          <p:spPr bwMode="auto">
            <a:xfrm>
              <a:off x="3425031" y="3363686"/>
              <a:ext cx="66675" cy="30163"/>
            </a:xfrm>
            <a:custGeom>
              <a:avLst/>
              <a:gdLst>
                <a:gd name="T0" fmla="*/ 28 w 42"/>
                <a:gd name="T1" fmla="*/ 15 h 19"/>
                <a:gd name="T2" fmla="*/ 42 w 42"/>
                <a:gd name="T3" fmla="*/ 15 h 19"/>
                <a:gd name="T4" fmla="*/ 40 w 42"/>
                <a:gd name="T5" fmla="*/ 8 h 19"/>
                <a:gd name="T6" fmla="*/ 29 w 42"/>
                <a:gd name="T7" fmla="*/ 2 h 19"/>
                <a:gd name="T8" fmla="*/ 16 w 42"/>
                <a:gd name="T9" fmla="*/ 1 h 19"/>
                <a:gd name="T10" fmla="*/ 12 w 42"/>
                <a:gd name="T11" fmla="*/ 0 h 19"/>
                <a:gd name="T12" fmla="*/ 2 w 42"/>
                <a:gd name="T13" fmla="*/ 1 h 19"/>
                <a:gd name="T14" fmla="*/ 0 w 42"/>
                <a:gd name="T15" fmla="*/ 7 h 19"/>
                <a:gd name="T16" fmla="*/ 11 w 42"/>
                <a:gd name="T17" fmla="*/ 15 h 19"/>
                <a:gd name="T18" fmla="*/ 22 w 42"/>
                <a:gd name="T19" fmla="*/ 19 h 19"/>
                <a:gd name="T20" fmla="*/ 28 w 42"/>
                <a:gd name="T21" fmla="*/ 15 h 19"/>
                <a:gd name="T22" fmla="*/ 28 w 42"/>
                <a:gd name="T23" fmla="*/ 15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2" h="19">
                  <a:moveTo>
                    <a:pt x="28" y="15"/>
                  </a:moveTo>
                  <a:lnTo>
                    <a:pt x="42" y="15"/>
                  </a:lnTo>
                  <a:lnTo>
                    <a:pt x="40" y="8"/>
                  </a:lnTo>
                  <a:lnTo>
                    <a:pt x="29" y="2"/>
                  </a:lnTo>
                  <a:lnTo>
                    <a:pt x="16" y="1"/>
                  </a:lnTo>
                  <a:lnTo>
                    <a:pt x="12" y="0"/>
                  </a:lnTo>
                  <a:lnTo>
                    <a:pt x="2" y="1"/>
                  </a:lnTo>
                  <a:lnTo>
                    <a:pt x="0" y="7"/>
                  </a:lnTo>
                  <a:lnTo>
                    <a:pt x="11" y="15"/>
                  </a:lnTo>
                  <a:lnTo>
                    <a:pt x="22" y="19"/>
                  </a:lnTo>
                  <a:lnTo>
                    <a:pt x="28" y="15"/>
                  </a:lnTo>
                  <a:lnTo>
                    <a:pt x="28"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8" name="Jordan">
              <a:extLst>
                <a:ext uri="{FF2B5EF4-FFF2-40B4-BE49-F238E27FC236}">
                  <a16:creationId xmlns:a16="http://schemas.microsoft.com/office/drawing/2014/main" id="{6D731DA1-0CEE-4B3F-A95C-33CC6A8EA4D9}"/>
                </a:ext>
              </a:extLst>
            </p:cNvPr>
            <p:cNvSpPr>
              <a:spLocks/>
            </p:cNvSpPr>
            <p:nvPr/>
          </p:nvSpPr>
          <p:spPr bwMode="auto">
            <a:xfrm>
              <a:off x="7114381" y="2804887"/>
              <a:ext cx="125412" cy="157163"/>
            </a:xfrm>
            <a:custGeom>
              <a:avLst/>
              <a:gdLst>
                <a:gd name="T0" fmla="*/ 79 w 79"/>
                <a:gd name="T1" fmla="*/ 28 h 99"/>
                <a:gd name="T2" fmla="*/ 68 w 79"/>
                <a:gd name="T3" fmla="*/ 0 h 99"/>
                <a:gd name="T4" fmla="*/ 32 w 79"/>
                <a:gd name="T5" fmla="*/ 24 h 99"/>
                <a:gd name="T6" fmla="*/ 8 w 79"/>
                <a:gd name="T7" fmla="*/ 15 h 99"/>
                <a:gd name="T8" fmla="*/ 6 w 79"/>
                <a:gd name="T9" fmla="*/ 22 h 99"/>
                <a:gd name="T10" fmla="*/ 7 w 79"/>
                <a:gd name="T11" fmla="*/ 37 h 99"/>
                <a:gd name="T12" fmla="*/ 5 w 79"/>
                <a:gd name="T13" fmla="*/ 44 h 99"/>
                <a:gd name="T14" fmla="*/ 6 w 79"/>
                <a:gd name="T15" fmla="*/ 53 h 99"/>
                <a:gd name="T16" fmla="*/ 0 w 79"/>
                <a:gd name="T17" fmla="*/ 91 h 99"/>
                <a:gd name="T18" fmla="*/ 1 w 79"/>
                <a:gd name="T19" fmla="*/ 95 h 99"/>
                <a:gd name="T20" fmla="*/ 24 w 79"/>
                <a:gd name="T21" fmla="*/ 99 h 99"/>
                <a:gd name="T22" fmla="*/ 32 w 79"/>
                <a:gd name="T23" fmla="*/ 91 h 99"/>
                <a:gd name="T24" fmla="*/ 36 w 79"/>
                <a:gd name="T25" fmla="*/ 82 h 99"/>
                <a:gd name="T26" fmla="*/ 51 w 79"/>
                <a:gd name="T27" fmla="*/ 79 h 99"/>
                <a:gd name="T28" fmla="*/ 54 w 79"/>
                <a:gd name="T29" fmla="*/ 71 h 99"/>
                <a:gd name="T30" fmla="*/ 60 w 79"/>
                <a:gd name="T31" fmla="*/ 67 h 99"/>
                <a:gd name="T32" fmla="*/ 37 w 79"/>
                <a:gd name="T33" fmla="*/ 43 h 99"/>
                <a:gd name="T34" fmla="*/ 76 w 79"/>
                <a:gd name="T35" fmla="*/ 31 h 99"/>
                <a:gd name="T36" fmla="*/ 79 w 79"/>
                <a:gd name="T37" fmla="*/ 28 h 99"/>
                <a:gd name="T38" fmla="*/ 79 w 79"/>
                <a:gd name="T39" fmla="*/ 28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9" h="99">
                  <a:moveTo>
                    <a:pt x="79" y="28"/>
                  </a:moveTo>
                  <a:lnTo>
                    <a:pt x="68" y="0"/>
                  </a:lnTo>
                  <a:lnTo>
                    <a:pt x="32" y="24"/>
                  </a:lnTo>
                  <a:lnTo>
                    <a:pt x="8" y="15"/>
                  </a:lnTo>
                  <a:lnTo>
                    <a:pt x="6" y="22"/>
                  </a:lnTo>
                  <a:lnTo>
                    <a:pt x="7" y="37"/>
                  </a:lnTo>
                  <a:lnTo>
                    <a:pt x="5" y="44"/>
                  </a:lnTo>
                  <a:lnTo>
                    <a:pt x="6" y="53"/>
                  </a:lnTo>
                  <a:lnTo>
                    <a:pt x="0" y="91"/>
                  </a:lnTo>
                  <a:lnTo>
                    <a:pt x="1" y="95"/>
                  </a:lnTo>
                  <a:lnTo>
                    <a:pt x="24" y="99"/>
                  </a:lnTo>
                  <a:lnTo>
                    <a:pt x="32" y="91"/>
                  </a:lnTo>
                  <a:lnTo>
                    <a:pt x="36" y="82"/>
                  </a:lnTo>
                  <a:lnTo>
                    <a:pt x="51" y="79"/>
                  </a:lnTo>
                  <a:lnTo>
                    <a:pt x="54" y="71"/>
                  </a:lnTo>
                  <a:lnTo>
                    <a:pt x="60" y="67"/>
                  </a:lnTo>
                  <a:lnTo>
                    <a:pt x="37" y="43"/>
                  </a:lnTo>
                  <a:lnTo>
                    <a:pt x="76" y="31"/>
                  </a:lnTo>
                  <a:lnTo>
                    <a:pt x="79" y="28"/>
                  </a:lnTo>
                  <a:lnTo>
                    <a:pt x="79" y="2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79" name="Japan">
              <a:extLst>
                <a:ext uri="{FF2B5EF4-FFF2-40B4-BE49-F238E27FC236}">
                  <a16:creationId xmlns:a16="http://schemas.microsoft.com/office/drawing/2014/main" id="{125CFB5B-4A00-4317-A9A3-6BC1D9A526BB}"/>
                </a:ext>
              </a:extLst>
            </p:cNvPr>
            <p:cNvSpPr>
              <a:spLocks noEditPoints="1"/>
            </p:cNvSpPr>
            <p:nvPr/>
          </p:nvSpPr>
          <p:spPr bwMode="auto">
            <a:xfrm>
              <a:off x="10087769" y="2347686"/>
              <a:ext cx="314325" cy="544513"/>
            </a:xfrm>
            <a:custGeom>
              <a:avLst/>
              <a:gdLst>
                <a:gd name="T0" fmla="*/ 79 w 198"/>
                <a:gd name="T1" fmla="*/ 263 h 343"/>
                <a:gd name="T2" fmla="*/ 62 w 198"/>
                <a:gd name="T3" fmla="*/ 271 h 343"/>
                <a:gd name="T4" fmla="*/ 62 w 198"/>
                <a:gd name="T5" fmla="*/ 296 h 343"/>
                <a:gd name="T6" fmla="*/ 77 w 198"/>
                <a:gd name="T7" fmla="*/ 289 h 343"/>
                <a:gd name="T8" fmla="*/ 96 w 198"/>
                <a:gd name="T9" fmla="*/ 291 h 343"/>
                <a:gd name="T10" fmla="*/ 96 w 198"/>
                <a:gd name="T11" fmla="*/ 269 h 343"/>
                <a:gd name="T12" fmla="*/ 187 w 198"/>
                <a:gd name="T13" fmla="*/ 196 h 343"/>
                <a:gd name="T14" fmla="*/ 178 w 198"/>
                <a:gd name="T15" fmla="*/ 148 h 343"/>
                <a:gd name="T16" fmla="*/ 138 w 198"/>
                <a:gd name="T17" fmla="*/ 95 h 343"/>
                <a:gd name="T18" fmla="*/ 120 w 198"/>
                <a:gd name="T19" fmla="*/ 115 h 343"/>
                <a:gd name="T20" fmla="*/ 143 w 198"/>
                <a:gd name="T21" fmla="*/ 171 h 343"/>
                <a:gd name="T22" fmla="*/ 120 w 198"/>
                <a:gd name="T23" fmla="*/ 205 h 343"/>
                <a:gd name="T24" fmla="*/ 101 w 198"/>
                <a:gd name="T25" fmla="*/ 235 h 343"/>
                <a:gd name="T26" fmla="*/ 41 w 198"/>
                <a:gd name="T27" fmla="*/ 238 h 343"/>
                <a:gd name="T28" fmla="*/ 20 w 198"/>
                <a:gd name="T29" fmla="*/ 267 h 343"/>
                <a:gd name="T30" fmla="*/ 0 w 198"/>
                <a:gd name="T31" fmla="*/ 289 h 343"/>
                <a:gd name="T32" fmla="*/ 30 w 198"/>
                <a:gd name="T33" fmla="*/ 312 h 343"/>
                <a:gd name="T34" fmla="*/ 47 w 198"/>
                <a:gd name="T35" fmla="*/ 343 h 343"/>
                <a:gd name="T36" fmla="*/ 53 w 198"/>
                <a:gd name="T37" fmla="*/ 292 h 343"/>
                <a:gd name="T38" fmla="*/ 49 w 198"/>
                <a:gd name="T39" fmla="*/ 275 h 343"/>
                <a:gd name="T40" fmla="*/ 99 w 198"/>
                <a:gd name="T41" fmla="*/ 258 h 343"/>
                <a:gd name="T42" fmla="*/ 125 w 198"/>
                <a:gd name="T43" fmla="*/ 285 h 343"/>
                <a:gd name="T44" fmla="*/ 176 w 198"/>
                <a:gd name="T45" fmla="*/ 256 h 343"/>
                <a:gd name="T46" fmla="*/ 198 w 198"/>
                <a:gd name="T47" fmla="*/ 228 h 343"/>
                <a:gd name="T48" fmla="*/ 187 w 198"/>
                <a:gd name="T49" fmla="*/ 196 h 343"/>
                <a:gd name="T50" fmla="*/ 142 w 198"/>
                <a:gd name="T51" fmla="*/ 32 h 343"/>
                <a:gd name="T52" fmla="*/ 84 w 198"/>
                <a:gd name="T53" fmla="*/ 0 h 343"/>
                <a:gd name="T54" fmla="*/ 107 w 198"/>
                <a:gd name="T55" fmla="*/ 50 h 343"/>
                <a:gd name="T56" fmla="*/ 90 w 198"/>
                <a:gd name="T57" fmla="*/ 68 h 343"/>
                <a:gd name="T58" fmla="*/ 128 w 198"/>
                <a:gd name="T59" fmla="*/ 92 h 343"/>
                <a:gd name="T60" fmla="*/ 163 w 198"/>
                <a:gd name="T61" fmla="*/ 81 h 343"/>
                <a:gd name="T62" fmla="*/ 188 w 198"/>
                <a:gd name="T63" fmla="*/ 52 h 343"/>
                <a:gd name="T64" fmla="*/ 159 w 198"/>
                <a:gd name="T65" fmla="*/ 36 h 343"/>
                <a:gd name="T66" fmla="*/ 142 w 198"/>
                <a:gd name="T67" fmla="*/ 32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98" h="343">
                  <a:moveTo>
                    <a:pt x="96" y="269"/>
                  </a:moveTo>
                  <a:lnTo>
                    <a:pt x="79" y="263"/>
                  </a:lnTo>
                  <a:lnTo>
                    <a:pt x="75" y="274"/>
                  </a:lnTo>
                  <a:lnTo>
                    <a:pt x="62" y="271"/>
                  </a:lnTo>
                  <a:lnTo>
                    <a:pt x="57" y="285"/>
                  </a:lnTo>
                  <a:lnTo>
                    <a:pt x="62" y="296"/>
                  </a:lnTo>
                  <a:lnTo>
                    <a:pt x="78" y="303"/>
                  </a:lnTo>
                  <a:lnTo>
                    <a:pt x="77" y="289"/>
                  </a:lnTo>
                  <a:lnTo>
                    <a:pt x="85" y="284"/>
                  </a:lnTo>
                  <a:lnTo>
                    <a:pt x="96" y="291"/>
                  </a:lnTo>
                  <a:lnTo>
                    <a:pt x="101" y="276"/>
                  </a:lnTo>
                  <a:lnTo>
                    <a:pt x="96" y="269"/>
                  </a:lnTo>
                  <a:lnTo>
                    <a:pt x="96" y="269"/>
                  </a:lnTo>
                  <a:close/>
                  <a:moveTo>
                    <a:pt x="187" y="196"/>
                  </a:moveTo>
                  <a:lnTo>
                    <a:pt x="173" y="172"/>
                  </a:lnTo>
                  <a:lnTo>
                    <a:pt x="178" y="148"/>
                  </a:lnTo>
                  <a:lnTo>
                    <a:pt x="167" y="128"/>
                  </a:lnTo>
                  <a:lnTo>
                    <a:pt x="138" y="95"/>
                  </a:lnTo>
                  <a:lnTo>
                    <a:pt x="120" y="100"/>
                  </a:lnTo>
                  <a:lnTo>
                    <a:pt x="120" y="115"/>
                  </a:lnTo>
                  <a:lnTo>
                    <a:pt x="139" y="141"/>
                  </a:lnTo>
                  <a:lnTo>
                    <a:pt x="143" y="171"/>
                  </a:lnTo>
                  <a:lnTo>
                    <a:pt x="137" y="180"/>
                  </a:lnTo>
                  <a:lnTo>
                    <a:pt x="120" y="205"/>
                  </a:lnTo>
                  <a:lnTo>
                    <a:pt x="101" y="192"/>
                  </a:lnTo>
                  <a:lnTo>
                    <a:pt x="101" y="235"/>
                  </a:lnTo>
                  <a:lnTo>
                    <a:pt x="78" y="231"/>
                  </a:lnTo>
                  <a:lnTo>
                    <a:pt x="41" y="238"/>
                  </a:lnTo>
                  <a:lnTo>
                    <a:pt x="35" y="254"/>
                  </a:lnTo>
                  <a:lnTo>
                    <a:pt x="20" y="267"/>
                  </a:lnTo>
                  <a:lnTo>
                    <a:pt x="16" y="282"/>
                  </a:lnTo>
                  <a:lnTo>
                    <a:pt x="0" y="289"/>
                  </a:lnTo>
                  <a:lnTo>
                    <a:pt x="15" y="305"/>
                  </a:lnTo>
                  <a:lnTo>
                    <a:pt x="30" y="312"/>
                  </a:lnTo>
                  <a:lnTo>
                    <a:pt x="34" y="333"/>
                  </a:lnTo>
                  <a:lnTo>
                    <a:pt x="47" y="343"/>
                  </a:lnTo>
                  <a:lnTo>
                    <a:pt x="56" y="332"/>
                  </a:lnTo>
                  <a:lnTo>
                    <a:pt x="53" y="292"/>
                  </a:lnTo>
                  <a:lnTo>
                    <a:pt x="25" y="275"/>
                  </a:lnTo>
                  <a:lnTo>
                    <a:pt x="49" y="275"/>
                  </a:lnTo>
                  <a:lnTo>
                    <a:pt x="67" y="263"/>
                  </a:lnTo>
                  <a:lnTo>
                    <a:pt x="99" y="258"/>
                  </a:lnTo>
                  <a:lnTo>
                    <a:pt x="109" y="276"/>
                  </a:lnTo>
                  <a:lnTo>
                    <a:pt x="125" y="285"/>
                  </a:lnTo>
                  <a:lnTo>
                    <a:pt x="142" y="258"/>
                  </a:lnTo>
                  <a:lnTo>
                    <a:pt x="176" y="256"/>
                  </a:lnTo>
                  <a:lnTo>
                    <a:pt x="196" y="245"/>
                  </a:lnTo>
                  <a:lnTo>
                    <a:pt x="198" y="228"/>
                  </a:lnTo>
                  <a:lnTo>
                    <a:pt x="189" y="216"/>
                  </a:lnTo>
                  <a:lnTo>
                    <a:pt x="187" y="196"/>
                  </a:lnTo>
                  <a:lnTo>
                    <a:pt x="187" y="196"/>
                  </a:lnTo>
                  <a:close/>
                  <a:moveTo>
                    <a:pt x="142" y="32"/>
                  </a:moveTo>
                  <a:lnTo>
                    <a:pt x="123" y="23"/>
                  </a:lnTo>
                  <a:lnTo>
                    <a:pt x="84" y="0"/>
                  </a:lnTo>
                  <a:lnTo>
                    <a:pt x="91" y="18"/>
                  </a:lnTo>
                  <a:lnTo>
                    <a:pt x="107" y="50"/>
                  </a:lnTo>
                  <a:lnTo>
                    <a:pt x="88" y="50"/>
                  </a:lnTo>
                  <a:lnTo>
                    <a:pt x="90" y="68"/>
                  </a:lnTo>
                  <a:lnTo>
                    <a:pt x="107" y="92"/>
                  </a:lnTo>
                  <a:lnTo>
                    <a:pt x="128" y="92"/>
                  </a:lnTo>
                  <a:lnTo>
                    <a:pt x="123" y="65"/>
                  </a:lnTo>
                  <a:lnTo>
                    <a:pt x="163" y="81"/>
                  </a:lnTo>
                  <a:lnTo>
                    <a:pt x="165" y="59"/>
                  </a:lnTo>
                  <a:lnTo>
                    <a:pt x="188" y="52"/>
                  </a:lnTo>
                  <a:lnTo>
                    <a:pt x="166" y="26"/>
                  </a:lnTo>
                  <a:lnTo>
                    <a:pt x="159" y="36"/>
                  </a:lnTo>
                  <a:lnTo>
                    <a:pt x="142" y="32"/>
                  </a:lnTo>
                  <a:lnTo>
                    <a:pt x="142"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0" name="Kazakhstan">
              <a:extLst>
                <a:ext uri="{FF2B5EF4-FFF2-40B4-BE49-F238E27FC236}">
                  <a16:creationId xmlns:a16="http://schemas.microsoft.com/office/drawing/2014/main" id="{408C671D-1DDB-4E81-808C-E662448F5873}"/>
                </a:ext>
              </a:extLst>
            </p:cNvPr>
            <p:cNvSpPr>
              <a:spLocks/>
            </p:cNvSpPr>
            <p:nvPr/>
          </p:nvSpPr>
          <p:spPr bwMode="auto">
            <a:xfrm>
              <a:off x="7354094" y="1988911"/>
              <a:ext cx="1181100" cy="536575"/>
            </a:xfrm>
            <a:custGeom>
              <a:avLst/>
              <a:gdLst>
                <a:gd name="T0" fmla="*/ 351 w 744"/>
                <a:gd name="T1" fmla="*/ 0 h 338"/>
                <a:gd name="T2" fmla="*/ 299 w 744"/>
                <a:gd name="T3" fmla="*/ 18 h 338"/>
                <a:gd name="T4" fmla="*/ 230 w 744"/>
                <a:gd name="T5" fmla="*/ 31 h 338"/>
                <a:gd name="T6" fmla="*/ 243 w 744"/>
                <a:gd name="T7" fmla="*/ 54 h 338"/>
                <a:gd name="T8" fmla="*/ 234 w 744"/>
                <a:gd name="T9" fmla="*/ 66 h 338"/>
                <a:gd name="T10" fmla="*/ 256 w 744"/>
                <a:gd name="T11" fmla="*/ 93 h 338"/>
                <a:gd name="T12" fmla="*/ 229 w 744"/>
                <a:gd name="T13" fmla="*/ 103 h 338"/>
                <a:gd name="T14" fmla="*/ 199 w 744"/>
                <a:gd name="T15" fmla="*/ 98 h 338"/>
                <a:gd name="T16" fmla="*/ 155 w 744"/>
                <a:gd name="T17" fmla="*/ 108 h 338"/>
                <a:gd name="T18" fmla="*/ 86 w 744"/>
                <a:gd name="T19" fmla="*/ 83 h 338"/>
                <a:gd name="T20" fmla="*/ 28 w 744"/>
                <a:gd name="T21" fmla="*/ 108 h 338"/>
                <a:gd name="T22" fmla="*/ 8 w 744"/>
                <a:gd name="T23" fmla="*/ 112 h 338"/>
                <a:gd name="T24" fmla="*/ 6 w 744"/>
                <a:gd name="T25" fmla="*/ 142 h 338"/>
                <a:gd name="T26" fmla="*/ 19 w 744"/>
                <a:gd name="T27" fmla="*/ 176 h 338"/>
                <a:gd name="T28" fmla="*/ 49 w 744"/>
                <a:gd name="T29" fmla="*/ 191 h 338"/>
                <a:gd name="T30" fmla="*/ 60 w 744"/>
                <a:gd name="T31" fmla="*/ 205 h 338"/>
                <a:gd name="T32" fmla="*/ 95 w 744"/>
                <a:gd name="T33" fmla="*/ 191 h 338"/>
                <a:gd name="T34" fmla="*/ 131 w 744"/>
                <a:gd name="T35" fmla="*/ 195 h 338"/>
                <a:gd name="T36" fmla="*/ 141 w 744"/>
                <a:gd name="T37" fmla="*/ 233 h 338"/>
                <a:gd name="T38" fmla="*/ 108 w 744"/>
                <a:gd name="T39" fmla="*/ 233 h 338"/>
                <a:gd name="T40" fmla="*/ 93 w 744"/>
                <a:gd name="T41" fmla="*/ 248 h 338"/>
                <a:gd name="T42" fmla="*/ 107 w 744"/>
                <a:gd name="T43" fmla="*/ 261 h 338"/>
                <a:gd name="T44" fmla="*/ 144 w 744"/>
                <a:gd name="T45" fmla="*/ 290 h 338"/>
                <a:gd name="T46" fmla="*/ 148 w 744"/>
                <a:gd name="T47" fmla="*/ 306 h 338"/>
                <a:gd name="T48" fmla="*/ 157 w 744"/>
                <a:gd name="T49" fmla="*/ 304 h 338"/>
                <a:gd name="T50" fmla="*/ 192 w 744"/>
                <a:gd name="T51" fmla="*/ 306 h 338"/>
                <a:gd name="T52" fmla="*/ 219 w 744"/>
                <a:gd name="T53" fmla="*/ 323 h 338"/>
                <a:gd name="T54" fmla="*/ 241 w 744"/>
                <a:gd name="T55" fmla="*/ 225 h 338"/>
                <a:gd name="T56" fmla="*/ 279 w 744"/>
                <a:gd name="T57" fmla="*/ 244 h 338"/>
                <a:gd name="T58" fmla="*/ 321 w 744"/>
                <a:gd name="T59" fmla="*/ 273 h 338"/>
                <a:gd name="T60" fmla="*/ 374 w 744"/>
                <a:gd name="T61" fmla="*/ 267 h 338"/>
                <a:gd name="T62" fmla="*/ 408 w 744"/>
                <a:gd name="T63" fmla="*/ 307 h 338"/>
                <a:gd name="T64" fmla="*/ 427 w 744"/>
                <a:gd name="T65" fmla="*/ 327 h 338"/>
                <a:gd name="T66" fmla="*/ 460 w 744"/>
                <a:gd name="T67" fmla="*/ 338 h 338"/>
                <a:gd name="T68" fmla="*/ 471 w 744"/>
                <a:gd name="T69" fmla="*/ 321 h 338"/>
                <a:gd name="T70" fmla="*/ 500 w 744"/>
                <a:gd name="T71" fmla="*/ 301 h 338"/>
                <a:gd name="T72" fmla="*/ 513 w 744"/>
                <a:gd name="T73" fmla="*/ 288 h 338"/>
                <a:gd name="T74" fmla="*/ 545 w 744"/>
                <a:gd name="T75" fmla="*/ 282 h 338"/>
                <a:gd name="T76" fmla="*/ 585 w 744"/>
                <a:gd name="T77" fmla="*/ 288 h 338"/>
                <a:gd name="T78" fmla="*/ 622 w 744"/>
                <a:gd name="T79" fmla="*/ 286 h 338"/>
                <a:gd name="T80" fmla="*/ 664 w 744"/>
                <a:gd name="T81" fmla="*/ 296 h 338"/>
                <a:gd name="T82" fmla="*/ 671 w 744"/>
                <a:gd name="T83" fmla="*/ 286 h 338"/>
                <a:gd name="T84" fmla="*/ 649 w 744"/>
                <a:gd name="T85" fmla="*/ 240 h 338"/>
                <a:gd name="T86" fmla="*/ 691 w 744"/>
                <a:gd name="T87" fmla="*/ 226 h 338"/>
                <a:gd name="T88" fmla="*/ 727 w 744"/>
                <a:gd name="T89" fmla="*/ 192 h 338"/>
                <a:gd name="T90" fmla="*/ 723 w 744"/>
                <a:gd name="T91" fmla="*/ 159 h 338"/>
                <a:gd name="T92" fmla="*/ 744 w 744"/>
                <a:gd name="T93" fmla="*/ 140 h 338"/>
                <a:gd name="T94" fmla="*/ 706 w 744"/>
                <a:gd name="T95" fmla="*/ 130 h 338"/>
                <a:gd name="T96" fmla="*/ 678 w 744"/>
                <a:gd name="T97" fmla="*/ 116 h 338"/>
                <a:gd name="T98" fmla="*/ 651 w 744"/>
                <a:gd name="T99" fmla="*/ 98 h 338"/>
                <a:gd name="T100" fmla="*/ 597 w 744"/>
                <a:gd name="T101" fmla="*/ 91 h 338"/>
                <a:gd name="T102" fmla="*/ 525 w 744"/>
                <a:gd name="T103" fmla="*/ 45 h 338"/>
                <a:gd name="T104" fmla="*/ 497 w 744"/>
                <a:gd name="T105" fmla="*/ 21 h 338"/>
                <a:gd name="T106" fmla="*/ 447 w 744"/>
                <a:gd name="T107" fmla="*/ 43 h 338"/>
                <a:gd name="T108" fmla="*/ 417 w 744"/>
                <a:gd name="T109" fmla="*/ 22 h 338"/>
                <a:gd name="T110" fmla="*/ 384 w 744"/>
                <a:gd name="T111" fmla="*/ 5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744" h="338">
                  <a:moveTo>
                    <a:pt x="384" y="5"/>
                  </a:moveTo>
                  <a:lnTo>
                    <a:pt x="351" y="0"/>
                  </a:lnTo>
                  <a:lnTo>
                    <a:pt x="340" y="9"/>
                  </a:lnTo>
                  <a:lnTo>
                    <a:pt x="299" y="18"/>
                  </a:lnTo>
                  <a:lnTo>
                    <a:pt x="293" y="23"/>
                  </a:lnTo>
                  <a:lnTo>
                    <a:pt x="230" y="31"/>
                  </a:lnTo>
                  <a:lnTo>
                    <a:pt x="225" y="39"/>
                  </a:lnTo>
                  <a:lnTo>
                    <a:pt x="243" y="54"/>
                  </a:lnTo>
                  <a:lnTo>
                    <a:pt x="228" y="60"/>
                  </a:lnTo>
                  <a:lnTo>
                    <a:pt x="234" y="66"/>
                  </a:lnTo>
                  <a:lnTo>
                    <a:pt x="221" y="78"/>
                  </a:lnTo>
                  <a:lnTo>
                    <a:pt x="256" y="93"/>
                  </a:lnTo>
                  <a:lnTo>
                    <a:pt x="255" y="105"/>
                  </a:lnTo>
                  <a:lnTo>
                    <a:pt x="229" y="103"/>
                  </a:lnTo>
                  <a:lnTo>
                    <a:pt x="227" y="110"/>
                  </a:lnTo>
                  <a:lnTo>
                    <a:pt x="199" y="98"/>
                  </a:lnTo>
                  <a:lnTo>
                    <a:pt x="171" y="99"/>
                  </a:lnTo>
                  <a:lnTo>
                    <a:pt x="155" y="108"/>
                  </a:lnTo>
                  <a:lnTo>
                    <a:pt x="130" y="99"/>
                  </a:lnTo>
                  <a:lnTo>
                    <a:pt x="86" y="83"/>
                  </a:lnTo>
                  <a:lnTo>
                    <a:pt x="58" y="84"/>
                  </a:lnTo>
                  <a:lnTo>
                    <a:pt x="28" y="108"/>
                  </a:lnTo>
                  <a:lnTo>
                    <a:pt x="30" y="125"/>
                  </a:lnTo>
                  <a:lnTo>
                    <a:pt x="8" y="112"/>
                  </a:lnTo>
                  <a:lnTo>
                    <a:pt x="0" y="137"/>
                  </a:lnTo>
                  <a:lnTo>
                    <a:pt x="6" y="142"/>
                  </a:lnTo>
                  <a:lnTo>
                    <a:pt x="0" y="160"/>
                  </a:lnTo>
                  <a:lnTo>
                    <a:pt x="19" y="176"/>
                  </a:lnTo>
                  <a:lnTo>
                    <a:pt x="33" y="175"/>
                  </a:lnTo>
                  <a:lnTo>
                    <a:pt x="49" y="191"/>
                  </a:lnTo>
                  <a:lnTo>
                    <a:pt x="49" y="202"/>
                  </a:lnTo>
                  <a:lnTo>
                    <a:pt x="60" y="205"/>
                  </a:lnTo>
                  <a:lnTo>
                    <a:pt x="76" y="201"/>
                  </a:lnTo>
                  <a:lnTo>
                    <a:pt x="95" y="191"/>
                  </a:lnTo>
                  <a:lnTo>
                    <a:pt x="113" y="196"/>
                  </a:lnTo>
                  <a:lnTo>
                    <a:pt x="131" y="195"/>
                  </a:lnTo>
                  <a:lnTo>
                    <a:pt x="138" y="210"/>
                  </a:lnTo>
                  <a:lnTo>
                    <a:pt x="141" y="233"/>
                  </a:lnTo>
                  <a:lnTo>
                    <a:pt x="123" y="229"/>
                  </a:lnTo>
                  <a:lnTo>
                    <a:pt x="108" y="233"/>
                  </a:lnTo>
                  <a:lnTo>
                    <a:pt x="112" y="249"/>
                  </a:lnTo>
                  <a:lnTo>
                    <a:pt x="93" y="248"/>
                  </a:lnTo>
                  <a:lnTo>
                    <a:pt x="95" y="255"/>
                  </a:lnTo>
                  <a:lnTo>
                    <a:pt x="107" y="261"/>
                  </a:lnTo>
                  <a:lnTo>
                    <a:pt x="121" y="281"/>
                  </a:lnTo>
                  <a:lnTo>
                    <a:pt x="144" y="290"/>
                  </a:lnTo>
                  <a:lnTo>
                    <a:pt x="150" y="297"/>
                  </a:lnTo>
                  <a:lnTo>
                    <a:pt x="148" y="306"/>
                  </a:lnTo>
                  <a:lnTo>
                    <a:pt x="150" y="312"/>
                  </a:lnTo>
                  <a:lnTo>
                    <a:pt x="157" y="304"/>
                  </a:lnTo>
                  <a:lnTo>
                    <a:pt x="178" y="300"/>
                  </a:lnTo>
                  <a:lnTo>
                    <a:pt x="192" y="306"/>
                  </a:lnTo>
                  <a:lnTo>
                    <a:pt x="210" y="325"/>
                  </a:lnTo>
                  <a:lnTo>
                    <a:pt x="219" y="323"/>
                  </a:lnTo>
                  <a:lnTo>
                    <a:pt x="197" y="238"/>
                  </a:lnTo>
                  <a:lnTo>
                    <a:pt x="241" y="225"/>
                  </a:lnTo>
                  <a:lnTo>
                    <a:pt x="245" y="227"/>
                  </a:lnTo>
                  <a:lnTo>
                    <a:pt x="279" y="244"/>
                  </a:lnTo>
                  <a:lnTo>
                    <a:pt x="297" y="252"/>
                  </a:lnTo>
                  <a:lnTo>
                    <a:pt x="321" y="273"/>
                  </a:lnTo>
                  <a:lnTo>
                    <a:pt x="342" y="269"/>
                  </a:lnTo>
                  <a:lnTo>
                    <a:pt x="374" y="267"/>
                  </a:lnTo>
                  <a:lnTo>
                    <a:pt x="402" y="284"/>
                  </a:lnTo>
                  <a:lnTo>
                    <a:pt x="408" y="307"/>
                  </a:lnTo>
                  <a:lnTo>
                    <a:pt x="417" y="308"/>
                  </a:lnTo>
                  <a:lnTo>
                    <a:pt x="427" y="327"/>
                  </a:lnTo>
                  <a:lnTo>
                    <a:pt x="452" y="327"/>
                  </a:lnTo>
                  <a:lnTo>
                    <a:pt x="460" y="338"/>
                  </a:lnTo>
                  <a:lnTo>
                    <a:pt x="467" y="338"/>
                  </a:lnTo>
                  <a:lnTo>
                    <a:pt x="471" y="321"/>
                  </a:lnTo>
                  <a:lnTo>
                    <a:pt x="491" y="305"/>
                  </a:lnTo>
                  <a:lnTo>
                    <a:pt x="500" y="301"/>
                  </a:lnTo>
                  <a:lnTo>
                    <a:pt x="501" y="291"/>
                  </a:lnTo>
                  <a:lnTo>
                    <a:pt x="513" y="288"/>
                  </a:lnTo>
                  <a:lnTo>
                    <a:pt x="547" y="296"/>
                  </a:lnTo>
                  <a:lnTo>
                    <a:pt x="545" y="282"/>
                  </a:lnTo>
                  <a:lnTo>
                    <a:pt x="554" y="277"/>
                  </a:lnTo>
                  <a:lnTo>
                    <a:pt x="585" y="288"/>
                  </a:lnTo>
                  <a:lnTo>
                    <a:pt x="591" y="285"/>
                  </a:lnTo>
                  <a:lnTo>
                    <a:pt x="622" y="286"/>
                  </a:lnTo>
                  <a:lnTo>
                    <a:pt x="652" y="288"/>
                  </a:lnTo>
                  <a:lnTo>
                    <a:pt x="664" y="296"/>
                  </a:lnTo>
                  <a:lnTo>
                    <a:pt x="678" y="299"/>
                  </a:lnTo>
                  <a:lnTo>
                    <a:pt x="671" y="286"/>
                  </a:lnTo>
                  <a:lnTo>
                    <a:pt x="682" y="280"/>
                  </a:lnTo>
                  <a:lnTo>
                    <a:pt x="649" y="240"/>
                  </a:lnTo>
                  <a:lnTo>
                    <a:pt x="683" y="232"/>
                  </a:lnTo>
                  <a:lnTo>
                    <a:pt x="691" y="226"/>
                  </a:lnTo>
                  <a:lnTo>
                    <a:pt x="687" y="185"/>
                  </a:lnTo>
                  <a:lnTo>
                    <a:pt x="727" y="192"/>
                  </a:lnTo>
                  <a:lnTo>
                    <a:pt x="733" y="181"/>
                  </a:lnTo>
                  <a:lnTo>
                    <a:pt x="723" y="159"/>
                  </a:lnTo>
                  <a:lnTo>
                    <a:pt x="737" y="156"/>
                  </a:lnTo>
                  <a:lnTo>
                    <a:pt x="744" y="140"/>
                  </a:lnTo>
                  <a:lnTo>
                    <a:pt x="728" y="126"/>
                  </a:lnTo>
                  <a:lnTo>
                    <a:pt x="706" y="130"/>
                  </a:lnTo>
                  <a:lnTo>
                    <a:pt x="693" y="120"/>
                  </a:lnTo>
                  <a:lnTo>
                    <a:pt x="678" y="116"/>
                  </a:lnTo>
                  <a:lnTo>
                    <a:pt x="664" y="102"/>
                  </a:lnTo>
                  <a:lnTo>
                    <a:pt x="651" y="98"/>
                  </a:lnTo>
                  <a:lnTo>
                    <a:pt x="628" y="104"/>
                  </a:lnTo>
                  <a:lnTo>
                    <a:pt x="597" y="91"/>
                  </a:lnTo>
                  <a:lnTo>
                    <a:pt x="593" y="103"/>
                  </a:lnTo>
                  <a:lnTo>
                    <a:pt x="525" y="45"/>
                  </a:lnTo>
                  <a:lnTo>
                    <a:pt x="495" y="27"/>
                  </a:lnTo>
                  <a:lnTo>
                    <a:pt x="497" y="21"/>
                  </a:lnTo>
                  <a:lnTo>
                    <a:pt x="464" y="41"/>
                  </a:lnTo>
                  <a:lnTo>
                    <a:pt x="447" y="43"/>
                  </a:lnTo>
                  <a:lnTo>
                    <a:pt x="443" y="31"/>
                  </a:lnTo>
                  <a:lnTo>
                    <a:pt x="417" y="22"/>
                  </a:lnTo>
                  <a:lnTo>
                    <a:pt x="400" y="28"/>
                  </a:lnTo>
                  <a:lnTo>
                    <a:pt x="384" y="5"/>
                  </a:lnTo>
                  <a:lnTo>
                    <a:pt x="38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1" name="Kenya">
              <a:extLst>
                <a:ext uri="{FF2B5EF4-FFF2-40B4-BE49-F238E27FC236}">
                  <a16:creationId xmlns:a16="http://schemas.microsoft.com/office/drawing/2014/main" id="{AD884B8C-4A50-4AC4-AD4B-924979B34890}"/>
                </a:ext>
              </a:extLst>
            </p:cNvPr>
            <p:cNvSpPr>
              <a:spLocks/>
            </p:cNvSpPr>
            <p:nvPr/>
          </p:nvSpPr>
          <p:spPr bwMode="auto">
            <a:xfrm>
              <a:off x="7125494" y="3854223"/>
              <a:ext cx="263525" cy="384175"/>
            </a:xfrm>
            <a:custGeom>
              <a:avLst/>
              <a:gdLst>
                <a:gd name="T0" fmla="*/ 166 w 166"/>
                <a:gd name="T1" fmla="*/ 38 h 242"/>
                <a:gd name="T2" fmla="*/ 152 w 166"/>
                <a:gd name="T3" fmla="*/ 38 h 242"/>
                <a:gd name="T4" fmla="*/ 143 w 166"/>
                <a:gd name="T5" fmla="*/ 30 h 242"/>
                <a:gd name="T6" fmla="*/ 124 w 166"/>
                <a:gd name="T7" fmla="*/ 40 h 242"/>
                <a:gd name="T8" fmla="*/ 118 w 166"/>
                <a:gd name="T9" fmla="*/ 50 h 242"/>
                <a:gd name="T10" fmla="*/ 104 w 166"/>
                <a:gd name="T11" fmla="*/ 48 h 242"/>
                <a:gd name="T12" fmla="*/ 100 w 166"/>
                <a:gd name="T13" fmla="*/ 45 h 242"/>
                <a:gd name="T14" fmla="*/ 94 w 166"/>
                <a:gd name="T15" fmla="*/ 45 h 242"/>
                <a:gd name="T16" fmla="*/ 88 w 166"/>
                <a:gd name="T17" fmla="*/ 45 h 242"/>
                <a:gd name="T18" fmla="*/ 61 w 166"/>
                <a:gd name="T19" fmla="*/ 26 h 242"/>
                <a:gd name="T20" fmla="*/ 47 w 166"/>
                <a:gd name="T21" fmla="*/ 26 h 242"/>
                <a:gd name="T22" fmla="*/ 39 w 166"/>
                <a:gd name="T23" fmla="*/ 17 h 242"/>
                <a:gd name="T24" fmla="*/ 39 w 166"/>
                <a:gd name="T25" fmla="*/ 4 h 242"/>
                <a:gd name="T26" fmla="*/ 28 w 166"/>
                <a:gd name="T27" fmla="*/ 0 h 242"/>
                <a:gd name="T28" fmla="*/ 14 w 166"/>
                <a:gd name="T29" fmla="*/ 16 h 242"/>
                <a:gd name="T30" fmla="*/ 1 w 166"/>
                <a:gd name="T31" fmla="*/ 30 h 242"/>
                <a:gd name="T32" fmla="*/ 11 w 166"/>
                <a:gd name="T33" fmla="*/ 46 h 242"/>
                <a:gd name="T34" fmla="*/ 14 w 166"/>
                <a:gd name="T35" fmla="*/ 58 h 242"/>
                <a:gd name="T36" fmla="*/ 23 w 166"/>
                <a:gd name="T37" fmla="*/ 86 h 242"/>
                <a:gd name="T38" fmla="*/ 16 w 166"/>
                <a:gd name="T39" fmla="*/ 103 h 242"/>
                <a:gd name="T40" fmla="*/ 5 w 166"/>
                <a:gd name="T41" fmla="*/ 119 h 242"/>
                <a:gd name="T42" fmla="*/ 0 w 166"/>
                <a:gd name="T43" fmla="*/ 128 h 242"/>
                <a:gd name="T44" fmla="*/ 0 w 166"/>
                <a:gd name="T45" fmla="*/ 129 h 242"/>
                <a:gd name="T46" fmla="*/ 5 w 166"/>
                <a:gd name="T47" fmla="*/ 139 h 242"/>
                <a:gd name="T48" fmla="*/ 4 w 166"/>
                <a:gd name="T49" fmla="*/ 157 h 242"/>
                <a:gd name="T50" fmla="*/ 79 w 166"/>
                <a:gd name="T51" fmla="*/ 205 h 242"/>
                <a:gd name="T52" fmla="*/ 80 w 166"/>
                <a:gd name="T53" fmla="*/ 218 h 242"/>
                <a:gd name="T54" fmla="*/ 110 w 166"/>
                <a:gd name="T55" fmla="*/ 242 h 242"/>
                <a:gd name="T56" fmla="*/ 118 w 166"/>
                <a:gd name="T57" fmla="*/ 234 h 242"/>
                <a:gd name="T58" fmla="*/ 123 w 166"/>
                <a:gd name="T59" fmla="*/ 218 h 242"/>
                <a:gd name="T60" fmla="*/ 130 w 166"/>
                <a:gd name="T61" fmla="*/ 209 h 242"/>
                <a:gd name="T62" fmla="*/ 133 w 166"/>
                <a:gd name="T63" fmla="*/ 192 h 242"/>
                <a:gd name="T64" fmla="*/ 141 w 166"/>
                <a:gd name="T65" fmla="*/ 190 h 242"/>
                <a:gd name="T66" fmla="*/ 146 w 166"/>
                <a:gd name="T67" fmla="*/ 181 h 242"/>
                <a:gd name="T68" fmla="*/ 161 w 166"/>
                <a:gd name="T69" fmla="*/ 171 h 242"/>
                <a:gd name="T70" fmla="*/ 148 w 166"/>
                <a:gd name="T71" fmla="*/ 151 h 242"/>
                <a:gd name="T72" fmla="*/ 148 w 166"/>
                <a:gd name="T73" fmla="*/ 65 h 242"/>
                <a:gd name="T74" fmla="*/ 166 w 166"/>
                <a:gd name="T75" fmla="*/ 38 h 242"/>
                <a:gd name="T76" fmla="*/ 166 w 166"/>
                <a:gd name="T77" fmla="*/ 38 h 2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6" h="242">
                  <a:moveTo>
                    <a:pt x="166" y="38"/>
                  </a:moveTo>
                  <a:lnTo>
                    <a:pt x="152" y="38"/>
                  </a:lnTo>
                  <a:lnTo>
                    <a:pt x="143" y="30"/>
                  </a:lnTo>
                  <a:lnTo>
                    <a:pt x="124" y="40"/>
                  </a:lnTo>
                  <a:lnTo>
                    <a:pt x="118" y="50"/>
                  </a:lnTo>
                  <a:lnTo>
                    <a:pt x="104" y="48"/>
                  </a:lnTo>
                  <a:lnTo>
                    <a:pt x="100" y="45"/>
                  </a:lnTo>
                  <a:lnTo>
                    <a:pt x="94" y="45"/>
                  </a:lnTo>
                  <a:lnTo>
                    <a:pt x="88" y="45"/>
                  </a:lnTo>
                  <a:lnTo>
                    <a:pt x="61" y="26"/>
                  </a:lnTo>
                  <a:lnTo>
                    <a:pt x="47" y="26"/>
                  </a:lnTo>
                  <a:lnTo>
                    <a:pt x="39" y="17"/>
                  </a:lnTo>
                  <a:lnTo>
                    <a:pt x="39" y="4"/>
                  </a:lnTo>
                  <a:lnTo>
                    <a:pt x="28" y="0"/>
                  </a:lnTo>
                  <a:lnTo>
                    <a:pt x="14" y="16"/>
                  </a:lnTo>
                  <a:lnTo>
                    <a:pt x="1" y="30"/>
                  </a:lnTo>
                  <a:lnTo>
                    <a:pt x="11" y="46"/>
                  </a:lnTo>
                  <a:lnTo>
                    <a:pt x="14" y="58"/>
                  </a:lnTo>
                  <a:lnTo>
                    <a:pt x="23" y="86"/>
                  </a:lnTo>
                  <a:lnTo>
                    <a:pt x="16" y="103"/>
                  </a:lnTo>
                  <a:lnTo>
                    <a:pt x="5" y="119"/>
                  </a:lnTo>
                  <a:lnTo>
                    <a:pt x="0" y="128"/>
                  </a:lnTo>
                  <a:lnTo>
                    <a:pt x="0" y="129"/>
                  </a:lnTo>
                  <a:lnTo>
                    <a:pt x="5" y="139"/>
                  </a:lnTo>
                  <a:lnTo>
                    <a:pt x="4" y="157"/>
                  </a:lnTo>
                  <a:lnTo>
                    <a:pt x="79" y="205"/>
                  </a:lnTo>
                  <a:lnTo>
                    <a:pt x="80" y="218"/>
                  </a:lnTo>
                  <a:lnTo>
                    <a:pt x="110" y="242"/>
                  </a:lnTo>
                  <a:lnTo>
                    <a:pt x="118" y="234"/>
                  </a:lnTo>
                  <a:lnTo>
                    <a:pt x="123" y="218"/>
                  </a:lnTo>
                  <a:lnTo>
                    <a:pt x="130" y="209"/>
                  </a:lnTo>
                  <a:lnTo>
                    <a:pt x="133" y="192"/>
                  </a:lnTo>
                  <a:lnTo>
                    <a:pt x="141" y="190"/>
                  </a:lnTo>
                  <a:lnTo>
                    <a:pt x="146" y="181"/>
                  </a:lnTo>
                  <a:lnTo>
                    <a:pt x="161" y="171"/>
                  </a:lnTo>
                  <a:lnTo>
                    <a:pt x="148" y="151"/>
                  </a:lnTo>
                  <a:lnTo>
                    <a:pt x="148" y="65"/>
                  </a:lnTo>
                  <a:lnTo>
                    <a:pt x="166" y="38"/>
                  </a:lnTo>
                  <a:lnTo>
                    <a:pt x="166"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2" name="Kyrgyzstan">
              <a:extLst>
                <a:ext uri="{FF2B5EF4-FFF2-40B4-BE49-F238E27FC236}">
                  <a16:creationId xmlns:a16="http://schemas.microsoft.com/office/drawing/2014/main" id="{AA5AE6DD-6ADC-4956-8341-B3B6ABECC48A}"/>
                </a:ext>
              </a:extLst>
            </p:cNvPr>
            <p:cNvSpPr>
              <a:spLocks/>
            </p:cNvSpPr>
            <p:nvPr/>
          </p:nvSpPr>
          <p:spPr bwMode="auto">
            <a:xfrm>
              <a:off x="8130381" y="2428648"/>
              <a:ext cx="300037" cy="149225"/>
            </a:xfrm>
            <a:custGeom>
              <a:avLst/>
              <a:gdLst>
                <a:gd name="T0" fmla="*/ 189 w 189"/>
                <a:gd name="T1" fmla="*/ 22 h 94"/>
                <a:gd name="T2" fmla="*/ 175 w 189"/>
                <a:gd name="T3" fmla="*/ 19 h 94"/>
                <a:gd name="T4" fmla="*/ 163 w 189"/>
                <a:gd name="T5" fmla="*/ 11 h 94"/>
                <a:gd name="T6" fmla="*/ 133 w 189"/>
                <a:gd name="T7" fmla="*/ 9 h 94"/>
                <a:gd name="T8" fmla="*/ 102 w 189"/>
                <a:gd name="T9" fmla="*/ 8 h 94"/>
                <a:gd name="T10" fmla="*/ 96 w 189"/>
                <a:gd name="T11" fmla="*/ 11 h 94"/>
                <a:gd name="T12" fmla="*/ 65 w 189"/>
                <a:gd name="T13" fmla="*/ 0 h 94"/>
                <a:gd name="T14" fmla="*/ 56 w 189"/>
                <a:gd name="T15" fmla="*/ 5 h 94"/>
                <a:gd name="T16" fmla="*/ 58 w 189"/>
                <a:gd name="T17" fmla="*/ 19 h 94"/>
                <a:gd name="T18" fmla="*/ 24 w 189"/>
                <a:gd name="T19" fmla="*/ 11 h 94"/>
                <a:gd name="T20" fmla="*/ 12 w 189"/>
                <a:gd name="T21" fmla="*/ 14 h 94"/>
                <a:gd name="T22" fmla="*/ 11 w 189"/>
                <a:gd name="T23" fmla="*/ 24 h 94"/>
                <a:gd name="T24" fmla="*/ 18 w 189"/>
                <a:gd name="T25" fmla="*/ 27 h 94"/>
                <a:gd name="T26" fmla="*/ 6 w 189"/>
                <a:gd name="T27" fmla="*/ 41 h 94"/>
                <a:gd name="T28" fmla="*/ 23 w 189"/>
                <a:gd name="T29" fmla="*/ 50 h 94"/>
                <a:gd name="T30" fmla="*/ 35 w 189"/>
                <a:gd name="T31" fmla="*/ 44 h 94"/>
                <a:gd name="T32" fmla="*/ 62 w 189"/>
                <a:gd name="T33" fmla="*/ 56 h 94"/>
                <a:gd name="T34" fmla="*/ 43 w 189"/>
                <a:gd name="T35" fmla="*/ 73 h 94"/>
                <a:gd name="T36" fmla="*/ 27 w 189"/>
                <a:gd name="T37" fmla="*/ 71 h 94"/>
                <a:gd name="T38" fmla="*/ 22 w 189"/>
                <a:gd name="T39" fmla="*/ 79 h 94"/>
                <a:gd name="T40" fmla="*/ 0 w 189"/>
                <a:gd name="T41" fmla="*/ 74 h 94"/>
                <a:gd name="T42" fmla="*/ 3 w 189"/>
                <a:gd name="T43" fmla="*/ 88 h 94"/>
                <a:gd name="T44" fmla="*/ 22 w 189"/>
                <a:gd name="T45" fmla="*/ 86 h 94"/>
                <a:gd name="T46" fmla="*/ 49 w 189"/>
                <a:gd name="T47" fmla="*/ 94 h 94"/>
                <a:gd name="T48" fmla="*/ 85 w 189"/>
                <a:gd name="T49" fmla="*/ 91 h 94"/>
                <a:gd name="T50" fmla="*/ 89 w 189"/>
                <a:gd name="T51" fmla="*/ 85 h 94"/>
                <a:gd name="T52" fmla="*/ 84 w 189"/>
                <a:gd name="T53" fmla="*/ 80 h 94"/>
                <a:gd name="T54" fmla="*/ 99 w 189"/>
                <a:gd name="T55" fmla="*/ 69 h 94"/>
                <a:gd name="T56" fmla="*/ 111 w 189"/>
                <a:gd name="T57" fmla="*/ 64 h 94"/>
                <a:gd name="T58" fmla="*/ 132 w 189"/>
                <a:gd name="T59" fmla="*/ 67 h 94"/>
                <a:gd name="T60" fmla="*/ 134 w 189"/>
                <a:gd name="T61" fmla="*/ 52 h 94"/>
                <a:gd name="T62" fmla="*/ 159 w 189"/>
                <a:gd name="T63" fmla="*/ 49 h 94"/>
                <a:gd name="T64" fmla="*/ 162 w 189"/>
                <a:gd name="T65" fmla="*/ 41 h 94"/>
                <a:gd name="T66" fmla="*/ 188 w 189"/>
                <a:gd name="T67" fmla="*/ 27 h 94"/>
                <a:gd name="T68" fmla="*/ 189 w 189"/>
                <a:gd name="T69" fmla="*/ 22 h 94"/>
                <a:gd name="T70" fmla="*/ 189 w 189"/>
                <a:gd name="T71" fmla="*/ 22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9" h="94">
                  <a:moveTo>
                    <a:pt x="189" y="22"/>
                  </a:moveTo>
                  <a:lnTo>
                    <a:pt x="175" y="19"/>
                  </a:lnTo>
                  <a:lnTo>
                    <a:pt x="163" y="11"/>
                  </a:lnTo>
                  <a:lnTo>
                    <a:pt x="133" y="9"/>
                  </a:lnTo>
                  <a:lnTo>
                    <a:pt x="102" y="8"/>
                  </a:lnTo>
                  <a:lnTo>
                    <a:pt x="96" y="11"/>
                  </a:lnTo>
                  <a:lnTo>
                    <a:pt x="65" y="0"/>
                  </a:lnTo>
                  <a:lnTo>
                    <a:pt x="56" y="5"/>
                  </a:lnTo>
                  <a:lnTo>
                    <a:pt x="58" y="19"/>
                  </a:lnTo>
                  <a:lnTo>
                    <a:pt x="24" y="11"/>
                  </a:lnTo>
                  <a:lnTo>
                    <a:pt x="12" y="14"/>
                  </a:lnTo>
                  <a:lnTo>
                    <a:pt x="11" y="24"/>
                  </a:lnTo>
                  <a:lnTo>
                    <a:pt x="18" y="27"/>
                  </a:lnTo>
                  <a:lnTo>
                    <a:pt x="6" y="41"/>
                  </a:lnTo>
                  <a:lnTo>
                    <a:pt x="23" y="50"/>
                  </a:lnTo>
                  <a:lnTo>
                    <a:pt x="35" y="44"/>
                  </a:lnTo>
                  <a:lnTo>
                    <a:pt x="62" y="56"/>
                  </a:lnTo>
                  <a:lnTo>
                    <a:pt x="43" y="73"/>
                  </a:lnTo>
                  <a:lnTo>
                    <a:pt x="27" y="71"/>
                  </a:lnTo>
                  <a:lnTo>
                    <a:pt x="22" y="79"/>
                  </a:lnTo>
                  <a:lnTo>
                    <a:pt x="0" y="74"/>
                  </a:lnTo>
                  <a:lnTo>
                    <a:pt x="3" y="88"/>
                  </a:lnTo>
                  <a:lnTo>
                    <a:pt x="22" y="86"/>
                  </a:lnTo>
                  <a:lnTo>
                    <a:pt x="49" y="94"/>
                  </a:lnTo>
                  <a:lnTo>
                    <a:pt x="85" y="91"/>
                  </a:lnTo>
                  <a:lnTo>
                    <a:pt x="89" y="85"/>
                  </a:lnTo>
                  <a:lnTo>
                    <a:pt x="84" y="80"/>
                  </a:lnTo>
                  <a:lnTo>
                    <a:pt x="99" y="69"/>
                  </a:lnTo>
                  <a:lnTo>
                    <a:pt x="111" y="64"/>
                  </a:lnTo>
                  <a:lnTo>
                    <a:pt x="132" y="67"/>
                  </a:lnTo>
                  <a:lnTo>
                    <a:pt x="134" y="52"/>
                  </a:lnTo>
                  <a:lnTo>
                    <a:pt x="159" y="49"/>
                  </a:lnTo>
                  <a:lnTo>
                    <a:pt x="162" y="41"/>
                  </a:lnTo>
                  <a:lnTo>
                    <a:pt x="188" y="27"/>
                  </a:lnTo>
                  <a:lnTo>
                    <a:pt x="189" y="22"/>
                  </a:lnTo>
                  <a:lnTo>
                    <a:pt x="189"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3" name="Cambodia">
              <a:extLst>
                <a:ext uri="{FF2B5EF4-FFF2-40B4-BE49-F238E27FC236}">
                  <a16:creationId xmlns:a16="http://schemas.microsoft.com/office/drawing/2014/main" id="{A0C23A42-3100-4563-9479-63C479549D58}"/>
                </a:ext>
              </a:extLst>
            </p:cNvPr>
            <p:cNvSpPr>
              <a:spLocks/>
            </p:cNvSpPr>
            <p:nvPr/>
          </p:nvSpPr>
          <p:spPr bwMode="auto">
            <a:xfrm>
              <a:off x="9378156" y="3512911"/>
              <a:ext cx="174625" cy="153988"/>
            </a:xfrm>
            <a:custGeom>
              <a:avLst/>
              <a:gdLst>
                <a:gd name="T0" fmla="*/ 103 w 110"/>
                <a:gd name="T1" fmla="*/ 8 h 97"/>
                <a:gd name="T2" fmla="*/ 83 w 110"/>
                <a:gd name="T3" fmla="*/ 0 h 97"/>
                <a:gd name="T4" fmla="*/ 76 w 110"/>
                <a:gd name="T5" fmla="*/ 16 h 97"/>
                <a:gd name="T6" fmla="*/ 58 w 110"/>
                <a:gd name="T7" fmla="*/ 7 h 97"/>
                <a:gd name="T8" fmla="*/ 38 w 110"/>
                <a:gd name="T9" fmla="*/ 4 h 97"/>
                <a:gd name="T10" fmla="*/ 11 w 110"/>
                <a:gd name="T11" fmla="*/ 8 h 97"/>
                <a:gd name="T12" fmla="*/ 0 w 110"/>
                <a:gd name="T13" fmla="*/ 28 h 97"/>
                <a:gd name="T14" fmla="*/ 8 w 110"/>
                <a:gd name="T15" fmla="*/ 56 h 97"/>
                <a:gd name="T16" fmla="*/ 21 w 110"/>
                <a:gd name="T17" fmla="*/ 81 h 97"/>
                <a:gd name="T18" fmla="*/ 31 w 110"/>
                <a:gd name="T19" fmla="*/ 93 h 97"/>
                <a:gd name="T20" fmla="*/ 48 w 110"/>
                <a:gd name="T21" fmla="*/ 97 h 97"/>
                <a:gd name="T22" fmla="*/ 65 w 110"/>
                <a:gd name="T23" fmla="*/ 88 h 97"/>
                <a:gd name="T24" fmla="*/ 87 w 110"/>
                <a:gd name="T25" fmla="*/ 86 h 97"/>
                <a:gd name="T26" fmla="*/ 77 w 110"/>
                <a:gd name="T27" fmla="*/ 71 h 97"/>
                <a:gd name="T28" fmla="*/ 110 w 110"/>
                <a:gd name="T29" fmla="*/ 53 h 97"/>
                <a:gd name="T30" fmla="*/ 109 w 110"/>
                <a:gd name="T31" fmla="*/ 24 h 97"/>
                <a:gd name="T32" fmla="*/ 103 w 110"/>
                <a:gd name="T33" fmla="*/ 8 h 97"/>
                <a:gd name="T34" fmla="*/ 103 w 110"/>
                <a:gd name="T35" fmla="*/ 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7">
                  <a:moveTo>
                    <a:pt x="103" y="8"/>
                  </a:moveTo>
                  <a:lnTo>
                    <a:pt x="83" y="0"/>
                  </a:lnTo>
                  <a:lnTo>
                    <a:pt x="76" y="16"/>
                  </a:lnTo>
                  <a:lnTo>
                    <a:pt x="58" y="7"/>
                  </a:lnTo>
                  <a:lnTo>
                    <a:pt x="38" y="4"/>
                  </a:lnTo>
                  <a:lnTo>
                    <a:pt x="11" y="8"/>
                  </a:lnTo>
                  <a:lnTo>
                    <a:pt x="0" y="28"/>
                  </a:lnTo>
                  <a:lnTo>
                    <a:pt x="8" y="56"/>
                  </a:lnTo>
                  <a:lnTo>
                    <a:pt x="21" y="81"/>
                  </a:lnTo>
                  <a:lnTo>
                    <a:pt x="31" y="93"/>
                  </a:lnTo>
                  <a:lnTo>
                    <a:pt x="48" y="97"/>
                  </a:lnTo>
                  <a:lnTo>
                    <a:pt x="65" y="88"/>
                  </a:lnTo>
                  <a:lnTo>
                    <a:pt x="87" y="86"/>
                  </a:lnTo>
                  <a:lnTo>
                    <a:pt x="77" y="71"/>
                  </a:lnTo>
                  <a:lnTo>
                    <a:pt x="110" y="53"/>
                  </a:lnTo>
                  <a:lnTo>
                    <a:pt x="109" y="24"/>
                  </a:lnTo>
                  <a:lnTo>
                    <a:pt x="103" y="8"/>
                  </a:lnTo>
                  <a:lnTo>
                    <a:pt x="10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4" name="South Korea">
              <a:extLst>
                <a:ext uri="{FF2B5EF4-FFF2-40B4-BE49-F238E27FC236}">
                  <a16:creationId xmlns:a16="http://schemas.microsoft.com/office/drawing/2014/main" id="{4DF0DDA4-A3EB-495F-A1E6-A706A190DA09}"/>
                </a:ext>
              </a:extLst>
            </p:cNvPr>
            <p:cNvSpPr>
              <a:spLocks/>
            </p:cNvSpPr>
            <p:nvPr/>
          </p:nvSpPr>
          <p:spPr bwMode="auto">
            <a:xfrm>
              <a:off x="9911556" y="2603274"/>
              <a:ext cx="141287" cy="161925"/>
            </a:xfrm>
            <a:custGeom>
              <a:avLst/>
              <a:gdLst>
                <a:gd name="T0" fmla="*/ 0 w 89"/>
                <a:gd name="T1" fmla="*/ 21 h 102"/>
                <a:gd name="T2" fmla="*/ 24 w 89"/>
                <a:gd name="T3" fmla="*/ 42 h 102"/>
                <a:gd name="T4" fmla="*/ 10 w 89"/>
                <a:gd name="T5" fmla="*/ 45 h 102"/>
                <a:gd name="T6" fmla="*/ 30 w 89"/>
                <a:gd name="T7" fmla="*/ 71 h 102"/>
                <a:gd name="T8" fmla="*/ 35 w 89"/>
                <a:gd name="T9" fmla="*/ 89 h 102"/>
                <a:gd name="T10" fmla="*/ 42 w 89"/>
                <a:gd name="T11" fmla="*/ 102 h 102"/>
                <a:gd name="T12" fmla="*/ 59 w 89"/>
                <a:gd name="T13" fmla="*/ 100 h 102"/>
                <a:gd name="T14" fmla="*/ 71 w 89"/>
                <a:gd name="T15" fmla="*/ 90 h 102"/>
                <a:gd name="T16" fmla="*/ 87 w 89"/>
                <a:gd name="T17" fmla="*/ 86 h 102"/>
                <a:gd name="T18" fmla="*/ 89 w 89"/>
                <a:gd name="T19" fmla="*/ 72 h 102"/>
                <a:gd name="T20" fmla="*/ 76 w 89"/>
                <a:gd name="T21" fmla="*/ 44 h 102"/>
                <a:gd name="T22" fmla="*/ 64 w 89"/>
                <a:gd name="T23" fmla="*/ 29 h 102"/>
                <a:gd name="T24" fmla="*/ 33 w 89"/>
                <a:gd name="T25" fmla="*/ 0 h 102"/>
                <a:gd name="T26" fmla="*/ 33 w 89"/>
                <a:gd name="T27" fmla="*/ 6 h 102"/>
                <a:gd name="T28" fmla="*/ 25 w 89"/>
                <a:gd name="T29" fmla="*/ 7 h 102"/>
                <a:gd name="T30" fmla="*/ 12 w 89"/>
                <a:gd name="T31" fmla="*/ 9 h 102"/>
                <a:gd name="T32" fmla="*/ 10 w 89"/>
                <a:gd name="T33" fmla="*/ 19 h 102"/>
                <a:gd name="T34" fmla="*/ 1 w 89"/>
                <a:gd name="T35" fmla="*/ 18 h 102"/>
                <a:gd name="T36" fmla="*/ 0 w 89"/>
                <a:gd name="T37" fmla="*/ 21 h 102"/>
                <a:gd name="T38" fmla="*/ 0 w 89"/>
                <a:gd name="T39" fmla="*/ 2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9" h="102">
                  <a:moveTo>
                    <a:pt x="0" y="21"/>
                  </a:moveTo>
                  <a:lnTo>
                    <a:pt x="24" y="42"/>
                  </a:lnTo>
                  <a:lnTo>
                    <a:pt x="10" y="45"/>
                  </a:lnTo>
                  <a:lnTo>
                    <a:pt x="30" y="71"/>
                  </a:lnTo>
                  <a:lnTo>
                    <a:pt x="35" y="89"/>
                  </a:lnTo>
                  <a:lnTo>
                    <a:pt x="42" y="102"/>
                  </a:lnTo>
                  <a:lnTo>
                    <a:pt x="59" y="100"/>
                  </a:lnTo>
                  <a:lnTo>
                    <a:pt x="71" y="90"/>
                  </a:lnTo>
                  <a:lnTo>
                    <a:pt x="87" y="86"/>
                  </a:lnTo>
                  <a:lnTo>
                    <a:pt x="89" y="72"/>
                  </a:lnTo>
                  <a:lnTo>
                    <a:pt x="76" y="44"/>
                  </a:lnTo>
                  <a:lnTo>
                    <a:pt x="64" y="29"/>
                  </a:lnTo>
                  <a:lnTo>
                    <a:pt x="33" y="0"/>
                  </a:lnTo>
                  <a:lnTo>
                    <a:pt x="33" y="6"/>
                  </a:lnTo>
                  <a:lnTo>
                    <a:pt x="25" y="7"/>
                  </a:lnTo>
                  <a:lnTo>
                    <a:pt x="12" y="9"/>
                  </a:lnTo>
                  <a:lnTo>
                    <a:pt x="10" y="19"/>
                  </a:lnTo>
                  <a:lnTo>
                    <a:pt x="1" y="18"/>
                  </a:lnTo>
                  <a:lnTo>
                    <a:pt x="0" y="21"/>
                  </a:lnTo>
                  <a:lnTo>
                    <a:pt x="0" y="2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5" name="Kuwait">
              <a:extLst>
                <a:ext uri="{FF2B5EF4-FFF2-40B4-BE49-F238E27FC236}">
                  <a16:creationId xmlns:a16="http://schemas.microsoft.com/office/drawing/2014/main" id="{AE70ABE9-9266-4C26-B284-C9E747450803}"/>
                </a:ext>
              </a:extLst>
            </p:cNvPr>
            <p:cNvSpPr>
              <a:spLocks/>
            </p:cNvSpPr>
            <p:nvPr/>
          </p:nvSpPr>
          <p:spPr bwMode="auto">
            <a:xfrm>
              <a:off x="7490619" y="2928712"/>
              <a:ext cx="60325" cy="57150"/>
            </a:xfrm>
            <a:custGeom>
              <a:avLst/>
              <a:gdLst>
                <a:gd name="T0" fmla="*/ 25 w 38"/>
                <a:gd name="T1" fmla="*/ 2 h 36"/>
                <a:gd name="T2" fmla="*/ 12 w 38"/>
                <a:gd name="T3" fmla="*/ 0 h 36"/>
                <a:gd name="T4" fmla="*/ 0 w 38"/>
                <a:gd name="T5" fmla="*/ 22 h 36"/>
                <a:gd name="T6" fmla="*/ 17 w 38"/>
                <a:gd name="T7" fmla="*/ 24 h 36"/>
                <a:gd name="T8" fmla="*/ 24 w 38"/>
                <a:gd name="T9" fmla="*/ 36 h 36"/>
                <a:gd name="T10" fmla="*/ 38 w 38"/>
                <a:gd name="T11" fmla="*/ 36 h 36"/>
                <a:gd name="T12" fmla="*/ 29 w 38"/>
                <a:gd name="T13" fmla="*/ 18 h 36"/>
                <a:gd name="T14" fmla="*/ 30 w 38"/>
                <a:gd name="T15" fmla="*/ 12 h 36"/>
                <a:gd name="T16" fmla="*/ 25 w 38"/>
                <a:gd name="T17" fmla="*/ 2 h 36"/>
                <a:gd name="T18" fmla="*/ 25 w 38"/>
                <a:gd name="T19" fmla="*/ 2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 h="36">
                  <a:moveTo>
                    <a:pt x="25" y="2"/>
                  </a:moveTo>
                  <a:lnTo>
                    <a:pt x="12" y="0"/>
                  </a:lnTo>
                  <a:lnTo>
                    <a:pt x="0" y="22"/>
                  </a:lnTo>
                  <a:lnTo>
                    <a:pt x="17" y="24"/>
                  </a:lnTo>
                  <a:lnTo>
                    <a:pt x="24" y="36"/>
                  </a:lnTo>
                  <a:lnTo>
                    <a:pt x="38" y="36"/>
                  </a:lnTo>
                  <a:lnTo>
                    <a:pt x="29" y="18"/>
                  </a:lnTo>
                  <a:lnTo>
                    <a:pt x="30" y="12"/>
                  </a:lnTo>
                  <a:lnTo>
                    <a:pt x="25" y="2"/>
                  </a:lnTo>
                  <a:lnTo>
                    <a:pt x="25"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6" name="Laos">
              <a:extLst>
                <a:ext uri="{FF2B5EF4-FFF2-40B4-BE49-F238E27FC236}">
                  <a16:creationId xmlns:a16="http://schemas.microsoft.com/office/drawing/2014/main" id="{C100C32C-4F32-4433-A2E7-4FF6D17572F4}"/>
                </a:ext>
              </a:extLst>
            </p:cNvPr>
            <p:cNvSpPr>
              <a:spLocks/>
            </p:cNvSpPr>
            <p:nvPr/>
          </p:nvSpPr>
          <p:spPr bwMode="auto">
            <a:xfrm>
              <a:off x="9270206" y="3214461"/>
              <a:ext cx="273050" cy="323850"/>
            </a:xfrm>
            <a:custGeom>
              <a:avLst/>
              <a:gdLst>
                <a:gd name="T0" fmla="*/ 171 w 172"/>
                <a:gd name="T1" fmla="*/ 196 h 204"/>
                <a:gd name="T2" fmla="*/ 172 w 172"/>
                <a:gd name="T3" fmla="*/ 173 h 204"/>
                <a:gd name="T4" fmla="*/ 164 w 172"/>
                <a:gd name="T5" fmla="*/ 156 h 204"/>
                <a:gd name="T6" fmla="*/ 146 w 172"/>
                <a:gd name="T7" fmla="*/ 139 h 204"/>
                <a:gd name="T8" fmla="*/ 131 w 172"/>
                <a:gd name="T9" fmla="*/ 119 h 204"/>
                <a:gd name="T10" fmla="*/ 109 w 172"/>
                <a:gd name="T11" fmla="*/ 91 h 204"/>
                <a:gd name="T12" fmla="*/ 82 w 172"/>
                <a:gd name="T13" fmla="*/ 76 h 204"/>
                <a:gd name="T14" fmla="*/ 87 w 172"/>
                <a:gd name="T15" fmla="*/ 67 h 204"/>
                <a:gd name="T16" fmla="*/ 99 w 172"/>
                <a:gd name="T17" fmla="*/ 61 h 204"/>
                <a:gd name="T18" fmla="*/ 88 w 172"/>
                <a:gd name="T19" fmla="*/ 40 h 204"/>
                <a:gd name="T20" fmla="*/ 62 w 172"/>
                <a:gd name="T21" fmla="*/ 40 h 204"/>
                <a:gd name="T22" fmla="*/ 49 w 172"/>
                <a:gd name="T23" fmla="*/ 19 h 204"/>
                <a:gd name="T24" fmla="*/ 34 w 172"/>
                <a:gd name="T25" fmla="*/ 0 h 204"/>
                <a:gd name="T26" fmla="*/ 24 w 172"/>
                <a:gd name="T27" fmla="*/ 4 h 204"/>
                <a:gd name="T28" fmla="*/ 32 w 172"/>
                <a:gd name="T29" fmla="*/ 31 h 204"/>
                <a:gd name="T30" fmla="*/ 20 w 172"/>
                <a:gd name="T31" fmla="*/ 30 h 204"/>
                <a:gd name="T32" fmla="*/ 19 w 172"/>
                <a:gd name="T33" fmla="*/ 25 h 204"/>
                <a:gd name="T34" fmla="*/ 3 w 172"/>
                <a:gd name="T35" fmla="*/ 40 h 204"/>
                <a:gd name="T36" fmla="*/ 0 w 172"/>
                <a:gd name="T37" fmla="*/ 49 h 204"/>
                <a:gd name="T38" fmla="*/ 9 w 172"/>
                <a:gd name="T39" fmla="*/ 56 h 204"/>
                <a:gd name="T40" fmla="*/ 13 w 172"/>
                <a:gd name="T41" fmla="*/ 70 h 204"/>
                <a:gd name="T42" fmla="*/ 27 w 172"/>
                <a:gd name="T43" fmla="*/ 71 h 204"/>
                <a:gd name="T44" fmla="*/ 26 w 172"/>
                <a:gd name="T45" fmla="*/ 96 h 204"/>
                <a:gd name="T46" fmla="*/ 30 w 172"/>
                <a:gd name="T47" fmla="*/ 118 h 204"/>
                <a:gd name="T48" fmla="*/ 49 w 172"/>
                <a:gd name="T49" fmla="*/ 104 h 204"/>
                <a:gd name="T50" fmla="*/ 56 w 172"/>
                <a:gd name="T51" fmla="*/ 108 h 204"/>
                <a:gd name="T52" fmla="*/ 68 w 172"/>
                <a:gd name="T53" fmla="*/ 108 h 204"/>
                <a:gd name="T54" fmla="*/ 71 w 172"/>
                <a:gd name="T55" fmla="*/ 99 h 204"/>
                <a:gd name="T56" fmla="*/ 87 w 172"/>
                <a:gd name="T57" fmla="*/ 100 h 204"/>
                <a:gd name="T58" fmla="*/ 105 w 172"/>
                <a:gd name="T59" fmla="*/ 120 h 204"/>
                <a:gd name="T60" fmla="*/ 110 w 172"/>
                <a:gd name="T61" fmla="*/ 143 h 204"/>
                <a:gd name="T62" fmla="*/ 130 w 172"/>
                <a:gd name="T63" fmla="*/ 164 h 204"/>
                <a:gd name="T64" fmla="*/ 132 w 172"/>
                <a:gd name="T65" fmla="*/ 184 h 204"/>
                <a:gd name="T66" fmla="*/ 126 w 172"/>
                <a:gd name="T67" fmla="*/ 195 h 204"/>
                <a:gd name="T68" fmla="*/ 144 w 172"/>
                <a:gd name="T69" fmla="*/ 204 h 204"/>
                <a:gd name="T70" fmla="*/ 151 w 172"/>
                <a:gd name="T71" fmla="*/ 188 h 204"/>
                <a:gd name="T72" fmla="*/ 171 w 172"/>
                <a:gd name="T73" fmla="*/ 196 h 204"/>
                <a:gd name="T74" fmla="*/ 171 w 172"/>
                <a:gd name="T75" fmla="*/ 19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72" h="204">
                  <a:moveTo>
                    <a:pt x="171" y="196"/>
                  </a:moveTo>
                  <a:lnTo>
                    <a:pt x="172" y="173"/>
                  </a:lnTo>
                  <a:lnTo>
                    <a:pt x="164" y="156"/>
                  </a:lnTo>
                  <a:lnTo>
                    <a:pt x="146" y="139"/>
                  </a:lnTo>
                  <a:lnTo>
                    <a:pt x="131" y="119"/>
                  </a:lnTo>
                  <a:lnTo>
                    <a:pt x="109" y="91"/>
                  </a:lnTo>
                  <a:lnTo>
                    <a:pt x="82" y="76"/>
                  </a:lnTo>
                  <a:lnTo>
                    <a:pt x="87" y="67"/>
                  </a:lnTo>
                  <a:lnTo>
                    <a:pt x="99" y="61"/>
                  </a:lnTo>
                  <a:lnTo>
                    <a:pt x="88" y="40"/>
                  </a:lnTo>
                  <a:lnTo>
                    <a:pt x="62" y="40"/>
                  </a:lnTo>
                  <a:lnTo>
                    <a:pt x="49" y="19"/>
                  </a:lnTo>
                  <a:lnTo>
                    <a:pt x="34" y="0"/>
                  </a:lnTo>
                  <a:lnTo>
                    <a:pt x="24" y="4"/>
                  </a:lnTo>
                  <a:lnTo>
                    <a:pt x="32" y="31"/>
                  </a:lnTo>
                  <a:lnTo>
                    <a:pt x="20" y="30"/>
                  </a:lnTo>
                  <a:lnTo>
                    <a:pt x="19" y="25"/>
                  </a:lnTo>
                  <a:lnTo>
                    <a:pt x="3" y="40"/>
                  </a:lnTo>
                  <a:lnTo>
                    <a:pt x="0" y="49"/>
                  </a:lnTo>
                  <a:lnTo>
                    <a:pt x="9" y="56"/>
                  </a:lnTo>
                  <a:lnTo>
                    <a:pt x="13" y="70"/>
                  </a:lnTo>
                  <a:lnTo>
                    <a:pt x="27" y="71"/>
                  </a:lnTo>
                  <a:lnTo>
                    <a:pt x="26" y="96"/>
                  </a:lnTo>
                  <a:lnTo>
                    <a:pt x="30" y="118"/>
                  </a:lnTo>
                  <a:lnTo>
                    <a:pt x="49" y="104"/>
                  </a:lnTo>
                  <a:lnTo>
                    <a:pt x="56" y="108"/>
                  </a:lnTo>
                  <a:lnTo>
                    <a:pt x="68" y="108"/>
                  </a:lnTo>
                  <a:lnTo>
                    <a:pt x="71" y="99"/>
                  </a:lnTo>
                  <a:lnTo>
                    <a:pt x="87" y="100"/>
                  </a:lnTo>
                  <a:lnTo>
                    <a:pt x="105" y="120"/>
                  </a:lnTo>
                  <a:lnTo>
                    <a:pt x="110" y="143"/>
                  </a:lnTo>
                  <a:lnTo>
                    <a:pt x="130" y="164"/>
                  </a:lnTo>
                  <a:lnTo>
                    <a:pt x="132" y="184"/>
                  </a:lnTo>
                  <a:lnTo>
                    <a:pt x="126" y="195"/>
                  </a:lnTo>
                  <a:lnTo>
                    <a:pt x="144" y="204"/>
                  </a:lnTo>
                  <a:lnTo>
                    <a:pt x="151" y="188"/>
                  </a:lnTo>
                  <a:lnTo>
                    <a:pt x="171" y="196"/>
                  </a:lnTo>
                  <a:lnTo>
                    <a:pt x="171" y="19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7" name="Lebanon">
              <a:extLst>
                <a:ext uri="{FF2B5EF4-FFF2-40B4-BE49-F238E27FC236}">
                  <a16:creationId xmlns:a16="http://schemas.microsoft.com/office/drawing/2014/main" id="{CD04502C-2344-462B-982D-CA2A1F4ED649}"/>
                </a:ext>
              </a:extLst>
            </p:cNvPr>
            <p:cNvSpPr>
              <a:spLocks/>
            </p:cNvSpPr>
            <p:nvPr/>
          </p:nvSpPr>
          <p:spPr bwMode="auto">
            <a:xfrm>
              <a:off x="7108031" y="2755673"/>
              <a:ext cx="41275" cy="58738"/>
            </a:xfrm>
            <a:custGeom>
              <a:avLst/>
              <a:gdLst>
                <a:gd name="T0" fmla="*/ 13 w 26"/>
                <a:gd name="T1" fmla="*/ 32 h 37"/>
                <a:gd name="T2" fmla="*/ 16 w 26"/>
                <a:gd name="T3" fmla="*/ 19 h 37"/>
                <a:gd name="T4" fmla="*/ 26 w 26"/>
                <a:gd name="T5" fmla="*/ 10 h 37"/>
                <a:gd name="T6" fmla="*/ 21 w 26"/>
                <a:gd name="T7" fmla="*/ 1 h 37"/>
                <a:gd name="T8" fmla="*/ 13 w 26"/>
                <a:gd name="T9" fmla="*/ 0 h 37"/>
                <a:gd name="T10" fmla="*/ 12 w 26"/>
                <a:gd name="T11" fmla="*/ 1 h 37"/>
                <a:gd name="T12" fmla="*/ 4 w 26"/>
                <a:gd name="T13" fmla="*/ 18 h 37"/>
                <a:gd name="T14" fmla="*/ 0 w 26"/>
                <a:gd name="T15" fmla="*/ 37 h 37"/>
                <a:gd name="T16" fmla="*/ 6 w 26"/>
                <a:gd name="T17" fmla="*/ 37 h 37"/>
                <a:gd name="T18" fmla="*/ 8 w 26"/>
                <a:gd name="T19" fmla="*/ 32 h 37"/>
                <a:gd name="T20" fmla="*/ 13 w 26"/>
                <a:gd name="T21" fmla="*/ 32 h 37"/>
                <a:gd name="T22" fmla="*/ 13 w 26"/>
                <a:gd name="T23" fmla="*/ 32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6" h="37">
                  <a:moveTo>
                    <a:pt x="13" y="32"/>
                  </a:moveTo>
                  <a:lnTo>
                    <a:pt x="16" y="19"/>
                  </a:lnTo>
                  <a:lnTo>
                    <a:pt x="26" y="10"/>
                  </a:lnTo>
                  <a:lnTo>
                    <a:pt x="21" y="1"/>
                  </a:lnTo>
                  <a:lnTo>
                    <a:pt x="13" y="0"/>
                  </a:lnTo>
                  <a:lnTo>
                    <a:pt x="12" y="1"/>
                  </a:lnTo>
                  <a:lnTo>
                    <a:pt x="4" y="18"/>
                  </a:lnTo>
                  <a:lnTo>
                    <a:pt x="0" y="37"/>
                  </a:lnTo>
                  <a:lnTo>
                    <a:pt x="6" y="37"/>
                  </a:lnTo>
                  <a:lnTo>
                    <a:pt x="8" y="32"/>
                  </a:lnTo>
                  <a:lnTo>
                    <a:pt x="13" y="32"/>
                  </a:lnTo>
                  <a:lnTo>
                    <a:pt x="13"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8" name="Liberia">
              <a:extLst>
                <a:ext uri="{FF2B5EF4-FFF2-40B4-BE49-F238E27FC236}">
                  <a16:creationId xmlns:a16="http://schemas.microsoft.com/office/drawing/2014/main" id="{9ECA5B3A-0C9A-4F35-A553-EFB9C361EE55}"/>
                </a:ext>
              </a:extLst>
            </p:cNvPr>
            <p:cNvSpPr>
              <a:spLocks/>
            </p:cNvSpPr>
            <p:nvPr/>
          </p:nvSpPr>
          <p:spPr bwMode="auto">
            <a:xfrm>
              <a:off x="5614194" y="3739923"/>
              <a:ext cx="131762" cy="158750"/>
            </a:xfrm>
            <a:custGeom>
              <a:avLst/>
              <a:gdLst>
                <a:gd name="T0" fmla="*/ 64 w 83"/>
                <a:gd name="T1" fmla="*/ 20 h 100"/>
                <a:gd name="T2" fmla="*/ 57 w 83"/>
                <a:gd name="T3" fmla="*/ 19 h 100"/>
                <a:gd name="T4" fmla="*/ 54 w 83"/>
                <a:gd name="T5" fmla="*/ 30 h 100"/>
                <a:gd name="T6" fmla="*/ 47 w 83"/>
                <a:gd name="T7" fmla="*/ 29 h 100"/>
                <a:gd name="T8" fmla="*/ 43 w 83"/>
                <a:gd name="T9" fmla="*/ 24 h 100"/>
                <a:gd name="T10" fmla="*/ 45 w 83"/>
                <a:gd name="T11" fmla="*/ 15 h 100"/>
                <a:gd name="T12" fmla="*/ 36 w 83"/>
                <a:gd name="T13" fmla="*/ 0 h 100"/>
                <a:gd name="T14" fmla="*/ 30 w 83"/>
                <a:gd name="T15" fmla="*/ 3 h 100"/>
                <a:gd name="T16" fmla="*/ 27 w 83"/>
                <a:gd name="T17" fmla="*/ 3 h 100"/>
                <a:gd name="T18" fmla="*/ 16 w 83"/>
                <a:gd name="T19" fmla="*/ 15 h 100"/>
                <a:gd name="T20" fmla="*/ 7 w 83"/>
                <a:gd name="T21" fmla="*/ 27 h 100"/>
                <a:gd name="T22" fmla="*/ 6 w 83"/>
                <a:gd name="T23" fmla="*/ 34 h 100"/>
                <a:gd name="T24" fmla="*/ 0 w 83"/>
                <a:gd name="T25" fmla="*/ 42 h 100"/>
                <a:gd name="T26" fmla="*/ 14 w 83"/>
                <a:gd name="T27" fmla="*/ 57 h 100"/>
                <a:gd name="T28" fmla="*/ 32 w 83"/>
                <a:gd name="T29" fmla="*/ 70 h 100"/>
                <a:gd name="T30" fmla="*/ 52 w 83"/>
                <a:gd name="T31" fmla="*/ 88 h 100"/>
                <a:gd name="T32" fmla="*/ 73 w 83"/>
                <a:gd name="T33" fmla="*/ 100 h 100"/>
                <a:gd name="T34" fmla="*/ 79 w 83"/>
                <a:gd name="T35" fmla="*/ 100 h 100"/>
                <a:gd name="T36" fmla="*/ 81 w 83"/>
                <a:gd name="T37" fmla="*/ 80 h 100"/>
                <a:gd name="T38" fmla="*/ 83 w 83"/>
                <a:gd name="T39" fmla="*/ 77 h 100"/>
                <a:gd name="T40" fmla="*/ 82 w 83"/>
                <a:gd name="T41" fmla="*/ 68 h 100"/>
                <a:gd name="T42" fmla="*/ 73 w 83"/>
                <a:gd name="T43" fmla="*/ 58 h 100"/>
                <a:gd name="T44" fmla="*/ 66 w 83"/>
                <a:gd name="T45" fmla="*/ 56 h 100"/>
                <a:gd name="T46" fmla="*/ 60 w 83"/>
                <a:gd name="T47" fmla="*/ 49 h 100"/>
                <a:gd name="T48" fmla="*/ 65 w 83"/>
                <a:gd name="T49" fmla="*/ 39 h 100"/>
                <a:gd name="T50" fmla="*/ 62 w 83"/>
                <a:gd name="T51" fmla="*/ 27 h 100"/>
                <a:gd name="T52" fmla="*/ 64 w 83"/>
                <a:gd name="T53" fmla="*/ 20 h 100"/>
                <a:gd name="T54" fmla="*/ 64 w 83"/>
                <a:gd name="T55" fmla="*/ 2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83" h="100">
                  <a:moveTo>
                    <a:pt x="64" y="20"/>
                  </a:moveTo>
                  <a:lnTo>
                    <a:pt x="57" y="19"/>
                  </a:lnTo>
                  <a:lnTo>
                    <a:pt x="54" y="30"/>
                  </a:lnTo>
                  <a:lnTo>
                    <a:pt x="47" y="29"/>
                  </a:lnTo>
                  <a:lnTo>
                    <a:pt x="43" y="24"/>
                  </a:lnTo>
                  <a:lnTo>
                    <a:pt x="45" y="15"/>
                  </a:lnTo>
                  <a:lnTo>
                    <a:pt x="36" y="0"/>
                  </a:lnTo>
                  <a:lnTo>
                    <a:pt x="30" y="3"/>
                  </a:lnTo>
                  <a:lnTo>
                    <a:pt x="27" y="3"/>
                  </a:lnTo>
                  <a:lnTo>
                    <a:pt x="16" y="15"/>
                  </a:lnTo>
                  <a:lnTo>
                    <a:pt x="7" y="27"/>
                  </a:lnTo>
                  <a:lnTo>
                    <a:pt x="6" y="34"/>
                  </a:lnTo>
                  <a:lnTo>
                    <a:pt x="0" y="42"/>
                  </a:lnTo>
                  <a:lnTo>
                    <a:pt x="14" y="57"/>
                  </a:lnTo>
                  <a:lnTo>
                    <a:pt x="32" y="70"/>
                  </a:lnTo>
                  <a:lnTo>
                    <a:pt x="52" y="88"/>
                  </a:lnTo>
                  <a:lnTo>
                    <a:pt x="73" y="100"/>
                  </a:lnTo>
                  <a:lnTo>
                    <a:pt x="79" y="100"/>
                  </a:lnTo>
                  <a:lnTo>
                    <a:pt x="81" y="80"/>
                  </a:lnTo>
                  <a:lnTo>
                    <a:pt x="83" y="77"/>
                  </a:lnTo>
                  <a:lnTo>
                    <a:pt x="82" y="68"/>
                  </a:lnTo>
                  <a:lnTo>
                    <a:pt x="73" y="58"/>
                  </a:lnTo>
                  <a:lnTo>
                    <a:pt x="66" y="56"/>
                  </a:lnTo>
                  <a:lnTo>
                    <a:pt x="60" y="49"/>
                  </a:lnTo>
                  <a:lnTo>
                    <a:pt x="65" y="39"/>
                  </a:lnTo>
                  <a:lnTo>
                    <a:pt x="62" y="27"/>
                  </a:lnTo>
                  <a:lnTo>
                    <a:pt x="64" y="20"/>
                  </a:lnTo>
                  <a:lnTo>
                    <a:pt x="64" y="2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89" name="Libya">
              <a:extLst>
                <a:ext uri="{FF2B5EF4-FFF2-40B4-BE49-F238E27FC236}">
                  <a16:creationId xmlns:a16="http://schemas.microsoft.com/office/drawing/2014/main" id="{602DAD99-8485-4741-8A36-C472A970BDBD}"/>
                </a:ext>
              </a:extLst>
            </p:cNvPr>
            <p:cNvSpPr>
              <a:spLocks/>
            </p:cNvSpPr>
            <p:nvPr/>
          </p:nvSpPr>
          <p:spPr bwMode="auto">
            <a:xfrm>
              <a:off x="6296819" y="2812823"/>
              <a:ext cx="517525" cy="509588"/>
            </a:xfrm>
            <a:custGeom>
              <a:avLst/>
              <a:gdLst>
                <a:gd name="T0" fmla="*/ 315 w 326"/>
                <a:gd name="T1" fmla="*/ 38 h 321"/>
                <a:gd name="T2" fmla="*/ 309 w 326"/>
                <a:gd name="T3" fmla="*/ 29 h 321"/>
                <a:gd name="T4" fmla="*/ 289 w 326"/>
                <a:gd name="T5" fmla="*/ 26 h 321"/>
                <a:gd name="T6" fmla="*/ 282 w 326"/>
                <a:gd name="T7" fmla="*/ 23 h 321"/>
                <a:gd name="T8" fmla="*/ 274 w 326"/>
                <a:gd name="T9" fmla="*/ 23 h 321"/>
                <a:gd name="T10" fmla="*/ 267 w 326"/>
                <a:gd name="T11" fmla="*/ 11 h 321"/>
                <a:gd name="T12" fmla="*/ 240 w 326"/>
                <a:gd name="T13" fmla="*/ 7 h 321"/>
                <a:gd name="T14" fmla="*/ 227 w 326"/>
                <a:gd name="T15" fmla="*/ 10 h 321"/>
                <a:gd name="T16" fmla="*/ 213 w 326"/>
                <a:gd name="T17" fmla="*/ 21 h 321"/>
                <a:gd name="T18" fmla="*/ 207 w 326"/>
                <a:gd name="T19" fmla="*/ 33 h 321"/>
                <a:gd name="T20" fmla="*/ 213 w 326"/>
                <a:gd name="T21" fmla="*/ 51 h 321"/>
                <a:gd name="T22" fmla="*/ 204 w 326"/>
                <a:gd name="T23" fmla="*/ 62 h 321"/>
                <a:gd name="T24" fmla="*/ 194 w 326"/>
                <a:gd name="T25" fmla="*/ 67 h 321"/>
                <a:gd name="T26" fmla="*/ 173 w 326"/>
                <a:gd name="T27" fmla="*/ 56 h 321"/>
                <a:gd name="T28" fmla="*/ 144 w 326"/>
                <a:gd name="T29" fmla="*/ 46 h 321"/>
                <a:gd name="T30" fmla="*/ 125 w 326"/>
                <a:gd name="T31" fmla="*/ 41 h 321"/>
                <a:gd name="T32" fmla="*/ 115 w 326"/>
                <a:gd name="T33" fmla="*/ 21 h 321"/>
                <a:gd name="T34" fmla="*/ 88 w 326"/>
                <a:gd name="T35" fmla="*/ 10 h 321"/>
                <a:gd name="T36" fmla="*/ 71 w 326"/>
                <a:gd name="T37" fmla="*/ 6 h 321"/>
                <a:gd name="T38" fmla="*/ 63 w 326"/>
                <a:gd name="T39" fmla="*/ 8 h 321"/>
                <a:gd name="T40" fmla="*/ 39 w 326"/>
                <a:gd name="T41" fmla="*/ 0 h 321"/>
                <a:gd name="T42" fmla="*/ 39 w 326"/>
                <a:gd name="T43" fmla="*/ 18 h 321"/>
                <a:gd name="T44" fmla="*/ 29 w 326"/>
                <a:gd name="T45" fmla="*/ 24 h 321"/>
                <a:gd name="T46" fmla="*/ 23 w 326"/>
                <a:gd name="T47" fmla="*/ 32 h 321"/>
                <a:gd name="T48" fmla="*/ 9 w 326"/>
                <a:gd name="T49" fmla="*/ 41 h 321"/>
                <a:gd name="T50" fmla="*/ 12 w 326"/>
                <a:gd name="T51" fmla="*/ 52 h 321"/>
                <a:gd name="T52" fmla="*/ 11 w 326"/>
                <a:gd name="T53" fmla="*/ 62 h 321"/>
                <a:gd name="T54" fmla="*/ 1 w 326"/>
                <a:gd name="T55" fmla="*/ 66 h 321"/>
                <a:gd name="T56" fmla="*/ 8 w 326"/>
                <a:gd name="T57" fmla="*/ 88 h 321"/>
                <a:gd name="T58" fmla="*/ 9 w 326"/>
                <a:gd name="T59" fmla="*/ 99 h 321"/>
                <a:gd name="T60" fmla="*/ 7 w 326"/>
                <a:gd name="T61" fmla="*/ 118 h 321"/>
                <a:gd name="T62" fmla="*/ 8 w 326"/>
                <a:gd name="T63" fmla="*/ 129 h 321"/>
                <a:gd name="T64" fmla="*/ 6 w 326"/>
                <a:gd name="T65" fmla="*/ 142 h 321"/>
                <a:gd name="T66" fmla="*/ 7 w 326"/>
                <a:gd name="T67" fmla="*/ 157 h 321"/>
                <a:gd name="T68" fmla="*/ 0 w 326"/>
                <a:gd name="T69" fmla="*/ 166 h 321"/>
                <a:gd name="T70" fmla="*/ 13 w 326"/>
                <a:gd name="T71" fmla="*/ 184 h 321"/>
                <a:gd name="T72" fmla="*/ 13 w 326"/>
                <a:gd name="T73" fmla="*/ 194 h 321"/>
                <a:gd name="T74" fmla="*/ 21 w 326"/>
                <a:gd name="T75" fmla="*/ 207 h 321"/>
                <a:gd name="T76" fmla="*/ 31 w 326"/>
                <a:gd name="T77" fmla="*/ 204 h 321"/>
                <a:gd name="T78" fmla="*/ 47 w 326"/>
                <a:gd name="T79" fmla="*/ 214 h 321"/>
                <a:gd name="T80" fmla="*/ 56 w 326"/>
                <a:gd name="T81" fmla="*/ 229 h 321"/>
                <a:gd name="T82" fmla="*/ 89 w 326"/>
                <a:gd name="T83" fmla="*/ 239 h 321"/>
                <a:gd name="T84" fmla="*/ 101 w 326"/>
                <a:gd name="T85" fmla="*/ 252 h 321"/>
                <a:gd name="T86" fmla="*/ 115 w 326"/>
                <a:gd name="T87" fmla="*/ 244 h 321"/>
                <a:gd name="T88" fmla="*/ 135 w 326"/>
                <a:gd name="T89" fmla="*/ 231 h 321"/>
                <a:gd name="T90" fmla="*/ 218 w 326"/>
                <a:gd name="T91" fmla="*/ 277 h 321"/>
                <a:gd name="T92" fmla="*/ 302 w 326"/>
                <a:gd name="T93" fmla="*/ 321 h 321"/>
                <a:gd name="T94" fmla="*/ 302 w 326"/>
                <a:gd name="T95" fmla="*/ 312 h 321"/>
                <a:gd name="T96" fmla="*/ 326 w 326"/>
                <a:gd name="T97" fmla="*/ 312 h 321"/>
                <a:gd name="T98" fmla="*/ 324 w 326"/>
                <a:gd name="T99" fmla="*/ 264 h 321"/>
                <a:gd name="T100" fmla="*/ 320 w 326"/>
                <a:gd name="T101" fmla="*/ 177 h 321"/>
                <a:gd name="T102" fmla="*/ 316 w 326"/>
                <a:gd name="T103" fmla="*/ 92 h 321"/>
                <a:gd name="T104" fmla="*/ 308 w 326"/>
                <a:gd name="T105" fmla="*/ 73 h 321"/>
                <a:gd name="T106" fmla="*/ 312 w 326"/>
                <a:gd name="T107" fmla="*/ 58 h 321"/>
                <a:gd name="T108" fmla="*/ 308 w 326"/>
                <a:gd name="T109" fmla="*/ 49 h 321"/>
                <a:gd name="T110" fmla="*/ 315 w 326"/>
                <a:gd name="T111" fmla="*/ 38 h 321"/>
                <a:gd name="T112" fmla="*/ 315 w 326"/>
                <a:gd name="T113" fmla="*/ 38 h 3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6" h="321">
                  <a:moveTo>
                    <a:pt x="315" y="38"/>
                  </a:moveTo>
                  <a:lnTo>
                    <a:pt x="309" y="29"/>
                  </a:lnTo>
                  <a:lnTo>
                    <a:pt x="289" y="26"/>
                  </a:lnTo>
                  <a:lnTo>
                    <a:pt x="282" y="23"/>
                  </a:lnTo>
                  <a:lnTo>
                    <a:pt x="274" y="23"/>
                  </a:lnTo>
                  <a:lnTo>
                    <a:pt x="267" y="11"/>
                  </a:lnTo>
                  <a:lnTo>
                    <a:pt x="240" y="7"/>
                  </a:lnTo>
                  <a:lnTo>
                    <a:pt x="227" y="10"/>
                  </a:lnTo>
                  <a:lnTo>
                    <a:pt x="213" y="21"/>
                  </a:lnTo>
                  <a:lnTo>
                    <a:pt x="207" y="33"/>
                  </a:lnTo>
                  <a:lnTo>
                    <a:pt x="213" y="51"/>
                  </a:lnTo>
                  <a:lnTo>
                    <a:pt x="204" y="62"/>
                  </a:lnTo>
                  <a:lnTo>
                    <a:pt x="194" y="67"/>
                  </a:lnTo>
                  <a:lnTo>
                    <a:pt x="173" y="56"/>
                  </a:lnTo>
                  <a:lnTo>
                    <a:pt x="144" y="46"/>
                  </a:lnTo>
                  <a:lnTo>
                    <a:pt x="125" y="41"/>
                  </a:lnTo>
                  <a:lnTo>
                    <a:pt x="115" y="21"/>
                  </a:lnTo>
                  <a:lnTo>
                    <a:pt x="88" y="10"/>
                  </a:lnTo>
                  <a:lnTo>
                    <a:pt x="71" y="6"/>
                  </a:lnTo>
                  <a:lnTo>
                    <a:pt x="63" y="8"/>
                  </a:lnTo>
                  <a:lnTo>
                    <a:pt x="39" y="0"/>
                  </a:lnTo>
                  <a:lnTo>
                    <a:pt x="39" y="18"/>
                  </a:lnTo>
                  <a:lnTo>
                    <a:pt x="29" y="24"/>
                  </a:lnTo>
                  <a:lnTo>
                    <a:pt x="23" y="32"/>
                  </a:lnTo>
                  <a:lnTo>
                    <a:pt x="9" y="41"/>
                  </a:lnTo>
                  <a:lnTo>
                    <a:pt x="12" y="52"/>
                  </a:lnTo>
                  <a:lnTo>
                    <a:pt x="11" y="62"/>
                  </a:lnTo>
                  <a:lnTo>
                    <a:pt x="1" y="66"/>
                  </a:lnTo>
                  <a:lnTo>
                    <a:pt x="8" y="88"/>
                  </a:lnTo>
                  <a:lnTo>
                    <a:pt x="9" y="99"/>
                  </a:lnTo>
                  <a:lnTo>
                    <a:pt x="7" y="118"/>
                  </a:lnTo>
                  <a:lnTo>
                    <a:pt x="8" y="129"/>
                  </a:lnTo>
                  <a:lnTo>
                    <a:pt x="6" y="142"/>
                  </a:lnTo>
                  <a:lnTo>
                    <a:pt x="7" y="157"/>
                  </a:lnTo>
                  <a:lnTo>
                    <a:pt x="0" y="166"/>
                  </a:lnTo>
                  <a:lnTo>
                    <a:pt x="13" y="184"/>
                  </a:lnTo>
                  <a:lnTo>
                    <a:pt x="13" y="194"/>
                  </a:lnTo>
                  <a:lnTo>
                    <a:pt x="21" y="207"/>
                  </a:lnTo>
                  <a:lnTo>
                    <a:pt x="31" y="204"/>
                  </a:lnTo>
                  <a:lnTo>
                    <a:pt x="47" y="214"/>
                  </a:lnTo>
                  <a:lnTo>
                    <a:pt x="56" y="229"/>
                  </a:lnTo>
                  <a:lnTo>
                    <a:pt x="89" y="239"/>
                  </a:lnTo>
                  <a:lnTo>
                    <a:pt x="101" y="252"/>
                  </a:lnTo>
                  <a:lnTo>
                    <a:pt x="115" y="244"/>
                  </a:lnTo>
                  <a:lnTo>
                    <a:pt x="135" y="231"/>
                  </a:lnTo>
                  <a:lnTo>
                    <a:pt x="218" y="277"/>
                  </a:lnTo>
                  <a:lnTo>
                    <a:pt x="302" y="321"/>
                  </a:lnTo>
                  <a:lnTo>
                    <a:pt x="302" y="312"/>
                  </a:lnTo>
                  <a:lnTo>
                    <a:pt x="326" y="312"/>
                  </a:lnTo>
                  <a:lnTo>
                    <a:pt x="324" y="264"/>
                  </a:lnTo>
                  <a:lnTo>
                    <a:pt x="320" y="177"/>
                  </a:lnTo>
                  <a:lnTo>
                    <a:pt x="316" y="92"/>
                  </a:lnTo>
                  <a:lnTo>
                    <a:pt x="308" y="73"/>
                  </a:lnTo>
                  <a:lnTo>
                    <a:pt x="312" y="58"/>
                  </a:lnTo>
                  <a:lnTo>
                    <a:pt x="308" y="49"/>
                  </a:lnTo>
                  <a:lnTo>
                    <a:pt x="315" y="38"/>
                  </a:lnTo>
                  <a:lnTo>
                    <a:pt x="315"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0" name="Sri Lanka">
              <a:extLst>
                <a:ext uri="{FF2B5EF4-FFF2-40B4-BE49-F238E27FC236}">
                  <a16:creationId xmlns:a16="http://schemas.microsoft.com/office/drawing/2014/main" id="{CF772D5B-300C-4E77-A87F-6ADF894AE130}"/>
                </a:ext>
              </a:extLst>
            </p:cNvPr>
            <p:cNvSpPr>
              <a:spLocks/>
            </p:cNvSpPr>
            <p:nvPr/>
          </p:nvSpPr>
          <p:spPr bwMode="auto">
            <a:xfrm>
              <a:off x="8643144" y="3692298"/>
              <a:ext cx="69850" cy="144463"/>
            </a:xfrm>
            <a:custGeom>
              <a:avLst/>
              <a:gdLst>
                <a:gd name="T0" fmla="*/ 34 w 44"/>
                <a:gd name="T1" fmla="*/ 86 h 91"/>
                <a:gd name="T2" fmla="*/ 42 w 44"/>
                <a:gd name="T3" fmla="*/ 79 h 91"/>
                <a:gd name="T4" fmla="*/ 44 w 44"/>
                <a:gd name="T5" fmla="*/ 54 h 91"/>
                <a:gd name="T6" fmla="*/ 33 w 44"/>
                <a:gd name="T7" fmla="*/ 30 h 91"/>
                <a:gd name="T8" fmla="*/ 22 w 44"/>
                <a:gd name="T9" fmla="*/ 13 h 91"/>
                <a:gd name="T10" fmla="*/ 6 w 44"/>
                <a:gd name="T11" fmla="*/ 0 h 91"/>
                <a:gd name="T12" fmla="*/ 0 w 44"/>
                <a:gd name="T13" fmla="*/ 38 h 91"/>
                <a:gd name="T14" fmla="*/ 5 w 44"/>
                <a:gd name="T15" fmla="*/ 72 h 91"/>
                <a:gd name="T16" fmla="*/ 16 w 44"/>
                <a:gd name="T17" fmla="*/ 91 h 91"/>
                <a:gd name="T18" fmla="*/ 34 w 44"/>
                <a:gd name="T19" fmla="*/ 86 h 91"/>
                <a:gd name="T20" fmla="*/ 34 w 44"/>
                <a:gd name="T21" fmla="*/ 86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4" h="91">
                  <a:moveTo>
                    <a:pt x="34" y="86"/>
                  </a:moveTo>
                  <a:lnTo>
                    <a:pt x="42" y="79"/>
                  </a:lnTo>
                  <a:lnTo>
                    <a:pt x="44" y="54"/>
                  </a:lnTo>
                  <a:lnTo>
                    <a:pt x="33" y="30"/>
                  </a:lnTo>
                  <a:lnTo>
                    <a:pt x="22" y="13"/>
                  </a:lnTo>
                  <a:lnTo>
                    <a:pt x="6" y="0"/>
                  </a:lnTo>
                  <a:lnTo>
                    <a:pt x="0" y="38"/>
                  </a:lnTo>
                  <a:lnTo>
                    <a:pt x="5" y="72"/>
                  </a:lnTo>
                  <a:lnTo>
                    <a:pt x="16" y="91"/>
                  </a:lnTo>
                  <a:lnTo>
                    <a:pt x="34" y="86"/>
                  </a:lnTo>
                  <a:lnTo>
                    <a:pt x="34" y="8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1" name="Lesotho">
              <a:extLst>
                <a:ext uri="{FF2B5EF4-FFF2-40B4-BE49-F238E27FC236}">
                  <a16:creationId xmlns:a16="http://schemas.microsoft.com/office/drawing/2014/main" id="{B8F82431-8697-4F17-B987-F4A8FC3E60BF}"/>
                </a:ext>
              </a:extLst>
            </p:cNvPr>
            <p:cNvSpPr>
              <a:spLocks/>
            </p:cNvSpPr>
            <p:nvPr/>
          </p:nvSpPr>
          <p:spPr bwMode="auto">
            <a:xfrm>
              <a:off x="6860381" y="5143272"/>
              <a:ext cx="74612" cy="74613"/>
            </a:xfrm>
            <a:custGeom>
              <a:avLst/>
              <a:gdLst>
                <a:gd name="T0" fmla="*/ 20 w 47"/>
                <a:gd name="T1" fmla="*/ 45 h 47"/>
                <a:gd name="T2" fmla="*/ 25 w 47"/>
                <a:gd name="T3" fmla="*/ 37 h 47"/>
                <a:gd name="T4" fmla="*/ 36 w 47"/>
                <a:gd name="T5" fmla="*/ 34 h 47"/>
                <a:gd name="T6" fmla="*/ 41 w 47"/>
                <a:gd name="T7" fmla="*/ 26 h 47"/>
                <a:gd name="T8" fmla="*/ 47 w 47"/>
                <a:gd name="T9" fmla="*/ 14 h 47"/>
                <a:gd name="T10" fmla="*/ 41 w 47"/>
                <a:gd name="T11" fmla="*/ 7 h 47"/>
                <a:gd name="T12" fmla="*/ 32 w 47"/>
                <a:gd name="T13" fmla="*/ 0 h 47"/>
                <a:gd name="T14" fmla="*/ 23 w 47"/>
                <a:gd name="T15" fmla="*/ 5 h 47"/>
                <a:gd name="T16" fmla="*/ 11 w 47"/>
                <a:gd name="T17" fmla="*/ 14 h 47"/>
                <a:gd name="T18" fmla="*/ 0 w 47"/>
                <a:gd name="T19" fmla="*/ 29 h 47"/>
                <a:gd name="T20" fmla="*/ 13 w 47"/>
                <a:gd name="T21" fmla="*/ 47 h 47"/>
                <a:gd name="T22" fmla="*/ 20 w 47"/>
                <a:gd name="T23" fmla="*/ 45 h 47"/>
                <a:gd name="T24" fmla="*/ 20 w 47"/>
                <a:gd name="T25" fmla="*/ 45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7" h="47">
                  <a:moveTo>
                    <a:pt x="20" y="45"/>
                  </a:moveTo>
                  <a:lnTo>
                    <a:pt x="25" y="37"/>
                  </a:lnTo>
                  <a:lnTo>
                    <a:pt x="36" y="34"/>
                  </a:lnTo>
                  <a:lnTo>
                    <a:pt x="41" y="26"/>
                  </a:lnTo>
                  <a:lnTo>
                    <a:pt x="47" y="14"/>
                  </a:lnTo>
                  <a:lnTo>
                    <a:pt x="41" y="7"/>
                  </a:lnTo>
                  <a:lnTo>
                    <a:pt x="32" y="0"/>
                  </a:lnTo>
                  <a:lnTo>
                    <a:pt x="23" y="5"/>
                  </a:lnTo>
                  <a:lnTo>
                    <a:pt x="11" y="14"/>
                  </a:lnTo>
                  <a:lnTo>
                    <a:pt x="0" y="29"/>
                  </a:lnTo>
                  <a:lnTo>
                    <a:pt x="13" y="47"/>
                  </a:lnTo>
                  <a:lnTo>
                    <a:pt x="20" y="45"/>
                  </a:lnTo>
                  <a:lnTo>
                    <a:pt x="20" y="4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2" name="Lithuania">
              <a:extLst>
                <a:ext uri="{FF2B5EF4-FFF2-40B4-BE49-F238E27FC236}">
                  <a16:creationId xmlns:a16="http://schemas.microsoft.com/office/drawing/2014/main" id="{061E50BE-8262-4185-9DC0-C2FB452481A4}"/>
                </a:ext>
              </a:extLst>
            </p:cNvPr>
            <p:cNvSpPr>
              <a:spLocks/>
            </p:cNvSpPr>
            <p:nvPr/>
          </p:nvSpPr>
          <p:spPr bwMode="auto">
            <a:xfrm>
              <a:off x="6576219" y="1953987"/>
              <a:ext cx="157162" cy="88900"/>
            </a:xfrm>
            <a:custGeom>
              <a:avLst/>
              <a:gdLst>
                <a:gd name="T0" fmla="*/ 97 w 99"/>
                <a:gd name="T1" fmla="*/ 17 h 56"/>
                <a:gd name="T2" fmla="*/ 78 w 99"/>
                <a:gd name="T3" fmla="*/ 6 h 56"/>
                <a:gd name="T4" fmla="*/ 69 w 99"/>
                <a:gd name="T5" fmla="*/ 5 h 56"/>
                <a:gd name="T6" fmla="*/ 65 w 99"/>
                <a:gd name="T7" fmla="*/ 0 h 56"/>
                <a:gd name="T8" fmla="*/ 48 w 99"/>
                <a:gd name="T9" fmla="*/ 2 h 56"/>
                <a:gd name="T10" fmla="*/ 19 w 99"/>
                <a:gd name="T11" fmla="*/ 1 h 56"/>
                <a:gd name="T12" fmla="*/ 0 w 99"/>
                <a:gd name="T13" fmla="*/ 8 h 56"/>
                <a:gd name="T14" fmla="*/ 7 w 99"/>
                <a:gd name="T15" fmla="*/ 27 h 56"/>
                <a:gd name="T16" fmla="*/ 26 w 99"/>
                <a:gd name="T17" fmla="*/ 30 h 56"/>
                <a:gd name="T18" fmla="*/ 33 w 99"/>
                <a:gd name="T19" fmla="*/ 34 h 56"/>
                <a:gd name="T20" fmla="*/ 33 w 99"/>
                <a:gd name="T21" fmla="*/ 41 h 56"/>
                <a:gd name="T22" fmla="*/ 35 w 99"/>
                <a:gd name="T23" fmla="*/ 46 h 56"/>
                <a:gd name="T24" fmla="*/ 44 w 99"/>
                <a:gd name="T25" fmla="*/ 48 h 56"/>
                <a:gd name="T26" fmla="*/ 50 w 99"/>
                <a:gd name="T27" fmla="*/ 56 h 56"/>
                <a:gd name="T28" fmla="*/ 67 w 99"/>
                <a:gd name="T29" fmla="*/ 56 h 56"/>
                <a:gd name="T30" fmla="*/ 84 w 99"/>
                <a:gd name="T31" fmla="*/ 47 h 56"/>
                <a:gd name="T32" fmla="*/ 86 w 99"/>
                <a:gd name="T33" fmla="*/ 34 h 56"/>
                <a:gd name="T34" fmla="*/ 99 w 99"/>
                <a:gd name="T35" fmla="*/ 27 h 56"/>
                <a:gd name="T36" fmla="*/ 97 w 99"/>
                <a:gd name="T37" fmla="*/ 17 h 56"/>
                <a:gd name="T38" fmla="*/ 97 w 99"/>
                <a:gd name="T39" fmla="*/ 17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9" h="56">
                  <a:moveTo>
                    <a:pt x="97" y="17"/>
                  </a:moveTo>
                  <a:lnTo>
                    <a:pt x="78" y="6"/>
                  </a:lnTo>
                  <a:lnTo>
                    <a:pt x="69" y="5"/>
                  </a:lnTo>
                  <a:lnTo>
                    <a:pt x="65" y="0"/>
                  </a:lnTo>
                  <a:lnTo>
                    <a:pt x="48" y="2"/>
                  </a:lnTo>
                  <a:lnTo>
                    <a:pt x="19" y="1"/>
                  </a:lnTo>
                  <a:lnTo>
                    <a:pt x="0" y="8"/>
                  </a:lnTo>
                  <a:lnTo>
                    <a:pt x="7" y="27"/>
                  </a:lnTo>
                  <a:lnTo>
                    <a:pt x="26" y="30"/>
                  </a:lnTo>
                  <a:lnTo>
                    <a:pt x="33" y="34"/>
                  </a:lnTo>
                  <a:lnTo>
                    <a:pt x="33" y="41"/>
                  </a:lnTo>
                  <a:lnTo>
                    <a:pt x="35" y="46"/>
                  </a:lnTo>
                  <a:lnTo>
                    <a:pt x="44" y="48"/>
                  </a:lnTo>
                  <a:lnTo>
                    <a:pt x="50" y="56"/>
                  </a:lnTo>
                  <a:lnTo>
                    <a:pt x="67" y="56"/>
                  </a:lnTo>
                  <a:lnTo>
                    <a:pt x="84" y="47"/>
                  </a:lnTo>
                  <a:lnTo>
                    <a:pt x="86" y="34"/>
                  </a:lnTo>
                  <a:lnTo>
                    <a:pt x="99" y="27"/>
                  </a:lnTo>
                  <a:lnTo>
                    <a:pt x="97" y="17"/>
                  </a:lnTo>
                  <a:lnTo>
                    <a:pt x="97"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3" name="Luxembourg">
              <a:extLst>
                <a:ext uri="{FF2B5EF4-FFF2-40B4-BE49-F238E27FC236}">
                  <a16:creationId xmlns:a16="http://schemas.microsoft.com/office/drawing/2014/main" id="{0ED5905E-8F1E-4DFD-A757-EA4BCE29CC58}"/>
                </a:ext>
              </a:extLst>
            </p:cNvPr>
            <p:cNvSpPr>
              <a:spLocks/>
            </p:cNvSpPr>
            <p:nvPr/>
          </p:nvSpPr>
          <p:spPr bwMode="auto">
            <a:xfrm>
              <a:off x="6160294" y="2179411"/>
              <a:ext cx="15875" cy="23813"/>
            </a:xfrm>
            <a:custGeom>
              <a:avLst/>
              <a:gdLst>
                <a:gd name="T0" fmla="*/ 9 w 10"/>
                <a:gd name="T1" fmla="*/ 15 h 15"/>
                <a:gd name="T2" fmla="*/ 10 w 10"/>
                <a:gd name="T3" fmla="*/ 5 h 15"/>
                <a:gd name="T4" fmla="*/ 7 w 10"/>
                <a:gd name="T5" fmla="*/ 0 h 15"/>
                <a:gd name="T6" fmla="*/ 2 w 10"/>
                <a:gd name="T7" fmla="*/ 1 h 15"/>
                <a:gd name="T8" fmla="*/ 0 w 10"/>
                <a:gd name="T9" fmla="*/ 14 h 15"/>
                <a:gd name="T10" fmla="*/ 4 w 10"/>
                <a:gd name="T11" fmla="*/ 15 h 15"/>
                <a:gd name="T12" fmla="*/ 9 w 10"/>
                <a:gd name="T13" fmla="*/ 15 h 15"/>
              </a:gdLst>
              <a:ahLst/>
              <a:cxnLst>
                <a:cxn ang="0">
                  <a:pos x="T0" y="T1"/>
                </a:cxn>
                <a:cxn ang="0">
                  <a:pos x="T2" y="T3"/>
                </a:cxn>
                <a:cxn ang="0">
                  <a:pos x="T4" y="T5"/>
                </a:cxn>
                <a:cxn ang="0">
                  <a:pos x="T6" y="T7"/>
                </a:cxn>
                <a:cxn ang="0">
                  <a:pos x="T8" y="T9"/>
                </a:cxn>
                <a:cxn ang="0">
                  <a:pos x="T10" y="T11"/>
                </a:cxn>
                <a:cxn ang="0">
                  <a:pos x="T12" y="T13"/>
                </a:cxn>
              </a:cxnLst>
              <a:rect l="0" t="0" r="r" b="b"/>
              <a:pathLst>
                <a:path w="10" h="15">
                  <a:moveTo>
                    <a:pt x="9" y="15"/>
                  </a:moveTo>
                  <a:lnTo>
                    <a:pt x="10" y="5"/>
                  </a:lnTo>
                  <a:lnTo>
                    <a:pt x="7" y="0"/>
                  </a:lnTo>
                  <a:lnTo>
                    <a:pt x="2" y="1"/>
                  </a:lnTo>
                  <a:lnTo>
                    <a:pt x="0" y="14"/>
                  </a:lnTo>
                  <a:lnTo>
                    <a:pt x="4" y="15"/>
                  </a:lnTo>
                  <a:lnTo>
                    <a:pt x="9"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4" name="Latvia">
              <a:extLst>
                <a:ext uri="{FF2B5EF4-FFF2-40B4-BE49-F238E27FC236}">
                  <a16:creationId xmlns:a16="http://schemas.microsoft.com/office/drawing/2014/main" id="{7CB75E75-A9B1-47D6-AADB-6BC575CD1469}"/>
                </a:ext>
              </a:extLst>
            </p:cNvPr>
            <p:cNvSpPr>
              <a:spLocks/>
            </p:cNvSpPr>
            <p:nvPr/>
          </p:nvSpPr>
          <p:spPr bwMode="auto">
            <a:xfrm>
              <a:off x="6574631" y="1898423"/>
              <a:ext cx="196850" cy="82550"/>
            </a:xfrm>
            <a:custGeom>
              <a:avLst/>
              <a:gdLst>
                <a:gd name="T0" fmla="*/ 103 w 124"/>
                <a:gd name="T1" fmla="*/ 10 h 52"/>
                <a:gd name="T2" fmla="*/ 89 w 124"/>
                <a:gd name="T3" fmla="*/ 10 h 52"/>
                <a:gd name="T4" fmla="*/ 73 w 124"/>
                <a:gd name="T5" fmla="*/ 3 h 52"/>
                <a:gd name="T6" fmla="*/ 65 w 124"/>
                <a:gd name="T7" fmla="*/ 0 h 52"/>
                <a:gd name="T8" fmla="*/ 51 w 124"/>
                <a:gd name="T9" fmla="*/ 4 h 52"/>
                <a:gd name="T10" fmla="*/ 51 w 124"/>
                <a:gd name="T11" fmla="*/ 21 h 52"/>
                <a:gd name="T12" fmla="*/ 37 w 124"/>
                <a:gd name="T13" fmla="*/ 22 h 52"/>
                <a:gd name="T14" fmla="*/ 21 w 124"/>
                <a:gd name="T15" fmla="*/ 5 h 52"/>
                <a:gd name="T16" fmla="*/ 6 w 124"/>
                <a:gd name="T17" fmla="*/ 12 h 52"/>
                <a:gd name="T18" fmla="*/ 0 w 124"/>
                <a:gd name="T19" fmla="*/ 26 h 52"/>
                <a:gd name="T20" fmla="*/ 1 w 124"/>
                <a:gd name="T21" fmla="*/ 43 h 52"/>
                <a:gd name="T22" fmla="*/ 20 w 124"/>
                <a:gd name="T23" fmla="*/ 36 h 52"/>
                <a:gd name="T24" fmla="*/ 49 w 124"/>
                <a:gd name="T25" fmla="*/ 37 h 52"/>
                <a:gd name="T26" fmla="*/ 66 w 124"/>
                <a:gd name="T27" fmla="*/ 35 h 52"/>
                <a:gd name="T28" fmla="*/ 70 w 124"/>
                <a:gd name="T29" fmla="*/ 40 h 52"/>
                <a:gd name="T30" fmla="*/ 79 w 124"/>
                <a:gd name="T31" fmla="*/ 41 h 52"/>
                <a:gd name="T32" fmla="*/ 98 w 124"/>
                <a:gd name="T33" fmla="*/ 52 h 52"/>
                <a:gd name="T34" fmla="*/ 107 w 124"/>
                <a:gd name="T35" fmla="*/ 49 h 52"/>
                <a:gd name="T36" fmla="*/ 124 w 124"/>
                <a:gd name="T37" fmla="*/ 40 h 52"/>
                <a:gd name="T38" fmla="*/ 116 w 124"/>
                <a:gd name="T39" fmla="*/ 26 h 52"/>
                <a:gd name="T40" fmla="*/ 113 w 124"/>
                <a:gd name="T41" fmla="*/ 16 h 52"/>
                <a:gd name="T42" fmla="*/ 103 w 124"/>
                <a:gd name="T43" fmla="*/ 10 h 52"/>
                <a:gd name="T44" fmla="*/ 103 w 124"/>
                <a:gd name="T45" fmla="*/ 1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24" h="52">
                  <a:moveTo>
                    <a:pt x="103" y="10"/>
                  </a:moveTo>
                  <a:lnTo>
                    <a:pt x="89" y="10"/>
                  </a:lnTo>
                  <a:lnTo>
                    <a:pt x="73" y="3"/>
                  </a:lnTo>
                  <a:lnTo>
                    <a:pt x="65" y="0"/>
                  </a:lnTo>
                  <a:lnTo>
                    <a:pt x="51" y="4"/>
                  </a:lnTo>
                  <a:lnTo>
                    <a:pt x="51" y="21"/>
                  </a:lnTo>
                  <a:lnTo>
                    <a:pt x="37" y="22"/>
                  </a:lnTo>
                  <a:lnTo>
                    <a:pt x="21" y="5"/>
                  </a:lnTo>
                  <a:lnTo>
                    <a:pt x="6" y="12"/>
                  </a:lnTo>
                  <a:lnTo>
                    <a:pt x="0" y="26"/>
                  </a:lnTo>
                  <a:lnTo>
                    <a:pt x="1" y="43"/>
                  </a:lnTo>
                  <a:lnTo>
                    <a:pt x="20" y="36"/>
                  </a:lnTo>
                  <a:lnTo>
                    <a:pt x="49" y="37"/>
                  </a:lnTo>
                  <a:lnTo>
                    <a:pt x="66" y="35"/>
                  </a:lnTo>
                  <a:lnTo>
                    <a:pt x="70" y="40"/>
                  </a:lnTo>
                  <a:lnTo>
                    <a:pt x="79" y="41"/>
                  </a:lnTo>
                  <a:lnTo>
                    <a:pt x="98" y="52"/>
                  </a:lnTo>
                  <a:lnTo>
                    <a:pt x="107" y="49"/>
                  </a:lnTo>
                  <a:lnTo>
                    <a:pt x="124" y="40"/>
                  </a:lnTo>
                  <a:lnTo>
                    <a:pt x="116" y="26"/>
                  </a:lnTo>
                  <a:lnTo>
                    <a:pt x="113" y="16"/>
                  </a:lnTo>
                  <a:lnTo>
                    <a:pt x="103" y="10"/>
                  </a:lnTo>
                  <a:lnTo>
                    <a:pt x="103"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5" name="Marocco">
              <a:extLst>
                <a:ext uri="{FF2B5EF4-FFF2-40B4-BE49-F238E27FC236}">
                  <a16:creationId xmlns:a16="http://schemas.microsoft.com/office/drawing/2014/main" id="{4605B5D5-950C-4889-ABCA-2050A5BF0C41}"/>
                </a:ext>
              </a:extLst>
            </p:cNvPr>
            <p:cNvSpPr>
              <a:spLocks/>
            </p:cNvSpPr>
            <p:nvPr/>
          </p:nvSpPr>
          <p:spPr bwMode="auto">
            <a:xfrm>
              <a:off x="5439569" y="2712811"/>
              <a:ext cx="520700" cy="541338"/>
            </a:xfrm>
            <a:custGeom>
              <a:avLst/>
              <a:gdLst>
                <a:gd name="T0" fmla="*/ 299 w 328"/>
                <a:gd name="T1" fmla="*/ 14 h 341"/>
                <a:gd name="T2" fmla="*/ 260 w 328"/>
                <a:gd name="T3" fmla="*/ 10 h 341"/>
                <a:gd name="T4" fmla="*/ 234 w 328"/>
                <a:gd name="T5" fmla="*/ 0 h 341"/>
                <a:gd name="T6" fmla="*/ 213 w 328"/>
                <a:gd name="T7" fmla="*/ 40 h 341"/>
                <a:gd name="T8" fmla="*/ 178 w 328"/>
                <a:gd name="T9" fmla="*/ 60 h 341"/>
                <a:gd name="T10" fmla="*/ 161 w 328"/>
                <a:gd name="T11" fmla="*/ 89 h 341"/>
                <a:gd name="T12" fmla="*/ 157 w 328"/>
                <a:gd name="T13" fmla="*/ 139 h 341"/>
                <a:gd name="T14" fmla="*/ 130 w 328"/>
                <a:gd name="T15" fmla="*/ 165 h 341"/>
                <a:gd name="T16" fmla="*/ 95 w 328"/>
                <a:gd name="T17" fmla="*/ 184 h 341"/>
                <a:gd name="T18" fmla="*/ 83 w 328"/>
                <a:gd name="T19" fmla="*/ 193 h 341"/>
                <a:gd name="T20" fmla="*/ 56 w 328"/>
                <a:gd name="T21" fmla="*/ 226 h 341"/>
                <a:gd name="T22" fmla="*/ 48 w 328"/>
                <a:gd name="T23" fmla="*/ 254 h 341"/>
                <a:gd name="T24" fmla="*/ 35 w 328"/>
                <a:gd name="T25" fmla="*/ 271 h 341"/>
                <a:gd name="T26" fmla="*/ 15 w 328"/>
                <a:gd name="T27" fmla="*/ 303 h 341"/>
                <a:gd name="T28" fmla="*/ 10 w 328"/>
                <a:gd name="T29" fmla="*/ 324 h 341"/>
                <a:gd name="T30" fmla="*/ 0 w 328"/>
                <a:gd name="T31" fmla="*/ 341 h 341"/>
                <a:gd name="T32" fmla="*/ 47 w 328"/>
                <a:gd name="T33" fmla="*/ 340 h 341"/>
                <a:gd name="T34" fmla="*/ 58 w 328"/>
                <a:gd name="T35" fmla="*/ 320 h 341"/>
                <a:gd name="T36" fmla="*/ 95 w 328"/>
                <a:gd name="T37" fmla="*/ 261 h 341"/>
                <a:gd name="T38" fmla="*/ 111 w 328"/>
                <a:gd name="T39" fmla="*/ 229 h 341"/>
                <a:gd name="T40" fmla="*/ 136 w 328"/>
                <a:gd name="T41" fmla="*/ 209 h 341"/>
                <a:gd name="T42" fmla="*/ 153 w 328"/>
                <a:gd name="T43" fmla="*/ 212 h 341"/>
                <a:gd name="T44" fmla="*/ 172 w 328"/>
                <a:gd name="T45" fmla="*/ 205 h 341"/>
                <a:gd name="T46" fmla="*/ 171 w 328"/>
                <a:gd name="T47" fmla="*/ 193 h 341"/>
                <a:gd name="T48" fmla="*/ 175 w 328"/>
                <a:gd name="T49" fmla="*/ 165 h 341"/>
                <a:gd name="T50" fmla="*/ 228 w 328"/>
                <a:gd name="T51" fmla="*/ 144 h 341"/>
                <a:gd name="T52" fmla="*/ 252 w 328"/>
                <a:gd name="T53" fmla="*/ 125 h 341"/>
                <a:gd name="T54" fmla="*/ 277 w 328"/>
                <a:gd name="T55" fmla="*/ 99 h 341"/>
                <a:gd name="T56" fmla="*/ 298 w 328"/>
                <a:gd name="T57" fmla="*/ 87 h 341"/>
                <a:gd name="T58" fmla="*/ 328 w 328"/>
                <a:gd name="T59" fmla="*/ 74 h 341"/>
                <a:gd name="T60" fmla="*/ 316 w 328"/>
                <a:gd name="T61" fmla="*/ 45 h 341"/>
                <a:gd name="T62" fmla="*/ 307 w 328"/>
                <a:gd name="T63" fmla="*/ 15 h 3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8" h="341">
                  <a:moveTo>
                    <a:pt x="307" y="15"/>
                  </a:moveTo>
                  <a:lnTo>
                    <a:pt x="299" y="14"/>
                  </a:lnTo>
                  <a:lnTo>
                    <a:pt x="279" y="9"/>
                  </a:lnTo>
                  <a:lnTo>
                    <a:pt x="260" y="10"/>
                  </a:lnTo>
                  <a:lnTo>
                    <a:pt x="248" y="0"/>
                  </a:lnTo>
                  <a:lnTo>
                    <a:pt x="234" y="0"/>
                  </a:lnTo>
                  <a:lnTo>
                    <a:pt x="226" y="15"/>
                  </a:lnTo>
                  <a:lnTo>
                    <a:pt x="213" y="40"/>
                  </a:lnTo>
                  <a:lnTo>
                    <a:pt x="198" y="49"/>
                  </a:lnTo>
                  <a:lnTo>
                    <a:pt x="178" y="60"/>
                  </a:lnTo>
                  <a:lnTo>
                    <a:pt x="165" y="76"/>
                  </a:lnTo>
                  <a:lnTo>
                    <a:pt x="161" y="89"/>
                  </a:lnTo>
                  <a:lnTo>
                    <a:pt x="153" y="109"/>
                  </a:lnTo>
                  <a:lnTo>
                    <a:pt x="157" y="139"/>
                  </a:lnTo>
                  <a:lnTo>
                    <a:pt x="140" y="158"/>
                  </a:lnTo>
                  <a:lnTo>
                    <a:pt x="130" y="165"/>
                  </a:lnTo>
                  <a:lnTo>
                    <a:pt x="113" y="181"/>
                  </a:lnTo>
                  <a:lnTo>
                    <a:pt x="95" y="184"/>
                  </a:lnTo>
                  <a:lnTo>
                    <a:pt x="84" y="193"/>
                  </a:lnTo>
                  <a:lnTo>
                    <a:pt x="83" y="193"/>
                  </a:lnTo>
                  <a:lnTo>
                    <a:pt x="70" y="217"/>
                  </a:lnTo>
                  <a:lnTo>
                    <a:pt x="56" y="226"/>
                  </a:lnTo>
                  <a:lnTo>
                    <a:pt x="49" y="241"/>
                  </a:lnTo>
                  <a:lnTo>
                    <a:pt x="48" y="254"/>
                  </a:lnTo>
                  <a:lnTo>
                    <a:pt x="41" y="268"/>
                  </a:lnTo>
                  <a:lnTo>
                    <a:pt x="35" y="271"/>
                  </a:lnTo>
                  <a:lnTo>
                    <a:pt x="23" y="286"/>
                  </a:lnTo>
                  <a:lnTo>
                    <a:pt x="15" y="303"/>
                  </a:lnTo>
                  <a:lnTo>
                    <a:pt x="17" y="312"/>
                  </a:lnTo>
                  <a:lnTo>
                    <a:pt x="10" y="324"/>
                  </a:lnTo>
                  <a:lnTo>
                    <a:pt x="1" y="330"/>
                  </a:lnTo>
                  <a:lnTo>
                    <a:pt x="0" y="341"/>
                  </a:lnTo>
                  <a:lnTo>
                    <a:pt x="0" y="341"/>
                  </a:lnTo>
                  <a:lnTo>
                    <a:pt x="47" y="340"/>
                  </a:lnTo>
                  <a:lnTo>
                    <a:pt x="50" y="330"/>
                  </a:lnTo>
                  <a:lnTo>
                    <a:pt x="58" y="320"/>
                  </a:lnTo>
                  <a:lnTo>
                    <a:pt x="66" y="287"/>
                  </a:lnTo>
                  <a:lnTo>
                    <a:pt x="95" y="261"/>
                  </a:lnTo>
                  <a:lnTo>
                    <a:pt x="105" y="231"/>
                  </a:lnTo>
                  <a:lnTo>
                    <a:pt x="111" y="229"/>
                  </a:lnTo>
                  <a:lnTo>
                    <a:pt x="119" y="211"/>
                  </a:lnTo>
                  <a:lnTo>
                    <a:pt x="136" y="209"/>
                  </a:lnTo>
                  <a:lnTo>
                    <a:pt x="143" y="212"/>
                  </a:lnTo>
                  <a:lnTo>
                    <a:pt x="153" y="212"/>
                  </a:lnTo>
                  <a:lnTo>
                    <a:pt x="159" y="206"/>
                  </a:lnTo>
                  <a:lnTo>
                    <a:pt x="172" y="205"/>
                  </a:lnTo>
                  <a:lnTo>
                    <a:pt x="171" y="193"/>
                  </a:lnTo>
                  <a:lnTo>
                    <a:pt x="171" y="193"/>
                  </a:lnTo>
                  <a:lnTo>
                    <a:pt x="174" y="193"/>
                  </a:lnTo>
                  <a:lnTo>
                    <a:pt x="175" y="165"/>
                  </a:lnTo>
                  <a:lnTo>
                    <a:pt x="208" y="147"/>
                  </a:lnTo>
                  <a:lnTo>
                    <a:pt x="228" y="144"/>
                  </a:lnTo>
                  <a:lnTo>
                    <a:pt x="245" y="137"/>
                  </a:lnTo>
                  <a:lnTo>
                    <a:pt x="252" y="125"/>
                  </a:lnTo>
                  <a:lnTo>
                    <a:pt x="276" y="115"/>
                  </a:lnTo>
                  <a:lnTo>
                    <a:pt x="277" y="99"/>
                  </a:lnTo>
                  <a:lnTo>
                    <a:pt x="289" y="97"/>
                  </a:lnTo>
                  <a:lnTo>
                    <a:pt x="298" y="87"/>
                  </a:lnTo>
                  <a:lnTo>
                    <a:pt x="324" y="84"/>
                  </a:lnTo>
                  <a:lnTo>
                    <a:pt x="328" y="74"/>
                  </a:lnTo>
                  <a:lnTo>
                    <a:pt x="322" y="69"/>
                  </a:lnTo>
                  <a:lnTo>
                    <a:pt x="316" y="45"/>
                  </a:lnTo>
                  <a:lnTo>
                    <a:pt x="315" y="30"/>
                  </a:lnTo>
                  <a:lnTo>
                    <a:pt x="307" y="15"/>
                  </a:lnTo>
                  <a:lnTo>
                    <a:pt x="307" y="1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6" name="Moldova">
              <a:extLst>
                <a:ext uri="{FF2B5EF4-FFF2-40B4-BE49-F238E27FC236}">
                  <a16:creationId xmlns:a16="http://schemas.microsoft.com/office/drawing/2014/main" id="{F841D913-7905-4F48-9B4B-DD3A6861B8CA}"/>
                </a:ext>
              </a:extLst>
            </p:cNvPr>
            <p:cNvSpPr>
              <a:spLocks/>
            </p:cNvSpPr>
            <p:nvPr/>
          </p:nvSpPr>
          <p:spPr bwMode="auto">
            <a:xfrm>
              <a:off x="6774656" y="2239736"/>
              <a:ext cx="109537" cy="109538"/>
            </a:xfrm>
            <a:custGeom>
              <a:avLst/>
              <a:gdLst>
                <a:gd name="T0" fmla="*/ 39 w 69"/>
                <a:gd name="T1" fmla="*/ 69 h 69"/>
                <a:gd name="T2" fmla="*/ 43 w 69"/>
                <a:gd name="T3" fmla="*/ 66 h 69"/>
                <a:gd name="T4" fmla="*/ 45 w 69"/>
                <a:gd name="T5" fmla="*/ 59 h 69"/>
                <a:gd name="T6" fmla="*/ 49 w 69"/>
                <a:gd name="T7" fmla="*/ 51 h 69"/>
                <a:gd name="T8" fmla="*/ 47 w 69"/>
                <a:gd name="T9" fmla="*/ 47 h 69"/>
                <a:gd name="T10" fmla="*/ 51 w 69"/>
                <a:gd name="T11" fmla="*/ 46 h 69"/>
                <a:gd name="T12" fmla="*/ 54 w 69"/>
                <a:gd name="T13" fmla="*/ 48 h 69"/>
                <a:gd name="T14" fmla="*/ 65 w 69"/>
                <a:gd name="T15" fmla="*/ 49 h 69"/>
                <a:gd name="T16" fmla="*/ 69 w 69"/>
                <a:gd name="T17" fmla="*/ 47 h 69"/>
                <a:gd name="T18" fmla="*/ 65 w 69"/>
                <a:gd name="T19" fmla="*/ 46 h 69"/>
                <a:gd name="T20" fmla="*/ 66 w 69"/>
                <a:gd name="T21" fmla="*/ 42 h 69"/>
                <a:gd name="T22" fmla="*/ 58 w 69"/>
                <a:gd name="T23" fmla="*/ 36 h 69"/>
                <a:gd name="T24" fmla="*/ 55 w 69"/>
                <a:gd name="T25" fmla="*/ 26 h 69"/>
                <a:gd name="T26" fmla="*/ 47 w 69"/>
                <a:gd name="T27" fmla="*/ 22 h 69"/>
                <a:gd name="T28" fmla="*/ 47 w 69"/>
                <a:gd name="T29" fmla="*/ 14 h 69"/>
                <a:gd name="T30" fmla="*/ 38 w 69"/>
                <a:gd name="T31" fmla="*/ 8 h 69"/>
                <a:gd name="T32" fmla="*/ 30 w 69"/>
                <a:gd name="T33" fmla="*/ 7 h 69"/>
                <a:gd name="T34" fmla="*/ 16 w 69"/>
                <a:gd name="T35" fmla="*/ 0 h 69"/>
                <a:gd name="T36" fmla="*/ 4 w 69"/>
                <a:gd name="T37" fmla="*/ 3 h 69"/>
                <a:gd name="T38" fmla="*/ 0 w 69"/>
                <a:gd name="T39" fmla="*/ 5 h 69"/>
                <a:gd name="T40" fmla="*/ 6 w 69"/>
                <a:gd name="T41" fmla="*/ 8 h 69"/>
                <a:gd name="T42" fmla="*/ 13 w 69"/>
                <a:gd name="T43" fmla="*/ 15 h 69"/>
                <a:gd name="T44" fmla="*/ 20 w 69"/>
                <a:gd name="T45" fmla="*/ 25 h 69"/>
                <a:gd name="T46" fmla="*/ 32 w 69"/>
                <a:gd name="T47" fmla="*/ 38 h 69"/>
                <a:gd name="T48" fmla="*/ 35 w 69"/>
                <a:gd name="T49" fmla="*/ 48 h 69"/>
                <a:gd name="T50" fmla="*/ 34 w 69"/>
                <a:gd name="T51" fmla="*/ 59 h 69"/>
                <a:gd name="T52" fmla="*/ 39 w 69"/>
                <a:gd name="T53" fmla="*/ 69 h 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69" h="69">
                  <a:moveTo>
                    <a:pt x="39" y="69"/>
                  </a:moveTo>
                  <a:lnTo>
                    <a:pt x="43" y="66"/>
                  </a:lnTo>
                  <a:lnTo>
                    <a:pt x="45" y="59"/>
                  </a:lnTo>
                  <a:lnTo>
                    <a:pt x="49" y="51"/>
                  </a:lnTo>
                  <a:lnTo>
                    <a:pt x="47" y="47"/>
                  </a:lnTo>
                  <a:lnTo>
                    <a:pt x="51" y="46"/>
                  </a:lnTo>
                  <a:lnTo>
                    <a:pt x="54" y="48"/>
                  </a:lnTo>
                  <a:lnTo>
                    <a:pt x="65" y="49"/>
                  </a:lnTo>
                  <a:lnTo>
                    <a:pt x="69" y="47"/>
                  </a:lnTo>
                  <a:lnTo>
                    <a:pt x="65" y="46"/>
                  </a:lnTo>
                  <a:lnTo>
                    <a:pt x="66" y="42"/>
                  </a:lnTo>
                  <a:lnTo>
                    <a:pt x="58" y="36"/>
                  </a:lnTo>
                  <a:lnTo>
                    <a:pt x="55" y="26"/>
                  </a:lnTo>
                  <a:lnTo>
                    <a:pt x="47" y="22"/>
                  </a:lnTo>
                  <a:lnTo>
                    <a:pt x="47" y="14"/>
                  </a:lnTo>
                  <a:lnTo>
                    <a:pt x="38" y="8"/>
                  </a:lnTo>
                  <a:lnTo>
                    <a:pt x="30" y="7"/>
                  </a:lnTo>
                  <a:lnTo>
                    <a:pt x="16" y="0"/>
                  </a:lnTo>
                  <a:lnTo>
                    <a:pt x="4" y="3"/>
                  </a:lnTo>
                  <a:lnTo>
                    <a:pt x="0" y="5"/>
                  </a:lnTo>
                  <a:lnTo>
                    <a:pt x="6" y="8"/>
                  </a:lnTo>
                  <a:lnTo>
                    <a:pt x="13" y="15"/>
                  </a:lnTo>
                  <a:lnTo>
                    <a:pt x="20" y="25"/>
                  </a:lnTo>
                  <a:lnTo>
                    <a:pt x="32" y="38"/>
                  </a:lnTo>
                  <a:lnTo>
                    <a:pt x="35" y="48"/>
                  </a:lnTo>
                  <a:lnTo>
                    <a:pt x="34" y="59"/>
                  </a:lnTo>
                  <a:lnTo>
                    <a:pt x="39" y="6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7" name="Madagascar">
              <a:extLst>
                <a:ext uri="{FF2B5EF4-FFF2-40B4-BE49-F238E27FC236}">
                  <a16:creationId xmlns:a16="http://schemas.microsoft.com/office/drawing/2014/main" id="{806676B5-4B77-40F9-A7AD-A10E50EA7A7A}"/>
                </a:ext>
              </a:extLst>
            </p:cNvPr>
            <p:cNvSpPr>
              <a:spLocks/>
            </p:cNvSpPr>
            <p:nvPr/>
          </p:nvSpPr>
          <p:spPr bwMode="auto">
            <a:xfrm>
              <a:off x="7404894" y="4516211"/>
              <a:ext cx="255587" cy="511175"/>
            </a:xfrm>
            <a:custGeom>
              <a:avLst/>
              <a:gdLst>
                <a:gd name="T0" fmla="*/ 154 w 161"/>
                <a:gd name="T1" fmla="*/ 36 h 322"/>
                <a:gd name="T2" fmla="*/ 150 w 161"/>
                <a:gd name="T3" fmla="*/ 21 h 322"/>
                <a:gd name="T4" fmla="*/ 145 w 161"/>
                <a:gd name="T5" fmla="*/ 10 h 322"/>
                <a:gd name="T6" fmla="*/ 139 w 161"/>
                <a:gd name="T7" fmla="*/ 0 h 322"/>
                <a:gd name="T8" fmla="*/ 131 w 161"/>
                <a:gd name="T9" fmla="*/ 10 h 322"/>
                <a:gd name="T10" fmla="*/ 129 w 161"/>
                <a:gd name="T11" fmla="*/ 25 h 322"/>
                <a:gd name="T12" fmla="*/ 117 w 161"/>
                <a:gd name="T13" fmla="*/ 42 h 322"/>
                <a:gd name="T14" fmla="*/ 109 w 161"/>
                <a:gd name="T15" fmla="*/ 38 h 322"/>
                <a:gd name="T16" fmla="*/ 111 w 161"/>
                <a:gd name="T17" fmla="*/ 49 h 322"/>
                <a:gd name="T18" fmla="*/ 104 w 161"/>
                <a:gd name="T19" fmla="*/ 61 h 322"/>
                <a:gd name="T20" fmla="*/ 86 w 161"/>
                <a:gd name="T21" fmla="*/ 76 h 322"/>
                <a:gd name="T22" fmla="*/ 73 w 161"/>
                <a:gd name="T23" fmla="*/ 89 h 322"/>
                <a:gd name="T24" fmla="*/ 65 w 161"/>
                <a:gd name="T25" fmla="*/ 89 h 322"/>
                <a:gd name="T26" fmla="*/ 56 w 161"/>
                <a:gd name="T27" fmla="*/ 93 h 322"/>
                <a:gd name="T28" fmla="*/ 45 w 161"/>
                <a:gd name="T29" fmla="*/ 98 h 322"/>
                <a:gd name="T30" fmla="*/ 34 w 161"/>
                <a:gd name="T31" fmla="*/ 99 h 322"/>
                <a:gd name="T32" fmla="*/ 30 w 161"/>
                <a:gd name="T33" fmla="*/ 115 h 322"/>
                <a:gd name="T34" fmla="*/ 23 w 161"/>
                <a:gd name="T35" fmla="*/ 128 h 322"/>
                <a:gd name="T36" fmla="*/ 23 w 161"/>
                <a:gd name="T37" fmla="*/ 149 h 322"/>
                <a:gd name="T38" fmla="*/ 26 w 161"/>
                <a:gd name="T39" fmla="*/ 164 h 322"/>
                <a:gd name="T40" fmla="*/ 30 w 161"/>
                <a:gd name="T41" fmla="*/ 176 h 322"/>
                <a:gd name="T42" fmla="*/ 26 w 161"/>
                <a:gd name="T43" fmla="*/ 191 h 322"/>
                <a:gd name="T44" fmla="*/ 16 w 161"/>
                <a:gd name="T45" fmla="*/ 209 h 322"/>
                <a:gd name="T46" fmla="*/ 15 w 161"/>
                <a:gd name="T47" fmla="*/ 217 h 322"/>
                <a:gd name="T48" fmla="*/ 6 w 161"/>
                <a:gd name="T49" fmla="*/ 221 h 322"/>
                <a:gd name="T50" fmla="*/ 0 w 161"/>
                <a:gd name="T51" fmla="*/ 238 h 322"/>
                <a:gd name="T52" fmla="*/ 1 w 161"/>
                <a:gd name="T53" fmla="*/ 255 h 322"/>
                <a:gd name="T54" fmla="*/ 8 w 161"/>
                <a:gd name="T55" fmla="*/ 274 h 322"/>
                <a:gd name="T56" fmla="*/ 7 w 161"/>
                <a:gd name="T57" fmla="*/ 295 h 322"/>
                <a:gd name="T58" fmla="*/ 12 w 161"/>
                <a:gd name="T59" fmla="*/ 307 h 322"/>
                <a:gd name="T60" fmla="*/ 27 w 161"/>
                <a:gd name="T61" fmla="*/ 317 h 322"/>
                <a:gd name="T62" fmla="*/ 39 w 161"/>
                <a:gd name="T63" fmla="*/ 322 h 322"/>
                <a:gd name="T64" fmla="*/ 57 w 161"/>
                <a:gd name="T65" fmla="*/ 313 h 322"/>
                <a:gd name="T66" fmla="*/ 74 w 161"/>
                <a:gd name="T67" fmla="*/ 307 h 322"/>
                <a:gd name="T68" fmla="*/ 86 w 161"/>
                <a:gd name="T69" fmla="*/ 279 h 322"/>
                <a:gd name="T70" fmla="*/ 97 w 161"/>
                <a:gd name="T71" fmla="*/ 246 h 322"/>
                <a:gd name="T72" fmla="*/ 112 w 161"/>
                <a:gd name="T73" fmla="*/ 201 h 322"/>
                <a:gd name="T74" fmla="*/ 125 w 161"/>
                <a:gd name="T75" fmla="*/ 168 h 322"/>
                <a:gd name="T76" fmla="*/ 135 w 161"/>
                <a:gd name="T77" fmla="*/ 141 h 322"/>
                <a:gd name="T78" fmla="*/ 138 w 161"/>
                <a:gd name="T79" fmla="*/ 120 h 322"/>
                <a:gd name="T80" fmla="*/ 144 w 161"/>
                <a:gd name="T81" fmla="*/ 115 h 322"/>
                <a:gd name="T82" fmla="*/ 146 w 161"/>
                <a:gd name="T83" fmla="*/ 105 h 322"/>
                <a:gd name="T84" fmla="*/ 143 w 161"/>
                <a:gd name="T85" fmla="*/ 87 h 322"/>
                <a:gd name="T86" fmla="*/ 148 w 161"/>
                <a:gd name="T87" fmla="*/ 80 h 322"/>
                <a:gd name="T88" fmla="*/ 153 w 161"/>
                <a:gd name="T89" fmla="*/ 94 h 322"/>
                <a:gd name="T90" fmla="*/ 158 w 161"/>
                <a:gd name="T91" fmla="*/ 87 h 322"/>
                <a:gd name="T92" fmla="*/ 161 w 161"/>
                <a:gd name="T93" fmla="*/ 76 h 322"/>
                <a:gd name="T94" fmla="*/ 156 w 161"/>
                <a:gd name="T95" fmla="*/ 64 h 322"/>
                <a:gd name="T96" fmla="*/ 154 w 161"/>
                <a:gd name="T97" fmla="*/ 36 h 322"/>
                <a:gd name="T98" fmla="*/ 154 w 161"/>
                <a:gd name="T99" fmla="*/ 36 h 3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1" h="322">
                  <a:moveTo>
                    <a:pt x="154" y="36"/>
                  </a:moveTo>
                  <a:lnTo>
                    <a:pt x="150" y="21"/>
                  </a:lnTo>
                  <a:lnTo>
                    <a:pt x="145" y="10"/>
                  </a:lnTo>
                  <a:lnTo>
                    <a:pt x="139" y="0"/>
                  </a:lnTo>
                  <a:lnTo>
                    <a:pt x="131" y="10"/>
                  </a:lnTo>
                  <a:lnTo>
                    <a:pt x="129" y="25"/>
                  </a:lnTo>
                  <a:lnTo>
                    <a:pt x="117" y="42"/>
                  </a:lnTo>
                  <a:lnTo>
                    <a:pt x="109" y="38"/>
                  </a:lnTo>
                  <a:lnTo>
                    <a:pt x="111" y="49"/>
                  </a:lnTo>
                  <a:lnTo>
                    <a:pt x="104" y="61"/>
                  </a:lnTo>
                  <a:lnTo>
                    <a:pt x="86" y="76"/>
                  </a:lnTo>
                  <a:lnTo>
                    <a:pt x="73" y="89"/>
                  </a:lnTo>
                  <a:lnTo>
                    <a:pt x="65" y="89"/>
                  </a:lnTo>
                  <a:lnTo>
                    <a:pt x="56" y="93"/>
                  </a:lnTo>
                  <a:lnTo>
                    <a:pt x="45" y="98"/>
                  </a:lnTo>
                  <a:lnTo>
                    <a:pt x="34" y="99"/>
                  </a:lnTo>
                  <a:lnTo>
                    <a:pt x="30" y="115"/>
                  </a:lnTo>
                  <a:lnTo>
                    <a:pt x="23" y="128"/>
                  </a:lnTo>
                  <a:lnTo>
                    <a:pt x="23" y="149"/>
                  </a:lnTo>
                  <a:lnTo>
                    <a:pt x="26" y="164"/>
                  </a:lnTo>
                  <a:lnTo>
                    <a:pt x="30" y="176"/>
                  </a:lnTo>
                  <a:lnTo>
                    <a:pt x="26" y="191"/>
                  </a:lnTo>
                  <a:lnTo>
                    <a:pt x="16" y="209"/>
                  </a:lnTo>
                  <a:lnTo>
                    <a:pt x="15" y="217"/>
                  </a:lnTo>
                  <a:lnTo>
                    <a:pt x="6" y="221"/>
                  </a:lnTo>
                  <a:lnTo>
                    <a:pt x="0" y="238"/>
                  </a:lnTo>
                  <a:lnTo>
                    <a:pt x="1" y="255"/>
                  </a:lnTo>
                  <a:lnTo>
                    <a:pt x="8" y="274"/>
                  </a:lnTo>
                  <a:lnTo>
                    <a:pt x="7" y="295"/>
                  </a:lnTo>
                  <a:lnTo>
                    <a:pt x="12" y="307"/>
                  </a:lnTo>
                  <a:lnTo>
                    <a:pt x="27" y="317"/>
                  </a:lnTo>
                  <a:lnTo>
                    <a:pt x="39" y="322"/>
                  </a:lnTo>
                  <a:lnTo>
                    <a:pt x="57" y="313"/>
                  </a:lnTo>
                  <a:lnTo>
                    <a:pt x="74" y="307"/>
                  </a:lnTo>
                  <a:lnTo>
                    <a:pt x="86" y="279"/>
                  </a:lnTo>
                  <a:lnTo>
                    <a:pt x="97" y="246"/>
                  </a:lnTo>
                  <a:lnTo>
                    <a:pt x="112" y="201"/>
                  </a:lnTo>
                  <a:lnTo>
                    <a:pt x="125" y="168"/>
                  </a:lnTo>
                  <a:lnTo>
                    <a:pt x="135" y="141"/>
                  </a:lnTo>
                  <a:lnTo>
                    <a:pt x="138" y="120"/>
                  </a:lnTo>
                  <a:lnTo>
                    <a:pt x="144" y="115"/>
                  </a:lnTo>
                  <a:lnTo>
                    <a:pt x="146" y="105"/>
                  </a:lnTo>
                  <a:lnTo>
                    <a:pt x="143" y="87"/>
                  </a:lnTo>
                  <a:lnTo>
                    <a:pt x="148" y="80"/>
                  </a:lnTo>
                  <a:lnTo>
                    <a:pt x="153" y="94"/>
                  </a:lnTo>
                  <a:lnTo>
                    <a:pt x="158" y="87"/>
                  </a:lnTo>
                  <a:lnTo>
                    <a:pt x="161" y="76"/>
                  </a:lnTo>
                  <a:lnTo>
                    <a:pt x="156" y="64"/>
                  </a:lnTo>
                  <a:lnTo>
                    <a:pt x="154" y="36"/>
                  </a:lnTo>
                  <a:lnTo>
                    <a:pt x="154" y="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8" name="Mexico">
              <a:extLst>
                <a:ext uri="{FF2B5EF4-FFF2-40B4-BE49-F238E27FC236}">
                  <a16:creationId xmlns:a16="http://schemas.microsoft.com/office/drawing/2014/main" id="{96C7576E-F53C-4085-B831-A2301BB76086}"/>
                </a:ext>
              </a:extLst>
            </p:cNvPr>
            <p:cNvSpPr>
              <a:spLocks/>
            </p:cNvSpPr>
            <p:nvPr/>
          </p:nvSpPr>
          <p:spPr bwMode="auto">
            <a:xfrm>
              <a:off x="2282031" y="2828698"/>
              <a:ext cx="877887" cy="685800"/>
            </a:xfrm>
            <a:custGeom>
              <a:avLst/>
              <a:gdLst>
                <a:gd name="T0" fmla="*/ 324 w 553"/>
                <a:gd name="T1" fmla="*/ 151 h 432"/>
                <a:gd name="T2" fmla="*/ 311 w 553"/>
                <a:gd name="T3" fmla="*/ 109 h 432"/>
                <a:gd name="T4" fmla="*/ 289 w 553"/>
                <a:gd name="T5" fmla="*/ 70 h 432"/>
                <a:gd name="T6" fmla="*/ 240 w 553"/>
                <a:gd name="T7" fmla="*/ 82 h 432"/>
                <a:gd name="T8" fmla="*/ 227 w 553"/>
                <a:gd name="T9" fmla="*/ 49 h 432"/>
                <a:gd name="T10" fmla="*/ 206 w 553"/>
                <a:gd name="T11" fmla="*/ 23 h 432"/>
                <a:gd name="T12" fmla="*/ 152 w 553"/>
                <a:gd name="T13" fmla="*/ 32 h 432"/>
                <a:gd name="T14" fmla="*/ 45 w 553"/>
                <a:gd name="T15" fmla="*/ 4 h 432"/>
                <a:gd name="T16" fmla="*/ 0 w 553"/>
                <a:gd name="T17" fmla="*/ 4 h 432"/>
                <a:gd name="T18" fmla="*/ 5 w 553"/>
                <a:gd name="T19" fmla="*/ 59 h 432"/>
                <a:gd name="T20" fmla="*/ 29 w 553"/>
                <a:gd name="T21" fmla="*/ 99 h 432"/>
                <a:gd name="T22" fmla="*/ 7 w 553"/>
                <a:gd name="T23" fmla="*/ 116 h 432"/>
                <a:gd name="T24" fmla="*/ 25 w 553"/>
                <a:gd name="T25" fmla="*/ 138 h 432"/>
                <a:gd name="T26" fmla="*/ 44 w 553"/>
                <a:gd name="T27" fmla="*/ 152 h 432"/>
                <a:gd name="T28" fmla="*/ 47 w 553"/>
                <a:gd name="T29" fmla="*/ 189 h 432"/>
                <a:gd name="T30" fmla="*/ 79 w 553"/>
                <a:gd name="T31" fmla="*/ 220 h 432"/>
                <a:gd name="T32" fmla="*/ 96 w 553"/>
                <a:gd name="T33" fmla="*/ 226 h 432"/>
                <a:gd name="T34" fmla="*/ 86 w 553"/>
                <a:gd name="T35" fmla="*/ 200 h 432"/>
                <a:gd name="T36" fmla="*/ 74 w 553"/>
                <a:gd name="T37" fmla="*/ 176 h 432"/>
                <a:gd name="T38" fmla="*/ 59 w 553"/>
                <a:gd name="T39" fmla="*/ 131 h 432"/>
                <a:gd name="T40" fmla="*/ 52 w 553"/>
                <a:gd name="T41" fmla="*/ 101 h 432"/>
                <a:gd name="T42" fmla="*/ 45 w 553"/>
                <a:gd name="T43" fmla="*/ 92 h 432"/>
                <a:gd name="T44" fmla="*/ 30 w 553"/>
                <a:gd name="T45" fmla="*/ 60 h 432"/>
                <a:gd name="T46" fmla="*/ 41 w 553"/>
                <a:gd name="T47" fmla="*/ 22 h 432"/>
                <a:gd name="T48" fmla="*/ 68 w 553"/>
                <a:gd name="T49" fmla="*/ 37 h 432"/>
                <a:gd name="T50" fmla="*/ 72 w 553"/>
                <a:gd name="T51" fmla="*/ 82 h 432"/>
                <a:gd name="T52" fmla="*/ 86 w 553"/>
                <a:gd name="T53" fmla="*/ 113 h 432"/>
                <a:gd name="T54" fmla="*/ 105 w 553"/>
                <a:gd name="T55" fmla="*/ 143 h 432"/>
                <a:gd name="T56" fmla="*/ 111 w 553"/>
                <a:gd name="T57" fmla="*/ 169 h 432"/>
                <a:gd name="T58" fmla="*/ 150 w 553"/>
                <a:gd name="T59" fmla="*/ 212 h 432"/>
                <a:gd name="T60" fmla="*/ 169 w 553"/>
                <a:gd name="T61" fmla="*/ 257 h 432"/>
                <a:gd name="T62" fmla="*/ 167 w 553"/>
                <a:gd name="T63" fmla="*/ 282 h 432"/>
                <a:gd name="T64" fmla="*/ 164 w 553"/>
                <a:gd name="T65" fmla="*/ 303 h 432"/>
                <a:gd name="T66" fmla="*/ 199 w 553"/>
                <a:gd name="T67" fmla="*/ 342 h 432"/>
                <a:gd name="T68" fmla="*/ 235 w 553"/>
                <a:gd name="T69" fmla="*/ 358 h 432"/>
                <a:gd name="T70" fmla="*/ 288 w 553"/>
                <a:gd name="T71" fmla="*/ 383 h 432"/>
                <a:gd name="T72" fmla="*/ 335 w 553"/>
                <a:gd name="T73" fmla="*/ 405 h 432"/>
                <a:gd name="T74" fmla="*/ 375 w 553"/>
                <a:gd name="T75" fmla="*/ 392 h 432"/>
                <a:gd name="T76" fmla="*/ 422 w 553"/>
                <a:gd name="T77" fmla="*/ 432 h 432"/>
                <a:gd name="T78" fmla="*/ 424 w 553"/>
                <a:gd name="T79" fmla="*/ 414 h 432"/>
                <a:gd name="T80" fmla="*/ 464 w 553"/>
                <a:gd name="T81" fmla="*/ 387 h 432"/>
                <a:gd name="T82" fmla="*/ 452 w 553"/>
                <a:gd name="T83" fmla="*/ 375 h 432"/>
                <a:gd name="T84" fmla="*/ 456 w 553"/>
                <a:gd name="T85" fmla="*/ 353 h 432"/>
                <a:gd name="T86" fmla="*/ 495 w 553"/>
                <a:gd name="T87" fmla="*/ 351 h 432"/>
                <a:gd name="T88" fmla="*/ 510 w 553"/>
                <a:gd name="T89" fmla="*/ 338 h 432"/>
                <a:gd name="T90" fmla="*/ 523 w 553"/>
                <a:gd name="T91" fmla="*/ 343 h 432"/>
                <a:gd name="T92" fmla="*/ 532 w 553"/>
                <a:gd name="T93" fmla="*/ 310 h 432"/>
                <a:gd name="T94" fmla="*/ 553 w 553"/>
                <a:gd name="T95" fmla="*/ 270 h 432"/>
                <a:gd name="T96" fmla="*/ 519 w 553"/>
                <a:gd name="T97" fmla="*/ 267 h 432"/>
                <a:gd name="T98" fmla="*/ 477 w 553"/>
                <a:gd name="T99" fmla="*/ 285 h 432"/>
                <a:gd name="T100" fmla="*/ 451 w 553"/>
                <a:gd name="T101" fmla="*/ 328 h 432"/>
                <a:gd name="T102" fmla="*/ 406 w 553"/>
                <a:gd name="T103" fmla="*/ 339 h 432"/>
                <a:gd name="T104" fmla="*/ 358 w 553"/>
                <a:gd name="T105" fmla="*/ 330 h 432"/>
                <a:gd name="T106" fmla="*/ 338 w 553"/>
                <a:gd name="T107" fmla="*/ 287 h 432"/>
                <a:gd name="T108" fmla="*/ 330 w 553"/>
                <a:gd name="T109" fmla="*/ 244 h 432"/>
                <a:gd name="T110" fmla="*/ 348 w 553"/>
                <a:gd name="T111" fmla="*/ 183 h 432"/>
                <a:gd name="T112" fmla="*/ 352 w 553"/>
                <a:gd name="T113" fmla="*/ 163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53" h="432">
                  <a:moveTo>
                    <a:pt x="352" y="163"/>
                  </a:moveTo>
                  <a:lnTo>
                    <a:pt x="338" y="158"/>
                  </a:lnTo>
                  <a:lnTo>
                    <a:pt x="324" y="151"/>
                  </a:lnTo>
                  <a:lnTo>
                    <a:pt x="320" y="140"/>
                  </a:lnTo>
                  <a:lnTo>
                    <a:pt x="320" y="123"/>
                  </a:lnTo>
                  <a:lnTo>
                    <a:pt x="311" y="109"/>
                  </a:lnTo>
                  <a:lnTo>
                    <a:pt x="307" y="95"/>
                  </a:lnTo>
                  <a:lnTo>
                    <a:pt x="301" y="79"/>
                  </a:lnTo>
                  <a:lnTo>
                    <a:pt x="289" y="70"/>
                  </a:lnTo>
                  <a:lnTo>
                    <a:pt x="273" y="70"/>
                  </a:lnTo>
                  <a:lnTo>
                    <a:pt x="255" y="88"/>
                  </a:lnTo>
                  <a:lnTo>
                    <a:pt x="240" y="82"/>
                  </a:lnTo>
                  <a:lnTo>
                    <a:pt x="232" y="74"/>
                  </a:lnTo>
                  <a:lnTo>
                    <a:pt x="230" y="61"/>
                  </a:lnTo>
                  <a:lnTo>
                    <a:pt x="227" y="49"/>
                  </a:lnTo>
                  <a:lnTo>
                    <a:pt x="218" y="39"/>
                  </a:lnTo>
                  <a:lnTo>
                    <a:pt x="211" y="31"/>
                  </a:lnTo>
                  <a:lnTo>
                    <a:pt x="206" y="23"/>
                  </a:lnTo>
                  <a:lnTo>
                    <a:pt x="171" y="23"/>
                  </a:lnTo>
                  <a:lnTo>
                    <a:pt x="168" y="32"/>
                  </a:lnTo>
                  <a:lnTo>
                    <a:pt x="152" y="32"/>
                  </a:lnTo>
                  <a:lnTo>
                    <a:pt x="112" y="32"/>
                  </a:lnTo>
                  <a:lnTo>
                    <a:pt x="72" y="16"/>
                  </a:lnTo>
                  <a:lnTo>
                    <a:pt x="45" y="4"/>
                  </a:lnTo>
                  <a:lnTo>
                    <a:pt x="49" y="0"/>
                  </a:lnTo>
                  <a:lnTo>
                    <a:pt x="23" y="2"/>
                  </a:lnTo>
                  <a:lnTo>
                    <a:pt x="0" y="4"/>
                  </a:lnTo>
                  <a:lnTo>
                    <a:pt x="1" y="26"/>
                  </a:lnTo>
                  <a:lnTo>
                    <a:pt x="2" y="44"/>
                  </a:lnTo>
                  <a:lnTo>
                    <a:pt x="5" y="59"/>
                  </a:lnTo>
                  <a:lnTo>
                    <a:pt x="8" y="74"/>
                  </a:lnTo>
                  <a:lnTo>
                    <a:pt x="18" y="82"/>
                  </a:lnTo>
                  <a:lnTo>
                    <a:pt x="29" y="99"/>
                  </a:lnTo>
                  <a:lnTo>
                    <a:pt x="25" y="109"/>
                  </a:lnTo>
                  <a:lnTo>
                    <a:pt x="16" y="117"/>
                  </a:lnTo>
                  <a:lnTo>
                    <a:pt x="7" y="116"/>
                  </a:lnTo>
                  <a:lnTo>
                    <a:pt x="5" y="118"/>
                  </a:lnTo>
                  <a:lnTo>
                    <a:pt x="14" y="132"/>
                  </a:lnTo>
                  <a:lnTo>
                    <a:pt x="25" y="138"/>
                  </a:lnTo>
                  <a:lnTo>
                    <a:pt x="29" y="144"/>
                  </a:lnTo>
                  <a:lnTo>
                    <a:pt x="31" y="141"/>
                  </a:lnTo>
                  <a:lnTo>
                    <a:pt x="44" y="152"/>
                  </a:lnTo>
                  <a:lnTo>
                    <a:pt x="51" y="159"/>
                  </a:lnTo>
                  <a:lnTo>
                    <a:pt x="51" y="171"/>
                  </a:lnTo>
                  <a:lnTo>
                    <a:pt x="47" y="189"/>
                  </a:lnTo>
                  <a:lnTo>
                    <a:pt x="57" y="196"/>
                  </a:lnTo>
                  <a:lnTo>
                    <a:pt x="69" y="207"/>
                  </a:lnTo>
                  <a:lnTo>
                    <a:pt x="79" y="220"/>
                  </a:lnTo>
                  <a:lnTo>
                    <a:pt x="82" y="235"/>
                  </a:lnTo>
                  <a:lnTo>
                    <a:pt x="86" y="235"/>
                  </a:lnTo>
                  <a:lnTo>
                    <a:pt x="96" y="226"/>
                  </a:lnTo>
                  <a:lnTo>
                    <a:pt x="98" y="222"/>
                  </a:lnTo>
                  <a:lnTo>
                    <a:pt x="92" y="211"/>
                  </a:lnTo>
                  <a:lnTo>
                    <a:pt x="86" y="200"/>
                  </a:lnTo>
                  <a:lnTo>
                    <a:pt x="76" y="199"/>
                  </a:lnTo>
                  <a:lnTo>
                    <a:pt x="77" y="187"/>
                  </a:lnTo>
                  <a:lnTo>
                    <a:pt x="74" y="176"/>
                  </a:lnTo>
                  <a:lnTo>
                    <a:pt x="71" y="166"/>
                  </a:lnTo>
                  <a:lnTo>
                    <a:pt x="69" y="143"/>
                  </a:lnTo>
                  <a:lnTo>
                    <a:pt x="59" y="131"/>
                  </a:lnTo>
                  <a:lnTo>
                    <a:pt x="57" y="123"/>
                  </a:lnTo>
                  <a:lnTo>
                    <a:pt x="52" y="117"/>
                  </a:lnTo>
                  <a:lnTo>
                    <a:pt x="52" y="101"/>
                  </a:lnTo>
                  <a:lnTo>
                    <a:pt x="48" y="102"/>
                  </a:lnTo>
                  <a:lnTo>
                    <a:pt x="48" y="94"/>
                  </a:lnTo>
                  <a:lnTo>
                    <a:pt x="45" y="92"/>
                  </a:lnTo>
                  <a:lnTo>
                    <a:pt x="44" y="86"/>
                  </a:lnTo>
                  <a:lnTo>
                    <a:pt x="34" y="71"/>
                  </a:lnTo>
                  <a:lnTo>
                    <a:pt x="30" y="60"/>
                  </a:lnTo>
                  <a:lnTo>
                    <a:pt x="33" y="42"/>
                  </a:lnTo>
                  <a:lnTo>
                    <a:pt x="34" y="31"/>
                  </a:lnTo>
                  <a:lnTo>
                    <a:pt x="41" y="22"/>
                  </a:lnTo>
                  <a:lnTo>
                    <a:pt x="49" y="28"/>
                  </a:lnTo>
                  <a:lnTo>
                    <a:pt x="57" y="28"/>
                  </a:lnTo>
                  <a:lnTo>
                    <a:pt x="68" y="37"/>
                  </a:lnTo>
                  <a:lnTo>
                    <a:pt x="65" y="45"/>
                  </a:lnTo>
                  <a:lnTo>
                    <a:pt x="66" y="64"/>
                  </a:lnTo>
                  <a:lnTo>
                    <a:pt x="72" y="82"/>
                  </a:lnTo>
                  <a:lnTo>
                    <a:pt x="71" y="89"/>
                  </a:lnTo>
                  <a:lnTo>
                    <a:pt x="77" y="100"/>
                  </a:lnTo>
                  <a:lnTo>
                    <a:pt x="86" y="113"/>
                  </a:lnTo>
                  <a:lnTo>
                    <a:pt x="96" y="115"/>
                  </a:lnTo>
                  <a:lnTo>
                    <a:pt x="97" y="131"/>
                  </a:lnTo>
                  <a:lnTo>
                    <a:pt x="105" y="143"/>
                  </a:lnTo>
                  <a:lnTo>
                    <a:pt x="115" y="149"/>
                  </a:lnTo>
                  <a:lnTo>
                    <a:pt x="108" y="164"/>
                  </a:lnTo>
                  <a:lnTo>
                    <a:pt x="111" y="169"/>
                  </a:lnTo>
                  <a:lnTo>
                    <a:pt x="126" y="179"/>
                  </a:lnTo>
                  <a:lnTo>
                    <a:pt x="133" y="194"/>
                  </a:lnTo>
                  <a:lnTo>
                    <a:pt x="150" y="212"/>
                  </a:lnTo>
                  <a:lnTo>
                    <a:pt x="164" y="236"/>
                  </a:lnTo>
                  <a:lnTo>
                    <a:pt x="169" y="248"/>
                  </a:lnTo>
                  <a:lnTo>
                    <a:pt x="169" y="257"/>
                  </a:lnTo>
                  <a:lnTo>
                    <a:pt x="174" y="268"/>
                  </a:lnTo>
                  <a:lnTo>
                    <a:pt x="173" y="276"/>
                  </a:lnTo>
                  <a:lnTo>
                    <a:pt x="167" y="282"/>
                  </a:lnTo>
                  <a:lnTo>
                    <a:pt x="169" y="289"/>
                  </a:lnTo>
                  <a:lnTo>
                    <a:pt x="161" y="292"/>
                  </a:lnTo>
                  <a:lnTo>
                    <a:pt x="164" y="303"/>
                  </a:lnTo>
                  <a:lnTo>
                    <a:pt x="172" y="318"/>
                  </a:lnTo>
                  <a:lnTo>
                    <a:pt x="192" y="332"/>
                  </a:lnTo>
                  <a:lnTo>
                    <a:pt x="199" y="342"/>
                  </a:lnTo>
                  <a:lnTo>
                    <a:pt x="219" y="350"/>
                  </a:lnTo>
                  <a:lnTo>
                    <a:pt x="230" y="352"/>
                  </a:lnTo>
                  <a:lnTo>
                    <a:pt x="235" y="358"/>
                  </a:lnTo>
                  <a:lnTo>
                    <a:pt x="251" y="369"/>
                  </a:lnTo>
                  <a:lnTo>
                    <a:pt x="273" y="380"/>
                  </a:lnTo>
                  <a:lnTo>
                    <a:pt x="288" y="383"/>
                  </a:lnTo>
                  <a:lnTo>
                    <a:pt x="306" y="394"/>
                  </a:lnTo>
                  <a:lnTo>
                    <a:pt x="321" y="399"/>
                  </a:lnTo>
                  <a:lnTo>
                    <a:pt x="335" y="405"/>
                  </a:lnTo>
                  <a:lnTo>
                    <a:pt x="345" y="403"/>
                  </a:lnTo>
                  <a:lnTo>
                    <a:pt x="363" y="394"/>
                  </a:lnTo>
                  <a:lnTo>
                    <a:pt x="375" y="392"/>
                  </a:lnTo>
                  <a:lnTo>
                    <a:pt x="391" y="398"/>
                  </a:lnTo>
                  <a:lnTo>
                    <a:pt x="401" y="406"/>
                  </a:lnTo>
                  <a:lnTo>
                    <a:pt x="422" y="432"/>
                  </a:lnTo>
                  <a:lnTo>
                    <a:pt x="423" y="424"/>
                  </a:lnTo>
                  <a:lnTo>
                    <a:pt x="426" y="419"/>
                  </a:lnTo>
                  <a:lnTo>
                    <a:pt x="424" y="414"/>
                  </a:lnTo>
                  <a:lnTo>
                    <a:pt x="436" y="395"/>
                  </a:lnTo>
                  <a:lnTo>
                    <a:pt x="462" y="395"/>
                  </a:lnTo>
                  <a:lnTo>
                    <a:pt x="464" y="387"/>
                  </a:lnTo>
                  <a:lnTo>
                    <a:pt x="461" y="386"/>
                  </a:lnTo>
                  <a:lnTo>
                    <a:pt x="459" y="380"/>
                  </a:lnTo>
                  <a:lnTo>
                    <a:pt x="452" y="375"/>
                  </a:lnTo>
                  <a:lnTo>
                    <a:pt x="445" y="367"/>
                  </a:lnTo>
                  <a:lnTo>
                    <a:pt x="454" y="367"/>
                  </a:lnTo>
                  <a:lnTo>
                    <a:pt x="456" y="353"/>
                  </a:lnTo>
                  <a:lnTo>
                    <a:pt x="476" y="353"/>
                  </a:lnTo>
                  <a:lnTo>
                    <a:pt x="495" y="354"/>
                  </a:lnTo>
                  <a:lnTo>
                    <a:pt x="495" y="351"/>
                  </a:lnTo>
                  <a:lnTo>
                    <a:pt x="497" y="349"/>
                  </a:lnTo>
                  <a:lnTo>
                    <a:pt x="501" y="352"/>
                  </a:lnTo>
                  <a:lnTo>
                    <a:pt x="510" y="338"/>
                  </a:lnTo>
                  <a:lnTo>
                    <a:pt x="514" y="338"/>
                  </a:lnTo>
                  <a:lnTo>
                    <a:pt x="519" y="338"/>
                  </a:lnTo>
                  <a:lnTo>
                    <a:pt x="523" y="343"/>
                  </a:lnTo>
                  <a:lnTo>
                    <a:pt x="531" y="324"/>
                  </a:lnTo>
                  <a:lnTo>
                    <a:pt x="535" y="314"/>
                  </a:lnTo>
                  <a:lnTo>
                    <a:pt x="532" y="310"/>
                  </a:lnTo>
                  <a:lnTo>
                    <a:pt x="538" y="296"/>
                  </a:lnTo>
                  <a:lnTo>
                    <a:pt x="551" y="282"/>
                  </a:lnTo>
                  <a:lnTo>
                    <a:pt x="553" y="270"/>
                  </a:lnTo>
                  <a:lnTo>
                    <a:pt x="550" y="265"/>
                  </a:lnTo>
                  <a:lnTo>
                    <a:pt x="537" y="267"/>
                  </a:lnTo>
                  <a:lnTo>
                    <a:pt x="519" y="267"/>
                  </a:lnTo>
                  <a:lnTo>
                    <a:pt x="496" y="272"/>
                  </a:lnTo>
                  <a:lnTo>
                    <a:pt x="481" y="278"/>
                  </a:lnTo>
                  <a:lnTo>
                    <a:pt x="477" y="285"/>
                  </a:lnTo>
                  <a:lnTo>
                    <a:pt x="472" y="305"/>
                  </a:lnTo>
                  <a:lnTo>
                    <a:pt x="466" y="319"/>
                  </a:lnTo>
                  <a:lnTo>
                    <a:pt x="451" y="328"/>
                  </a:lnTo>
                  <a:lnTo>
                    <a:pt x="438" y="333"/>
                  </a:lnTo>
                  <a:lnTo>
                    <a:pt x="422" y="337"/>
                  </a:lnTo>
                  <a:lnTo>
                    <a:pt x="406" y="339"/>
                  </a:lnTo>
                  <a:lnTo>
                    <a:pt x="386" y="346"/>
                  </a:lnTo>
                  <a:lnTo>
                    <a:pt x="380" y="336"/>
                  </a:lnTo>
                  <a:lnTo>
                    <a:pt x="358" y="330"/>
                  </a:lnTo>
                  <a:lnTo>
                    <a:pt x="352" y="318"/>
                  </a:lnTo>
                  <a:lnTo>
                    <a:pt x="349" y="304"/>
                  </a:lnTo>
                  <a:lnTo>
                    <a:pt x="338" y="287"/>
                  </a:lnTo>
                  <a:lnTo>
                    <a:pt x="337" y="268"/>
                  </a:lnTo>
                  <a:lnTo>
                    <a:pt x="332" y="256"/>
                  </a:lnTo>
                  <a:lnTo>
                    <a:pt x="330" y="244"/>
                  </a:lnTo>
                  <a:lnTo>
                    <a:pt x="334" y="232"/>
                  </a:lnTo>
                  <a:lnTo>
                    <a:pt x="340" y="200"/>
                  </a:lnTo>
                  <a:lnTo>
                    <a:pt x="348" y="183"/>
                  </a:lnTo>
                  <a:lnTo>
                    <a:pt x="359" y="162"/>
                  </a:lnTo>
                  <a:lnTo>
                    <a:pt x="352" y="163"/>
                  </a:lnTo>
                  <a:lnTo>
                    <a:pt x="352" y="16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99" name="Macedonia">
              <a:extLst>
                <a:ext uri="{FF2B5EF4-FFF2-40B4-BE49-F238E27FC236}">
                  <a16:creationId xmlns:a16="http://schemas.microsoft.com/office/drawing/2014/main" id="{2C4595C7-3EE4-4CC9-A52A-226C01AC10B6}"/>
                </a:ext>
              </a:extLst>
            </p:cNvPr>
            <p:cNvSpPr>
              <a:spLocks/>
            </p:cNvSpPr>
            <p:nvPr/>
          </p:nvSpPr>
          <p:spPr bwMode="auto">
            <a:xfrm>
              <a:off x="6620669" y="2465161"/>
              <a:ext cx="74612" cy="53975"/>
            </a:xfrm>
            <a:custGeom>
              <a:avLst/>
              <a:gdLst>
                <a:gd name="T0" fmla="*/ 44 w 47"/>
                <a:gd name="T1" fmla="*/ 7 h 34"/>
                <a:gd name="T2" fmla="*/ 34 w 47"/>
                <a:gd name="T3" fmla="*/ 0 h 34"/>
                <a:gd name="T4" fmla="*/ 25 w 47"/>
                <a:gd name="T5" fmla="*/ 1 h 34"/>
                <a:gd name="T6" fmla="*/ 18 w 47"/>
                <a:gd name="T7" fmla="*/ 2 h 34"/>
                <a:gd name="T8" fmla="*/ 14 w 47"/>
                <a:gd name="T9" fmla="*/ 3 h 34"/>
                <a:gd name="T10" fmla="*/ 3 w 47"/>
                <a:gd name="T11" fmla="*/ 6 h 34"/>
                <a:gd name="T12" fmla="*/ 3 w 47"/>
                <a:gd name="T13" fmla="*/ 11 h 34"/>
                <a:gd name="T14" fmla="*/ 0 w 47"/>
                <a:gd name="T15" fmla="*/ 11 h 34"/>
                <a:gd name="T16" fmla="*/ 0 w 47"/>
                <a:gd name="T17" fmla="*/ 11 h 34"/>
                <a:gd name="T18" fmla="*/ 0 w 47"/>
                <a:gd name="T19" fmla="*/ 18 h 34"/>
                <a:gd name="T20" fmla="*/ 2 w 47"/>
                <a:gd name="T21" fmla="*/ 29 h 34"/>
                <a:gd name="T22" fmla="*/ 11 w 47"/>
                <a:gd name="T23" fmla="*/ 34 h 34"/>
                <a:gd name="T24" fmla="*/ 24 w 47"/>
                <a:gd name="T25" fmla="*/ 32 h 34"/>
                <a:gd name="T26" fmla="*/ 30 w 47"/>
                <a:gd name="T27" fmla="*/ 27 h 34"/>
                <a:gd name="T28" fmla="*/ 41 w 47"/>
                <a:gd name="T29" fmla="*/ 28 h 34"/>
                <a:gd name="T30" fmla="*/ 43 w 47"/>
                <a:gd name="T31" fmla="*/ 23 h 34"/>
                <a:gd name="T32" fmla="*/ 47 w 47"/>
                <a:gd name="T33" fmla="*/ 23 h 34"/>
                <a:gd name="T34" fmla="*/ 44 w 47"/>
                <a:gd name="T35" fmla="*/ 7 h 34"/>
                <a:gd name="T36" fmla="*/ 44 w 47"/>
                <a:gd name="T3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 h="34">
                  <a:moveTo>
                    <a:pt x="44" y="7"/>
                  </a:moveTo>
                  <a:lnTo>
                    <a:pt x="34" y="0"/>
                  </a:lnTo>
                  <a:lnTo>
                    <a:pt x="25" y="1"/>
                  </a:lnTo>
                  <a:lnTo>
                    <a:pt x="18" y="2"/>
                  </a:lnTo>
                  <a:lnTo>
                    <a:pt x="14" y="3"/>
                  </a:lnTo>
                  <a:lnTo>
                    <a:pt x="3" y="6"/>
                  </a:lnTo>
                  <a:lnTo>
                    <a:pt x="3" y="11"/>
                  </a:lnTo>
                  <a:lnTo>
                    <a:pt x="0" y="11"/>
                  </a:lnTo>
                  <a:lnTo>
                    <a:pt x="0" y="11"/>
                  </a:lnTo>
                  <a:lnTo>
                    <a:pt x="0" y="18"/>
                  </a:lnTo>
                  <a:lnTo>
                    <a:pt x="2" y="29"/>
                  </a:lnTo>
                  <a:lnTo>
                    <a:pt x="11" y="34"/>
                  </a:lnTo>
                  <a:lnTo>
                    <a:pt x="24" y="32"/>
                  </a:lnTo>
                  <a:lnTo>
                    <a:pt x="30" y="27"/>
                  </a:lnTo>
                  <a:lnTo>
                    <a:pt x="41" y="28"/>
                  </a:lnTo>
                  <a:lnTo>
                    <a:pt x="43" y="23"/>
                  </a:lnTo>
                  <a:lnTo>
                    <a:pt x="47" y="23"/>
                  </a:lnTo>
                  <a:lnTo>
                    <a:pt x="44" y="7"/>
                  </a:lnTo>
                  <a:lnTo>
                    <a:pt x="44"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0" name="Malia">
              <a:extLst>
                <a:ext uri="{FF2B5EF4-FFF2-40B4-BE49-F238E27FC236}">
                  <a16:creationId xmlns:a16="http://schemas.microsoft.com/office/drawing/2014/main" id="{0DC5F050-803D-4FEE-829E-BD0BA6AFCBCF}"/>
                </a:ext>
              </a:extLst>
            </p:cNvPr>
            <p:cNvSpPr>
              <a:spLocks/>
            </p:cNvSpPr>
            <p:nvPr/>
          </p:nvSpPr>
          <p:spPr bwMode="auto">
            <a:xfrm>
              <a:off x="5593556" y="3119212"/>
              <a:ext cx="542925" cy="561975"/>
            </a:xfrm>
            <a:custGeom>
              <a:avLst/>
              <a:gdLst>
                <a:gd name="T0" fmla="*/ 319 w 342"/>
                <a:gd name="T1" fmla="*/ 141 h 354"/>
                <a:gd name="T2" fmla="*/ 309 w 342"/>
                <a:gd name="T3" fmla="*/ 122 h 354"/>
                <a:gd name="T4" fmla="*/ 291 w 342"/>
                <a:gd name="T5" fmla="*/ 104 h 354"/>
                <a:gd name="T6" fmla="*/ 153 w 342"/>
                <a:gd name="T7" fmla="*/ 0 h 354"/>
                <a:gd name="T8" fmla="*/ 130 w 342"/>
                <a:gd name="T9" fmla="*/ 103 h 354"/>
                <a:gd name="T10" fmla="*/ 143 w 342"/>
                <a:gd name="T11" fmla="*/ 209 h 354"/>
                <a:gd name="T12" fmla="*/ 55 w 342"/>
                <a:gd name="T13" fmla="*/ 225 h 354"/>
                <a:gd name="T14" fmla="*/ 43 w 342"/>
                <a:gd name="T15" fmla="*/ 229 h 354"/>
                <a:gd name="T16" fmla="*/ 17 w 342"/>
                <a:gd name="T17" fmla="*/ 227 h 354"/>
                <a:gd name="T18" fmla="*/ 7 w 342"/>
                <a:gd name="T19" fmla="*/ 242 h 354"/>
                <a:gd name="T20" fmla="*/ 0 w 342"/>
                <a:gd name="T21" fmla="*/ 261 h 354"/>
                <a:gd name="T22" fmla="*/ 13 w 342"/>
                <a:gd name="T23" fmla="*/ 282 h 354"/>
                <a:gd name="T24" fmla="*/ 13 w 342"/>
                <a:gd name="T25" fmla="*/ 298 h 354"/>
                <a:gd name="T26" fmla="*/ 17 w 342"/>
                <a:gd name="T27" fmla="*/ 307 h 354"/>
                <a:gd name="T28" fmla="*/ 27 w 342"/>
                <a:gd name="T29" fmla="*/ 305 h 354"/>
                <a:gd name="T30" fmla="*/ 41 w 342"/>
                <a:gd name="T31" fmla="*/ 312 h 354"/>
                <a:gd name="T32" fmla="*/ 54 w 342"/>
                <a:gd name="T33" fmla="*/ 304 h 354"/>
                <a:gd name="T34" fmla="*/ 63 w 342"/>
                <a:gd name="T35" fmla="*/ 302 h 354"/>
                <a:gd name="T36" fmla="*/ 70 w 342"/>
                <a:gd name="T37" fmla="*/ 313 h 354"/>
                <a:gd name="T38" fmla="*/ 74 w 342"/>
                <a:gd name="T39" fmla="*/ 329 h 354"/>
                <a:gd name="T40" fmla="*/ 78 w 342"/>
                <a:gd name="T41" fmla="*/ 335 h 354"/>
                <a:gd name="T42" fmla="*/ 79 w 342"/>
                <a:gd name="T43" fmla="*/ 345 h 354"/>
                <a:gd name="T44" fmla="*/ 88 w 342"/>
                <a:gd name="T45" fmla="*/ 349 h 354"/>
                <a:gd name="T46" fmla="*/ 111 w 342"/>
                <a:gd name="T47" fmla="*/ 353 h 354"/>
                <a:gd name="T48" fmla="*/ 118 w 342"/>
                <a:gd name="T49" fmla="*/ 347 h 354"/>
                <a:gd name="T50" fmla="*/ 127 w 342"/>
                <a:gd name="T51" fmla="*/ 354 h 354"/>
                <a:gd name="T52" fmla="*/ 140 w 342"/>
                <a:gd name="T53" fmla="*/ 348 h 354"/>
                <a:gd name="T54" fmla="*/ 145 w 342"/>
                <a:gd name="T55" fmla="*/ 324 h 354"/>
                <a:gd name="T56" fmla="*/ 161 w 342"/>
                <a:gd name="T57" fmla="*/ 296 h 354"/>
                <a:gd name="T58" fmla="*/ 170 w 342"/>
                <a:gd name="T59" fmla="*/ 274 h 354"/>
                <a:gd name="T60" fmla="*/ 189 w 342"/>
                <a:gd name="T61" fmla="*/ 272 h 354"/>
                <a:gd name="T62" fmla="*/ 208 w 342"/>
                <a:gd name="T63" fmla="*/ 255 h 354"/>
                <a:gd name="T64" fmla="*/ 231 w 342"/>
                <a:gd name="T65" fmla="*/ 239 h 354"/>
                <a:gd name="T66" fmla="*/ 248 w 342"/>
                <a:gd name="T67" fmla="*/ 240 h 354"/>
                <a:gd name="T68" fmla="*/ 275 w 342"/>
                <a:gd name="T69" fmla="*/ 239 h 354"/>
                <a:gd name="T70" fmla="*/ 310 w 342"/>
                <a:gd name="T71" fmla="*/ 227 h 354"/>
                <a:gd name="T72" fmla="*/ 331 w 342"/>
                <a:gd name="T73" fmla="*/ 210 h 354"/>
                <a:gd name="T74" fmla="*/ 341 w 342"/>
                <a:gd name="T75" fmla="*/ 139 h 3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42" h="354">
                  <a:moveTo>
                    <a:pt x="341" y="139"/>
                  </a:moveTo>
                  <a:lnTo>
                    <a:pt x="319" y="141"/>
                  </a:lnTo>
                  <a:lnTo>
                    <a:pt x="318" y="127"/>
                  </a:lnTo>
                  <a:lnTo>
                    <a:pt x="309" y="122"/>
                  </a:lnTo>
                  <a:lnTo>
                    <a:pt x="295" y="115"/>
                  </a:lnTo>
                  <a:lnTo>
                    <a:pt x="291" y="104"/>
                  </a:lnTo>
                  <a:lnTo>
                    <a:pt x="222" y="53"/>
                  </a:lnTo>
                  <a:lnTo>
                    <a:pt x="153" y="0"/>
                  </a:lnTo>
                  <a:lnTo>
                    <a:pt x="122" y="1"/>
                  </a:lnTo>
                  <a:lnTo>
                    <a:pt x="130" y="103"/>
                  </a:lnTo>
                  <a:lnTo>
                    <a:pt x="140" y="206"/>
                  </a:lnTo>
                  <a:lnTo>
                    <a:pt x="143" y="209"/>
                  </a:lnTo>
                  <a:lnTo>
                    <a:pt x="139" y="225"/>
                  </a:lnTo>
                  <a:lnTo>
                    <a:pt x="55" y="225"/>
                  </a:lnTo>
                  <a:lnTo>
                    <a:pt x="52" y="231"/>
                  </a:lnTo>
                  <a:lnTo>
                    <a:pt x="43" y="229"/>
                  </a:lnTo>
                  <a:lnTo>
                    <a:pt x="32" y="235"/>
                  </a:lnTo>
                  <a:lnTo>
                    <a:pt x="17" y="227"/>
                  </a:lnTo>
                  <a:lnTo>
                    <a:pt x="11" y="228"/>
                  </a:lnTo>
                  <a:lnTo>
                    <a:pt x="7" y="242"/>
                  </a:lnTo>
                  <a:lnTo>
                    <a:pt x="0" y="247"/>
                  </a:lnTo>
                  <a:lnTo>
                    <a:pt x="0" y="261"/>
                  </a:lnTo>
                  <a:lnTo>
                    <a:pt x="5" y="275"/>
                  </a:lnTo>
                  <a:lnTo>
                    <a:pt x="13" y="282"/>
                  </a:lnTo>
                  <a:lnTo>
                    <a:pt x="14" y="291"/>
                  </a:lnTo>
                  <a:lnTo>
                    <a:pt x="13" y="298"/>
                  </a:lnTo>
                  <a:lnTo>
                    <a:pt x="14" y="307"/>
                  </a:lnTo>
                  <a:lnTo>
                    <a:pt x="17" y="307"/>
                  </a:lnTo>
                  <a:lnTo>
                    <a:pt x="23" y="304"/>
                  </a:lnTo>
                  <a:lnTo>
                    <a:pt x="27" y="305"/>
                  </a:lnTo>
                  <a:lnTo>
                    <a:pt x="32" y="310"/>
                  </a:lnTo>
                  <a:lnTo>
                    <a:pt x="41" y="312"/>
                  </a:lnTo>
                  <a:lnTo>
                    <a:pt x="47" y="308"/>
                  </a:lnTo>
                  <a:lnTo>
                    <a:pt x="54" y="304"/>
                  </a:lnTo>
                  <a:lnTo>
                    <a:pt x="58" y="301"/>
                  </a:lnTo>
                  <a:lnTo>
                    <a:pt x="63" y="302"/>
                  </a:lnTo>
                  <a:lnTo>
                    <a:pt x="68" y="307"/>
                  </a:lnTo>
                  <a:lnTo>
                    <a:pt x="70" y="313"/>
                  </a:lnTo>
                  <a:lnTo>
                    <a:pt x="79" y="324"/>
                  </a:lnTo>
                  <a:lnTo>
                    <a:pt x="74" y="329"/>
                  </a:lnTo>
                  <a:lnTo>
                    <a:pt x="73" y="338"/>
                  </a:lnTo>
                  <a:lnTo>
                    <a:pt x="78" y="335"/>
                  </a:lnTo>
                  <a:lnTo>
                    <a:pt x="81" y="338"/>
                  </a:lnTo>
                  <a:lnTo>
                    <a:pt x="79" y="345"/>
                  </a:lnTo>
                  <a:lnTo>
                    <a:pt x="85" y="352"/>
                  </a:lnTo>
                  <a:lnTo>
                    <a:pt x="88" y="349"/>
                  </a:lnTo>
                  <a:lnTo>
                    <a:pt x="94" y="352"/>
                  </a:lnTo>
                  <a:lnTo>
                    <a:pt x="111" y="353"/>
                  </a:lnTo>
                  <a:lnTo>
                    <a:pt x="114" y="346"/>
                  </a:lnTo>
                  <a:lnTo>
                    <a:pt x="118" y="347"/>
                  </a:lnTo>
                  <a:lnTo>
                    <a:pt x="124" y="344"/>
                  </a:lnTo>
                  <a:lnTo>
                    <a:pt x="127" y="354"/>
                  </a:lnTo>
                  <a:lnTo>
                    <a:pt x="132" y="351"/>
                  </a:lnTo>
                  <a:lnTo>
                    <a:pt x="140" y="348"/>
                  </a:lnTo>
                  <a:lnTo>
                    <a:pt x="139" y="334"/>
                  </a:lnTo>
                  <a:lnTo>
                    <a:pt x="145" y="324"/>
                  </a:lnTo>
                  <a:lnTo>
                    <a:pt x="144" y="315"/>
                  </a:lnTo>
                  <a:lnTo>
                    <a:pt x="161" y="296"/>
                  </a:lnTo>
                  <a:lnTo>
                    <a:pt x="164" y="280"/>
                  </a:lnTo>
                  <a:lnTo>
                    <a:pt x="170" y="274"/>
                  </a:lnTo>
                  <a:lnTo>
                    <a:pt x="180" y="277"/>
                  </a:lnTo>
                  <a:lnTo>
                    <a:pt x="189" y="272"/>
                  </a:lnTo>
                  <a:lnTo>
                    <a:pt x="192" y="267"/>
                  </a:lnTo>
                  <a:lnTo>
                    <a:pt x="208" y="255"/>
                  </a:lnTo>
                  <a:lnTo>
                    <a:pt x="211" y="248"/>
                  </a:lnTo>
                  <a:lnTo>
                    <a:pt x="231" y="239"/>
                  </a:lnTo>
                  <a:lnTo>
                    <a:pt x="242" y="235"/>
                  </a:lnTo>
                  <a:lnTo>
                    <a:pt x="248" y="240"/>
                  </a:lnTo>
                  <a:lnTo>
                    <a:pt x="261" y="240"/>
                  </a:lnTo>
                  <a:lnTo>
                    <a:pt x="275" y="239"/>
                  </a:lnTo>
                  <a:lnTo>
                    <a:pt x="282" y="230"/>
                  </a:lnTo>
                  <a:lnTo>
                    <a:pt x="310" y="227"/>
                  </a:lnTo>
                  <a:lnTo>
                    <a:pt x="329" y="224"/>
                  </a:lnTo>
                  <a:lnTo>
                    <a:pt x="331" y="210"/>
                  </a:lnTo>
                  <a:lnTo>
                    <a:pt x="342" y="194"/>
                  </a:lnTo>
                  <a:lnTo>
                    <a:pt x="341" y="139"/>
                  </a:lnTo>
                  <a:lnTo>
                    <a:pt x="341" y="1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1" name="Myanmar">
              <a:extLst>
                <a:ext uri="{FF2B5EF4-FFF2-40B4-BE49-F238E27FC236}">
                  <a16:creationId xmlns:a16="http://schemas.microsoft.com/office/drawing/2014/main" id="{B8E3D1B5-56D8-4945-A511-8DB2F8E9DAEA}"/>
                </a:ext>
              </a:extLst>
            </p:cNvPr>
            <p:cNvSpPr>
              <a:spLocks/>
            </p:cNvSpPr>
            <p:nvPr/>
          </p:nvSpPr>
          <p:spPr bwMode="auto">
            <a:xfrm>
              <a:off x="9009856" y="2993798"/>
              <a:ext cx="290512" cy="693738"/>
            </a:xfrm>
            <a:custGeom>
              <a:avLst/>
              <a:gdLst>
                <a:gd name="T0" fmla="*/ 180 w 183"/>
                <a:gd name="T1" fmla="*/ 154 h 437"/>
                <a:gd name="T2" fmla="*/ 156 w 183"/>
                <a:gd name="T3" fmla="*/ 156 h 437"/>
                <a:gd name="T4" fmla="*/ 142 w 183"/>
                <a:gd name="T5" fmla="*/ 128 h 437"/>
                <a:gd name="T6" fmla="*/ 120 w 183"/>
                <a:gd name="T7" fmla="*/ 101 h 437"/>
                <a:gd name="T8" fmla="*/ 97 w 183"/>
                <a:gd name="T9" fmla="*/ 77 h 437"/>
                <a:gd name="T10" fmla="*/ 109 w 183"/>
                <a:gd name="T11" fmla="*/ 37 h 437"/>
                <a:gd name="T12" fmla="*/ 94 w 183"/>
                <a:gd name="T13" fmla="*/ 13 h 437"/>
                <a:gd name="T14" fmla="*/ 72 w 183"/>
                <a:gd name="T15" fmla="*/ 1 h 437"/>
                <a:gd name="T16" fmla="*/ 71 w 183"/>
                <a:gd name="T17" fmla="*/ 15 h 437"/>
                <a:gd name="T18" fmla="*/ 59 w 183"/>
                <a:gd name="T19" fmla="*/ 25 h 437"/>
                <a:gd name="T20" fmla="*/ 41 w 183"/>
                <a:gd name="T21" fmla="*/ 55 h 437"/>
                <a:gd name="T22" fmla="*/ 33 w 183"/>
                <a:gd name="T23" fmla="*/ 87 h 437"/>
                <a:gd name="T24" fmla="*/ 11 w 183"/>
                <a:gd name="T25" fmla="*/ 101 h 437"/>
                <a:gd name="T26" fmla="*/ 11 w 183"/>
                <a:gd name="T27" fmla="*/ 134 h 437"/>
                <a:gd name="T28" fmla="*/ 5 w 183"/>
                <a:gd name="T29" fmla="*/ 150 h 437"/>
                <a:gd name="T30" fmla="*/ 0 w 183"/>
                <a:gd name="T31" fmla="*/ 163 h 437"/>
                <a:gd name="T32" fmla="*/ 20 w 183"/>
                <a:gd name="T33" fmla="*/ 201 h 437"/>
                <a:gd name="T34" fmla="*/ 31 w 183"/>
                <a:gd name="T35" fmla="*/ 213 h 437"/>
                <a:gd name="T36" fmla="*/ 59 w 183"/>
                <a:gd name="T37" fmla="*/ 262 h 437"/>
                <a:gd name="T38" fmla="*/ 69 w 183"/>
                <a:gd name="T39" fmla="*/ 297 h 437"/>
                <a:gd name="T40" fmla="*/ 102 w 183"/>
                <a:gd name="T41" fmla="*/ 282 h 437"/>
                <a:gd name="T42" fmla="*/ 127 w 183"/>
                <a:gd name="T43" fmla="*/ 290 h 437"/>
                <a:gd name="T44" fmla="*/ 143 w 183"/>
                <a:gd name="T45" fmla="*/ 349 h 437"/>
                <a:gd name="T46" fmla="*/ 154 w 183"/>
                <a:gd name="T47" fmla="*/ 387 h 437"/>
                <a:gd name="T48" fmla="*/ 157 w 183"/>
                <a:gd name="T49" fmla="*/ 419 h 437"/>
                <a:gd name="T50" fmla="*/ 169 w 183"/>
                <a:gd name="T51" fmla="*/ 413 h 437"/>
                <a:gd name="T52" fmla="*/ 168 w 183"/>
                <a:gd name="T53" fmla="*/ 369 h 437"/>
                <a:gd name="T54" fmla="*/ 164 w 183"/>
                <a:gd name="T55" fmla="*/ 345 h 437"/>
                <a:gd name="T56" fmla="*/ 141 w 183"/>
                <a:gd name="T57" fmla="*/ 314 h 437"/>
                <a:gd name="T58" fmla="*/ 153 w 183"/>
                <a:gd name="T59" fmla="*/ 289 h 437"/>
                <a:gd name="T60" fmla="*/ 127 w 183"/>
                <a:gd name="T61" fmla="*/ 256 h 437"/>
                <a:gd name="T62" fmla="*/ 122 w 183"/>
                <a:gd name="T63" fmla="*/ 231 h 437"/>
                <a:gd name="T64" fmla="*/ 142 w 183"/>
                <a:gd name="T65" fmla="*/ 204 h 437"/>
                <a:gd name="T66" fmla="*/ 164 w 183"/>
                <a:gd name="T67" fmla="*/ 188 h 437"/>
                <a:gd name="T68" fmla="*/ 183 w 183"/>
                <a:gd name="T69" fmla="*/ 164 h 4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83" h="437">
                  <a:moveTo>
                    <a:pt x="183" y="164"/>
                  </a:moveTo>
                  <a:lnTo>
                    <a:pt x="180" y="154"/>
                  </a:lnTo>
                  <a:lnTo>
                    <a:pt x="166" y="161"/>
                  </a:lnTo>
                  <a:lnTo>
                    <a:pt x="156" y="156"/>
                  </a:lnTo>
                  <a:lnTo>
                    <a:pt x="140" y="148"/>
                  </a:lnTo>
                  <a:lnTo>
                    <a:pt x="142" y="128"/>
                  </a:lnTo>
                  <a:lnTo>
                    <a:pt x="128" y="123"/>
                  </a:lnTo>
                  <a:lnTo>
                    <a:pt x="120" y="101"/>
                  </a:lnTo>
                  <a:lnTo>
                    <a:pt x="99" y="105"/>
                  </a:lnTo>
                  <a:lnTo>
                    <a:pt x="97" y="77"/>
                  </a:lnTo>
                  <a:lnTo>
                    <a:pt x="112" y="57"/>
                  </a:lnTo>
                  <a:lnTo>
                    <a:pt x="109" y="37"/>
                  </a:lnTo>
                  <a:lnTo>
                    <a:pt x="104" y="19"/>
                  </a:lnTo>
                  <a:lnTo>
                    <a:pt x="94" y="13"/>
                  </a:lnTo>
                  <a:lnTo>
                    <a:pt x="84" y="0"/>
                  </a:lnTo>
                  <a:lnTo>
                    <a:pt x="72" y="1"/>
                  </a:lnTo>
                  <a:lnTo>
                    <a:pt x="76" y="10"/>
                  </a:lnTo>
                  <a:lnTo>
                    <a:pt x="71" y="15"/>
                  </a:lnTo>
                  <a:lnTo>
                    <a:pt x="75" y="29"/>
                  </a:lnTo>
                  <a:lnTo>
                    <a:pt x="59" y="25"/>
                  </a:lnTo>
                  <a:lnTo>
                    <a:pt x="37" y="41"/>
                  </a:lnTo>
                  <a:lnTo>
                    <a:pt x="41" y="55"/>
                  </a:lnTo>
                  <a:lnTo>
                    <a:pt x="32" y="75"/>
                  </a:lnTo>
                  <a:lnTo>
                    <a:pt x="33" y="87"/>
                  </a:lnTo>
                  <a:lnTo>
                    <a:pt x="28" y="107"/>
                  </a:lnTo>
                  <a:lnTo>
                    <a:pt x="11" y="101"/>
                  </a:lnTo>
                  <a:lnTo>
                    <a:pt x="15" y="125"/>
                  </a:lnTo>
                  <a:lnTo>
                    <a:pt x="11" y="134"/>
                  </a:lnTo>
                  <a:lnTo>
                    <a:pt x="15" y="144"/>
                  </a:lnTo>
                  <a:lnTo>
                    <a:pt x="5" y="150"/>
                  </a:lnTo>
                  <a:lnTo>
                    <a:pt x="7" y="166"/>
                  </a:lnTo>
                  <a:lnTo>
                    <a:pt x="0" y="163"/>
                  </a:lnTo>
                  <a:lnTo>
                    <a:pt x="3" y="181"/>
                  </a:lnTo>
                  <a:lnTo>
                    <a:pt x="20" y="201"/>
                  </a:lnTo>
                  <a:lnTo>
                    <a:pt x="33" y="205"/>
                  </a:lnTo>
                  <a:lnTo>
                    <a:pt x="31" y="213"/>
                  </a:lnTo>
                  <a:lnTo>
                    <a:pt x="52" y="240"/>
                  </a:lnTo>
                  <a:lnTo>
                    <a:pt x="59" y="262"/>
                  </a:lnTo>
                  <a:lnTo>
                    <a:pt x="56" y="291"/>
                  </a:lnTo>
                  <a:lnTo>
                    <a:pt x="69" y="297"/>
                  </a:lnTo>
                  <a:lnTo>
                    <a:pt x="81" y="300"/>
                  </a:lnTo>
                  <a:lnTo>
                    <a:pt x="102" y="282"/>
                  </a:lnTo>
                  <a:lnTo>
                    <a:pt x="114" y="271"/>
                  </a:lnTo>
                  <a:lnTo>
                    <a:pt x="127" y="290"/>
                  </a:lnTo>
                  <a:lnTo>
                    <a:pt x="134" y="320"/>
                  </a:lnTo>
                  <a:lnTo>
                    <a:pt x="143" y="349"/>
                  </a:lnTo>
                  <a:lnTo>
                    <a:pt x="153" y="361"/>
                  </a:lnTo>
                  <a:lnTo>
                    <a:pt x="154" y="387"/>
                  </a:lnTo>
                  <a:lnTo>
                    <a:pt x="162" y="402"/>
                  </a:lnTo>
                  <a:lnTo>
                    <a:pt x="157" y="419"/>
                  </a:lnTo>
                  <a:lnTo>
                    <a:pt x="160" y="437"/>
                  </a:lnTo>
                  <a:lnTo>
                    <a:pt x="169" y="413"/>
                  </a:lnTo>
                  <a:lnTo>
                    <a:pt x="179" y="390"/>
                  </a:lnTo>
                  <a:lnTo>
                    <a:pt x="168" y="369"/>
                  </a:lnTo>
                  <a:lnTo>
                    <a:pt x="168" y="358"/>
                  </a:lnTo>
                  <a:lnTo>
                    <a:pt x="164" y="345"/>
                  </a:lnTo>
                  <a:lnTo>
                    <a:pt x="148" y="325"/>
                  </a:lnTo>
                  <a:lnTo>
                    <a:pt x="141" y="314"/>
                  </a:lnTo>
                  <a:lnTo>
                    <a:pt x="148" y="309"/>
                  </a:lnTo>
                  <a:lnTo>
                    <a:pt x="153" y="289"/>
                  </a:lnTo>
                  <a:lnTo>
                    <a:pt x="142" y="273"/>
                  </a:lnTo>
                  <a:lnTo>
                    <a:pt x="127" y="256"/>
                  </a:lnTo>
                  <a:lnTo>
                    <a:pt x="113" y="234"/>
                  </a:lnTo>
                  <a:lnTo>
                    <a:pt x="122" y="231"/>
                  </a:lnTo>
                  <a:lnTo>
                    <a:pt x="127" y="205"/>
                  </a:lnTo>
                  <a:lnTo>
                    <a:pt x="142" y="204"/>
                  </a:lnTo>
                  <a:lnTo>
                    <a:pt x="153" y="193"/>
                  </a:lnTo>
                  <a:lnTo>
                    <a:pt x="164" y="188"/>
                  </a:lnTo>
                  <a:lnTo>
                    <a:pt x="167" y="179"/>
                  </a:lnTo>
                  <a:lnTo>
                    <a:pt x="183" y="164"/>
                  </a:lnTo>
                  <a:lnTo>
                    <a:pt x="183" y="16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2" name="Montenegro">
              <a:extLst>
                <a:ext uri="{FF2B5EF4-FFF2-40B4-BE49-F238E27FC236}">
                  <a16:creationId xmlns:a16="http://schemas.microsoft.com/office/drawing/2014/main" id="{D18CCF01-9B6A-478E-8B43-27C6C98FDE3B}"/>
                </a:ext>
              </a:extLst>
            </p:cNvPr>
            <p:cNvSpPr>
              <a:spLocks/>
            </p:cNvSpPr>
            <p:nvPr/>
          </p:nvSpPr>
          <p:spPr bwMode="auto">
            <a:xfrm>
              <a:off x="6553994" y="2422299"/>
              <a:ext cx="57150" cy="58738"/>
            </a:xfrm>
            <a:custGeom>
              <a:avLst/>
              <a:gdLst>
                <a:gd name="T0" fmla="*/ 34 w 36"/>
                <a:gd name="T1" fmla="*/ 16 h 37"/>
                <a:gd name="T2" fmla="*/ 36 w 36"/>
                <a:gd name="T3" fmla="*/ 14 h 37"/>
                <a:gd name="T4" fmla="*/ 28 w 36"/>
                <a:gd name="T5" fmla="*/ 9 h 37"/>
                <a:gd name="T6" fmla="*/ 21 w 36"/>
                <a:gd name="T7" fmla="*/ 6 h 37"/>
                <a:gd name="T8" fmla="*/ 18 w 36"/>
                <a:gd name="T9" fmla="*/ 3 h 37"/>
                <a:gd name="T10" fmla="*/ 13 w 36"/>
                <a:gd name="T11" fmla="*/ 0 h 37"/>
                <a:gd name="T12" fmla="*/ 10 w 36"/>
                <a:gd name="T13" fmla="*/ 2 h 37"/>
                <a:gd name="T14" fmla="*/ 4 w 36"/>
                <a:gd name="T15" fmla="*/ 7 h 37"/>
                <a:gd name="T16" fmla="*/ 2 w 36"/>
                <a:gd name="T17" fmla="*/ 19 h 37"/>
                <a:gd name="T18" fmla="*/ 0 w 36"/>
                <a:gd name="T19" fmla="*/ 23 h 37"/>
                <a:gd name="T20" fmla="*/ 0 w 36"/>
                <a:gd name="T21" fmla="*/ 23 h 37"/>
                <a:gd name="T22" fmla="*/ 9 w 36"/>
                <a:gd name="T23" fmla="*/ 28 h 37"/>
                <a:gd name="T24" fmla="*/ 15 w 36"/>
                <a:gd name="T25" fmla="*/ 35 h 37"/>
                <a:gd name="T26" fmla="*/ 19 w 36"/>
                <a:gd name="T27" fmla="*/ 37 h 37"/>
                <a:gd name="T28" fmla="*/ 19 w 36"/>
                <a:gd name="T29" fmla="*/ 37 h 37"/>
                <a:gd name="T30" fmla="*/ 17 w 36"/>
                <a:gd name="T31" fmla="*/ 30 h 37"/>
                <a:gd name="T32" fmla="*/ 25 w 36"/>
                <a:gd name="T33" fmla="*/ 18 h 37"/>
                <a:gd name="T34" fmla="*/ 27 w 36"/>
                <a:gd name="T35" fmla="*/ 23 h 37"/>
                <a:gd name="T36" fmla="*/ 31 w 36"/>
                <a:gd name="T37" fmla="*/ 21 h 37"/>
                <a:gd name="T38" fmla="*/ 34 w 36"/>
                <a:gd name="T39" fmla="*/ 16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6" h="37">
                  <a:moveTo>
                    <a:pt x="34" y="16"/>
                  </a:moveTo>
                  <a:lnTo>
                    <a:pt x="36" y="14"/>
                  </a:lnTo>
                  <a:lnTo>
                    <a:pt x="28" y="9"/>
                  </a:lnTo>
                  <a:lnTo>
                    <a:pt x="21" y="6"/>
                  </a:lnTo>
                  <a:lnTo>
                    <a:pt x="18" y="3"/>
                  </a:lnTo>
                  <a:lnTo>
                    <a:pt x="13" y="0"/>
                  </a:lnTo>
                  <a:lnTo>
                    <a:pt x="10" y="2"/>
                  </a:lnTo>
                  <a:lnTo>
                    <a:pt x="4" y="7"/>
                  </a:lnTo>
                  <a:lnTo>
                    <a:pt x="2" y="19"/>
                  </a:lnTo>
                  <a:lnTo>
                    <a:pt x="0" y="23"/>
                  </a:lnTo>
                  <a:lnTo>
                    <a:pt x="0" y="23"/>
                  </a:lnTo>
                  <a:lnTo>
                    <a:pt x="9" y="28"/>
                  </a:lnTo>
                  <a:lnTo>
                    <a:pt x="15" y="35"/>
                  </a:lnTo>
                  <a:lnTo>
                    <a:pt x="19" y="37"/>
                  </a:lnTo>
                  <a:lnTo>
                    <a:pt x="19" y="37"/>
                  </a:lnTo>
                  <a:lnTo>
                    <a:pt x="17" y="30"/>
                  </a:lnTo>
                  <a:lnTo>
                    <a:pt x="25" y="18"/>
                  </a:lnTo>
                  <a:lnTo>
                    <a:pt x="27" y="23"/>
                  </a:lnTo>
                  <a:lnTo>
                    <a:pt x="31" y="21"/>
                  </a:lnTo>
                  <a:lnTo>
                    <a:pt x="34"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3" name="Mongolia">
              <a:extLst>
                <a:ext uri="{FF2B5EF4-FFF2-40B4-BE49-F238E27FC236}">
                  <a16:creationId xmlns:a16="http://schemas.microsoft.com/office/drawing/2014/main" id="{74BFEA06-FD4E-432D-B855-78A433FE7B21}"/>
                </a:ext>
              </a:extLst>
            </p:cNvPr>
            <p:cNvSpPr>
              <a:spLocks/>
            </p:cNvSpPr>
            <p:nvPr/>
          </p:nvSpPr>
          <p:spPr bwMode="auto">
            <a:xfrm>
              <a:off x="8544719" y="2109561"/>
              <a:ext cx="987425" cy="382588"/>
            </a:xfrm>
            <a:custGeom>
              <a:avLst/>
              <a:gdLst>
                <a:gd name="T0" fmla="*/ 237 w 622"/>
                <a:gd name="T1" fmla="*/ 17 h 241"/>
                <a:gd name="T2" fmla="*/ 194 w 622"/>
                <a:gd name="T3" fmla="*/ 9 h 241"/>
                <a:gd name="T4" fmla="*/ 164 w 622"/>
                <a:gd name="T5" fmla="*/ 23 h 241"/>
                <a:gd name="T6" fmla="*/ 169 w 622"/>
                <a:gd name="T7" fmla="*/ 53 h 241"/>
                <a:gd name="T8" fmla="*/ 121 w 622"/>
                <a:gd name="T9" fmla="*/ 46 h 241"/>
                <a:gd name="T10" fmla="*/ 84 w 622"/>
                <a:gd name="T11" fmla="*/ 35 h 241"/>
                <a:gd name="T12" fmla="*/ 42 w 622"/>
                <a:gd name="T13" fmla="*/ 39 h 241"/>
                <a:gd name="T14" fmla="*/ 0 w 622"/>
                <a:gd name="T15" fmla="*/ 62 h 241"/>
                <a:gd name="T16" fmla="*/ 34 w 622"/>
                <a:gd name="T17" fmla="*/ 91 h 241"/>
                <a:gd name="T18" fmla="*/ 86 w 622"/>
                <a:gd name="T19" fmla="*/ 118 h 241"/>
                <a:gd name="T20" fmla="*/ 102 w 622"/>
                <a:gd name="T21" fmla="*/ 156 h 241"/>
                <a:gd name="T22" fmla="*/ 153 w 622"/>
                <a:gd name="T23" fmla="*/ 163 h 241"/>
                <a:gd name="T24" fmla="*/ 195 w 622"/>
                <a:gd name="T25" fmla="*/ 180 h 241"/>
                <a:gd name="T26" fmla="*/ 231 w 622"/>
                <a:gd name="T27" fmla="*/ 214 h 241"/>
                <a:gd name="T28" fmla="*/ 294 w 622"/>
                <a:gd name="T29" fmla="*/ 219 h 241"/>
                <a:gd name="T30" fmla="*/ 337 w 622"/>
                <a:gd name="T31" fmla="*/ 219 h 241"/>
                <a:gd name="T32" fmla="*/ 395 w 622"/>
                <a:gd name="T33" fmla="*/ 233 h 241"/>
                <a:gd name="T34" fmla="*/ 424 w 622"/>
                <a:gd name="T35" fmla="*/ 228 h 241"/>
                <a:gd name="T36" fmla="*/ 479 w 622"/>
                <a:gd name="T37" fmla="*/ 219 h 241"/>
                <a:gd name="T38" fmla="*/ 505 w 622"/>
                <a:gd name="T39" fmla="*/ 199 h 241"/>
                <a:gd name="T40" fmla="*/ 506 w 622"/>
                <a:gd name="T41" fmla="*/ 184 h 241"/>
                <a:gd name="T42" fmla="*/ 497 w 622"/>
                <a:gd name="T43" fmla="*/ 160 h 241"/>
                <a:gd name="T44" fmla="*/ 532 w 622"/>
                <a:gd name="T45" fmla="*/ 167 h 241"/>
                <a:gd name="T46" fmla="*/ 566 w 622"/>
                <a:gd name="T47" fmla="*/ 145 h 241"/>
                <a:gd name="T48" fmla="*/ 580 w 622"/>
                <a:gd name="T49" fmla="*/ 124 h 241"/>
                <a:gd name="T50" fmla="*/ 622 w 622"/>
                <a:gd name="T51" fmla="*/ 123 h 241"/>
                <a:gd name="T52" fmla="*/ 592 w 622"/>
                <a:gd name="T53" fmla="*/ 99 h 241"/>
                <a:gd name="T54" fmla="*/ 564 w 622"/>
                <a:gd name="T55" fmla="*/ 100 h 241"/>
                <a:gd name="T56" fmla="*/ 535 w 622"/>
                <a:gd name="T57" fmla="*/ 100 h 241"/>
                <a:gd name="T58" fmla="*/ 524 w 622"/>
                <a:gd name="T59" fmla="*/ 66 h 241"/>
                <a:gd name="T60" fmla="*/ 501 w 622"/>
                <a:gd name="T61" fmla="*/ 51 h 241"/>
                <a:gd name="T62" fmla="*/ 474 w 622"/>
                <a:gd name="T63" fmla="*/ 41 h 241"/>
                <a:gd name="T64" fmla="*/ 435 w 622"/>
                <a:gd name="T65" fmla="*/ 60 h 241"/>
                <a:gd name="T66" fmla="*/ 397 w 622"/>
                <a:gd name="T67" fmla="*/ 63 h 241"/>
                <a:gd name="T68" fmla="*/ 362 w 622"/>
                <a:gd name="T69" fmla="*/ 51 h 241"/>
                <a:gd name="T70" fmla="*/ 318 w 622"/>
                <a:gd name="T71" fmla="*/ 37 h 241"/>
                <a:gd name="T72" fmla="*/ 281 w 622"/>
                <a:gd name="T73" fmla="*/ 45 h 241"/>
                <a:gd name="T74" fmla="*/ 251 w 622"/>
                <a:gd name="T75" fmla="*/ 34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622" h="241">
                  <a:moveTo>
                    <a:pt x="251" y="34"/>
                  </a:moveTo>
                  <a:lnTo>
                    <a:pt x="237" y="17"/>
                  </a:lnTo>
                  <a:lnTo>
                    <a:pt x="212" y="12"/>
                  </a:lnTo>
                  <a:lnTo>
                    <a:pt x="194" y="9"/>
                  </a:lnTo>
                  <a:lnTo>
                    <a:pt x="168" y="0"/>
                  </a:lnTo>
                  <a:lnTo>
                    <a:pt x="164" y="23"/>
                  </a:lnTo>
                  <a:lnTo>
                    <a:pt x="179" y="37"/>
                  </a:lnTo>
                  <a:lnTo>
                    <a:pt x="169" y="53"/>
                  </a:lnTo>
                  <a:lnTo>
                    <a:pt x="139" y="47"/>
                  </a:lnTo>
                  <a:lnTo>
                    <a:pt x="121" y="46"/>
                  </a:lnTo>
                  <a:lnTo>
                    <a:pt x="104" y="35"/>
                  </a:lnTo>
                  <a:lnTo>
                    <a:pt x="84" y="35"/>
                  </a:lnTo>
                  <a:lnTo>
                    <a:pt x="65" y="28"/>
                  </a:lnTo>
                  <a:lnTo>
                    <a:pt x="42" y="39"/>
                  </a:lnTo>
                  <a:lnTo>
                    <a:pt x="18" y="59"/>
                  </a:lnTo>
                  <a:lnTo>
                    <a:pt x="0" y="62"/>
                  </a:lnTo>
                  <a:lnTo>
                    <a:pt x="12" y="79"/>
                  </a:lnTo>
                  <a:lnTo>
                    <a:pt x="34" y="91"/>
                  </a:lnTo>
                  <a:lnTo>
                    <a:pt x="65" y="100"/>
                  </a:lnTo>
                  <a:lnTo>
                    <a:pt x="86" y="118"/>
                  </a:lnTo>
                  <a:lnTo>
                    <a:pt x="91" y="146"/>
                  </a:lnTo>
                  <a:lnTo>
                    <a:pt x="102" y="156"/>
                  </a:lnTo>
                  <a:lnTo>
                    <a:pt x="126" y="159"/>
                  </a:lnTo>
                  <a:lnTo>
                    <a:pt x="153" y="163"/>
                  </a:lnTo>
                  <a:lnTo>
                    <a:pt x="182" y="177"/>
                  </a:lnTo>
                  <a:lnTo>
                    <a:pt x="195" y="180"/>
                  </a:lnTo>
                  <a:lnTo>
                    <a:pt x="213" y="201"/>
                  </a:lnTo>
                  <a:lnTo>
                    <a:pt x="231" y="214"/>
                  </a:lnTo>
                  <a:lnTo>
                    <a:pt x="251" y="214"/>
                  </a:lnTo>
                  <a:lnTo>
                    <a:pt x="294" y="219"/>
                  </a:lnTo>
                  <a:lnTo>
                    <a:pt x="317" y="216"/>
                  </a:lnTo>
                  <a:lnTo>
                    <a:pt x="337" y="219"/>
                  </a:lnTo>
                  <a:lnTo>
                    <a:pt x="373" y="234"/>
                  </a:lnTo>
                  <a:lnTo>
                    <a:pt x="395" y="233"/>
                  </a:lnTo>
                  <a:lnTo>
                    <a:pt x="407" y="241"/>
                  </a:lnTo>
                  <a:lnTo>
                    <a:pt x="424" y="228"/>
                  </a:lnTo>
                  <a:lnTo>
                    <a:pt x="451" y="220"/>
                  </a:lnTo>
                  <a:lnTo>
                    <a:pt x="479" y="219"/>
                  </a:lnTo>
                  <a:lnTo>
                    <a:pt x="497" y="212"/>
                  </a:lnTo>
                  <a:lnTo>
                    <a:pt x="505" y="199"/>
                  </a:lnTo>
                  <a:lnTo>
                    <a:pt x="514" y="191"/>
                  </a:lnTo>
                  <a:lnTo>
                    <a:pt x="506" y="184"/>
                  </a:lnTo>
                  <a:lnTo>
                    <a:pt x="496" y="175"/>
                  </a:lnTo>
                  <a:lnTo>
                    <a:pt x="497" y="160"/>
                  </a:lnTo>
                  <a:lnTo>
                    <a:pt x="509" y="162"/>
                  </a:lnTo>
                  <a:lnTo>
                    <a:pt x="532" y="167"/>
                  </a:lnTo>
                  <a:lnTo>
                    <a:pt x="543" y="155"/>
                  </a:lnTo>
                  <a:lnTo>
                    <a:pt x="566" y="145"/>
                  </a:lnTo>
                  <a:lnTo>
                    <a:pt x="572" y="130"/>
                  </a:lnTo>
                  <a:lnTo>
                    <a:pt x="580" y="124"/>
                  </a:lnTo>
                  <a:lnTo>
                    <a:pt x="606" y="120"/>
                  </a:lnTo>
                  <a:lnTo>
                    <a:pt x="622" y="123"/>
                  </a:lnTo>
                  <a:lnTo>
                    <a:pt x="619" y="115"/>
                  </a:lnTo>
                  <a:lnTo>
                    <a:pt x="592" y="99"/>
                  </a:lnTo>
                  <a:lnTo>
                    <a:pt x="574" y="91"/>
                  </a:lnTo>
                  <a:lnTo>
                    <a:pt x="564" y="100"/>
                  </a:lnTo>
                  <a:lnTo>
                    <a:pt x="544" y="96"/>
                  </a:lnTo>
                  <a:lnTo>
                    <a:pt x="535" y="100"/>
                  </a:lnTo>
                  <a:lnTo>
                    <a:pt x="525" y="89"/>
                  </a:lnTo>
                  <a:lnTo>
                    <a:pt x="524" y="66"/>
                  </a:lnTo>
                  <a:lnTo>
                    <a:pt x="521" y="49"/>
                  </a:lnTo>
                  <a:lnTo>
                    <a:pt x="501" y="51"/>
                  </a:lnTo>
                  <a:lnTo>
                    <a:pt x="487" y="44"/>
                  </a:lnTo>
                  <a:lnTo>
                    <a:pt x="474" y="41"/>
                  </a:lnTo>
                  <a:lnTo>
                    <a:pt x="457" y="57"/>
                  </a:lnTo>
                  <a:lnTo>
                    <a:pt x="435" y="60"/>
                  </a:lnTo>
                  <a:lnTo>
                    <a:pt x="422" y="67"/>
                  </a:lnTo>
                  <a:lnTo>
                    <a:pt x="397" y="63"/>
                  </a:lnTo>
                  <a:lnTo>
                    <a:pt x="380" y="63"/>
                  </a:lnTo>
                  <a:lnTo>
                    <a:pt x="362" y="51"/>
                  </a:lnTo>
                  <a:lnTo>
                    <a:pt x="337" y="40"/>
                  </a:lnTo>
                  <a:lnTo>
                    <a:pt x="318" y="37"/>
                  </a:lnTo>
                  <a:lnTo>
                    <a:pt x="296" y="40"/>
                  </a:lnTo>
                  <a:lnTo>
                    <a:pt x="281" y="45"/>
                  </a:lnTo>
                  <a:lnTo>
                    <a:pt x="251" y="34"/>
                  </a:lnTo>
                  <a:lnTo>
                    <a:pt x="251" y="3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4" name="Mozambique">
              <a:extLst>
                <a:ext uri="{FF2B5EF4-FFF2-40B4-BE49-F238E27FC236}">
                  <a16:creationId xmlns:a16="http://schemas.microsoft.com/office/drawing/2014/main" id="{581E95E6-3AE8-44F1-800B-403EE068A44E}"/>
                </a:ext>
              </a:extLst>
            </p:cNvPr>
            <p:cNvSpPr>
              <a:spLocks/>
            </p:cNvSpPr>
            <p:nvPr/>
          </p:nvSpPr>
          <p:spPr bwMode="auto">
            <a:xfrm>
              <a:off x="6992144" y="4451122"/>
              <a:ext cx="349250" cy="619125"/>
            </a:xfrm>
            <a:custGeom>
              <a:avLst/>
              <a:gdLst>
                <a:gd name="T0" fmla="*/ 215 w 220"/>
                <a:gd name="T1" fmla="*/ 0 h 390"/>
                <a:gd name="T2" fmla="*/ 215 w 220"/>
                <a:gd name="T3" fmla="*/ 0 h 390"/>
                <a:gd name="T4" fmla="*/ 174 w 220"/>
                <a:gd name="T5" fmla="*/ 23 h 390"/>
                <a:gd name="T6" fmla="*/ 154 w 220"/>
                <a:gd name="T7" fmla="*/ 30 h 390"/>
                <a:gd name="T8" fmla="*/ 134 w 220"/>
                <a:gd name="T9" fmla="*/ 34 h 390"/>
                <a:gd name="T10" fmla="*/ 102 w 220"/>
                <a:gd name="T11" fmla="*/ 28 h 390"/>
                <a:gd name="T12" fmla="*/ 98 w 220"/>
                <a:gd name="T13" fmla="*/ 77 h 390"/>
                <a:gd name="T14" fmla="*/ 106 w 220"/>
                <a:gd name="T15" fmla="*/ 85 h 390"/>
                <a:gd name="T16" fmla="*/ 115 w 220"/>
                <a:gd name="T17" fmla="*/ 133 h 390"/>
                <a:gd name="T18" fmla="*/ 98 w 220"/>
                <a:gd name="T19" fmla="*/ 154 h 390"/>
                <a:gd name="T20" fmla="*/ 85 w 220"/>
                <a:gd name="T21" fmla="*/ 122 h 390"/>
                <a:gd name="T22" fmla="*/ 89 w 220"/>
                <a:gd name="T23" fmla="*/ 102 h 390"/>
                <a:gd name="T24" fmla="*/ 75 w 220"/>
                <a:gd name="T25" fmla="*/ 98 h 390"/>
                <a:gd name="T26" fmla="*/ 0 w 220"/>
                <a:gd name="T27" fmla="*/ 106 h 390"/>
                <a:gd name="T28" fmla="*/ 2 w 220"/>
                <a:gd name="T29" fmla="*/ 133 h 390"/>
                <a:gd name="T30" fmla="*/ 29 w 220"/>
                <a:gd name="T31" fmla="*/ 137 h 390"/>
                <a:gd name="T32" fmla="*/ 43 w 220"/>
                <a:gd name="T33" fmla="*/ 145 h 390"/>
                <a:gd name="T34" fmla="*/ 52 w 220"/>
                <a:gd name="T35" fmla="*/ 182 h 390"/>
                <a:gd name="T36" fmla="*/ 46 w 220"/>
                <a:gd name="T37" fmla="*/ 217 h 390"/>
                <a:gd name="T38" fmla="*/ 46 w 220"/>
                <a:gd name="T39" fmla="*/ 237 h 390"/>
                <a:gd name="T40" fmla="*/ 36 w 220"/>
                <a:gd name="T41" fmla="*/ 257 h 390"/>
                <a:gd name="T42" fmla="*/ 21 w 220"/>
                <a:gd name="T43" fmla="*/ 317 h 390"/>
                <a:gd name="T44" fmla="*/ 19 w 220"/>
                <a:gd name="T45" fmla="*/ 360 h 390"/>
                <a:gd name="T46" fmla="*/ 23 w 220"/>
                <a:gd name="T47" fmla="*/ 380 h 390"/>
                <a:gd name="T48" fmla="*/ 40 w 220"/>
                <a:gd name="T49" fmla="*/ 390 h 390"/>
                <a:gd name="T50" fmla="*/ 37 w 220"/>
                <a:gd name="T51" fmla="*/ 376 h 390"/>
                <a:gd name="T52" fmla="*/ 46 w 220"/>
                <a:gd name="T53" fmla="*/ 358 h 390"/>
                <a:gd name="T54" fmla="*/ 89 w 220"/>
                <a:gd name="T55" fmla="*/ 337 h 390"/>
                <a:gd name="T56" fmla="*/ 102 w 220"/>
                <a:gd name="T57" fmla="*/ 318 h 390"/>
                <a:gd name="T58" fmla="*/ 101 w 220"/>
                <a:gd name="T59" fmla="*/ 303 h 390"/>
                <a:gd name="T60" fmla="*/ 99 w 220"/>
                <a:gd name="T61" fmla="*/ 281 h 390"/>
                <a:gd name="T62" fmla="*/ 96 w 220"/>
                <a:gd name="T63" fmla="*/ 260 h 390"/>
                <a:gd name="T64" fmla="*/ 89 w 220"/>
                <a:gd name="T65" fmla="*/ 225 h 390"/>
                <a:gd name="T66" fmla="*/ 114 w 220"/>
                <a:gd name="T67" fmla="*/ 203 h 390"/>
                <a:gd name="T68" fmla="*/ 146 w 220"/>
                <a:gd name="T69" fmla="*/ 173 h 390"/>
                <a:gd name="T70" fmla="*/ 190 w 220"/>
                <a:gd name="T71" fmla="*/ 152 h 390"/>
                <a:gd name="T72" fmla="*/ 213 w 220"/>
                <a:gd name="T73" fmla="*/ 121 h 390"/>
                <a:gd name="T74" fmla="*/ 216 w 220"/>
                <a:gd name="T75" fmla="*/ 92 h 390"/>
                <a:gd name="T76" fmla="*/ 216 w 220"/>
                <a:gd name="T77" fmla="*/ 34 h 390"/>
                <a:gd name="T78" fmla="*/ 217 w 220"/>
                <a:gd name="T79" fmla="*/ 11 h 3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20" h="390">
                  <a:moveTo>
                    <a:pt x="217" y="11"/>
                  </a:moveTo>
                  <a:lnTo>
                    <a:pt x="215" y="0"/>
                  </a:lnTo>
                  <a:lnTo>
                    <a:pt x="215" y="0"/>
                  </a:lnTo>
                  <a:lnTo>
                    <a:pt x="215" y="0"/>
                  </a:lnTo>
                  <a:lnTo>
                    <a:pt x="197" y="14"/>
                  </a:lnTo>
                  <a:lnTo>
                    <a:pt x="174" y="23"/>
                  </a:lnTo>
                  <a:lnTo>
                    <a:pt x="161" y="23"/>
                  </a:lnTo>
                  <a:lnTo>
                    <a:pt x="154" y="30"/>
                  </a:lnTo>
                  <a:lnTo>
                    <a:pt x="139" y="31"/>
                  </a:lnTo>
                  <a:lnTo>
                    <a:pt x="134" y="34"/>
                  </a:lnTo>
                  <a:lnTo>
                    <a:pt x="109" y="27"/>
                  </a:lnTo>
                  <a:lnTo>
                    <a:pt x="102" y="28"/>
                  </a:lnTo>
                  <a:lnTo>
                    <a:pt x="95" y="50"/>
                  </a:lnTo>
                  <a:lnTo>
                    <a:pt x="98" y="77"/>
                  </a:lnTo>
                  <a:lnTo>
                    <a:pt x="99" y="77"/>
                  </a:lnTo>
                  <a:lnTo>
                    <a:pt x="106" y="85"/>
                  </a:lnTo>
                  <a:lnTo>
                    <a:pt x="115" y="102"/>
                  </a:lnTo>
                  <a:lnTo>
                    <a:pt x="115" y="133"/>
                  </a:lnTo>
                  <a:lnTo>
                    <a:pt x="105" y="137"/>
                  </a:lnTo>
                  <a:lnTo>
                    <a:pt x="98" y="154"/>
                  </a:lnTo>
                  <a:lnTo>
                    <a:pt x="86" y="139"/>
                  </a:lnTo>
                  <a:lnTo>
                    <a:pt x="85" y="122"/>
                  </a:lnTo>
                  <a:lnTo>
                    <a:pt x="89" y="112"/>
                  </a:lnTo>
                  <a:lnTo>
                    <a:pt x="89" y="102"/>
                  </a:lnTo>
                  <a:lnTo>
                    <a:pt x="81" y="96"/>
                  </a:lnTo>
                  <a:lnTo>
                    <a:pt x="75" y="98"/>
                  </a:lnTo>
                  <a:lnTo>
                    <a:pt x="63" y="87"/>
                  </a:lnTo>
                  <a:lnTo>
                    <a:pt x="0" y="106"/>
                  </a:lnTo>
                  <a:lnTo>
                    <a:pt x="1" y="123"/>
                  </a:lnTo>
                  <a:lnTo>
                    <a:pt x="2" y="133"/>
                  </a:lnTo>
                  <a:lnTo>
                    <a:pt x="19" y="132"/>
                  </a:lnTo>
                  <a:lnTo>
                    <a:pt x="29" y="137"/>
                  </a:lnTo>
                  <a:lnTo>
                    <a:pt x="33" y="143"/>
                  </a:lnTo>
                  <a:lnTo>
                    <a:pt x="43" y="145"/>
                  </a:lnTo>
                  <a:lnTo>
                    <a:pt x="53" y="152"/>
                  </a:lnTo>
                  <a:lnTo>
                    <a:pt x="52" y="182"/>
                  </a:lnTo>
                  <a:lnTo>
                    <a:pt x="47" y="199"/>
                  </a:lnTo>
                  <a:lnTo>
                    <a:pt x="46" y="217"/>
                  </a:lnTo>
                  <a:lnTo>
                    <a:pt x="48" y="223"/>
                  </a:lnTo>
                  <a:lnTo>
                    <a:pt x="46" y="237"/>
                  </a:lnTo>
                  <a:lnTo>
                    <a:pt x="42" y="240"/>
                  </a:lnTo>
                  <a:lnTo>
                    <a:pt x="36" y="257"/>
                  </a:lnTo>
                  <a:lnTo>
                    <a:pt x="13" y="284"/>
                  </a:lnTo>
                  <a:lnTo>
                    <a:pt x="21" y="317"/>
                  </a:lnTo>
                  <a:lnTo>
                    <a:pt x="25" y="334"/>
                  </a:lnTo>
                  <a:lnTo>
                    <a:pt x="19" y="360"/>
                  </a:lnTo>
                  <a:lnTo>
                    <a:pt x="21" y="369"/>
                  </a:lnTo>
                  <a:lnTo>
                    <a:pt x="23" y="380"/>
                  </a:lnTo>
                  <a:lnTo>
                    <a:pt x="25" y="390"/>
                  </a:lnTo>
                  <a:lnTo>
                    <a:pt x="40" y="390"/>
                  </a:lnTo>
                  <a:lnTo>
                    <a:pt x="43" y="378"/>
                  </a:lnTo>
                  <a:lnTo>
                    <a:pt x="37" y="376"/>
                  </a:lnTo>
                  <a:lnTo>
                    <a:pt x="36" y="367"/>
                  </a:lnTo>
                  <a:lnTo>
                    <a:pt x="46" y="358"/>
                  </a:lnTo>
                  <a:lnTo>
                    <a:pt x="72" y="344"/>
                  </a:lnTo>
                  <a:lnTo>
                    <a:pt x="89" y="337"/>
                  </a:lnTo>
                  <a:lnTo>
                    <a:pt x="98" y="328"/>
                  </a:lnTo>
                  <a:lnTo>
                    <a:pt x="102" y="318"/>
                  </a:lnTo>
                  <a:lnTo>
                    <a:pt x="97" y="315"/>
                  </a:lnTo>
                  <a:lnTo>
                    <a:pt x="101" y="303"/>
                  </a:lnTo>
                  <a:lnTo>
                    <a:pt x="103" y="280"/>
                  </a:lnTo>
                  <a:lnTo>
                    <a:pt x="99" y="281"/>
                  </a:lnTo>
                  <a:lnTo>
                    <a:pt x="99" y="273"/>
                  </a:lnTo>
                  <a:lnTo>
                    <a:pt x="96" y="260"/>
                  </a:lnTo>
                  <a:lnTo>
                    <a:pt x="87" y="242"/>
                  </a:lnTo>
                  <a:lnTo>
                    <a:pt x="89" y="225"/>
                  </a:lnTo>
                  <a:lnTo>
                    <a:pt x="98" y="219"/>
                  </a:lnTo>
                  <a:lnTo>
                    <a:pt x="114" y="203"/>
                  </a:lnTo>
                  <a:lnTo>
                    <a:pt x="122" y="199"/>
                  </a:lnTo>
                  <a:lnTo>
                    <a:pt x="146" y="173"/>
                  </a:lnTo>
                  <a:lnTo>
                    <a:pt x="171" y="161"/>
                  </a:lnTo>
                  <a:lnTo>
                    <a:pt x="190" y="152"/>
                  </a:lnTo>
                  <a:lnTo>
                    <a:pt x="204" y="137"/>
                  </a:lnTo>
                  <a:lnTo>
                    <a:pt x="213" y="121"/>
                  </a:lnTo>
                  <a:lnTo>
                    <a:pt x="220" y="104"/>
                  </a:lnTo>
                  <a:lnTo>
                    <a:pt x="216" y="92"/>
                  </a:lnTo>
                  <a:lnTo>
                    <a:pt x="217" y="55"/>
                  </a:lnTo>
                  <a:lnTo>
                    <a:pt x="216" y="34"/>
                  </a:lnTo>
                  <a:lnTo>
                    <a:pt x="217" y="11"/>
                  </a:lnTo>
                  <a:lnTo>
                    <a:pt x="217"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5" name="Mauritania">
              <a:extLst>
                <a:ext uri="{FF2B5EF4-FFF2-40B4-BE49-F238E27FC236}">
                  <a16:creationId xmlns:a16="http://schemas.microsoft.com/office/drawing/2014/main" id="{4D60DA65-7BE0-4CD8-99AF-6E5D3E926C71}"/>
                </a:ext>
              </a:extLst>
            </p:cNvPr>
            <p:cNvSpPr>
              <a:spLocks/>
            </p:cNvSpPr>
            <p:nvPr/>
          </p:nvSpPr>
          <p:spPr bwMode="auto">
            <a:xfrm>
              <a:off x="5437981" y="3028724"/>
              <a:ext cx="398462" cy="482600"/>
            </a:xfrm>
            <a:custGeom>
              <a:avLst/>
              <a:gdLst>
                <a:gd name="T0" fmla="*/ 251 w 251"/>
                <a:gd name="T1" fmla="*/ 57 h 304"/>
                <a:gd name="T2" fmla="*/ 175 w 251"/>
                <a:gd name="T3" fmla="*/ 0 h 304"/>
                <a:gd name="T4" fmla="*/ 174 w 251"/>
                <a:gd name="T5" fmla="*/ 36 h 304"/>
                <a:gd name="T6" fmla="*/ 108 w 251"/>
                <a:gd name="T7" fmla="*/ 35 h 304"/>
                <a:gd name="T8" fmla="*/ 107 w 251"/>
                <a:gd name="T9" fmla="*/ 96 h 304"/>
                <a:gd name="T10" fmla="*/ 87 w 251"/>
                <a:gd name="T11" fmla="*/ 98 h 304"/>
                <a:gd name="T12" fmla="*/ 82 w 251"/>
                <a:gd name="T13" fmla="*/ 110 h 304"/>
                <a:gd name="T14" fmla="*/ 85 w 251"/>
                <a:gd name="T15" fmla="*/ 144 h 304"/>
                <a:gd name="T16" fmla="*/ 5 w 251"/>
                <a:gd name="T17" fmla="*/ 144 h 304"/>
                <a:gd name="T18" fmla="*/ 0 w 251"/>
                <a:gd name="T19" fmla="*/ 152 h 304"/>
                <a:gd name="T20" fmla="*/ 11 w 251"/>
                <a:gd name="T21" fmla="*/ 162 h 304"/>
                <a:gd name="T22" fmla="*/ 16 w 251"/>
                <a:gd name="T23" fmla="*/ 173 h 304"/>
                <a:gd name="T24" fmla="*/ 13 w 251"/>
                <a:gd name="T25" fmla="*/ 185 h 304"/>
                <a:gd name="T26" fmla="*/ 15 w 251"/>
                <a:gd name="T27" fmla="*/ 198 h 304"/>
                <a:gd name="T28" fmla="*/ 17 w 251"/>
                <a:gd name="T29" fmla="*/ 221 h 304"/>
                <a:gd name="T30" fmla="*/ 14 w 251"/>
                <a:gd name="T31" fmla="*/ 243 h 304"/>
                <a:gd name="T32" fmla="*/ 8 w 251"/>
                <a:gd name="T33" fmla="*/ 254 h 304"/>
                <a:gd name="T34" fmla="*/ 10 w 251"/>
                <a:gd name="T35" fmla="*/ 268 h 304"/>
                <a:gd name="T36" fmla="*/ 17 w 251"/>
                <a:gd name="T37" fmla="*/ 260 h 304"/>
                <a:gd name="T38" fmla="*/ 27 w 251"/>
                <a:gd name="T39" fmla="*/ 262 h 304"/>
                <a:gd name="T40" fmla="*/ 38 w 251"/>
                <a:gd name="T41" fmla="*/ 256 h 304"/>
                <a:gd name="T42" fmla="*/ 49 w 251"/>
                <a:gd name="T43" fmla="*/ 256 h 304"/>
                <a:gd name="T44" fmla="*/ 59 w 251"/>
                <a:gd name="T45" fmla="*/ 264 h 304"/>
                <a:gd name="T46" fmla="*/ 72 w 251"/>
                <a:gd name="T47" fmla="*/ 269 h 304"/>
                <a:gd name="T48" fmla="*/ 84 w 251"/>
                <a:gd name="T49" fmla="*/ 287 h 304"/>
                <a:gd name="T50" fmla="*/ 98 w 251"/>
                <a:gd name="T51" fmla="*/ 304 h 304"/>
                <a:gd name="T52" fmla="*/ 105 w 251"/>
                <a:gd name="T53" fmla="*/ 299 h 304"/>
                <a:gd name="T54" fmla="*/ 109 w 251"/>
                <a:gd name="T55" fmla="*/ 285 h 304"/>
                <a:gd name="T56" fmla="*/ 115 w 251"/>
                <a:gd name="T57" fmla="*/ 284 h 304"/>
                <a:gd name="T58" fmla="*/ 130 w 251"/>
                <a:gd name="T59" fmla="*/ 292 h 304"/>
                <a:gd name="T60" fmla="*/ 141 w 251"/>
                <a:gd name="T61" fmla="*/ 286 h 304"/>
                <a:gd name="T62" fmla="*/ 150 w 251"/>
                <a:gd name="T63" fmla="*/ 288 h 304"/>
                <a:gd name="T64" fmla="*/ 153 w 251"/>
                <a:gd name="T65" fmla="*/ 282 h 304"/>
                <a:gd name="T66" fmla="*/ 237 w 251"/>
                <a:gd name="T67" fmla="*/ 282 h 304"/>
                <a:gd name="T68" fmla="*/ 241 w 251"/>
                <a:gd name="T69" fmla="*/ 266 h 304"/>
                <a:gd name="T70" fmla="*/ 238 w 251"/>
                <a:gd name="T71" fmla="*/ 263 h 304"/>
                <a:gd name="T72" fmla="*/ 228 w 251"/>
                <a:gd name="T73" fmla="*/ 160 h 304"/>
                <a:gd name="T74" fmla="*/ 220 w 251"/>
                <a:gd name="T75" fmla="*/ 58 h 304"/>
                <a:gd name="T76" fmla="*/ 251 w 251"/>
                <a:gd name="T77" fmla="*/ 57 h 304"/>
                <a:gd name="T78" fmla="*/ 251 w 251"/>
                <a:gd name="T79" fmla="*/ 57 h 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51" h="304">
                  <a:moveTo>
                    <a:pt x="251" y="57"/>
                  </a:moveTo>
                  <a:lnTo>
                    <a:pt x="175" y="0"/>
                  </a:lnTo>
                  <a:lnTo>
                    <a:pt x="174" y="36"/>
                  </a:lnTo>
                  <a:lnTo>
                    <a:pt x="108" y="35"/>
                  </a:lnTo>
                  <a:lnTo>
                    <a:pt x="107" y="96"/>
                  </a:lnTo>
                  <a:lnTo>
                    <a:pt x="87" y="98"/>
                  </a:lnTo>
                  <a:lnTo>
                    <a:pt x="82" y="110"/>
                  </a:lnTo>
                  <a:lnTo>
                    <a:pt x="85" y="144"/>
                  </a:lnTo>
                  <a:lnTo>
                    <a:pt x="5" y="144"/>
                  </a:lnTo>
                  <a:lnTo>
                    <a:pt x="0" y="152"/>
                  </a:lnTo>
                  <a:lnTo>
                    <a:pt x="11" y="162"/>
                  </a:lnTo>
                  <a:lnTo>
                    <a:pt x="16" y="173"/>
                  </a:lnTo>
                  <a:lnTo>
                    <a:pt x="13" y="185"/>
                  </a:lnTo>
                  <a:lnTo>
                    <a:pt x="15" y="198"/>
                  </a:lnTo>
                  <a:lnTo>
                    <a:pt x="17" y="221"/>
                  </a:lnTo>
                  <a:lnTo>
                    <a:pt x="14" y="243"/>
                  </a:lnTo>
                  <a:lnTo>
                    <a:pt x="8" y="254"/>
                  </a:lnTo>
                  <a:lnTo>
                    <a:pt x="10" y="268"/>
                  </a:lnTo>
                  <a:lnTo>
                    <a:pt x="17" y="260"/>
                  </a:lnTo>
                  <a:lnTo>
                    <a:pt x="27" y="262"/>
                  </a:lnTo>
                  <a:lnTo>
                    <a:pt x="38" y="256"/>
                  </a:lnTo>
                  <a:lnTo>
                    <a:pt x="49" y="256"/>
                  </a:lnTo>
                  <a:lnTo>
                    <a:pt x="59" y="264"/>
                  </a:lnTo>
                  <a:lnTo>
                    <a:pt x="72" y="269"/>
                  </a:lnTo>
                  <a:lnTo>
                    <a:pt x="84" y="287"/>
                  </a:lnTo>
                  <a:lnTo>
                    <a:pt x="98" y="304"/>
                  </a:lnTo>
                  <a:lnTo>
                    <a:pt x="105" y="299"/>
                  </a:lnTo>
                  <a:lnTo>
                    <a:pt x="109" y="285"/>
                  </a:lnTo>
                  <a:lnTo>
                    <a:pt x="115" y="284"/>
                  </a:lnTo>
                  <a:lnTo>
                    <a:pt x="130" y="292"/>
                  </a:lnTo>
                  <a:lnTo>
                    <a:pt x="141" y="286"/>
                  </a:lnTo>
                  <a:lnTo>
                    <a:pt x="150" y="288"/>
                  </a:lnTo>
                  <a:lnTo>
                    <a:pt x="153" y="282"/>
                  </a:lnTo>
                  <a:lnTo>
                    <a:pt x="237" y="282"/>
                  </a:lnTo>
                  <a:lnTo>
                    <a:pt x="241" y="266"/>
                  </a:lnTo>
                  <a:lnTo>
                    <a:pt x="238" y="263"/>
                  </a:lnTo>
                  <a:lnTo>
                    <a:pt x="228" y="160"/>
                  </a:lnTo>
                  <a:lnTo>
                    <a:pt x="220" y="58"/>
                  </a:lnTo>
                  <a:lnTo>
                    <a:pt x="251" y="57"/>
                  </a:lnTo>
                  <a:lnTo>
                    <a:pt x="251" y="5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6" name="Malawi">
              <a:extLst>
                <a:ext uri="{FF2B5EF4-FFF2-40B4-BE49-F238E27FC236}">
                  <a16:creationId xmlns:a16="http://schemas.microsoft.com/office/drawing/2014/main" id="{E48DC04B-54C5-4A6F-A172-D1A2211DA489}"/>
                </a:ext>
              </a:extLst>
            </p:cNvPr>
            <p:cNvSpPr>
              <a:spLocks/>
            </p:cNvSpPr>
            <p:nvPr/>
          </p:nvSpPr>
          <p:spPr bwMode="auto">
            <a:xfrm>
              <a:off x="7076281" y="4411435"/>
              <a:ext cx="98425" cy="284163"/>
            </a:xfrm>
            <a:custGeom>
              <a:avLst/>
              <a:gdLst>
                <a:gd name="T0" fmla="*/ 38 w 62"/>
                <a:gd name="T1" fmla="*/ 114 h 179"/>
                <a:gd name="T2" fmla="*/ 38 w 62"/>
                <a:gd name="T3" fmla="*/ 105 h 179"/>
                <a:gd name="T4" fmla="*/ 34 w 62"/>
                <a:gd name="T5" fmla="*/ 98 h 179"/>
                <a:gd name="T6" fmla="*/ 35 w 62"/>
                <a:gd name="T7" fmla="*/ 87 h 179"/>
                <a:gd name="T8" fmla="*/ 29 w 62"/>
                <a:gd name="T9" fmla="*/ 70 h 179"/>
                <a:gd name="T10" fmla="*/ 36 w 62"/>
                <a:gd name="T11" fmla="*/ 57 h 179"/>
                <a:gd name="T12" fmla="*/ 35 w 62"/>
                <a:gd name="T13" fmla="*/ 28 h 179"/>
                <a:gd name="T14" fmla="*/ 28 w 62"/>
                <a:gd name="T15" fmla="*/ 13 h 179"/>
                <a:gd name="T16" fmla="*/ 28 w 62"/>
                <a:gd name="T17" fmla="*/ 10 h 179"/>
                <a:gd name="T18" fmla="*/ 28 w 62"/>
                <a:gd name="T19" fmla="*/ 10 h 179"/>
                <a:gd name="T20" fmla="*/ 24 w 62"/>
                <a:gd name="T21" fmla="*/ 3 h 179"/>
                <a:gd name="T22" fmla="*/ 4 w 62"/>
                <a:gd name="T23" fmla="*/ 0 h 179"/>
                <a:gd name="T24" fmla="*/ 14 w 62"/>
                <a:gd name="T25" fmla="*/ 10 h 179"/>
                <a:gd name="T26" fmla="*/ 19 w 62"/>
                <a:gd name="T27" fmla="*/ 30 h 179"/>
                <a:gd name="T28" fmla="*/ 15 w 62"/>
                <a:gd name="T29" fmla="*/ 37 h 179"/>
                <a:gd name="T30" fmla="*/ 10 w 62"/>
                <a:gd name="T31" fmla="*/ 56 h 179"/>
                <a:gd name="T32" fmla="*/ 13 w 62"/>
                <a:gd name="T33" fmla="*/ 75 h 179"/>
                <a:gd name="T34" fmla="*/ 7 w 62"/>
                <a:gd name="T35" fmla="*/ 84 h 179"/>
                <a:gd name="T36" fmla="*/ 0 w 62"/>
                <a:gd name="T37" fmla="*/ 106 h 179"/>
                <a:gd name="T38" fmla="*/ 10 w 62"/>
                <a:gd name="T39" fmla="*/ 112 h 179"/>
                <a:gd name="T40" fmla="*/ 22 w 62"/>
                <a:gd name="T41" fmla="*/ 123 h 179"/>
                <a:gd name="T42" fmla="*/ 28 w 62"/>
                <a:gd name="T43" fmla="*/ 121 h 179"/>
                <a:gd name="T44" fmla="*/ 36 w 62"/>
                <a:gd name="T45" fmla="*/ 127 h 179"/>
                <a:gd name="T46" fmla="*/ 36 w 62"/>
                <a:gd name="T47" fmla="*/ 137 h 179"/>
                <a:gd name="T48" fmla="*/ 32 w 62"/>
                <a:gd name="T49" fmla="*/ 147 h 179"/>
                <a:gd name="T50" fmla="*/ 33 w 62"/>
                <a:gd name="T51" fmla="*/ 164 h 179"/>
                <a:gd name="T52" fmla="*/ 45 w 62"/>
                <a:gd name="T53" fmla="*/ 179 h 179"/>
                <a:gd name="T54" fmla="*/ 52 w 62"/>
                <a:gd name="T55" fmla="*/ 162 h 179"/>
                <a:gd name="T56" fmla="*/ 62 w 62"/>
                <a:gd name="T57" fmla="*/ 158 h 179"/>
                <a:gd name="T58" fmla="*/ 62 w 62"/>
                <a:gd name="T59" fmla="*/ 127 h 179"/>
                <a:gd name="T60" fmla="*/ 53 w 62"/>
                <a:gd name="T61" fmla="*/ 110 h 179"/>
                <a:gd name="T62" fmla="*/ 46 w 62"/>
                <a:gd name="T63" fmla="*/ 102 h 179"/>
                <a:gd name="T64" fmla="*/ 45 w 62"/>
                <a:gd name="T65" fmla="*/ 102 h 179"/>
                <a:gd name="T66" fmla="*/ 45 w 62"/>
                <a:gd name="T67" fmla="*/ 105 h 179"/>
                <a:gd name="T68" fmla="*/ 49 w 62"/>
                <a:gd name="T69" fmla="*/ 106 h 179"/>
                <a:gd name="T70" fmla="*/ 52 w 62"/>
                <a:gd name="T71" fmla="*/ 119 h 179"/>
                <a:gd name="T72" fmla="*/ 52 w 62"/>
                <a:gd name="T73" fmla="*/ 122 h 179"/>
                <a:gd name="T74" fmla="*/ 45 w 62"/>
                <a:gd name="T75" fmla="*/ 113 h 179"/>
                <a:gd name="T76" fmla="*/ 41 w 62"/>
                <a:gd name="T77" fmla="*/ 119 h 179"/>
                <a:gd name="T78" fmla="*/ 38 w 62"/>
                <a:gd name="T79" fmla="*/ 114 h 179"/>
                <a:gd name="T80" fmla="*/ 38 w 62"/>
                <a:gd name="T81" fmla="*/ 11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62" h="179">
                  <a:moveTo>
                    <a:pt x="38" y="114"/>
                  </a:moveTo>
                  <a:lnTo>
                    <a:pt x="38" y="105"/>
                  </a:lnTo>
                  <a:lnTo>
                    <a:pt x="34" y="98"/>
                  </a:lnTo>
                  <a:lnTo>
                    <a:pt x="35" y="87"/>
                  </a:lnTo>
                  <a:lnTo>
                    <a:pt x="29" y="70"/>
                  </a:lnTo>
                  <a:lnTo>
                    <a:pt x="36" y="57"/>
                  </a:lnTo>
                  <a:lnTo>
                    <a:pt x="35" y="28"/>
                  </a:lnTo>
                  <a:lnTo>
                    <a:pt x="28" y="13"/>
                  </a:lnTo>
                  <a:lnTo>
                    <a:pt x="28" y="10"/>
                  </a:lnTo>
                  <a:lnTo>
                    <a:pt x="28" y="10"/>
                  </a:lnTo>
                  <a:lnTo>
                    <a:pt x="24" y="3"/>
                  </a:lnTo>
                  <a:lnTo>
                    <a:pt x="4" y="0"/>
                  </a:lnTo>
                  <a:lnTo>
                    <a:pt x="14" y="10"/>
                  </a:lnTo>
                  <a:lnTo>
                    <a:pt x="19" y="30"/>
                  </a:lnTo>
                  <a:lnTo>
                    <a:pt x="15" y="37"/>
                  </a:lnTo>
                  <a:lnTo>
                    <a:pt x="10" y="56"/>
                  </a:lnTo>
                  <a:lnTo>
                    <a:pt x="13" y="75"/>
                  </a:lnTo>
                  <a:lnTo>
                    <a:pt x="7" y="84"/>
                  </a:lnTo>
                  <a:lnTo>
                    <a:pt x="0" y="106"/>
                  </a:lnTo>
                  <a:lnTo>
                    <a:pt x="10" y="112"/>
                  </a:lnTo>
                  <a:lnTo>
                    <a:pt x="22" y="123"/>
                  </a:lnTo>
                  <a:lnTo>
                    <a:pt x="28" y="121"/>
                  </a:lnTo>
                  <a:lnTo>
                    <a:pt x="36" y="127"/>
                  </a:lnTo>
                  <a:lnTo>
                    <a:pt x="36" y="137"/>
                  </a:lnTo>
                  <a:lnTo>
                    <a:pt x="32" y="147"/>
                  </a:lnTo>
                  <a:lnTo>
                    <a:pt x="33" y="164"/>
                  </a:lnTo>
                  <a:lnTo>
                    <a:pt x="45" y="179"/>
                  </a:lnTo>
                  <a:lnTo>
                    <a:pt x="52" y="162"/>
                  </a:lnTo>
                  <a:lnTo>
                    <a:pt x="62" y="158"/>
                  </a:lnTo>
                  <a:lnTo>
                    <a:pt x="62" y="127"/>
                  </a:lnTo>
                  <a:lnTo>
                    <a:pt x="53" y="110"/>
                  </a:lnTo>
                  <a:lnTo>
                    <a:pt x="46" y="102"/>
                  </a:lnTo>
                  <a:lnTo>
                    <a:pt x="45" y="102"/>
                  </a:lnTo>
                  <a:lnTo>
                    <a:pt x="45" y="105"/>
                  </a:lnTo>
                  <a:lnTo>
                    <a:pt x="49" y="106"/>
                  </a:lnTo>
                  <a:lnTo>
                    <a:pt x="52" y="119"/>
                  </a:lnTo>
                  <a:lnTo>
                    <a:pt x="52" y="122"/>
                  </a:lnTo>
                  <a:lnTo>
                    <a:pt x="45" y="113"/>
                  </a:lnTo>
                  <a:lnTo>
                    <a:pt x="41" y="119"/>
                  </a:lnTo>
                  <a:lnTo>
                    <a:pt x="38" y="114"/>
                  </a:lnTo>
                  <a:lnTo>
                    <a:pt x="38" y="1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7" name="Malaysia">
              <a:extLst>
                <a:ext uri="{FF2B5EF4-FFF2-40B4-BE49-F238E27FC236}">
                  <a16:creationId xmlns:a16="http://schemas.microsoft.com/office/drawing/2014/main" id="{00AA2E9D-82AE-4289-A900-38F897EE988B}"/>
                </a:ext>
              </a:extLst>
            </p:cNvPr>
            <p:cNvSpPr>
              <a:spLocks noEditPoints="1"/>
            </p:cNvSpPr>
            <p:nvPr/>
          </p:nvSpPr>
          <p:spPr bwMode="auto">
            <a:xfrm>
              <a:off x="9324181" y="3800248"/>
              <a:ext cx="636587" cy="233363"/>
            </a:xfrm>
            <a:custGeom>
              <a:avLst/>
              <a:gdLst>
                <a:gd name="T0" fmla="*/ 20 w 401"/>
                <a:gd name="T1" fmla="*/ 18 h 147"/>
                <a:gd name="T2" fmla="*/ 3 w 401"/>
                <a:gd name="T3" fmla="*/ 8 h 147"/>
                <a:gd name="T4" fmla="*/ 0 w 401"/>
                <a:gd name="T5" fmla="*/ 11 h 147"/>
                <a:gd name="T6" fmla="*/ 5 w 401"/>
                <a:gd name="T7" fmla="*/ 22 h 147"/>
                <a:gd name="T8" fmla="*/ 3 w 401"/>
                <a:gd name="T9" fmla="*/ 39 h 147"/>
                <a:gd name="T10" fmla="*/ 11 w 401"/>
                <a:gd name="T11" fmla="*/ 51 h 147"/>
                <a:gd name="T12" fmla="*/ 14 w 401"/>
                <a:gd name="T13" fmla="*/ 71 h 147"/>
                <a:gd name="T14" fmla="*/ 28 w 401"/>
                <a:gd name="T15" fmla="*/ 88 h 147"/>
                <a:gd name="T16" fmla="*/ 30 w 401"/>
                <a:gd name="T17" fmla="*/ 99 h 147"/>
                <a:gd name="T18" fmla="*/ 56 w 401"/>
                <a:gd name="T19" fmla="*/ 118 h 147"/>
                <a:gd name="T20" fmla="*/ 76 w 401"/>
                <a:gd name="T21" fmla="*/ 136 h 147"/>
                <a:gd name="T22" fmla="*/ 91 w 401"/>
                <a:gd name="T23" fmla="*/ 134 h 147"/>
                <a:gd name="T24" fmla="*/ 91 w 401"/>
                <a:gd name="T25" fmla="*/ 126 h 147"/>
                <a:gd name="T26" fmla="*/ 83 w 401"/>
                <a:gd name="T27" fmla="*/ 106 h 147"/>
                <a:gd name="T28" fmla="*/ 74 w 401"/>
                <a:gd name="T29" fmla="*/ 99 h 147"/>
                <a:gd name="T30" fmla="*/ 72 w 401"/>
                <a:gd name="T31" fmla="*/ 84 h 147"/>
                <a:gd name="T32" fmla="*/ 70 w 401"/>
                <a:gd name="T33" fmla="*/ 77 h 147"/>
                <a:gd name="T34" fmla="*/ 72 w 401"/>
                <a:gd name="T35" fmla="*/ 65 h 147"/>
                <a:gd name="T36" fmla="*/ 70 w 401"/>
                <a:gd name="T37" fmla="*/ 50 h 147"/>
                <a:gd name="T38" fmla="*/ 61 w 401"/>
                <a:gd name="T39" fmla="*/ 34 h 147"/>
                <a:gd name="T40" fmla="*/ 48 w 401"/>
                <a:gd name="T41" fmla="*/ 20 h 147"/>
                <a:gd name="T42" fmla="*/ 42 w 401"/>
                <a:gd name="T43" fmla="*/ 17 h 147"/>
                <a:gd name="T44" fmla="*/ 37 w 401"/>
                <a:gd name="T45" fmla="*/ 27 h 147"/>
                <a:gd name="T46" fmla="*/ 23 w 401"/>
                <a:gd name="T47" fmla="*/ 30 h 147"/>
                <a:gd name="T48" fmla="*/ 20 w 401"/>
                <a:gd name="T49" fmla="*/ 18 h 147"/>
                <a:gd name="T50" fmla="*/ 20 w 401"/>
                <a:gd name="T51" fmla="*/ 18 h 147"/>
                <a:gd name="T52" fmla="*/ 390 w 401"/>
                <a:gd name="T53" fmla="*/ 59 h 147"/>
                <a:gd name="T54" fmla="*/ 386 w 401"/>
                <a:gd name="T55" fmla="*/ 47 h 147"/>
                <a:gd name="T56" fmla="*/ 400 w 401"/>
                <a:gd name="T57" fmla="*/ 46 h 147"/>
                <a:gd name="T58" fmla="*/ 401 w 401"/>
                <a:gd name="T59" fmla="*/ 36 h 147"/>
                <a:gd name="T60" fmla="*/ 383 w 401"/>
                <a:gd name="T61" fmla="*/ 29 h 147"/>
                <a:gd name="T62" fmla="*/ 369 w 401"/>
                <a:gd name="T63" fmla="*/ 22 h 147"/>
                <a:gd name="T64" fmla="*/ 367 w 401"/>
                <a:gd name="T65" fmla="*/ 12 h 147"/>
                <a:gd name="T66" fmla="*/ 356 w 401"/>
                <a:gd name="T67" fmla="*/ 0 h 147"/>
                <a:gd name="T68" fmla="*/ 347 w 401"/>
                <a:gd name="T69" fmla="*/ 0 h 147"/>
                <a:gd name="T70" fmla="*/ 337 w 401"/>
                <a:gd name="T71" fmla="*/ 19 h 147"/>
                <a:gd name="T72" fmla="*/ 323 w 401"/>
                <a:gd name="T73" fmla="*/ 36 h 147"/>
                <a:gd name="T74" fmla="*/ 323 w 401"/>
                <a:gd name="T75" fmla="*/ 47 h 147"/>
                <a:gd name="T76" fmla="*/ 322 w 401"/>
                <a:gd name="T77" fmla="*/ 63 h 147"/>
                <a:gd name="T78" fmla="*/ 311 w 401"/>
                <a:gd name="T79" fmla="*/ 62 h 147"/>
                <a:gd name="T80" fmla="*/ 308 w 401"/>
                <a:gd name="T81" fmla="*/ 70 h 147"/>
                <a:gd name="T82" fmla="*/ 297 w 401"/>
                <a:gd name="T83" fmla="*/ 58 h 147"/>
                <a:gd name="T84" fmla="*/ 288 w 401"/>
                <a:gd name="T85" fmla="*/ 73 h 147"/>
                <a:gd name="T86" fmla="*/ 274 w 401"/>
                <a:gd name="T87" fmla="*/ 92 h 147"/>
                <a:gd name="T88" fmla="*/ 249 w 401"/>
                <a:gd name="T89" fmla="*/ 96 h 147"/>
                <a:gd name="T90" fmla="*/ 239 w 401"/>
                <a:gd name="T91" fmla="*/ 101 h 147"/>
                <a:gd name="T92" fmla="*/ 237 w 401"/>
                <a:gd name="T93" fmla="*/ 121 h 147"/>
                <a:gd name="T94" fmla="*/ 220 w 401"/>
                <a:gd name="T95" fmla="*/ 125 h 147"/>
                <a:gd name="T96" fmla="*/ 205 w 401"/>
                <a:gd name="T97" fmla="*/ 118 h 147"/>
                <a:gd name="T98" fmla="*/ 209 w 401"/>
                <a:gd name="T99" fmla="*/ 134 h 147"/>
                <a:gd name="T100" fmla="*/ 223 w 401"/>
                <a:gd name="T101" fmla="*/ 147 h 147"/>
                <a:gd name="T102" fmla="*/ 237 w 401"/>
                <a:gd name="T103" fmla="*/ 142 h 147"/>
                <a:gd name="T104" fmla="*/ 250 w 401"/>
                <a:gd name="T105" fmla="*/ 144 h 147"/>
                <a:gd name="T106" fmla="*/ 262 w 401"/>
                <a:gd name="T107" fmla="*/ 132 h 147"/>
                <a:gd name="T108" fmla="*/ 272 w 401"/>
                <a:gd name="T109" fmla="*/ 129 h 147"/>
                <a:gd name="T110" fmla="*/ 292 w 401"/>
                <a:gd name="T111" fmla="*/ 136 h 147"/>
                <a:gd name="T112" fmla="*/ 309 w 401"/>
                <a:gd name="T113" fmla="*/ 131 h 147"/>
                <a:gd name="T114" fmla="*/ 319 w 401"/>
                <a:gd name="T115" fmla="*/ 98 h 147"/>
                <a:gd name="T116" fmla="*/ 326 w 401"/>
                <a:gd name="T117" fmla="*/ 90 h 147"/>
                <a:gd name="T118" fmla="*/ 333 w 401"/>
                <a:gd name="T119" fmla="*/ 63 h 147"/>
                <a:gd name="T120" fmla="*/ 356 w 401"/>
                <a:gd name="T121" fmla="*/ 63 h 147"/>
                <a:gd name="T122" fmla="*/ 375 w 401"/>
                <a:gd name="T123" fmla="*/ 66 h 147"/>
                <a:gd name="T124" fmla="*/ 390 w 401"/>
                <a:gd name="T125" fmla="*/ 59 h 1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01" h="147">
                  <a:moveTo>
                    <a:pt x="20" y="18"/>
                  </a:moveTo>
                  <a:lnTo>
                    <a:pt x="3" y="8"/>
                  </a:lnTo>
                  <a:lnTo>
                    <a:pt x="0" y="11"/>
                  </a:lnTo>
                  <a:lnTo>
                    <a:pt x="5" y="22"/>
                  </a:lnTo>
                  <a:lnTo>
                    <a:pt x="3" y="39"/>
                  </a:lnTo>
                  <a:lnTo>
                    <a:pt x="11" y="51"/>
                  </a:lnTo>
                  <a:lnTo>
                    <a:pt x="14" y="71"/>
                  </a:lnTo>
                  <a:lnTo>
                    <a:pt x="28" y="88"/>
                  </a:lnTo>
                  <a:lnTo>
                    <a:pt x="30" y="99"/>
                  </a:lnTo>
                  <a:lnTo>
                    <a:pt x="56" y="118"/>
                  </a:lnTo>
                  <a:lnTo>
                    <a:pt x="76" y="136"/>
                  </a:lnTo>
                  <a:lnTo>
                    <a:pt x="91" y="134"/>
                  </a:lnTo>
                  <a:lnTo>
                    <a:pt x="91" y="126"/>
                  </a:lnTo>
                  <a:lnTo>
                    <a:pt x="83" y="106"/>
                  </a:lnTo>
                  <a:lnTo>
                    <a:pt x="74" y="99"/>
                  </a:lnTo>
                  <a:lnTo>
                    <a:pt x="72" y="84"/>
                  </a:lnTo>
                  <a:lnTo>
                    <a:pt x="70" y="77"/>
                  </a:lnTo>
                  <a:lnTo>
                    <a:pt x="72" y="65"/>
                  </a:lnTo>
                  <a:lnTo>
                    <a:pt x="70" y="50"/>
                  </a:lnTo>
                  <a:lnTo>
                    <a:pt x="61" y="34"/>
                  </a:lnTo>
                  <a:lnTo>
                    <a:pt x="48" y="20"/>
                  </a:lnTo>
                  <a:lnTo>
                    <a:pt x="42" y="17"/>
                  </a:lnTo>
                  <a:lnTo>
                    <a:pt x="37" y="27"/>
                  </a:lnTo>
                  <a:lnTo>
                    <a:pt x="23" y="30"/>
                  </a:lnTo>
                  <a:lnTo>
                    <a:pt x="20" y="18"/>
                  </a:lnTo>
                  <a:lnTo>
                    <a:pt x="20" y="18"/>
                  </a:lnTo>
                  <a:close/>
                  <a:moveTo>
                    <a:pt x="390" y="59"/>
                  </a:moveTo>
                  <a:lnTo>
                    <a:pt x="386" y="47"/>
                  </a:lnTo>
                  <a:lnTo>
                    <a:pt x="400" y="46"/>
                  </a:lnTo>
                  <a:lnTo>
                    <a:pt x="401" y="36"/>
                  </a:lnTo>
                  <a:lnTo>
                    <a:pt x="383" y="29"/>
                  </a:lnTo>
                  <a:lnTo>
                    <a:pt x="369" y="22"/>
                  </a:lnTo>
                  <a:lnTo>
                    <a:pt x="367" y="12"/>
                  </a:lnTo>
                  <a:lnTo>
                    <a:pt x="356" y="0"/>
                  </a:lnTo>
                  <a:lnTo>
                    <a:pt x="347" y="0"/>
                  </a:lnTo>
                  <a:lnTo>
                    <a:pt x="337" y="19"/>
                  </a:lnTo>
                  <a:lnTo>
                    <a:pt x="323" y="36"/>
                  </a:lnTo>
                  <a:lnTo>
                    <a:pt x="323" y="47"/>
                  </a:lnTo>
                  <a:lnTo>
                    <a:pt x="322" y="63"/>
                  </a:lnTo>
                  <a:lnTo>
                    <a:pt x="311" y="62"/>
                  </a:lnTo>
                  <a:lnTo>
                    <a:pt x="308" y="70"/>
                  </a:lnTo>
                  <a:lnTo>
                    <a:pt x="297" y="58"/>
                  </a:lnTo>
                  <a:lnTo>
                    <a:pt x="288" y="73"/>
                  </a:lnTo>
                  <a:lnTo>
                    <a:pt x="274" y="92"/>
                  </a:lnTo>
                  <a:lnTo>
                    <a:pt x="249" y="96"/>
                  </a:lnTo>
                  <a:lnTo>
                    <a:pt x="239" y="101"/>
                  </a:lnTo>
                  <a:lnTo>
                    <a:pt x="237" y="121"/>
                  </a:lnTo>
                  <a:lnTo>
                    <a:pt x="220" y="125"/>
                  </a:lnTo>
                  <a:lnTo>
                    <a:pt x="205" y="118"/>
                  </a:lnTo>
                  <a:lnTo>
                    <a:pt x="209" y="134"/>
                  </a:lnTo>
                  <a:lnTo>
                    <a:pt x="223" y="147"/>
                  </a:lnTo>
                  <a:lnTo>
                    <a:pt x="237" y="142"/>
                  </a:lnTo>
                  <a:lnTo>
                    <a:pt x="250" y="144"/>
                  </a:lnTo>
                  <a:lnTo>
                    <a:pt x="262" y="132"/>
                  </a:lnTo>
                  <a:lnTo>
                    <a:pt x="272" y="129"/>
                  </a:lnTo>
                  <a:lnTo>
                    <a:pt x="292" y="136"/>
                  </a:lnTo>
                  <a:lnTo>
                    <a:pt x="309" y="131"/>
                  </a:lnTo>
                  <a:lnTo>
                    <a:pt x="319" y="98"/>
                  </a:lnTo>
                  <a:lnTo>
                    <a:pt x="326" y="90"/>
                  </a:lnTo>
                  <a:lnTo>
                    <a:pt x="333" y="63"/>
                  </a:lnTo>
                  <a:lnTo>
                    <a:pt x="356" y="63"/>
                  </a:lnTo>
                  <a:lnTo>
                    <a:pt x="375" y="66"/>
                  </a:lnTo>
                  <a:lnTo>
                    <a:pt x="390" y="5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8" name="Namibia">
              <a:extLst>
                <a:ext uri="{FF2B5EF4-FFF2-40B4-BE49-F238E27FC236}">
                  <a16:creationId xmlns:a16="http://schemas.microsoft.com/office/drawing/2014/main" id="{D1D0D99F-A874-4B42-94D7-ECDED73D6D93}"/>
                </a:ext>
              </a:extLst>
            </p:cNvPr>
            <p:cNvSpPr>
              <a:spLocks/>
            </p:cNvSpPr>
            <p:nvPr/>
          </p:nvSpPr>
          <p:spPr bwMode="auto">
            <a:xfrm>
              <a:off x="6380956" y="4701947"/>
              <a:ext cx="439737" cy="455613"/>
            </a:xfrm>
            <a:custGeom>
              <a:avLst/>
              <a:gdLst>
                <a:gd name="T0" fmla="*/ 238 w 277"/>
                <a:gd name="T1" fmla="*/ 14 h 287"/>
                <a:gd name="T2" fmla="*/ 199 w 277"/>
                <a:gd name="T3" fmla="*/ 23 h 287"/>
                <a:gd name="T4" fmla="*/ 150 w 277"/>
                <a:gd name="T5" fmla="*/ 19 h 287"/>
                <a:gd name="T6" fmla="*/ 136 w 277"/>
                <a:gd name="T7" fmla="*/ 8 h 287"/>
                <a:gd name="T8" fmla="*/ 52 w 277"/>
                <a:gd name="T9" fmla="*/ 9 h 287"/>
                <a:gd name="T10" fmla="*/ 48 w 277"/>
                <a:gd name="T11" fmla="*/ 11 h 287"/>
                <a:gd name="T12" fmla="*/ 37 w 277"/>
                <a:gd name="T13" fmla="*/ 0 h 287"/>
                <a:gd name="T14" fmla="*/ 23 w 277"/>
                <a:gd name="T15" fmla="*/ 0 h 287"/>
                <a:gd name="T16" fmla="*/ 10 w 277"/>
                <a:gd name="T17" fmla="*/ 3 h 287"/>
                <a:gd name="T18" fmla="*/ 0 w 277"/>
                <a:gd name="T19" fmla="*/ 8 h 287"/>
                <a:gd name="T20" fmla="*/ 1 w 277"/>
                <a:gd name="T21" fmla="*/ 26 h 287"/>
                <a:gd name="T22" fmla="*/ 18 w 277"/>
                <a:gd name="T23" fmla="*/ 49 h 287"/>
                <a:gd name="T24" fmla="*/ 22 w 277"/>
                <a:gd name="T25" fmla="*/ 64 h 287"/>
                <a:gd name="T26" fmla="*/ 32 w 277"/>
                <a:gd name="T27" fmla="*/ 93 h 287"/>
                <a:gd name="T28" fmla="*/ 42 w 277"/>
                <a:gd name="T29" fmla="*/ 113 h 287"/>
                <a:gd name="T30" fmla="*/ 50 w 277"/>
                <a:gd name="T31" fmla="*/ 122 h 287"/>
                <a:gd name="T32" fmla="*/ 52 w 277"/>
                <a:gd name="T33" fmla="*/ 135 h 287"/>
                <a:gd name="T34" fmla="*/ 52 w 277"/>
                <a:gd name="T35" fmla="*/ 164 h 287"/>
                <a:gd name="T36" fmla="*/ 58 w 277"/>
                <a:gd name="T37" fmla="*/ 200 h 287"/>
                <a:gd name="T38" fmla="*/ 63 w 277"/>
                <a:gd name="T39" fmla="*/ 217 h 287"/>
                <a:gd name="T40" fmla="*/ 66 w 277"/>
                <a:gd name="T41" fmla="*/ 241 h 287"/>
                <a:gd name="T42" fmla="*/ 74 w 277"/>
                <a:gd name="T43" fmla="*/ 258 h 287"/>
                <a:gd name="T44" fmla="*/ 88 w 277"/>
                <a:gd name="T45" fmla="*/ 276 h 287"/>
                <a:gd name="T46" fmla="*/ 98 w 277"/>
                <a:gd name="T47" fmla="*/ 264 h 287"/>
                <a:gd name="T48" fmla="*/ 106 w 277"/>
                <a:gd name="T49" fmla="*/ 270 h 287"/>
                <a:gd name="T50" fmla="*/ 109 w 277"/>
                <a:gd name="T51" fmla="*/ 281 h 287"/>
                <a:gd name="T52" fmla="*/ 118 w 277"/>
                <a:gd name="T53" fmla="*/ 283 h 287"/>
                <a:gd name="T54" fmla="*/ 130 w 277"/>
                <a:gd name="T55" fmla="*/ 287 h 287"/>
                <a:gd name="T56" fmla="*/ 141 w 277"/>
                <a:gd name="T57" fmla="*/ 285 h 287"/>
                <a:gd name="T58" fmla="*/ 160 w 277"/>
                <a:gd name="T59" fmla="*/ 273 h 287"/>
                <a:gd name="T60" fmla="*/ 164 w 277"/>
                <a:gd name="T61" fmla="*/ 186 h 287"/>
                <a:gd name="T62" fmla="*/ 166 w 277"/>
                <a:gd name="T63" fmla="*/ 116 h 287"/>
                <a:gd name="T64" fmla="*/ 186 w 277"/>
                <a:gd name="T65" fmla="*/ 115 h 287"/>
                <a:gd name="T66" fmla="*/ 190 w 277"/>
                <a:gd name="T67" fmla="*/ 31 h 287"/>
                <a:gd name="T68" fmla="*/ 205 w 277"/>
                <a:gd name="T69" fmla="*/ 30 h 287"/>
                <a:gd name="T70" fmla="*/ 237 w 277"/>
                <a:gd name="T71" fmla="*/ 22 h 287"/>
                <a:gd name="T72" fmla="*/ 245 w 277"/>
                <a:gd name="T73" fmla="*/ 31 h 287"/>
                <a:gd name="T74" fmla="*/ 259 w 277"/>
                <a:gd name="T75" fmla="*/ 22 h 287"/>
                <a:gd name="T76" fmla="*/ 264 w 277"/>
                <a:gd name="T77" fmla="*/ 22 h 287"/>
                <a:gd name="T78" fmla="*/ 277 w 277"/>
                <a:gd name="T79" fmla="*/ 17 h 287"/>
                <a:gd name="T80" fmla="*/ 277 w 277"/>
                <a:gd name="T81" fmla="*/ 15 h 287"/>
                <a:gd name="T82" fmla="*/ 268 w 277"/>
                <a:gd name="T83" fmla="*/ 9 h 287"/>
                <a:gd name="T84" fmla="*/ 255 w 277"/>
                <a:gd name="T85" fmla="*/ 8 h 287"/>
                <a:gd name="T86" fmla="*/ 238 w 277"/>
                <a:gd name="T87" fmla="*/ 14 h 287"/>
                <a:gd name="T88" fmla="*/ 238 w 277"/>
                <a:gd name="T89" fmla="*/ 14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77" h="287">
                  <a:moveTo>
                    <a:pt x="238" y="14"/>
                  </a:moveTo>
                  <a:lnTo>
                    <a:pt x="199" y="23"/>
                  </a:lnTo>
                  <a:lnTo>
                    <a:pt x="150" y="19"/>
                  </a:lnTo>
                  <a:lnTo>
                    <a:pt x="136" y="8"/>
                  </a:lnTo>
                  <a:lnTo>
                    <a:pt x="52" y="9"/>
                  </a:lnTo>
                  <a:lnTo>
                    <a:pt x="48" y="11"/>
                  </a:lnTo>
                  <a:lnTo>
                    <a:pt x="37" y="0"/>
                  </a:lnTo>
                  <a:lnTo>
                    <a:pt x="23" y="0"/>
                  </a:lnTo>
                  <a:lnTo>
                    <a:pt x="10" y="3"/>
                  </a:lnTo>
                  <a:lnTo>
                    <a:pt x="0" y="8"/>
                  </a:lnTo>
                  <a:lnTo>
                    <a:pt x="1" y="26"/>
                  </a:lnTo>
                  <a:lnTo>
                    <a:pt x="18" y="49"/>
                  </a:lnTo>
                  <a:lnTo>
                    <a:pt x="22" y="64"/>
                  </a:lnTo>
                  <a:lnTo>
                    <a:pt x="32" y="93"/>
                  </a:lnTo>
                  <a:lnTo>
                    <a:pt x="42" y="113"/>
                  </a:lnTo>
                  <a:lnTo>
                    <a:pt x="50" y="122"/>
                  </a:lnTo>
                  <a:lnTo>
                    <a:pt x="52" y="135"/>
                  </a:lnTo>
                  <a:lnTo>
                    <a:pt x="52" y="164"/>
                  </a:lnTo>
                  <a:lnTo>
                    <a:pt x="58" y="200"/>
                  </a:lnTo>
                  <a:lnTo>
                    <a:pt x="63" y="217"/>
                  </a:lnTo>
                  <a:lnTo>
                    <a:pt x="66" y="241"/>
                  </a:lnTo>
                  <a:lnTo>
                    <a:pt x="74" y="258"/>
                  </a:lnTo>
                  <a:lnTo>
                    <a:pt x="88" y="276"/>
                  </a:lnTo>
                  <a:lnTo>
                    <a:pt x="98" y="264"/>
                  </a:lnTo>
                  <a:lnTo>
                    <a:pt x="106" y="270"/>
                  </a:lnTo>
                  <a:lnTo>
                    <a:pt x="109" y="281"/>
                  </a:lnTo>
                  <a:lnTo>
                    <a:pt x="118" y="283"/>
                  </a:lnTo>
                  <a:lnTo>
                    <a:pt x="130" y="287"/>
                  </a:lnTo>
                  <a:lnTo>
                    <a:pt x="141" y="285"/>
                  </a:lnTo>
                  <a:lnTo>
                    <a:pt x="160" y="273"/>
                  </a:lnTo>
                  <a:lnTo>
                    <a:pt x="164" y="186"/>
                  </a:lnTo>
                  <a:lnTo>
                    <a:pt x="166" y="116"/>
                  </a:lnTo>
                  <a:lnTo>
                    <a:pt x="186" y="115"/>
                  </a:lnTo>
                  <a:lnTo>
                    <a:pt x="190" y="31"/>
                  </a:lnTo>
                  <a:lnTo>
                    <a:pt x="205" y="30"/>
                  </a:lnTo>
                  <a:lnTo>
                    <a:pt x="237" y="22"/>
                  </a:lnTo>
                  <a:lnTo>
                    <a:pt x="245" y="31"/>
                  </a:lnTo>
                  <a:lnTo>
                    <a:pt x="259" y="22"/>
                  </a:lnTo>
                  <a:lnTo>
                    <a:pt x="264" y="22"/>
                  </a:lnTo>
                  <a:lnTo>
                    <a:pt x="277" y="17"/>
                  </a:lnTo>
                  <a:lnTo>
                    <a:pt x="277" y="15"/>
                  </a:lnTo>
                  <a:lnTo>
                    <a:pt x="268" y="9"/>
                  </a:lnTo>
                  <a:lnTo>
                    <a:pt x="255" y="8"/>
                  </a:lnTo>
                  <a:lnTo>
                    <a:pt x="238" y="14"/>
                  </a:lnTo>
                  <a:lnTo>
                    <a:pt x="238" y="1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09" name="Niger">
              <a:extLst>
                <a:ext uri="{FF2B5EF4-FFF2-40B4-BE49-F238E27FC236}">
                  <a16:creationId xmlns:a16="http://schemas.microsoft.com/office/drawing/2014/main" id="{FF5F4357-1112-4988-A15C-0BEA0B329666}"/>
                </a:ext>
              </a:extLst>
            </p:cNvPr>
            <p:cNvSpPr>
              <a:spLocks/>
            </p:cNvSpPr>
            <p:nvPr/>
          </p:nvSpPr>
          <p:spPr bwMode="auto">
            <a:xfrm>
              <a:off x="6004719" y="3176361"/>
              <a:ext cx="511175" cy="446088"/>
            </a:xfrm>
            <a:custGeom>
              <a:avLst/>
              <a:gdLst>
                <a:gd name="T0" fmla="*/ 273 w 322"/>
                <a:gd name="T1" fmla="*/ 10 h 281"/>
                <a:gd name="T2" fmla="*/ 240 w 322"/>
                <a:gd name="T3" fmla="*/ 0 h 281"/>
                <a:gd name="T4" fmla="*/ 171 w 322"/>
                <a:gd name="T5" fmla="*/ 46 h 281"/>
                <a:gd name="T6" fmla="*/ 111 w 322"/>
                <a:gd name="T7" fmla="*/ 92 h 281"/>
                <a:gd name="T8" fmla="*/ 82 w 322"/>
                <a:gd name="T9" fmla="*/ 103 h 281"/>
                <a:gd name="T10" fmla="*/ 83 w 322"/>
                <a:gd name="T11" fmla="*/ 158 h 281"/>
                <a:gd name="T12" fmla="*/ 72 w 322"/>
                <a:gd name="T13" fmla="*/ 174 h 281"/>
                <a:gd name="T14" fmla="*/ 70 w 322"/>
                <a:gd name="T15" fmla="*/ 188 h 281"/>
                <a:gd name="T16" fmla="*/ 51 w 322"/>
                <a:gd name="T17" fmla="*/ 191 h 281"/>
                <a:gd name="T18" fmla="*/ 23 w 322"/>
                <a:gd name="T19" fmla="*/ 194 h 281"/>
                <a:gd name="T20" fmla="*/ 16 w 322"/>
                <a:gd name="T21" fmla="*/ 203 h 281"/>
                <a:gd name="T22" fmla="*/ 2 w 322"/>
                <a:gd name="T23" fmla="*/ 204 h 281"/>
                <a:gd name="T24" fmla="*/ 0 w 322"/>
                <a:gd name="T25" fmla="*/ 215 h 281"/>
                <a:gd name="T26" fmla="*/ 3 w 322"/>
                <a:gd name="T27" fmla="*/ 226 h 281"/>
                <a:gd name="T28" fmla="*/ 15 w 322"/>
                <a:gd name="T29" fmla="*/ 241 h 281"/>
                <a:gd name="T30" fmla="*/ 16 w 322"/>
                <a:gd name="T31" fmla="*/ 253 h 281"/>
                <a:gd name="T32" fmla="*/ 39 w 322"/>
                <a:gd name="T33" fmla="*/ 258 h 281"/>
                <a:gd name="T34" fmla="*/ 39 w 322"/>
                <a:gd name="T35" fmla="*/ 274 h 281"/>
                <a:gd name="T36" fmla="*/ 46 w 322"/>
                <a:gd name="T37" fmla="*/ 267 h 281"/>
                <a:gd name="T38" fmla="*/ 53 w 322"/>
                <a:gd name="T39" fmla="*/ 267 h 281"/>
                <a:gd name="T40" fmla="*/ 70 w 322"/>
                <a:gd name="T41" fmla="*/ 281 h 281"/>
                <a:gd name="T42" fmla="*/ 71 w 322"/>
                <a:gd name="T43" fmla="*/ 260 h 281"/>
                <a:gd name="T44" fmla="*/ 77 w 322"/>
                <a:gd name="T45" fmla="*/ 250 h 281"/>
                <a:gd name="T46" fmla="*/ 79 w 322"/>
                <a:gd name="T47" fmla="*/ 236 h 281"/>
                <a:gd name="T48" fmla="*/ 85 w 322"/>
                <a:gd name="T49" fmla="*/ 232 h 281"/>
                <a:gd name="T50" fmla="*/ 107 w 322"/>
                <a:gd name="T51" fmla="*/ 229 h 281"/>
                <a:gd name="T52" fmla="*/ 128 w 322"/>
                <a:gd name="T53" fmla="*/ 237 h 281"/>
                <a:gd name="T54" fmla="*/ 136 w 322"/>
                <a:gd name="T55" fmla="*/ 246 h 281"/>
                <a:gd name="T56" fmla="*/ 147 w 322"/>
                <a:gd name="T57" fmla="*/ 246 h 281"/>
                <a:gd name="T58" fmla="*/ 157 w 322"/>
                <a:gd name="T59" fmla="*/ 241 h 281"/>
                <a:gd name="T60" fmla="*/ 182 w 322"/>
                <a:gd name="T61" fmla="*/ 253 h 281"/>
                <a:gd name="T62" fmla="*/ 192 w 322"/>
                <a:gd name="T63" fmla="*/ 253 h 281"/>
                <a:gd name="T64" fmla="*/ 205 w 322"/>
                <a:gd name="T65" fmla="*/ 243 h 281"/>
                <a:gd name="T66" fmla="*/ 218 w 322"/>
                <a:gd name="T67" fmla="*/ 244 h 281"/>
                <a:gd name="T68" fmla="*/ 223 w 322"/>
                <a:gd name="T69" fmla="*/ 240 h 281"/>
                <a:gd name="T70" fmla="*/ 234 w 322"/>
                <a:gd name="T71" fmla="*/ 242 h 281"/>
                <a:gd name="T72" fmla="*/ 250 w 322"/>
                <a:gd name="T73" fmla="*/ 248 h 281"/>
                <a:gd name="T74" fmla="*/ 266 w 322"/>
                <a:gd name="T75" fmla="*/ 235 h 281"/>
                <a:gd name="T76" fmla="*/ 272 w 322"/>
                <a:gd name="T77" fmla="*/ 236 h 281"/>
                <a:gd name="T78" fmla="*/ 286 w 322"/>
                <a:gd name="T79" fmla="*/ 262 h 281"/>
                <a:gd name="T80" fmla="*/ 289 w 322"/>
                <a:gd name="T81" fmla="*/ 261 h 281"/>
                <a:gd name="T82" fmla="*/ 290 w 322"/>
                <a:gd name="T83" fmla="*/ 254 h 281"/>
                <a:gd name="T84" fmla="*/ 296 w 322"/>
                <a:gd name="T85" fmla="*/ 252 h 281"/>
                <a:gd name="T86" fmla="*/ 298 w 322"/>
                <a:gd name="T87" fmla="*/ 242 h 281"/>
                <a:gd name="T88" fmla="*/ 285 w 322"/>
                <a:gd name="T89" fmla="*/ 241 h 281"/>
                <a:gd name="T90" fmla="*/ 285 w 322"/>
                <a:gd name="T91" fmla="*/ 225 h 281"/>
                <a:gd name="T92" fmla="*/ 275 w 322"/>
                <a:gd name="T93" fmla="*/ 217 h 281"/>
                <a:gd name="T94" fmla="*/ 285 w 322"/>
                <a:gd name="T95" fmla="*/ 186 h 281"/>
                <a:gd name="T96" fmla="*/ 310 w 322"/>
                <a:gd name="T97" fmla="*/ 163 h 281"/>
                <a:gd name="T98" fmla="*/ 311 w 322"/>
                <a:gd name="T99" fmla="*/ 132 h 281"/>
                <a:gd name="T100" fmla="*/ 317 w 322"/>
                <a:gd name="T101" fmla="*/ 84 h 281"/>
                <a:gd name="T102" fmla="*/ 322 w 322"/>
                <a:gd name="T103" fmla="*/ 74 h 281"/>
                <a:gd name="T104" fmla="*/ 313 w 322"/>
                <a:gd name="T105" fmla="*/ 65 h 281"/>
                <a:gd name="T106" fmla="*/ 313 w 322"/>
                <a:gd name="T107" fmla="*/ 58 h 281"/>
                <a:gd name="T108" fmla="*/ 305 w 322"/>
                <a:gd name="T109" fmla="*/ 51 h 281"/>
                <a:gd name="T110" fmla="*/ 299 w 322"/>
                <a:gd name="T111" fmla="*/ 15 h 281"/>
                <a:gd name="T112" fmla="*/ 285 w 322"/>
                <a:gd name="T113" fmla="*/ 23 h 281"/>
                <a:gd name="T114" fmla="*/ 273 w 322"/>
                <a:gd name="T115" fmla="*/ 10 h 281"/>
                <a:gd name="T116" fmla="*/ 273 w 322"/>
                <a:gd name="T117" fmla="*/ 10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22" h="281">
                  <a:moveTo>
                    <a:pt x="273" y="10"/>
                  </a:moveTo>
                  <a:lnTo>
                    <a:pt x="240" y="0"/>
                  </a:lnTo>
                  <a:lnTo>
                    <a:pt x="171" y="46"/>
                  </a:lnTo>
                  <a:lnTo>
                    <a:pt x="111" y="92"/>
                  </a:lnTo>
                  <a:lnTo>
                    <a:pt x="82" y="103"/>
                  </a:lnTo>
                  <a:lnTo>
                    <a:pt x="83" y="158"/>
                  </a:lnTo>
                  <a:lnTo>
                    <a:pt x="72" y="174"/>
                  </a:lnTo>
                  <a:lnTo>
                    <a:pt x="70" y="188"/>
                  </a:lnTo>
                  <a:lnTo>
                    <a:pt x="51" y="191"/>
                  </a:lnTo>
                  <a:lnTo>
                    <a:pt x="23" y="194"/>
                  </a:lnTo>
                  <a:lnTo>
                    <a:pt x="16" y="203"/>
                  </a:lnTo>
                  <a:lnTo>
                    <a:pt x="2" y="204"/>
                  </a:lnTo>
                  <a:lnTo>
                    <a:pt x="0" y="215"/>
                  </a:lnTo>
                  <a:lnTo>
                    <a:pt x="3" y="226"/>
                  </a:lnTo>
                  <a:lnTo>
                    <a:pt x="15" y="241"/>
                  </a:lnTo>
                  <a:lnTo>
                    <a:pt x="16" y="253"/>
                  </a:lnTo>
                  <a:lnTo>
                    <a:pt x="39" y="258"/>
                  </a:lnTo>
                  <a:lnTo>
                    <a:pt x="39" y="274"/>
                  </a:lnTo>
                  <a:lnTo>
                    <a:pt x="46" y="267"/>
                  </a:lnTo>
                  <a:lnTo>
                    <a:pt x="53" y="267"/>
                  </a:lnTo>
                  <a:lnTo>
                    <a:pt x="70" y="281"/>
                  </a:lnTo>
                  <a:lnTo>
                    <a:pt x="71" y="260"/>
                  </a:lnTo>
                  <a:lnTo>
                    <a:pt x="77" y="250"/>
                  </a:lnTo>
                  <a:lnTo>
                    <a:pt x="79" y="236"/>
                  </a:lnTo>
                  <a:lnTo>
                    <a:pt x="85" y="232"/>
                  </a:lnTo>
                  <a:lnTo>
                    <a:pt x="107" y="229"/>
                  </a:lnTo>
                  <a:lnTo>
                    <a:pt x="128" y="237"/>
                  </a:lnTo>
                  <a:lnTo>
                    <a:pt x="136" y="246"/>
                  </a:lnTo>
                  <a:lnTo>
                    <a:pt x="147" y="246"/>
                  </a:lnTo>
                  <a:lnTo>
                    <a:pt x="157" y="241"/>
                  </a:lnTo>
                  <a:lnTo>
                    <a:pt x="182" y="253"/>
                  </a:lnTo>
                  <a:lnTo>
                    <a:pt x="192" y="253"/>
                  </a:lnTo>
                  <a:lnTo>
                    <a:pt x="205" y="243"/>
                  </a:lnTo>
                  <a:lnTo>
                    <a:pt x="218" y="244"/>
                  </a:lnTo>
                  <a:lnTo>
                    <a:pt x="223" y="240"/>
                  </a:lnTo>
                  <a:lnTo>
                    <a:pt x="234" y="242"/>
                  </a:lnTo>
                  <a:lnTo>
                    <a:pt x="250" y="248"/>
                  </a:lnTo>
                  <a:lnTo>
                    <a:pt x="266" y="235"/>
                  </a:lnTo>
                  <a:lnTo>
                    <a:pt x="272" y="236"/>
                  </a:lnTo>
                  <a:lnTo>
                    <a:pt x="286" y="262"/>
                  </a:lnTo>
                  <a:lnTo>
                    <a:pt x="289" y="261"/>
                  </a:lnTo>
                  <a:lnTo>
                    <a:pt x="290" y="254"/>
                  </a:lnTo>
                  <a:lnTo>
                    <a:pt x="296" y="252"/>
                  </a:lnTo>
                  <a:lnTo>
                    <a:pt x="298" y="242"/>
                  </a:lnTo>
                  <a:lnTo>
                    <a:pt x="285" y="241"/>
                  </a:lnTo>
                  <a:lnTo>
                    <a:pt x="285" y="225"/>
                  </a:lnTo>
                  <a:lnTo>
                    <a:pt x="275" y="217"/>
                  </a:lnTo>
                  <a:lnTo>
                    <a:pt x="285" y="186"/>
                  </a:lnTo>
                  <a:lnTo>
                    <a:pt x="310" y="163"/>
                  </a:lnTo>
                  <a:lnTo>
                    <a:pt x="311" y="132"/>
                  </a:lnTo>
                  <a:lnTo>
                    <a:pt x="317" y="84"/>
                  </a:lnTo>
                  <a:lnTo>
                    <a:pt x="322" y="74"/>
                  </a:lnTo>
                  <a:lnTo>
                    <a:pt x="313" y="65"/>
                  </a:lnTo>
                  <a:lnTo>
                    <a:pt x="313" y="58"/>
                  </a:lnTo>
                  <a:lnTo>
                    <a:pt x="305" y="51"/>
                  </a:lnTo>
                  <a:lnTo>
                    <a:pt x="299" y="15"/>
                  </a:lnTo>
                  <a:lnTo>
                    <a:pt x="285" y="23"/>
                  </a:lnTo>
                  <a:lnTo>
                    <a:pt x="273" y="10"/>
                  </a:lnTo>
                  <a:lnTo>
                    <a:pt x="273"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0" name="Nigeria">
              <a:extLst>
                <a:ext uri="{FF2B5EF4-FFF2-40B4-BE49-F238E27FC236}">
                  <a16:creationId xmlns:a16="http://schemas.microsoft.com/office/drawing/2014/main" id="{16770B8F-829D-4C6F-9ACE-CA59EDE5CF7A}"/>
                </a:ext>
              </a:extLst>
            </p:cNvPr>
            <p:cNvSpPr>
              <a:spLocks/>
            </p:cNvSpPr>
            <p:nvPr/>
          </p:nvSpPr>
          <p:spPr bwMode="auto">
            <a:xfrm>
              <a:off x="6084094" y="3539898"/>
              <a:ext cx="393700" cy="361950"/>
            </a:xfrm>
            <a:custGeom>
              <a:avLst/>
              <a:gdLst>
                <a:gd name="T0" fmla="*/ 239 w 248"/>
                <a:gd name="T1" fmla="*/ 32 h 228"/>
                <a:gd name="T2" fmla="*/ 236 w 248"/>
                <a:gd name="T3" fmla="*/ 33 h 228"/>
                <a:gd name="T4" fmla="*/ 222 w 248"/>
                <a:gd name="T5" fmla="*/ 7 h 228"/>
                <a:gd name="T6" fmla="*/ 216 w 248"/>
                <a:gd name="T7" fmla="*/ 6 h 228"/>
                <a:gd name="T8" fmla="*/ 200 w 248"/>
                <a:gd name="T9" fmla="*/ 19 h 228"/>
                <a:gd name="T10" fmla="*/ 184 w 248"/>
                <a:gd name="T11" fmla="*/ 13 h 228"/>
                <a:gd name="T12" fmla="*/ 173 w 248"/>
                <a:gd name="T13" fmla="*/ 11 h 228"/>
                <a:gd name="T14" fmla="*/ 168 w 248"/>
                <a:gd name="T15" fmla="*/ 15 h 228"/>
                <a:gd name="T16" fmla="*/ 155 w 248"/>
                <a:gd name="T17" fmla="*/ 14 h 228"/>
                <a:gd name="T18" fmla="*/ 142 w 248"/>
                <a:gd name="T19" fmla="*/ 24 h 228"/>
                <a:gd name="T20" fmla="*/ 132 w 248"/>
                <a:gd name="T21" fmla="*/ 24 h 228"/>
                <a:gd name="T22" fmla="*/ 107 w 248"/>
                <a:gd name="T23" fmla="*/ 12 h 228"/>
                <a:gd name="T24" fmla="*/ 97 w 248"/>
                <a:gd name="T25" fmla="*/ 17 h 228"/>
                <a:gd name="T26" fmla="*/ 86 w 248"/>
                <a:gd name="T27" fmla="*/ 17 h 228"/>
                <a:gd name="T28" fmla="*/ 78 w 248"/>
                <a:gd name="T29" fmla="*/ 8 h 228"/>
                <a:gd name="T30" fmla="*/ 57 w 248"/>
                <a:gd name="T31" fmla="*/ 0 h 228"/>
                <a:gd name="T32" fmla="*/ 35 w 248"/>
                <a:gd name="T33" fmla="*/ 3 h 228"/>
                <a:gd name="T34" fmla="*/ 29 w 248"/>
                <a:gd name="T35" fmla="*/ 7 h 228"/>
                <a:gd name="T36" fmla="*/ 27 w 248"/>
                <a:gd name="T37" fmla="*/ 21 h 228"/>
                <a:gd name="T38" fmla="*/ 21 w 248"/>
                <a:gd name="T39" fmla="*/ 31 h 228"/>
                <a:gd name="T40" fmla="*/ 20 w 248"/>
                <a:gd name="T41" fmla="*/ 52 h 228"/>
                <a:gd name="T42" fmla="*/ 19 w 248"/>
                <a:gd name="T43" fmla="*/ 59 h 228"/>
                <a:gd name="T44" fmla="*/ 24 w 248"/>
                <a:gd name="T45" fmla="*/ 74 h 228"/>
                <a:gd name="T46" fmla="*/ 19 w 248"/>
                <a:gd name="T47" fmla="*/ 84 h 228"/>
                <a:gd name="T48" fmla="*/ 22 w 248"/>
                <a:gd name="T49" fmla="*/ 89 h 228"/>
                <a:gd name="T50" fmla="*/ 12 w 248"/>
                <a:gd name="T51" fmla="*/ 104 h 228"/>
                <a:gd name="T52" fmla="*/ 5 w 248"/>
                <a:gd name="T53" fmla="*/ 112 h 228"/>
                <a:gd name="T54" fmla="*/ 1 w 248"/>
                <a:gd name="T55" fmla="*/ 127 h 228"/>
                <a:gd name="T56" fmla="*/ 1 w 248"/>
                <a:gd name="T57" fmla="*/ 142 h 228"/>
                <a:gd name="T58" fmla="*/ 0 w 248"/>
                <a:gd name="T59" fmla="*/ 180 h 228"/>
                <a:gd name="T60" fmla="*/ 19 w 248"/>
                <a:gd name="T61" fmla="*/ 180 h 228"/>
                <a:gd name="T62" fmla="*/ 35 w 248"/>
                <a:gd name="T63" fmla="*/ 180 h 228"/>
                <a:gd name="T64" fmla="*/ 50 w 248"/>
                <a:gd name="T65" fmla="*/ 196 h 228"/>
                <a:gd name="T66" fmla="*/ 56 w 248"/>
                <a:gd name="T67" fmla="*/ 213 h 228"/>
                <a:gd name="T68" fmla="*/ 68 w 248"/>
                <a:gd name="T69" fmla="*/ 228 h 228"/>
                <a:gd name="T70" fmla="*/ 84 w 248"/>
                <a:gd name="T71" fmla="*/ 228 h 228"/>
                <a:gd name="T72" fmla="*/ 93 w 248"/>
                <a:gd name="T73" fmla="*/ 223 h 228"/>
                <a:gd name="T74" fmla="*/ 100 w 248"/>
                <a:gd name="T75" fmla="*/ 224 h 228"/>
                <a:gd name="T76" fmla="*/ 123 w 248"/>
                <a:gd name="T77" fmla="*/ 215 h 228"/>
                <a:gd name="T78" fmla="*/ 127 w 248"/>
                <a:gd name="T79" fmla="*/ 199 h 228"/>
                <a:gd name="T80" fmla="*/ 138 w 248"/>
                <a:gd name="T81" fmla="*/ 176 h 228"/>
                <a:gd name="T82" fmla="*/ 143 w 248"/>
                <a:gd name="T83" fmla="*/ 175 h 228"/>
                <a:gd name="T84" fmla="*/ 156 w 248"/>
                <a:gd name="T85" fmla="*/ 162 h 228"/>
                <a:gd name="T86" fmla="*/ 164 w 248"/>
                <a:gd name="T87" fmla="*/ 161 h 228"/>
                <a:gd name="T88" fmla="*/ 176 w 248"/>
                <a:gd name="T89" fmla="*/ 172 h 228"/>
                <a:gd name="T90" fmla="*/ 190 w 248"/>
                <a:gd name="T91" fmla="*/ 163 h 228"/>
                <a:gd name="T92" fmla="*/ 192 w 248"/>
                <a:gd name="T93" fmla="*/ 153 h 228"/>
                <a:gd name="T94" fmla="*/ 197 w 248"/>
                <a:gd name="T95" fmla="*/ 143 h 228"/>
                <a:gd name="T96" fmla="*/ 199 w 248"/>
                <a:gd name="T97" fmla="*/ 131 h 228"/>
                <a:gd name="T98" fmla="*/ 211 w 248"/>
                <a:gd name="T99" fmla="*/ 122 h 228"/>
                <a:gd name="T100" fmla="*/ 215 w 248"/>
                <a:gd name="T101" fmla="*/ 105 h 228"/>
                <a:gd name="T102" fmla="*/ 220 w 248"/>
                <a:gd name="T103" fmla="*/ 100 h 228"/>
                <a:gd name="T104" fmla="*/ 222 w 248"/>
                <a:gd name="T105" fmla="*/ 87 h 228"/>
                <a:gd name="T106" fmla="*/ 227 w 248"/>
                <a:gd name="T107" fmla="*/ 73 h 228"/>
                <a:gd name="T108" fmla="*/ 245 w 248"/>
                <a:gd name="T109" fmla="*/ 54 h 228"/>
                <a:gd name="T110" fmla="*/ 246 w 248"/>
                <a:gd name="T111" fmla="*/ 46 h 228"/>
                <a:gd name="T112" fmla="*/ 248 w 248"/>
                <a:gd name="T113" fmla="*/ 42 h 228"/>
                <a:gd name="T114" fmla="*/ 239 w 248"/>
                <a:gd name="T115" fmla="*/ 32 h 228"/>
                <a:gd name="T116" fmla="*/ 239 w 248"/>
                <a:gd name="T117" fmla="*/ 32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48" h="228">
                  <a:moveTo>
                    <a:pt x="239" y="32"/>
                  </a:moveTo>
                  <a:lnTo>
                    <a:pt x="236" y="33"/>
                  </a:lnTo>
                  <a:lnTo>
                    <a:pt x="222" y="7"/>
                  </a:lnTo>
                  <a:lnTo>
                    <a:pt x="216" y="6"/>
                  </a:lnTo>
                  <a:lnTo>
                    <a:pt x="200" y="19"/>
                  </a:lnTo>
                  <a:lnTo>
                    <a:pt x="184" y="13"/>
                  </a:lnTo>
                  <a:lnTo>
                    <a:pt x="173" y="11"/>
                  </a:lnTo>
                  <a:lnTo>
                    <a:pt x="168" y="15"/>
                  </a:lnTo>
                  <a:lnTo>
                    <a:pt x="155" y="14"/>
                  </a:lnTo>
                  <a:lnTo>
                    <a:pt x="142" y="24"/>
                  </a:lnTo>
                  <a:lnTo>
                    <a:pt x="132" y="24"/>
                  </a:lnTo>
                  <a:lnTo>
                    <a:pt x="107" y="12"/>
                  </a:lnTo>
                  <a:lnTo>
                    <a:pt x="97" y="17"/>
                  </a:lnTo>
                  <a:lnTo>
                    <a:pt x="86" y="17"/>
                  </a:lnTo>
                  <a:lnTo>
                    <a:pt x="78" y="8"/>
                  </a:lnTo>
                  <a:lnTo>
                    <a:pt x="57" y="0"/>
                  </a:lnTo>
                  <a:lnTo>
                    <a:pt x="35" y="3"/>
                  </a:lnTo>
                  <a:lnTo>
                    <a:pt x="29" y="7"/>
                  </a:lnTo>
                  <a:lnTo>
                    <a:pt x="27" y="21"/>
                  </a:lnTo>
                  <a:lnTo>
                    <a:pt x="21" y="31"/>
                  </a:lnTo>
                  <a:lnTo>
                    <a:pt x="20" y="52"/>
                  </a:lnTo>
                  <a:lnTo>
                    <a:pt x="19" y="59"/>
                  </a:lnTo>
                  <a:lnTo>
                    <a:pt x="24" y="74"/>
                  </a:lnTo>
                  <a:lnTo>
                    <a:pt x="19" y="84"/>
                  </a:lnTo>
                  <a:lnTo>
                    <a:pt x="22" y="89"/>
                  </a:lnTo>
                  <a:lnTo>
                    <a:pt x="12" y="104"/>
                  </a:lnTo>
                  <a:lnTo>
                    <a:pt x="5" y="112"/>
                  </a:lnTo>
                  <a:lnTo>
                    <a:pt x="1" y="127"/>
                  </a:lnTo>
                  <a:lnTo>
                    <a:pt x="1" y="142"/>
                  </a:lnTo>
                  <a:lnTo>
                    <a:pt x="0" y="180"/>
                  </a:lnTo>
                  <a:lnTo>
                    <a:pt x="19" y="180"/>
                  </a:lnTo>
                  <a:lnTo>
                    <a:pt x="35" y="180"/>
                  </a:lnTo>
                  <a:lnTo>
                    <a:pt x="50" y="196"/>
                  </a:lnTo>
                  <a:lnTo>
                    <a:pt x="56" y="213"/>
                  </a:lnTo>
                  <a:lnTo>
                    <a:pt x="68" y="228"/>
                  </a:lnTo>
                  <a:lnTo>
                    <a:pt x="84" y="228"/>
                  </a:lnTo>
                  <a:lnTo>
                    <a:pt x="93" y="223"/>
                  </a:lnTo>
                  <a:lnTo>
                    <a:pt x="100" y="224"/>
                  </a:lnTo>
                  <a:lnTo>
                    <a:pt x="123" y="215"/>
                  </a:lnTo>
                  <a:lnTo>
                    <a:pt x="127" y="199"/>
                  </a:lnTo>
                  <a:lnTo>
                    <a:pt x="138" y="176"/>
                  </a:lnTo>
                  <a:lnTo>
                    <a:pt x="143" y="175"/>
                  </a:lnTo>
                  <a:lnTo>
                    <a:pt x="156" y="162"/>
                  </a:lnTo>
                  <a:lnTo>
                    <a:pt x="164" y="161"/>
                  </a:lnTo>
                  <a:lnTo>
                    <a:pt x="176" y="172"/>
                  </a:lnTo>
                  <a:lnTo>
                    <a:pt x="190" y="163"/>
                  </a:lnTo>
                  <a:lnTo>
                    <a:pt x="192" y="153"/>
                  </a:lnTo>
                  <a:lnTo>
                    <a:pt x="197" y="143"/>
                  </a:lnTo>
                  <a:lnTo>
                    <a:pt x="199" y="131"/>
                  </a:lnTo>
                  <a:lnTo>
                    <a:pt x="211" y="122"/>
                  </a:lnTo>
                  <a:lnTo>
                    <a:pt x="215" y="105"/>
                  </a:lnTo>
                  <a:lnTo>
                    <a:pt x="220" y="100"/>
                  </a:lnTo>
                  <a:lnTo>
                    <a:pt x="222" y="87"/>
                  </a:lnTo>
                  <a:lnTo>
                    <a:pt x="227" y="73"/>
                  </a:lnTo>
                  <a:lnTo>
                    <a:pt x="245" y="54"/>
                  </a:lnTo>
                  <a:lnTo>
                    <a:pt x="246" y="46"/>
                  </a:lnTo>
                  <a:lnTo>
                    <a:pt x="248" y="42"/>
                  </a:lnTo>
                  <a:lnTo>
                    <a:pt x="239" y="32"/>
                  </a:lnTo>
                  <a:lnTo>
                    <a:pt x="239" y="3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1" name="Nicaragua">
              <a:extLst>
                <a:ext uri="{FF2B5EF4-FFF2-40B4-BE49-F238E27FC236}">
                  <a16:creationId xmlns:a16="http://schemas.microsoft.com/office/drawing/2014/main" id="{B5ECECF8-E74A-457E-9A7D-9AEAFCE4F410}"/>
                </a:ext>
              </a:extLst>
            </p:cNvPr>
            <p:cNvSpPr>
              <a:spLocks/>
            </p:cNvSpPr>
            <p:nvPr/>
          </p:nvSpPr>
          <p:spPr bwMode="auto">
            <a:xfrm>
              <a:off x="3094831" y="3495448"/>
              <a:ext cx="157162" cy="161925"/>
            </a:xfrm>
            <a:custGeom>
              <a:avLst/>
              <a:gdLst>
                <a:gd name="T0" fmla="*/ 99 w 99"/>
                <a:gd name="T1" fmla="*/ 1 h 102"/>
                <a:gd name="T2" fmla="*/ 93 w 99"/>
                <a:gd name="T3" fmla="*/ 0 h 102"/>
                <a:gd name="T4" fmla="*/ 89 w 99"/>
                <a:gd name="T5" fmla="*/ 3 h 102"/>
                <a:gd name="T6" fmla="*/ 81 w 99"/>
                <a:gd name="T7" fmla="*/ 6 h 102"/>
                <a:gd name="T8" fmla="*/ 77 w 99"/>
                <a:gd name="T9" fmla="*/ 6 h 102"/>
                <a:gd name="T10" fmla="*/ 71 w 99"/>
                <a:gd name="T11" fmla="*/ 9 h 102"/>
                <a:gd name="T12" fmla="*/ 67 w 99"/>
                <a:gd name="T13" fmla="*/ 8 h 102"/>
                <a:gd name="T14" fmla="*/ 64 w 99"/>
                <a:gd name="T15" fmla="*/ 5 h 102"/>
                <a:gd name="T16" fmla="*/ 62 w 99"/>
                <a:gd name="T17" fmla="*/ 5 h 102"/>
                <a:gd name="T18" fmla="*/ 59 w 99"/>
                <a:gd name="T19" fmla="*/ 11 h 102"/>
                <a:gd name="T20" fmla="*/ 57 w 99"/>
                <a:gd name="T21" fmla="*/ 11 h 102"/>
                <a:gd name="T22" fmla="*/ 56 w 99"/>
                <a:gd name="T23" fmla="*/ 16 h 102"/>
                <a:gd name="T24" fmla="*/ 48 w 99"/>
                <a:gd name="T25" fmla="*/ 22 h 102"/>
                <a:gd name="T26" fmla="*/ 44 w 99"/>
                <a:gd name="T27" fmla="*/ 25 h 102"/>
                <a:gd name="T28" fmla="*/ 41 w 99"/>
                <a:gd name="T29" fmla="*/ 28 h 102"/>
                <a:gd name="T30" fmla="*/ 36 w 99"/>
                <a:gd name="T31" fmla="*/ 23 h 102"/>
                <a:gd name="T32" fmla="*/ 31 w 99"/>
                <a:gd name="T33" fmla="*/ 30 h 102"/>
                <a:gd name="T34" fmla="*/ 26 w 99"/>
                <a:gd name="T35" fmla="*/ 30 h 102"/>
                <a:gd name="T36" fmla="*/ 22 w 99"/>
                <a:gd name="T37" fmla="*/ 31 h 102"/>
                <a:gd name="T38" fmla="*/ 21 w 99"/>
                <a:gd name="T39" fmla="*/ 42 h 102"/>
                <a:gd name="T40" fmla="*/ 18 w 99"/>
                <a:gd name="T41" fmla="*/ 42 h 102"/>
                <a:gd name="T42" fmla="*/ 15 w 99"/>
                <a:gd name="T43" fmla="*/ 47 h 102"/>
                <a:gd name="T44" fmla="*/ 8 w 99"/>
                <a:gd name="T45" fmla="*/ 48 h 102"/>
                <a:gd name="T46" fmla="*/ 7 w 99"/>
                <a:gd name="T47" fmla="*/ 50 h 102"/>
                <a:gd name="T48" fmla="*/ 3 w 99"/>
                <a:gd name="T49" fmla="*/ 46 h 102"/>
                <a:gd name="T50" fmla="*/ 0 w 99"/>
                <a:gd name="T51" fmla="*/ 50 h 102"/>
                <a:gd name="T52" fmla="*/ 11 w 99"/>
                <a:gd name="T53" fmla="*/ 61 h 102"/>
                <a:gd name="T54" fmla="*/ 19 w 99"/>
                <a:gd name="T55" fmla="*/ 69 h 102"/>
                <a:gd name="T56" fmla="*/ 23 w 99"/>
                <a:gd name="T57" fmla="*/ 76 h 102"/>
                <a:gd name="T58" fmla="*/ 32 w 99"/>
                <a:gd name="T59" fmla="*/ 86 h 102"/>
                <a:gd name="T60" fmla="*/ 39 w 99"/>
                <a:gd name="T61" fmla="*/ 93 h 102"/>
                <a:gd name="T62" fmla="*/ 41 w 99"/>
                <a:gd name="T63" fmla="*/ 90 h 102"/>
                <a:gd name="T64" fmla="*/ 54 w 99"/>
                <a:gd name="T65" fmla="*/ 97 h 102"/>
                <a:gd name="T66" fmla="*/ 60 w 99"/>
                <a:gd name="T67" fmla="*/ 94 h 102"/>
                <a:gd name="T68" fmla="*/ 67 w 99"/>
                <a:gd name="T69" fmla="*/ 96 h 102"/>
                <a:gd name="T70" fmla="*/ 69 w 99"/>
                <a:gd name="T71" fmla="*/ 101 h 102"/>
                <a:gd name="T72" fmla="*/ 76 w 99"/>
                <a:gd name="T73" fmla="*/ 102 h 102"/>
                <a:gd name="T74" fmla="*/ 81 w 99"/>
                <a:gd name="T75" fmla="*/ 97 h 102"/>
                <a:gd name="T76" fmla="*/ 78 w 99"/>
                <a:gd name="T77" fmla="*/ 93 h 102"/>
                <a:gd name="T78" fmla="*/ 78 w 99"/>
                <a:gd name="T79" fmla="*/ 87 h 102"/>
                <a:gd name="T80" fmla="*/ 82 w 99"/>
                <a:gd name="T81" fmla="*/ 81 h 102"/>
                <a:gd name="T82" fmla="*/ 81 w 99"/>
                <a:gd name="T83" fmla="*/ 74 h 102"/>
                <a:gd name="T84" fmla="*/ 84 w 99"/>
                <a:gd name="T85" fmla="*/ 64 h 102"/>
                <a:gd name="T86" fmla="*/ 87 w 99"/>
                <a:gd name="T87" fmla="*/ 61 h 102"/>
                <a:gd name="T88" fmla="*/ 88 w 99"/>
                <a:gd name="T89" fmla="*/ 51 h 102"/>
                <a:gd name="T90" fmla="*/ 87 w 99"/>
                <a:gd name="T91" fmla="*/ 45 h 102"/>
                <a:gd name="T92" fmla="*/ 88 w 99"/>
                <a:gd name="T93" fmla="*/ 34 h 102"/>
                <a:gd name="T94" fmla="*/ 92 w 99"/>
                <a:gd name="T95" fmla="*/ 25 h 102"/>
                <a:gd name="T96" fmla="*/ 97 w 99"/>
                <a:gd name="T97" fmla="*/ 17 h 102"/>
                <a:gd name="T98" fmla="*/ 95 w 99"/>
                <a:gd name="T99" fmla="*/ 8 h 102"/>
                <a:gd name="T100" fmla="*/ 97 w 99"/>
                <a:gd name="T101" fmla="*/ 3 h 102"/>
                <a:gd name="T102" fmla="*/ 99 w 99"/>
                <a:gd name="T103" fmla="*/ 1 h 102"/>
                <a:gd name="T104" fmla="*/ 99 w 99"/>
                <a:gd name="T105" fmla="*/ 1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99" h="102">
                  <a:moveTo>
                    <a:pt x="99" y="1"/>
                  </a:moveTo>
                  <a:lnTo>
                    <a:pt x="93" y="0"/>
                  </a:lnTo>
                  <a:lnTo>
                    <a:pt x="89" y="3"/>
                  </a:lnTo>
                  <a:lnTo>
                    <a:pt x="81" y="6"/>
                  </a:lnTo>
                  <a:lnTo>
                    <a:pt x="77" y="6"/>
                  </a:lnTo>
                  <a:lnTo>
                    <a:pt x="71" y="9"/>
                  </a:lnTo>
                  <a:lnTo>
                    <a:pt x="67" y="8"/>
                  </a:lnTo>
                  <a:lnTo>
                    <a:pt x="64" y="5"/>
                  </a:lnTo>
                  <a:lnTo>
                    <a:pt x="62" y="5"/>
                  </a:lnTo>
                  <a:lnTo>
                    <a:pt x="59" y="11"/>
                  </a:lnTo>
                  <a:lnTo>
                    <a:pt x="57" y="11"/>
                  </a:lnTo>
                  <a:lnTo>
                    <a:pt x="56" y="16"/>
                  </a:lnTo>
                  <a:lnTo>
                    <a:pt x="48" y="22"/>
                  </a:lnTo>
                  <a:lnTo>
                    <a:pt x="44" y="25"/>
                  </a:lnTo>
                  <a:lnTo>
                    <a:pt x="41" y="28"/>
                  </a:lnTo>
                  <a:lnTo>
                    <a:pt x="36" y="23"/>
                  </a:lnTo>
                  <a:lnTo>
                    <a:pt x="31" y="30"/>
                  </a:lnTo>
                  <a:lnTo>
                    <a:pt x="26" y="30"/>
                  </a:lnTo>
                  <a:lnTo>
                    <a:pt x="22" y="31"/>
                  </a:lnTo>
                  <a:lnTo>
                    <a:pt x="21" y="42"/>
                  </a:lnTo>
                  <a:lnTo>
                    <a:pt x="18" y="42"/>
                  </a:lnTo>
                  <a:lnTo>
                    <a:pt x="15" y="47"/>
                  </a:lnTo>
                  <a:lnTo>
                    <a:pt x="8" y="48"/>
                  </a:lnTo>
                  <a:lnTo>
                    <a:pt x="7" y="50"/>
                  </a:lnTo>
                  <a:lnTo>
                    <a:pt x="3" y="46"/>
                  </a:lnTo>
                  <a:lnTo>
                    <a:pt x="0" y="50"/>
                  </a:lnTo>
                  <a:lnTo>
                    <a:pt x="11" y="61"/>
                  </a:lnTo>
                  <a:lnTo>
                    <a:pt x="19" y="69"/>
                  </a:lnTo>
                  <a:lnTo>
                    <a:pt x="23" y="76"/>
                  </a:lnTo>
                  <a:lnTo>
                    <a:pt x="32" y="86"/>
                  </a:lnTo>
                  <a:lnTo>
                    <a:pt x="39" y="93"/>
                  </a:lnTo>
                  <a:lnTo>
                    <a:pt x="41" y="90"/>
                  </a:lnTo>
                  <a:lnTo>
                    <a:pt x="54" y="97"/>
                  </a:lnTo>
                  <a:lnTo>
                    <a:pt x="60" y="94"/>
                  </a:lnTo>
                  <a:lnTo>
                    <a:pt x="67" y="96"/>
                  </a:lnTo>
                  <a:lnTo>
                    <a:pt x="69" y="101"/>
                  </a:lnTo>
                  <a:lnTo>
                    <a:pt x="76" y="102"/>
                  </a:lnTo>
                  <a:lnTo>
                    <a:pt x="81" y="97"/>
                  </a:lnTo>
                  <a:lnTo>
                    <a:pt x="78" y="93"/>
                  </a:lnTo>
                  <a:lnTo>
                    <a:pt x="78" y="87"/>
                  </a:lnTo>
                  <a:lnTo>
                    <a:pt x="82" y="81"/>
                  </a:lnTo>
                  <a:lnTo>
                    <a:pt x="81" y="74"/>
                  </a:lnTo>
                  <a:lnTo>
                    <a:pt x="84" y="64"/>
                  </a:lnTo>
                  <a:lnTo>
                    <a:pt x="87" y="61"/>
                  </a:lnTo>
                  <a:lnTo>
                    <a:pt x="88" y="51"/>
                  </a:lnTo>
                  <a:lnTo>
                    <a:pt x="87" y="45"/>
                  </a:lnTo>
                  <a:lnTo>
                    <a:pt x="88" y="34"/>
                  </a:lnTo>
                  <a:lnTo>
                    <a:pt x="92" y="25"/>
                  </a:lnTo>
                  <a:lnTo>
                    <a:pt x="97" y="17"/>
                  </a:lnTo>
                  <a:lnTo>
                    <a:pt x="95" y="8"/>
                  </a:lnTo>
                  <a:lnTo>
                    <a:pt x="97" y="3"/>
                  </a:lnTo>
                  <a:lnTo>
                    <a:pt x="99" y="1"/>
                  </a:lnTo>
                  <a:lnTo>
                    <a:pt x="9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2" name="Netherlands">
              <a:extLst>
                <a:ext uri="{FF2B5EF4-FFF2-40B4-BE49-F238E27FC236}">
                  <a16:creationId xmlns:a16="http://schemas.microsoft.com/office/drawing/2014/main" id="{81D251BC-1FBF-4E63-8743-5768E0C9FC14}"/>
                </a:ext>
              </a:extLst>
            </p:cNvPr>
            <p:cNvSpPr>
              <a:spLocks/>
            </p:cNvSpPr>
            <p:nvPr/>
          </p:nvSpPr>
          <p:spPr bwMode="auto">
            <a:xfrm>
              <a:off x="6090444" y="2055587"/>
              <a:ext cx="104775" cy="98425"/>
            </a:xfrm>
            <a:custGeom>
              <a:avLst/>
              <a:gdLst>
                <a:gd name="T0" fmla="*/ 48 w 66"/>
                <a:gd name="T1" fmla="*/ 38 h 62"/>
                <a:gd name="T2" fmla="*/ 59 w 66"/>
                <a:gd name="T3" fmla="*/ 38 h 62"/>
                <a:gd name="T4" fmla="*/ 63 w 66"/>
                <a:gd name="T5" fmla="*/ 29 h 62"/>
                <a:gd name="T6" fmla="*/ 66 w 66"/>
                <a:gd name="T7" fmla="*/ 9 h 62"/>
                <a:gd name="T8" fmla="*/ 63 w 66"/>
                <a:gd name="T9" fmla="*/ 1 h 62"/>
                <a:gd name="T10" fmla="*/ 48 w 66"/>
                <a:gd name="T11" fmla="*/ 0 h 62"/>
                <a:gd name="T12" fmla="*/ 24 w 66"/>
                <a:gd name="T13" fmla="*/ 10 h 62"/>
                <a:gd name="T14" fmla="*/ 10 w 66"/>
                <a:gd name="T15" fmla="*/ 43 h 62"/>
                <a:gd name="T16" fmla="*/ 0 w 66"/>
                <a:gd name="T17" fmla="*/ 50 h 62"/>
                <a:gd name="T18" fmla="*/ 0 w 66"/>
                <a:gd name="T19" fmla="*/ 50 h 62"/>
                <a:gd name="T20" fmla="*/ 13 w 66"/>
                <a:gd name="T21" fmla="*/ 51 h 62"/>
                <a:gd name="T22" fmla="*/ 30 w 66"/>
                <a:gd name="T23" fmla="*/ 47 h 62"/>
                <a:gd name="T24" fmla="*/ 41 w 66"/>
                <a:gd name="T25" fmla="*/ 57 h 62"/>
                <a:gd name="T26" fmla="*/ 52 w 66"/>
                <a:gd name="T27" fmla="*/ 62 h 62"/>
                <a:gd name="T28" fmla="*/ 48 w 66"/>
                <a:gd name="T29" fmla="*/ 38 h 62"/>
                <a:gd name="T30" fmla="*/ 48 w 66"/>
                <a:gd name="T31" fmla="*/ 38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6" h="62">
                  <a:moveTo>
                    <a:pt x="48" y="38"/>
                  </a:moveTo>
                  <a:lnTo>
                    <a:pt x="59" y="38"/>
                  </a:lnTo>
                  <a:lnTo>
                    <a:pt x="63" y="29"/>
                  </a:lnTo>
                  <a:lnTo>
                    <a:pt x="66" y="9"/>
                  </a:lnTo>
                  <a:lnTo>
                    <a:pt x="63" y="1"/>
                  </a:lnTo>
                  <a:lnTo>
                    <a:pt x="48" y="0"/>
                  </a:lnTo>
                  <a:lnTo>
                    <a:pt x="24" y="10"/>
                  </a:lnTo>
                  <a:lnTo>
                    <a:pt x="10" y="43"/>
                  </a:lnTo>
                  <a:lnTo>
                    <a:pt x="0" y="50"/>
                  </a:lnTo>
                  <a:lnTo>
                    <a:pt x="0" y="50"/>
                  </a:lnTo>
                  <a:lnTo>
                    <a:pt x="13" y="51"/>
                  </a:lnTo>
                  <a:lnTo>
                    <a:pt x="30" y="47"/>
                  </a:lnTo>
                  <a:lnTo>
                    <a:pt x="41" y="57"/>
                  </a:lnTo>
                  <a:lnTo>
                    <a:pt x="52" y="62"/>
                  </a:lnTo>
                  <a:lnTo>
                    <a:pt x="48" y="38"/>
                  </a:lnTo>
                  <a:lnTo>
                    <a:pt x="48" y="3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3" name="Norway">
              <a:extLst>
                <a:ext uri="{FF2B5EF4-FFF2-40B4-BE49-F238E27FC236}">
                  <a16:creationId xmlns:a16="http://schemas.microsoft.com/office/drawing/2014/main" id="{244D0AD5-3918-45A0-8946-8CDC87E2332E}"/>
                </a:ext>
              </a:extLst>
            </p:cNvPr>
            <p:cNvSpPr>
              <a:spLocks noEditPoints="1"/>
            </p:cNvSpPr>
            <p:nvPr/>
          </p:nvSpPr>
          <p:spPr bwMode="auto">
            <a:xfrm>
              <a:off x="6126956" y="1188812"/>
              <a:ext cx="617537" cy="704849"/>
            </a:xfrm>
            <a:custGeom>
              <a:avLst/>
              <a:gdLst>
                <a:gd name="T0" fmla="*/ 311 w 389"/>
                <a:gd name="T1" fmla="*/ 174 h 444"/>
                <a:gd name="T2" fmla="*/ 264 w 389"/>
                <a:gd name="T3" fmla="*/ 189 h 444"/>
                <a:gd name="T4" fmla="*/ 207 w 389"/>
                <a:gd name="T5" fmla="*/ 197 h 444"/>
                <a:gd name="T6" fmla="*/ 145 w 389"/>
                <a:gd name="T7" fmla="*/ 237 h 444"/>
                <a:gd name="T8" fmla="*/ 86 w 389"/>
                <a:gd name="T9" fmla="*/ 306 h 444"/>
                <a:gd name="T10" fmla="*/ 14 w 389"/>
                <a:gd name="T11" fmla="*/ 346 h 444"/>
                <a:gd name="T12" fmla="*/ 6 w 389"/>
                <a:gd name="T13" fmla="*/ 410 h 444"/>
                <a:gd name="T14" fmla="*/ 38 w 389"/>
                <a:gd name="T15" fmla="*/ 444 h 444"/>
                <a:gd name="T16" fmla="*/ 92 w 389"/>
                <a:gd name="T17" fmla="*/ 414 h 444"/>
                <a:gd name="T18" fmla="*/ 111 w 389"/>
                <a:gd name="T19" fmla="*/ 414 h 444"/>
                <a:gd name="T20" fmla="*/ 127 w 389"/>
                <a:gd name="T21" fmla="*/ 374 h 444"/>
                <a:gd name="T22" fmla="*/ 111 w 389"/>
                <a:gd name="T23" fmla="*/ 335 h 444"/>
                <a:gd name="T24" fmla="*/ 136 w 389"/>
                <a:gd name="T25" fmla="*/ 315 h 444"/>
                <a:gd name="T26" fmla="*/ 134 w 389"/>
                <a:gd name="T27" fmla="*/ 301 h 444"/>
                <a:gd name="T28" fmla="*/ 168 w 389"/>
                <a:gd name="T29" fmla="*/ 248 h 444"/>
                <a:gd name="T30" fmla="*/ 191 w 389"/>
                <a:gd name="T31" fmla="*/ 233 h 444"/>
                <a:gd name="T32" fmla="*/ 223 w 389"/>
                <a:gd name="T33" fmla="*/ 226 h 444"/>
                <a:gd name="T34" fmla="*/ 232 w 389"/>
                <a:gd name="T35" fmla="*/ 211 h 444"/>
                <a:gd name="T36" fmla="*/ 259 w 389"/>
                <a:gd name="T37" fmla="*/ 217 h 444"/>
                <a:gd name="T38" fmla="*/ 297 w 389"/>
                <a:gd name="T39" fmla="*/ 220 h 444"/>
                <a:gd name="T40" fmla="*/ 313 w 389"/>
                <a:gd name="T41" fmla="*/ 197 h 444"/>
                <a:gd name="T42" fmla="*/ 356 w 389"/>
                <a:gd name="T43" fmla="*/ 198 h 444"/>
                <a:gd name="T44" fmla="*/ 365 w 389"/>
                <a:gd name="T45" fmla="*/ 211 h 444"/>
                <a:gd name="T46" fmla="*/ 389 w 389"/>
                <a:gd name="T47" fmla="*/ 203 h 444"/>
                <a:gd name="T48" fmla="*/ 387 w 389"/>
                <a:gd name="T49" fmla="*/ 185 h 444"/>
                <a:gd name="T50" fmla="*/ 336 w 389"/>
                <a:gd name="T51" fmla="*/ 170 h 444"/>
                <a:gd name="T52" fmla="*/ 230 w 389"/>
                <a:gd name="T53" fmla="*/ 42 h 444"/>
                <a:gd name="T54" fmla="*/ 197 w 389"/>
                <a:gd name="T55" fmla="*/ 39 h 444"/>
                <a:gd name="T56" fmla="*/ 198 w 389"/>
                <a:gd name="T57" fmla="*/ 49 h 444"/>
                <a:gd name="T58" fmla="*/ 252 w 389"/>
                <a:gd name="T59" fmla="*/ 46 h 444"/>
                <a:gd name="T60" fmla="*/ 139 w 389"/>
                <a:gd name="T61" fmla="*/ 9 h 444"/>
                <a:gd name="T62" fmla="*/ 116 w 389"/>
                <a:gd name="T63" fmla="*/ 15 h 444"/>
                <a:gd name="T64" fmla="*/ 89 w 389"/>
                <a:gd name="T65" fmla="*/ 9 h 444"/>
                <a:gd name="T66" fmla="*/ 66 w 389"/>
                <a:gd name="T67" fmla="*/ 29 h 444"/>
                <a:gd name="T68" fmla="*/ 116 w 389"/>
                <a:gd name="T69" fmla="*/ 48 h 444"/>
                <a:gd name="T70" fmla="*/ 136 w 389"/>
                <a:gd name="T71" fmla="*/ 65 h 444"/>
                <a:gd name="T72" fmla="*/ 156 w 389"/>
                <a:gd name="T73" fmla="*/ 50 h 444"/>
                <a:gd name="T74" fmla="*/ 171 w 389"/>
                <a:gd name="T75" fmla="*/ 34 h 444"/>
                <a:gd name="T76" fmla="*/ 156 w 389"/>
                <a:gd name="T77" fmla="*/ 15 h 444"/>
                <a:gd name="T78" fmla="*/ 213 w 389"/>
                <a:gd name="T79" fmla="*/ 0 h 444"/>
                <a:gd name="T80" fmla="*/ 182 w 389"/>
                <a:gd name="T81" fmla="*/ 0 h 444"/>
                <a:gd name="T82" fmla="*/ 158 w 389"/>
                <a:gd name="T83" fmla="*/ 12 h 444"/>
                <a:gd name="T84" fmla="*/ 181 w 389"/>
                <a:gd name="T85" fmla="*/ 17 h 444"/>
                <a:gd name="T86" fmla="*/ 258 w 389"/>
                <a:gd name="T87" fmla="*/ 18 h 444"/>
                <a:gd name="T88" fmla="*/ 247 w 389"/>
                <a:gd name="T89" fmla="*/ 4 h 4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89" h="444">
                  <a:moveTo>
                    <a:pt x="336" y="170"/>
                  </a:moveTo>
                  <a:lnTo>
                    <a:pt x="311" y="174"/>
                  </a:lnTo>
                  <a:lnTo>
                    <a:pt x="282" y="174"/>
                  </a:lnTo>
                  <a:lnTo>
                    <a:pt x="264" y="189"/>
                  </a:lnTo>
                  <a:lnTo>
                    <a:pt x="239" y="188"/>
                  </a:lnTo>
                  <a:lnTo>
                    <a:pt x="207" y="197"/>
                  </a:lnTo>
                  <a:lnTo>
                    <a:pt x="170" y="222"/>
                  </a:lnTo>
                  <a:lnTo>
                    <a:pt x="145" y="237"/>
                  </a:lnTo>
                  <a:lnTo>
                    <a:pt x="113" y="277"/>
                  </a:lnTo>
                  <a:lnTo>
                    <a:pt x="86" y="306"/>
                  </a:lnTo>
                  <a:lnTo>
                    <a:pt x="56" y="329"/>
                  </a:lnTo>
                  <a:lnTo>
                    <a:pt x="14" y="346"/>
                  </a:lnTo>
                  <a:lnTo>
                    <a:pt x="0" y="359"/>
                  </a:lnTo>
                  <a:lnTo>
                    <a:pt x="6" y="410"/>
                  </a:lnTo>
                  <a:lnTo>
                    <a:pt x="14" y="433"/>
                  </a:lnTo>
                  <a:lnTo>
                    <a:pt x="38" y="444"/>
                  </a:lnTo>
                  <a:lnTo>
                    <a:pt x="60" y="439"/>
                  </a:lnTo>
                  <a:lnTo>
                    <a:pt x="92" y="414"/>
                  </a:lnTo>
                  <a:lnTo>
                    <a:pt x="104" y="428"/>
                  </a:lnTo>
                  <a:lnTo>
                    <a:pt x="111" y="414"/>
                  </a:lnTo>
                  <a:lnTo>
                    <a:pt x="123" y="400"/>
                  </a:lnTo>
                  <a:lnTo>
                    <a:pt x="127" y="374"/>
                  </a:lnTo>
                  <a:lnTo>
                    <a:pt x="114" y="363"/>
                  </a:lnTo>
                  <a:lnTo>
                    <a:pt x="111" y="335"/>
                  </a:lnTo>
                  <a:lnTo>
                    <a:pt x="120" y="315"/>
                  </a:lnTo>
                  <a:lnTo>
                    <a:pt x="136" y="315"/>
                  </a:lnTo>
                  <a:lnTo>
                    <a:pt x="141" y="307"/>
                  </a:lnTo>
                  <a:lnTo>
                    <a:pt x="134" y="301"/>
                  </a:lnTo>
                  <a:lnTo>
                    <a:pt x="156" y="271"/>
                  </a:lnTo>
                  <a:lnTo>
                    <a:pt x="168" y="248"/>
                  </a:lnTo>
                  <a:lnTo>
                    <a:pt x="176" y="233"/>
                  </a:lnTo>
                  <a:lnTo>
                    <a:pt x="191" y="233"/>
                  </a:lnTo>
                  <a:lnTo>
                    <a:pt x="193" y="222"/>
                  </a:lnTo>
                  <a:lnTo>
                    <a:pt x="223" y="226"/>
                  </a:lnTo>
                  <a:lnTo>
                    <a:pt x="223" y="213"/>
                  </a:lnTo>
                  <a:lnTo>
                    <a:pt x="232" y="211"/>
                  </a:lnTo>
                  <a:lnTo>
                    <a:pt x="240" y="206"/>
                  </a:lnTo>
                  <a:lnTo>
                    <a:pt x="259" y="217"/>
                  </a:lnTo>
                  <a:lnTo>
                    <a:pt x="279" y="216"/>
                  </a:lnTo>
                  <a:lnTo>
                    <a:pt x="297" y="220"/>
                  </a:lnTo>
                  <a:lnTo>
                    <a:pt x="309" y="212"/>
                  </a:lnTo>
                  <a:lnTo>
                    <a:pt x="313" y="197"/>
                  </a:lnTo>
                  <a:lnTo>
                    <a:pt x="335" y="190"/>
                  </a:lnTo>
                  <a:lnTo>
                    <a:pt x="356" y="198"/>
                  </a:lnTo>
                  <a:lnTo>
                    <a:pt x="353" y="213"/>
                  </a:lnTo>
                  <a:lnTo>
                    <a:pt x="365" y="211"/>
                  </a:lnTo>
                  <a:lnTo>
                    <a:pt x="389" y="203"/>
                  </a:lnTo>
                  <a:lnTo>
                    <a:pt x="389" y="203"/>
                  </a:lnTo>
                  <a:lnTo>
                    <a:pt x="368" y="190"/>
                  </a:lnTo>
                  <a:lnTo>
                    <a:pt x="387" y="185"/>
                  </a:lnTo>
                  <a:lnTo>
                    <a:pt x="336" y="170"/>
                  </a:lnTo>
                  <a:lnTo>
                    <a:pt x="336" y="170"/>
                  </a:lnTo>
                  <a:close/>
                  <a:moveTo>
                    <a:pt x="252" y="46"/>
                  </a:moveTo>
                  <a:lnTo>
                    <a:pt x="230" y="42"/>
                  </a:lnTo>
                  <a:lnTo>
                    <a:pt x="224" y="35"/>
                  </a:lnTo>
                  <a:lnTo>
                    <a:pt x="197" y="39"/>
                  </a:lnTo>
                  <a:lnTo>
                    <a:pt x="206" y="45"/>
                  </a:lnTo>
                  <a:lnTo>
                    <a:pt x="198" y="49"/>
                  </a:lnTo>
                  <a:lnTo>
                    <a:pt x="223" y="53"/>
                  </a:lnTo>
                  <a:lnTo>
                    <a:pt x="252" y="46"/>
                  </a:lnTo>
                  <a:close/>
                  <a:moveTo>
                    <a:pt x="156" y="15"/>
                  </a:moveTo>
                  <a:lnTo>
                    <a:pt x="139" y="9"/>
                  </a:lnTo>
                  <a:lnTo>
                    <a:pt x="120" y="9"/>
                  </a:lnTo>
                  <a:lnTo>
                    <a:pt x="116" y="15"/>
                  </a:lnTo>
                  <a:lnTo>
                    <a:pt x="98" y="15"/>
                  </a:lnTo>
                  <a:lnTo>
                    <a:pt x="89" y="9"/>
                  </a:lnTo>
                  <a:lnTo>
                    <a:pt x="55" y="16"/>
                  </a:lnTo>
                  <a:lnTo>
                    <a:pt x="66" y="29"/>
                  </a:lnTo>
                  <a:lnTo>
                    <a:pt x="95" y="43"/>
                  </a:lnTo>
                  <a:lnTo>
                    <a:pt x="116" y="48"/>
                  </a:lnTo>
                  <a:lnTo>
                    <a:pt x="105" y="54"/>
                  </a:lnTo>
                  <a:lnTo>
                    <a:pt x="136" y="65"/>
                  </a:lnTo>
                  <a:lnTo>
                    <a:pt x="153" y="64"/>
                  </a:lnTo>
                  <a:lnTo>
                    <a:pt x="156" y="50"/>
                  </a:lnTo>
                  <a:lnTo>
                    <a:pt x="167" y="47"/>
                  </a:lnTo>
                  <a:lnTo>
                    <a:pt x="171" y="34"/>
                  </a:lnTo>
                  <a:lnTo>
                    <a:pt x="203" y="27"/>
                  </a:lnTo>
                  <a:lnTo>
                    <a:pt x="156" y="15"/>
                  </a:lnTo>
                  <a:close/>
                  <a:moveTo>
                    <a:pt x="247" y="4"/>
                  </a:moveTo>
                  <a:lnTo>
                    <a:pt x="213" y="0"/>
                  </a:lnTo>
                  <a:lnTo>
                    <a:pt x="201" y="4"/>
                  </a:lnTo>
                  <a:lnTo>
                    <a:pt x="182" y="0"/>
                  </a:lnTo>
                  <a:lnTo>
                    <a:pt x="142" y="5"/>
                  </a:lnTo>
                  <a:lnTo>
                    <a:pt x="158" y="12"/>
                  </a:lnTo>
                  <a:lnTo>
                    <a:pt x="178" y="12"/>
                  </a:lnTo>
                  <a:lnTo>
                    <a:pt x="181" y="17"/>
                  </a:lnTo>
                  <a:lnTo>
                    <a:pt x="221" y="20"/>
                  </a:lnTo>
                  <a:lnTo>
                    <a:pt x="258" y="18"/>
                  </a:lnTo>
                  <a:lnTo>
                    <a:pt x="274" y="9"/>
                  </a:lnTo>
                  <a:lnTo>
                    <a:pt x="247"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4" name="New Zealand">
              <a:extLst>
                <a:ext uri="{FF2B5EF4-FFF2-40B4-BE49-F238E27FC236}">
                  <a16:creationId xmlns:a16="http://schemas.microsoft.com/office/drawing/2014/main" id="{7F301809-D368-476A-BB3C-09EAF4917E88}"/>
                </a:ext>
              </a:extLst>
            </p:cNvPr>
            <p:cNvSpPr>
              <a:spLocks noEditPoints="1"/>
            </p:cNvSpPr>
            <p:nvPr/>
          </p:nvSpPr>
          <p:spPr bwMode="auto">
            <a:xfrm>
              <a:off x="10935494" y="5360760"/>
              <a:ext cx="601662" cy="457200"/>
            </a:xfrm>
            <a:custGeom>
              <a:avLst/>
              <a:gdLst>
                <a:gd name="T0" fmla="*/ 223 w 379"/>
                <a:gd name="T1" fmla="*/ 146 h 288"/>
                <a:gd name="T2" fmla="*/ 188 w 379"/>
                <a:gd name="T3" fmla="*/ 169 h 288"/>
                <a:gd name="T4" fmla="*/ 154 w 379"/>
                <a:gd name="T5" fmla="*/ 193 h 288"/>
                <a:gd name="T6" fmla="*/ 107 w 379"/>
                <a:gd name="T7" fmla="*/ 216 h 288"/>
                <a:gd name="T8" fmla="*/ 70 w 379"/>
                <a:gd name="T9" fmla="*/ 229 h 288"/>
                <a:gd name="T10" fmla="*/ 4 w 379"/>
                <a:gd name="T11" fmla="*/ 269 h 288"/>
                <a:gd name="T12" fmla="*/ 19 w 379"/>
                <a:gd name="T13" fmla="*/ 279 h 288"/>
                <a:gd name="T14" fmla="*/ 41 w 379"/>
                <a:gd name="T15" fmla="*/ 288 h 288"/>
                <a:gd name="T16" fmla="*/ 81 w 379"/>
                <a:gd name="T17" fmla="*/ 270 h 288"/>
                <a:gd name="T18" fmla="*/ 128 w 379"/>
                <a:gd name="T19" fmla="*/ 232 h 288"/>
                <a:gd name="T20" fmla="*/ 167 w 379"/>
                <a:gd name="T21" fmla="*/ 223 h 288"/>
                <a:gd name="T22" fmla="*/ 185 w 379"/>
                <a:gd name="T23" fmla="*/ 203 h 288"/>
                <a:gd name="T24" fmla="*/ 227 w 379"/>
                <a:gd name="T25" fmla="*/ 175 h 288"/>
                <a:gd name="T26" fmla="*/ 237 w 379"/>
                <a:gd name="T27" fmla="*/ 156 h 288"/>
                <a:gd name="T28" fmla="*/ 219 w 379"/>
                <a:gd name="T29" fmla="*/ 155 h 288"/>
                <a:gd name="T30" fmla="*/ 327 w 379"/>
                <a:gd name="T31" fmla="*/ 41 h 288"/>
                <a:gd name="T32" fmla="*/ 322 w 379"/>
                <a:gd name="T33" fmla="*/ 14 h 288"/>
                <a:gd name="T34" fmla="*/ 310 w 379"/>
                <a:gd name="T35" fmla="*/ 2 h 288"/>
                <a:gd name="T36" fmla="*/ 312 w 379"/>
                <a:gd name="T37" fmla="*/ 40 h 288"/>
                <a:gd name="T38" fmla="*/ 312 w 379"/>
                <a:gd name="T39" fmla="*/ 55 h 288"/>
                <a:gd name="T40" fmla="*/ 301 w 379"/>
                <a:gd name="T41" fmla="*/ 87 h 288"/>
                <a:gd name="T42" fmla="*/ 265 w 379"/>
                <a:gd name="T43" fmla="*/ 113 h 288"/>
                <a:gd name="T44" fmla="*/ 273 w 379"/>
                <a:gd name="T45" fmla="*/ 132 h 288"/>
                <a:gd name="T46" fmla="*/ 244 w 379"/>
                <a:gd name="T47" fmla="*/ 164 h 288"/>
                <a:gd name="T48" fmla="*/ 248 w 379"/>
                <a:gd name="T49" fmla="*/ 173 h 288"/>
                <a:gd name="T50" fmla="*/ 292 w 379"/>
                <a:gd name="T51" fmla="*/ 149 h 288"/>
                <a:gd name="T52" fmla="*/ 315 w 379"/>
                <a:gd name="T53" fmla="*/ 131 h 288"/>
                <a:gd name="T54" fmla="*/ 331 w 379"/>
                <a:gd name="T55" fmla="*/ 113 h 288"/>
                <a:gd name="T56" fmla="*/ 361 w 379"/>
                <a:gd name="T57" fmla="*/ 100 h 288"/>
                <a:gd name="T58" fmla="*/ 372 w 379"/>
                <a:gd name="T59" fmla="*/ 76 h 288"/>
                <a:gd name="T60" fmla="*/ 343 w 379"/>
                <a:gd name="T61" fmla="*/ 83 h 288"/>
                <a:gd name="T62" fmla="*/ 340 w 379"/>
                <a:gd name="T63" fmla="*/ 57 h 288"/>
                <a:gd name="T64" fmla="*/ 325 w 379"/>
                <a:gd name="T65" fmla="*/ 66 h 288"/>
                <a:gd name="T66" fmla="*/ 327 w 379"/>
                <a:gd name="T67" fmla="*/ 41 h 2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79" h="288">
                  <a:moveTo>
                    <a:pt x="219" y="155"/>
                  </a:moveTo>
                  <a:lnTo>
                    <a:pt x="223" y="146"/>
                  </a:lnTo>
                  <a:lnTo>
                    <a:pt x="201" y="156"/>
                  </a:lnTo>
                  <a:lnTo>
                    <a:pt x="188" y="169"/>
                  </a:lnTo>
                  <a:lnTo>
                    <a:pt x="176" y="175"/>
                  </a:lnTo>
                  <a:lnTo>
                    <a:pt x="154" y="193"/>
                  </a:lnTo>
                  <a:lnTo>
                    <a:pt x="133" y="205"/>
                  </a:lnTo>
                  <a:lnTo>
                    <a:pt x="107" y="216"/>
                  </a:lnTo>
                  <a:lnTo>
                    <a:pt x="86" y="225"/>
                  </a:lnTo>
                  <a:lnTo>
                    <a:pt x="70" y="229"/>
                  </a:lnTo>
                  <a:lnTo>
                    <a:pt x="28" y="252"/>
                  </a:lnTo>
                  <a:lnTo>
                    <a:pt x="4" y="269"/>
                  </a:lnTo>
                  <a:lnTo>
                    <a:pt x="0" y="278"/>
                  </a:lnTo>
                  <a:lnTo>
                    <a:pt x="19" y="279"/>
                  </a:lnTo>
                  <a:lnTo>
                    <a:pt x="25" y="287"/>
                  </a:lnTo>
                  <a:lnTo>
                    <a:pt x="41" y="288"/>
                  </a:lnTo>
                  <a:lnTo>
                    <a:pt x="56" y="281"/>
                  </a:lnTo>
                  <a:lnTo>
                    <a:pt x="81" y="270"/>
                  </a:lnTo>
                  <a:lnTo>
                    <a:pt x="111" y="248"/>
                  </a:lnTo>
                  <a:lnTo>
                    <a:pt x="128" y="232"/>
                  </a:lnTo>
                  <a:lnTo>
                    <a:pt x="152" y="223"/>
                  </a:lnTo>
                  <a:lnTo>
                    <a:pt x="167" y="223"/>
                  </a:lnTo>
                  <a:lnTo>
                    <a:pt x="168" y="212"/>
                  </a:lnTo>
                  <a:lnTo>
                    <a:pt x="185" y="203"/>
                  </a:lnTo>
                  <a:lnTo>
                    <a:pt x="211" y="186"/>
                  </a:lnTo>
                  <a:lnTo>
                    <a:pt x="227" y="175"/>
                  </a:lnTo>
                  <a:lnTo>
                    <a:pt x="236" y="165"/>
                  </a:lnTo>
                  <a:lnTo>
                    <a:pt x="237" y="156"/>
                  </a:lnTo>
                  <a:lnTo>
                    <a:pt x="216" y="165"/>
                  </a:lnTo>
                  <a:lnTo>
                    <a:pt x="219" y="155"/>
                  </a:lnTo>
                  <a:lnTo>
                    <a:pt x="219" y="155"/>
                  </a:lnTo>
                  <a:close/>
                  <a:moveTo>
                    <a:pt x="327" y="41"/>
                  </a:moveTo>
                  <a:lnTo>
                    <a:pt x="334" y="20"/>
                  </a:lnTo>
                  <a:lnTo>
                    <a:pt x="322" y="14"/>
                  </a:lnTo>
                  <a:lnTo>
                    <a:pt x="320" y="0"/>
                  </a:lnTo>
                  <a:lnTo>
                    <a:pt x="310" y="2"/>
                  </a:lnTo>
                  <a:lnTo>
                    <a:pt x="309" y="20"/>
                  </a:lnTo>
                  <a:lnTo>
                    <a:pt x="312" y="40"/>
                  </a:lnTo>
                  <a:lnTo>
                    <a:pt x="316" y="51"/>
                  </a:lnTo>
                  <a:lnTo>
                    <a:pt x="312" y="55"/>
                  </a:lnTo>
                  <a:lnTo>
                    <a:pt x="310" y="71"/>
                  </a:lnTo>
                  <a:lnTo>
                    <a:pt x="301" y="87"/>
                  </a:lnTo>
                  <a:lnTo>
                    <a:pt x="285" y="106"/>
                  </a:lnTo>
                  <a:lnTo>
                    <a:pt x="265" y="113"/>
                  </a:lnTo>
                  <a:lnTo>
                    <a:pt x="259" y="123"/>
                  </a:lnTo>
                  <a:lnTo>
                    <a:pt x="273" y="132"/>
                  </a:lnTo>
                  <a:lnTo>
                    <a:pt x="270" y="145"/>
                  </a:lnTo>
                  <a:lnTo>
                    <a:pt x="244" y="164"/>
                  </a:lnTo>
                  <a:lnTo>
                    <a:pt x="250" y="167"/>
                  </a:lnTo>
                  <a:lnTo>
                    <a:pt x="248" y="173"/>
                  </a:lnTo>
                  <a:lnTo>
                    <a:pt x="270" y="164"/>
                  </a:lnTo>
                  <a:lnTo>
                    <a:pt x="292" y="149"/>
                  </a:lnTo>
                  <a:lnTo>
                    <a:pt x="308" y="136"/>
                  </a:lnTo>
                  <a:lnTo>
                    <a:pt x="315" y="131"/>
                  </a:lnTo>
                  <a:lnTo>
                    <a:pt x="321" y="121"/>
                  </a:lnTo>
                  <a:lnTo>
                    <a:pt x="331" y="113"/>
                  </a:lnTo>
                  <a:lnTo>
                    <a:pt x="345" y="114"/>
                  </a:lnTo>
                  <a:lnTo>
                    <a:pt x="361" y="100"/>
                  </a:lnTo>
                  <a:lnTo>
                    <a:pt x="379" y="79"/>
                  </a:lnTo>
                  <a:lnTo>
                    <a:pt x="372" y="76"/>
                  </a:lnTo>
                  <a:lnTo>
                    <a:pt x="355" y="85"/>
                  </a:lnTo>
                  <a:lnTo>
                    <a:pt x="343" y="83"/>
                  </a:lnTo>
                  <a:lnTo>
                    <a:pt x="332" y="76"/>
                  </a:lnTo>
                  <a:lnTo>
                    <a:pt x="340" y="57"/>
                  </a:lnTo>
                  <a:lnTo>
                    <a:pt x="336" y="51"/>
                  </a:lnTo>
                  <a:lnTo>
                    <a:pt x="325" y="66"/>
                  </a:lnTo>
                  <a:lnTo>
                    <a:pt x="327" y="41"/>
                  </a:lnTo>
                  <a:lnTo>
                    <a:pt x="327" y="4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5" name="Nepal">
              <a:extLst>
                <a:ext uri="{FF2B5EF4-FFF2-40B4-BE49-F238E27FC236}">
                  <a16:creationId xmlns:a16="http://schemas.microsoft.com/office/drawing/2014/main" id="{49DE3D80-4FFE-4CCF-A506-0E97B88C2F34}"/>
                </a:ext>
              </a:extLst>
            </p:cNvPr>
            <p:cNvSpPr>
              <a:spLocks/>
            </p:cNvSpPr>
            <p:nvPr/>
          </p:nvSpPr>
          <p:spPr bwMode="auto">
            <a:xfrm>
              <a:off x="8566944" y="2914424"/>
              <a:ext cx="274637" cy="152400"/>
            </a:xfrm>
            <a:custGeom>
              <a:avLst/>
              <a:gdLst>
                <a:gd name="T0" fmla="*/ 167 w 173"/>
                <a:gd name="T1" fmla="*/ 60 h 96"/>
                <a:gd name="T2" fmla="*/ 143 w 173"/>
                <a:gd name="T3" fmla="*/ 59 h 96"/>
                <a:gd name="T4" fmla="*/ 119 w 173"/>
                <a:gd name="T5" fmla="*/ 53 h 96"/>
                <a:gd name="T6" fmla="*/ 100 w 173"/>
                <a:gd name="T7" fmla="*/ 43 h 96"/>
                <a:gd name="T8" fmla="*/ 83 w 173"/>
                <a:gd name="T9" fmla="*/ 38 h 96"/>
                <a:gd name="T10" fmla="*/ 74 w 173"/>
                <a:gd name="T11" fmla="*/ 26 h 96"/>
                <a:gd name="T12" fmla="*/ 62 w 173"/>
                <a:gd name="T13" fmla="*/ 23 h 96"/>
                <a:gd name="T14" fmla="*/ 39 w 173"/>
                <a:gd name="T15" fmla="*/ 7 h 96"/>
                <a:gd name="T16" fmla="*/ 21 w 173"/>
                <a:gd name="T17" fmla="*/ 0 h 96"/>
                <a:gd name="T18" fmla="*/ 13 w 173"/>
                <a:gd name="T19" fmla="*/ 5 h 96"/>
                <a:gd name="T20" fmla="*/ 3 w 173"/>
                <a:gd name="T21" fmla="*/ 17 h 96"/>
                <a:gd name="T22" fmla="*/ 0 w 173"/>
                <a:gd name="T23" fmla="*/ 39 h 96"/>
                <a:gd name="T24" fmla="*/ 21 w 173"/>
                <a:gd name="T25" fmla="*/ 48 h 96"/>
                <a:gd name="T26" fmla="*/ 43 w 173"/>
                <a:gd name="T27" fmla="*/ 59 h 96"/>
                <a:gd name="T28" fmla="*/ 71 w 173"/>
                <a:gd name="T29" fmla="*/ 73 h 96"/>
                <a:gd name="T30" fmla="*/ 100 w 173"/>
                <a:gd name="T31" fmla="*/ 76 h 96"/>
                <a:gd name="T32" fmla="*/ 114 w 173"/>
                <a:gd name="T33" fmla="*/ 87 h 96"/>
                <a:gd name="T34" fmla="*/ 130 w 173"/>
                <a:gd name="T35" fmla="*/ 90 h 96"/>
                <a:gd name="T36" fmla="*/ 155 w 173"/>
                <a:gd name="T37" fmla="*/ 96 h 96"/>
                <a:gd name="T38" fmla="*/ 173 w 173"/>
                <a:gd name="T39" fmla="*/ 95 h 96"/>
                <a:gd name="T40" fmla="*/ 173 w 173"/>
                <a:gd name="T41" fmla="*/ 86 h 96"/>
                <a:gd name="T42" fmla="*/ 167 w 173"/>
                <a:gd name="T43" fmla="*/ 71 h 96"/>
                <a:gd name="T44" fmla="*/ 167 w 173"/>
                <a:gd name="T45" fmla="*/ 60 h 96"/>
                <a:gd name="T46" fmla="*/ 167 w 173"/>
                <a:gd name="T47" fmla="*/ 60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73" h="96">
                  <a:moveTo>
                    <a:pt x="167" y="60"/>
                  </a:moveTo>
                  <a:lnTo>
                    <a:pt x="143" y="59"/>
                  </a:lnTo>
                  <a:lnTo>
                    <a:pt x="119" y="53"/>
                  </a:lnTo>
                  <a:lnTo>
                    <a:pt x="100" y="43"/>
                  </a:lnTo>
                  <a:lnTo>
                    <a:pt x="83" y="38"/>
                  </a:lnTo>
                  <a:lnTo>
                    <a:pt x="74" y="26"/>
                  </a:lnTo>
                  <a:lnTo>
                    <a:pt x="62" y="23"/>
                  </a:lnTo>
                  <a:lnTo>
                    <a:pt x="39" y="7"/>
                  </a:lnTo>
                  <a:lnTo>
                    <a:pt x="21" y="0"/>
                  </a:lnTo>
                  <a:lnTo>
                    <a:pt x="13" y="5"/>
                  </a:lnTo>
                  <a:lnTo>
                    <a:pt x="3" y="17"/>
                  </a:lnTo>
                  <a:lnTo>
                    <a:pt x="0" y="39"/>
                  </a:lnTo>
                  <a:lnTo>
                    <a:pt x="21" y="48"/>
                  </a:lnTo>
                  <a:lnTo>
                    <a:pt x="43" y="59"/>
                  </a:lnTo>
                  <a:lnTo>
                    <a:pt x="71" y="73"/>
                  </a:lnTo>
                  <a:lnTo>
                    <a:pt x="100" y="76"/>
                  </a:lnTo>
                  <a:lnTo>
                    <a:pt x="114" y="87"/>
                  </a:lnTo>
                  <a:lnTo>
                    <a:pt x="130" y="90"/>
                  </a:lnTo>
                  <a:lnTo>
                    <a:pt x="155" y="96"/>
                  </a:lnTo>
                  <a:lnTo>
                    <a:pt x="173" y="95"/>
                  </a:lnTo>
                  <a:lnTo>
                    <a:pt x="173" y="86"/>
                  </a:lnTo>
                  <a:lnTo>
                    <a:pt x="167" y="71"/>
                  </a:lnTo>
                  <a:lnTo>
                    <a:pt x="167" y="60"/>
                  </a:lnTo>
                  <a:lnTo>
                    <a:pt x="167"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6" name="Oman">
              <a:extLst>
                <a:ext uri="{FF2B5EF4-FFF2-40B4-BE49-F238E27FC236}">
                  <a16:creationId xmlns:a16="http://schemas.microsoft.com/office/drawing/2014/main" id="{19C99AC2-910D-4389-BFBF-F1AC5DE653E1}"/>
                </a:ext>
              </a:extLst>
            </p:cNvPr>
            <p:cNvSpPr>
              <a:spLocks noEditPoints="1"/>
            </p:cNvSpPr>
            <p:nvPr/>
          </p:nvSpPr>
          <p:spPr bwMode="auto">
            <a:xfrm>
              <a:off x="7700169" y="3066823"/>
              <a:ext cx="244475" cy="366712"/>
            </a:xfrm>
            <a:custGeom>
              <a:avLst/>
              <a:gdLst>
                <a:gd name="T0" fmla="*/ 137 w 154"/>
                <a:gd name="T1" fmla="*/ 125 h 231"/>
                <a:gd name="T2" fmla="*/ 145 w 154"/>
                <a:gd name="T3" fmla="*/ 118 h 231"/>
                <a:gd name="T4" fmla="*/ 149 w 154"/>
                <a:gd name="T5" fmla="*/ 111 h 231"/>
                <a:gd name="T6" fmla="*/ 154 w 154"/>
                <a:gd name="T7" fmla="*/ 97 h 231"/>
                <a:gd name="T8" fmla="*/ 154 w 154"/>
                <a:gd name="T9" fmla="*/ 91 h 231"/>
                <a:gd name="T10" fmla="*/ 146 w 154"/>
                <a:gd name="T11" fmla="*/ 89 h 231"/>
                <a:gd name="T12" fmla="*/ 140 w 154"/>
                <a:gd name="T13" fmla="*/ 81 h 231"/>
                <a:gd name="T14" fmla="*/ 129 w 154"/>
                <a:gd name="T15" fmla="*/ 67 h 231"/>
                <a:gd name="T16" fmla="*/ 117 w 154"/>
                <a:gd name="T17" fmla="*/ 62 h 231"/>
                <a:gd name="T18" fmla="*/ 102 w 154"/>
                <a:gd name="T19" fmla="*/ 60 h 231"/>
                <a:gd name="T20" fmla="*/ 89 w 154"/>
                <a:gd name="T21" fmla="*/ 51 h 231"/>
                <a:gd name="T22" fmla="*/ 79 w 154"/>
                <a:gd name="T23" fmla="*/ 34 h 231"/>
                <a:gd name="T24" fmla="*/ 68 w 154"/>
                <a:gd name="T25" fmla="*/ 34 h 231"/>
                <a:gd name="T26" fmla="*/ 67 w 154"/>
                <a:gd name="T27" fmla="*/ 50 h 231"/>
                <a:gd name="T28" fmla="*/ 72 w 154"/>
                <a:gd name="T29" fmla="*/ 53 h 231"/>
                <a:gd name="T30" fmla="*/ 63 w 154"/>
                <a:gd name="T31" fmla="*/ 59 h 231"/>
                <a:gd name="T32" fmla="*/ 64 w 154"/>
                <a:gd name="T33" fmla="*/ 68 h 231"/>
                <a:gd name="T34" fmla="*/ 59 w 154"/>
                <a:gd name="T35" fmla="*/ 77 h 231"/>
                <a:gd name="T36" fmla="*/ 59 w 154"/>
                <a:gd name="T37" fmla="*/ 88 h 231"/>
                <a:gd name="T38" fmla="*/ 70 w 154"/>
                <a:gd name="T39" fmla="*/ 104 h 231"/>
                <a:gd name="T40" fmla="*/ 60 w 154"/>
                <a:gd name="T41" fmla="*/ 152 h 231"/>
                <a:gd name="T42" fmla="*/ 0 w 154"/>
                <a:gd name="T43" fmla="*/ 175 h 231"/>
                <a:gd name="T44" fmla="*/ 20 w 154"/>
                <a:gd name="T45" fmla="*/ 215 h 231"/>
                <a:gd name="T46" fmla="*/ 27 w 154"/>
                <a:gd name="T47" fmla="*/ 231 h 231"/>
                <a:gd name="T48" fmla="*/ 37 w 154"/>
                <a:gd name="T49" fmla="*/ 230 h 231"/>
                <a:gd name="T50" fmla="*/ 50 w 154"/>
                <a:gd name="T51" fmla="*/ 222 h 231"/>
                <a:gd name="T52" fmla="*/ 62 w 154"/>
                <a:gd name="T53" fmla="*/ 224 h 231"/>
                <a:gd name="T54" fmla="*/ 71 w 154"/>
                <a:gd name="T55" fmla="*/ 217 h 231"/>
                <a:gd name="T56" fmla="*/ 70 w 154"/>
                <a:gd name="T57" fmla="*/ 208 h 231"/>
                <a:gd name="T58" fmla="*/ 78 w 154"/>
                <a:gd name="T59" fmla="*/ 202 h 231"/>
                <a:gd name="T60" fmla="*/ 91 w 154"/>
                <a:gd name="T61" fmla="*/ 202 h 231"/>
                <a:gd name="T62" fmla="*/ 95 w 154"/>
                <a:gd name="T63" fmla="*/ 197 h 231"/>
                <a:gd name="T64" fmla="*/ 96 w 154"/>
                <a:gd name="T65" fmla="*/ 186 h 231"/>
                <a:gd name="T66" fmla="*/ 108 w 154"/>
                <a:gd name="T67" fmla="*/ 176 h 231"/>
                <a:gd name="T68" fmla="*/ 118 w 154"/>
                <a:gd name="T69" fmla="*/ 176 h 231"/>
                <a:gd name="T70" fmla="*/ 120 w 154"/>
                <a:gd name="T71" fmla="*/ 174 h 231"/>
                <a:gd name="T72" fmla="*/ 116 w 154"/>
                <a:gd name="T73" fmla="*/ 158 h 231"/>
                <a:gd name="T74" fmla="*/ 118 w 154"/>
                <a:gd name="T75" fmla="*/ 146 h 231"/>
                <a:gd name="T76" fmla="*/ 122 w 154"/>
                <a:gd name="T77" fmla="*/ 141 h 231"/>
                <a:gd name="T78" fmla="*/ 131 w 154"/>
                <a:gd name="T79" fmla="*/ 142 h 231"/>
                <a:gd name="T80" fmla="*/ 137 w 154"/>
                <a:gd name="T81" fmla="*/ 125 h 231"/>
                <a:gd name="T82" fmla="*/ 137 w 154"/>
                <a:gd name="T83" fmla="*/ 125 h 231"/>
                <a:gd name="T84" fmla="*/ 76 w 154"/>
                <a:gd name="T85" fmla="*/ 12 h 231"/>
                <a:gd name="T86" fmla="*/ 76 w 154"/>
                <a:gd name="T87" fmla="*/ 2 h 231"/>
                <a:gd name="T88" fmla="*/ 74 w 154"/>
                <a:gd name="T89" fmla="*/ 0 h 231"/>
                <a:gd name="T90" fmla="*/ 68 w 154"/>
                <a:gd name="T91" fmla="*/ 8 h 231"/>
                <a:gd name="T92" fmla="*/ 74 w 154"/>
                <a:gd name="T93" fmla="*/ 16 h 231"/>
                <a:gd name="T94" fmla="*/ 76 w 154"/>
                <a:gd name="T95" fmla="*/ 12 h 2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4" h="231">
                  <a:moveTo>
                    <a:pt x="137" y="125"/>
                  </a:moveTo>
                  <a:lnTo>
                    <a:pt x="145" y="118"/>
                  </a:lnTo>
                  <a:lnTo>
                    <a:pt x="149" y="111"/>
                  </a:lnTo>
                  <a:lnTo>
                    <a:pt x="154" y="97"/>
                  </a:lnTo>
                  <a:lnTo>
                    <a:pt x="154" y="91"/>
                  </a:lnTo>
                  <a:lnTo>
                    <a:pt x="146" y="89"/>
                  </a:lnTo>
                  <a:lnTo>
                    <a:pt x="140" y="81"/>
                  </a:lnTo>
                  <a:lnTo>
                    <a:pt x="129" y="67"/>
                  </a:lnTo>
                  <a:lnTo>
                    <a:pt x="117" y="62"/>
                  </a:lnTo>
                  <a:lnTo>
                    <a:pt x="102" y="60"/>
                  </a:lnTo>
                  <a:lnTo>
                    <a:pt x="89" y="51"/>
                  </a:lnTo>
                  <a:lnTo>
                    <a:pt x="79" y="34"/>
                  </a:lnTo>
                  <a:lnTo>
                    <a:pt x="68" y="34"/>
                  </a:lnTo>
                  <a:lnTo>
                    <a:pt x="67" y="50"/>
                  </a:lnTo>
                  <a:lnTo>
                    <a:pt x="72" y="53"/>
                  </a:lnTo>
                  <a:lnTo>
                    <a:pt x="63" y="59"/>
                  </a:lnTo>
                  <a:lnTo>
                    <a:pt x="64" y="68"/>
                  </a:lnTo>
                  <a:lnTo>
                    <a:pt x="59" y="77"/>
                  </a:lnTo>
                  <a:lnTo>
                    <a:pt x="59" y="88"/>
                  </a:lnTo>
                  <a:lnTo>
                    <a:pt x="70" y="104"/>
                  </a:lnTo>
                  <a:lnTo>
                    <a:pt x="60" y="152"/>
                  </a:lnTo>
                  <a:lnTo>
                    <a:pt x="0" y="175"/>
                  </a:lnTo>
                  <a:lnTo>
                    <a:pt x="20" y="215"/>
                  </a:lnTo>
                  <a:lnTo>
                    <a:pt x="27" y="231"/>
                  </a:lnTo>
                  <a:lnTo>
                    <a:pt x="37" y="230"/>
                  </a:lnTo>
                  <a:lnTo>
                    <a:pt x="50" y="222"/>
                  </a:lnTo>
                  <a:lnTo>
                    <a:pt x="62" y="224"/>
                  </a:lnTo>
                  <a:lnTo>
                    <a:pt x="71" y="217"/>
                  </a:lnTo>
                  <a:lnTo>
                    <a:pt x="70" y="208"/>
                  </a:lnTo>
                  <a:lnTo>
                    <a:pt x="78" y="202"/>
                  </a:lnTo>
                  <a:lnTo>
                    <a:pt x="91" y="202"/>
                  </a:lnTo>
                  <a:lnTo>
                    <a:pt x="95" y="197"/>
                  </a:lnTo>
                  <a:lnTo>
                    <a:pt x="96" y="186"/>
                  </a:lnTo>
                  <a:lnTo>
                    <a:pt x="108" y="176"/>
                  </a:lnTo>
                  <a:lnTo>
                    <a:pt x="118" y="176"/>
                  </a:lnTo>
                  <a:lnTo>
                    <a:pt x="120" y="174"/>
                  </a:lnTo>
                  <a:lnTo>
                    <a:pt x="116" y="158"/>
                  </a:lnTo>
                  <a:lnTo>
                    <a:pt x="118" y="146"/>
                  </a:lnTo>
                  <a:lnTo>
                    <a:pt x="122" y="141"/>
                  </a:lnTo>
                  <a:lnTo>
                    <a:pt x="131" y="142"/>
                  </a:lnTo>
                  <a:lnTo>
                    <a:pt x="137" y="125"/>
                  </a:lnTo>
                  <a:lnTo>
                    <a:pt x="137" y="125"/>
                  </a:lnTo>
                  <a:close/>
                  <a:moveTo>
                    <a:pt x="76" y="12"/>
                  </a:moveTo>
                  <a:lnTo>
                    <a:pt x="76" y="2"/>
                  </a:lnTo>
                  <a:lnTo>
                    <a:pt x="74" y="0"/>
                  </a:lnTo>
                  <a:lnTo>
                    <a:pt x="68" y="8"/>
                  </a:lnTo>
                  <a:lnTo>
                    <a:pt x="74" y="16"/>
                  </a:lnTo>
                  <a:lnTo>
                    <a:pt x="76"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7" name="Pakistan">
              <a:extLst>
                <a:ext uri="{FF2B5EF4-FFF2-40B4-BE49-F238E27FC236}">
                  <a16:creationId xmlns:a16="http://schemas.microsoft.com/office/drawing/2014/main" id="{D89CE344-9962-4E1E-B583-DDEDDB092C5B}"/>
                </a:ext>
              </a:extLst>
            </p:cNvPr>
            <p:cNvSpPr>
              <a:spLocks/>
            </p:cNvSpPr>
            <p:nvPr/>
          </p:nvSpPr>
          <p:spPr bwMode="auto">
            <a:xfrm>
              <a:off x="7943056" y="2660424"/>
              <a:ext cx="492125" cy="508000"/>
            </a:xfrm>
            <a:custGeom>
              <a:avLst/>
              <a:gdLst>
                <a:gd name="T0" fmla="*/ 276 w 310"/>
                <a:gd name="T1" fmla="*/ 30 h 320"/>
                <a:gd name="T2" fmla="*/ 247 w 310"/>
                <a:gd name="T3" fmla="*/ 0 h 320"/>
                <a:gd name="T4" fmla="*/ 227 w 310"/>
                <a:gd name="T5" fmla="*/ 7 h 320"/>
                <a:gd name="T6" fmla="*/ 186 w 310"/>
                <a:gd name="T7" fmla="*/ 15 h 320"/>
                <a:gd name="T8" fmla="*/ 184 w 310"/>
                <a:gd name="T9" fmla="*/ 36 h 320"/>
                <a:gd name="T10" fmla="*/ 182 w 310"/>
                <a:gd name="T11" fmla="*/ 58 h 320"/>
                <a:gd name="T12" fmla="*/ 181 w 310"/>
                <a:gd name="T13" fmla="*/ 76 h 320"/>
                <a:gd name="T14" fmla="*/ 174 w 310"/>
                <a:gd name="T15" fmla="*/ 91 h 320"/>
                <a:gd name="T16" fmla="*/ 157 w 310"/>
                <a:gd name="T17" fmla="*/ 111 h 320"/>
                <a:gd name="T18" fmla="*/ 154 w 310"/>
                <a:gd name="T19" fmla="*/ 132 h 320"/>
                <a:gd name="T20" fmla="*/ 132 w 310"/>
                <a:gd name="T21" fmla="*/ 133 h 320"/>
                <a:gd name="T22" fmla="*/ 116 w 310"/>
                <a:gd name="T23" fmla="*/ 139 h 320"/>
                <a:gd name="T24" fmla="*/ 110 w 310"/>
                <a:gd name="T25" fmla="*/ 173 h 320"/>
                <a:gd name="T26" fmla="*/ 72 w 310"/>
                <a:gd name="T27" fmla="*/ 180 h 320"/>
                <a:gd name="T28" fmla="*/ 56 w 310"/>
                <a:gd name="T29" fmla="*/ 183 h 320"/>
                <a:gd name="T30" fmla="*/ 0 w 310"/>
                <a:gd name="T31" fmla="*/ 175 h 320"/>
                <a:gd name="T32" fmla="*/ 23 w 310"/>
                <a:gd name="T33" fmla="*/ 201 h 320"/>
                <a:gd name="T34" fmla="*/ 48 w 310"/>
                <a:gd name="T35" fmla="*/ 233 h 320"/>
                <a:gd name="T36" fmla="*/ 61 w 310"/>
                <a:gd name="T37" fmla="*/ 247 h 320"/>
                <a:gd name="T38" fmla="*/ 29 w 310"/>
                <a:gd name="T39" fmla="*/ 287 h 320"/>
                <a:gd name="T40" fmla="*/ 91 w 310"/>
                <a:gd name="T41" fmla="*/ 283 h 320"/>
                <a:gd name="T42" fmla="*/ 146 w 310"/>
                <a:gd name="T43" fmla="*/ 297 h 320"/>
                <a:gd name="T44" fmla="*/ 169 w 310"/>
                <a:gd name="T45" fmla="*/ 320 h 320"/>
                <a:gd name="T46" fmla="*/ 226 w 310"/>
                <a:gd name="T47" fmla="*/ 304 h 320"/>
                <a:gd name="T48" fmla="*/ 207 w 310"/>
                <a:gd name="T49" fmla="*/ 272 h 320"/>
                <a:gd name="T50" fmla="*/ 186 w 310"/>
                <a:gd name="T51" fmla="*/ 243 h 320"/>
                <a:gd name="T52" fmla="*/ 229 w 310"/>
                <a:gd name="T53" fmla="*/ 219 h 320"/>
                <a:gd name="T54" fmla="*/ 253 w 310"/>
                <a:gd name="T55" fmla="*/ 171 h 320"/>
                <a:gd name="T56" fmla="*/ 264 w 310"/>
                <a:gd name="T57" fmla="*/ 130 h 320"/>
                <a:gd name="T58" fmla="*/ 259 w 310"/>
                <a:gd name="T59" fmla="*/ 105 h 320"/>
                <a:gd name="T60" fmla="*/ 236 w 310"/>
                <a:gd name="T61" fmla="*/ 68 h 320"/>
                <a:gd name="T62" fmla="*/ 276 w 310"/>
                <a:gd name="T63" fmla="*/ 64 h 320"/>
                <a:gd name="T64" fmla="*/ 310 w 310"/>
                <a:gd name="T65" fmla="*/ 39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10" h="320">
                  <a:moveTo>
                    <a:pt x="310" y="39"/>
                  </a:moveTo>
                  <a:lnTo>
                    <a:pt x="276" y="30"/>
                  </a:lnTo>
                  <a:lnTo>
                    <a:pt x="264" y="11"/>
                  </a:lnTo>
                  <a:lnTo>
                    <a:pt x="247" y="0"/>
                  </a:lnTo>
                  <a:lnTo>
                    <a:pt x="236" y="3"/>
                  </a:lnTo>
                  <a:lnTo>
                    <a:pt x="227" y="7"/>
                  </a:lnTo>
                  <a:lnTo>
                    <a:pt x="206" y="10"/>
                  </a:lnTo>
                  <a:lnTo>
                    <a:pt x="186" y="15"/>
                  </a:lnTo>
                  <a:lnTo>
                    <a:pt x="177" y="25"/>
                  </a:lnTo>
                  <a:lnTo>
                    <a:pt x="184" y="36"/>
                  </a:lnTo>
                  <a:lnTo>
                    <a:pt x="190" y="48"/>
                  </a:lnTo>
                  <a:lnTo>
                    <a:pt x="182" y="58"/>
                  </a:lnTo>
                  <a:lnTo>
                    <a:pt x="185" y="67"/>
                  </a:lnTo>
                  <a:lnTo>
                    <a:pt x="181" y="76"/>
                  </a:lnTo>
                  <a:lnTo>
                    <a:pt x="163" y="75"/>
                  </a:lnTo>
                  <a:lnTo>
                    <a:pt x="174" y="91"/>
                  </a:lnTo>
                  <a:lnTo>
                    <a:pt x="163" y="96"/>
                  </a:lnTo>
                  <a:lnTo>
                    <a:pt x="157" y="111"/>
                  </a:lnTo>
                  <a:lnTo>
                    <a:pt x="161" y="125"/>
                  </a:lnTo>
                  <a:lnTo>
                    <a:pt x="154" y="132"/>
                  </a:lnTo>
                  <a:lnTo>
                    <a:pt x="147" y="130"/>
                  </a:lnTo>
                  <a:lnTo>
                    <a:pt x="132" y="133"/>
                  </a:lnTo>
                  <a:lnTo>
                    <a:pt x="131" y="139"/>
                  </a:lnTo>
                  <a:lnTo>
                    <a:pt x="116" y="139"/>
                  </a:lnTo>
                  <a:lnTo>
                    <a:pt x="108" y="152"/>
                  </a:lnTo>
                  <a:lnTo>
                    <a:pt x="110" y="173"/>
                  </a:lnTo>
                  <a:lnTo>
                    <a:pt x="86" y="182"/>
                  </a:lnTo>
                  <a:lnTo>
                    <a:pt x="72" y="180"/>
                  </a:lnTo>
                  <a:lnTo>
                    <a:pt x="68" y="186"/>
                  </a:lnTo>
                  <a:lnTo>
                    <a:pt x="56" y="183"/>
                  </a:lnTo>
                  <a:lnTo>
                    <a:pt x="37" y="186"/>
                  </a:lnTo>
                  <a:lnTo>
                    <a:pt x="0" y="175"/>
                  </a:lnTo>
                  <a:lnTo>
                    <a:pt x="12" y="187"/>
                  </a:lnTo>
                  <a:lnTo>
                    <a:pt x="23" y="201"/>
                  </a:lnTo>
                  <a:lnTo>
                    <a:pt x="44" y="211"/>
                  </a:lnTo>
                  <a:lnTo>
                    <a:pt x="48" y="233"/>
                  </a:lnTo>
                  <a:lnTo>
                    <a:pt x="57" y="236"/>
                  </a:lnTo>
                  <a:lnTo>
                    <a:pt x="61" y="247"/>
                  </a:lnTo>
                  <a:lnTo>
                    <a:pt x="33" y="260"/>
                  </a:lnTo>
                  <a:lnTo>
                    <a:pt x="29" y="287"/>
                  </a:lnTo>
                  <a:lnTo>
                    <a:pt x="57" y="284"/>
                  </a:lnTo>
                  <a:lnTo>
                    <a:pt x="91" y="283"/>
                  </a:lnTo>
                  <a:lnTo>
                    <a:pt x="127" y="279"/>
                  </a:lnTo>
                  <a:lnTo>
                    <a:pt x="146" y="297"/>
                  </a:lnTo>
                  <a:lnTo>
                    <a:pt x="153" y="314"/>
                  </a:lnTo>
                  <a:lnTo>
                    <a:pt x="169" y="320"/>
                  </a:lnTo>
                  <a:lnTo>
                    <a:pt x="181" y="304"/>
                  </a:lnTo>
                  <a:lnTo>
                    <a:pt x="226" y="304"/>
                  </a:lnTo>
                  <a:lnTo>
                    <a:pt x="220" y="284"/>
                  </a:lnTo>
                  <a:lnTo>
                    <a:pt x="207" y="272"/>
                  </a:lnTo>
                  <a:lnTo>
                    <a:pt x="201" y="253"/>
                  </a:lnTo>
                  <a:lnTo>
                    <a:pt x="186" y="243"/>
                  </a:lnTo>
                  <a:lnTo>
                    <a:pt x="205" y="218"/>
                  </a:lnTo>
                  <a:lnTo>
                    <a:pt x="229" y="219"/>
                  </a:lnTo>
                  <a:lnTo>
                    <a:pt x="246" y="195"/>
                  </a:lnTo>
                  <a:lnTo>
                    <a:pt x="253" y="171"/>
                  </a:lnTo>
                  <a:lnTo>
                    <a:pt x="268" y="147"/>
                  </a:lnTo>
                  <a:lnTo>
                    <a:pt x="264" y="130"/>
                  </a:lnTo>
                  <a:lnTo>
                    <a:pt x="278" y="117"/>
                  </a:lnTo>
                  <a:lnTo>
                    <a:pt x="259" y="105"/>
                  </a:lnTo>
                  <a:lnTo>
                    <a:pt x="249" y="89"/>
                  </a:lnTo>
                  <a:lnTo>
                    <a:pt x="236" y="68"/>
                  </a:lnTo>
                  <a:lnTo>
                    <a:pt x="244" y="57"/>
                  </a:lnTo>
                  <a:lnTo>
                    <a:pt x="276" y="64"/>
                  </a:lnTo>
                  <a:lnTo>
                    <a:pt x="296" y="60"/>
                  </a:lnTo>
                  <a:lnTo>
                    <a:pt x="310" y="39"/>
                  </a:lnTo>
                  <a:lnTo>
                    <a:pt x="310" y="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8" name="Panama">
              <a:extLst>
                <a:ext uri="{FF2B5EF4-FFF2-40B4-BE49-F238E27FC236}">
                  <a16:creationId xmlns:a16="http://schemas.microsoft.com/office/drawing/2014/main" id="{205110EC-AB65-4541-B5B3-8E718FF95FB5}"/>
                </a:ext>
              </a:extLst>
            </p:cNvPr>
            <p:cNvSpPr>
              <a:spLocks/>
            </p:cNvSpPr>
            <p:nvPr/>
          </p:nvSpPr>
          <p:spPr bwMode="auto">
            <a:xfrm>
              <a:off x="3240881" y="3700236"/>
              <a:ext cx="188912" cy="90488"/>
            </a:xfrm>
            <a:custGeom>
              <a:avLst/>
              <a:gdLst>
                <a:gd name="T0" fmla="*/ 117 w 119"/>
                <a:gd name="T1" fmla="*/ 22 h 57"/>
                <a:gd name="T2" fmla="*/ 110 w 119"/>
                <a:gd name="T3" fmla="*/ 15 h 57"/>
                <a:gd name="T4" fmla="*/ 103 w 119"/>
                <a:gd name="T5" fmla="*/ 8 h 57"/>
                <a:gd name="T6" fmla="*/ 94 w 119"/>
                <a:gd name="T7" fmla="*/ 4 h 57"/>
                <a:gd name="T8" fmla="*/ 83 w 119"/>
                <a:gd name="T9" fmla="*/ 3 h 57"/>
                <a:gd name="T10" fmla="*/ 84 w 119"/>
                <a:gd name="T11" fmla="*/ 1 h 57"/>
                <a:gd name="T12" fmla="*/ 73 w 119"/>
                <a:gd name="T13" fmla="*/ 0 h 57"/>
                <a:gd name="T14" fmla="*/ 65 w 119"/>
                <a:gd name="T15" fmla="*/ 7 h 57"/>
                <a:gd name="T16" fmla="*/ 52 w 119"/>
                <a:gd name="T17" fmla="*/ 12 h 57"/>
                <a:gd name="T18" fmla="*/ 43 w 119"/>
                <a:gd name="T19" fmla="*/ 17 h 57"/>
                <a:gd name="T20" fmla="*/ 32 w 119"/>
                <a:gd name="T21" fmla="*/ 19 h 57"/>
                <a:gd name="T22" fmla="*/ 27 w 119"/>
                <a:gd name="T23" fmla="*/ 14 h 57"/>
                <a:gd name="T24" fmla="*/ 25 w 119"/>
                <a:gd name="T25" fmla="*/ 15 h 57"/>
                <a:gd name="T26" fmla="*/ 17 w 119"/>
                <a:gd name="T27" fmla="*/ 14 h 57"/>
                <a:gd name="T28" fmla="*/ 17 w 119"/>
                <a:gd name="T29" fmla="*/ 9 h 57"/>
                <a:gd name="T30" fmla="*/ 10 w 119"/>
                <a:gd name="T31" fmla="*/ 0 h 57"/>
                <a:gd name="T32" fmla="*/ 2 w 119"/>
                <a:gd name="T33" fmla="*/ 3 h 57"/>
                <a:gd name="T34" fmla="*/ 2 w 119"/>
                <a:gd name="T35" fmla="*/ 13 h 57"/>
                <a:gd name="T36" fmla="*/ 5 w 119"/>
                <a:gd name="T37" fmla="*/ 16 h 57"/>
                <a:gd name="T38" fmla="*/ 3 w 119"/>
                <a:gd name="T39" fmla="*/ 18 h 57"/>
                <a:gd name="T40" fmla="*/ 3 w 119"/>
                <a:gd name="T41" fmla="*/ 23 h 57"/>
                <a:gd name="T42" fmla="*/ 1 w 119"/>
                <a:gd name="T43" fmla="*/ 28 h 57"/>
                <a:gd name="T44" fmla="*/ 0 w 119"/>
                <a:gd name="T45" fmla="*/ 32 h 57"/>
                <a:gd name="T46" fmla="*/ 2 w 119"/>
                <a:gd name="T47" fmla="*/ 36 h 57"/>
                <a:gd name="T48" fmla="*/ 3 w 119"/>
                <a:gd name="T49" fmla="*/ 31 h 57"/>
                <a:gd name="T50" fmla="*/ 12 w 119"/>
                <a:gd name="T51" fmla="*/ 31 h 57"/>
                <a:gd name="T52" fmla="*/ 17 w 119"/>
                <a:gd name="T53" fmla="*/ 33 h 57"/>
                <a:gd name="T54" fmla="*/ 26 w 119"/>
                <a:gd name="T55" fmla="*/ 35 h 57"/>
                <a:gd name="T56" fmla="*/ 30 w 119"/>
                <a:gd name="T57" fmla="*/ 44 h 57"/>
                <a:gd name="T58" fmla="*/ 36 w 119"/>
                <a:gd name="T59" fmla="*/ 46 h 57"/>
                <a:gd name="T60" fmla="*/ 39 w 119"/>
                <a:gd name="T61" fmla="*/ 42 h 57"/>
                <a:gd name="T62" fmla="*/ 42 w 119"/>
                <a:gd name="T63" fmla="*/ 57 h 57"/>
                <a:gd name="T64" fmla="*/ 52 w 119"/>
                <a:gd name="T65" fmla="*/ 56 h 57"/>
                <a:gd name="T66" fmla="*/ 55 w 119"/>
                <a:gd name="T67" fmla="*/ 52 h 57"/>
                <a:gd name="T68" fmla="*/ 60 w 119"/>
                <a:gd name="T69" fmla="*/ 48 h 57"/>
                <a:gd name="T70" fmla="*/ 51 w 119"/>
                <a:gd name="T71" fmla="*/ 36 h 57"/>
                <a:gd name="T72" fmla="*/ 54 w 119"/>
                <a:gd name="T73" fmla="*/ 31 h 57"/>
                <a:gd name="T74" fmla="*/ 59 w 119"/>
                <a:gd name="T75" fmla="*/ 29 h 57"/>
                <a:gd name="T76" fmla="*/ 67 w 119"/>
                <a:gd name="T77" fmla="*/ 24 h 57"/>
                <a:gd name="T78" fmla="*/ 72 w 119"/>
                <a:gd name="T79" fmla="*/ 15 h 57"/>
                <a:gd name="T80" fmla="*/ 81 w 119"/>
                <a:gd name="T81" fmla="*/ 14 h 57"/>
                <a:gd name="T82" fmla="*/ 91 w 119"/>
                <a:gd name="T83" fmla="*/ 21 h 57"/>
                <a:gd name="T84" fmla="*/ 95 w 119"/>
                <a:gd name="T85" fmla="*/ 28 h 57"/>
                <a:gd name="T86" fmla="*/ 100 w 119"/>
                <a:gd name="T87" fmla="*/ 30 h 57"/>
                <a:gd name="T88" fmla="*/ 94 w 119"/>
                <a:gd name="T89" fmla="*/ 37 h 57"/>
                <a:gd name="T90" fmla="*/ 98 w 119"/>
                <a:gd name="T91" fmla="*/ 50 h 57"/>
                <a:gd name="T92" fmla="*/ 104 w 119"/>
                <a:gd name="T93" fmla="*/ 57 h 57"/>
                <a:gd name="T94" fmla="*/ 108 w 119"/>
                <a:gd name="T95" fmla="*/ 44 h 57"/>
                <a:gd name="T96" fmla="*/ 115 w 119"/>
                <a:gd name="T97" fmla="*/ 46 h 57"/>
                <a:gd name="T98" fmla="*/ 119 w 119"/>
                <a:gd name="T99" fmla="*/ 40 h 57"/>
                <a:gd name="T100" fmla="*/ 115 w 119"/>
                <a:gd name="T101" fmla="*/ 26 h 57"/>
                <a:gd name="T102" fmla="*/ 117 w 119"/>
                <a:gd name="T103" fmla="*/ 2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9" h="57">
                  <a:moveTo>
                    <a:pt x="117" y="22"/>
                  </a:moveTo>
                  <a:lnTo>
                    <a:pt x="110" y="15"/>
                  </a:lnTo>
                  <a:lnTo>
                    <a:pt x="103" y="8"/>
                  </a:lnTo>
                  <a:lnTo>
                    <a:pt x="94" y="4"/>
                  </a:lnTo>
                  <a:lnTo>
                    <a:pt x="83" y="3"/>
                  </a:lnTo>
                  <a:lnTo>
                    <a:pt x="84" y="1"/>
                  </a:lnTo>
                  <a:lnTo>
                    <a:pt x="73" y="0"/>
                  </a:lnTo>
                  <a:lnTo>
                    <a:pt x="65" y="7"/>
                  </a:lnTo>
                  <a:lnTo>
                    <a:pt x="52" y="12"/>
                  </a:lnTo>
                  <a:lnTo>
                    <a:pt x="43" y="17"/>
                  </a:lnTo>
                  <a:lnTo>
                    <a:pt x="32" y="19"/>
                  </a:lnTo>
                  <a:lnTo>
                    <a:pt x="27" y="14"/>
                  </a:lnTo>
                  <a:lnTo>
                    <a:pt x="25" y="15"/>
                  </a:lnTo>
                  <a:lnTo>
                    <a:pt x="17" y="14"/>
                  </a:lnTo>
                  <a:lnTo>
                    <a:pt x="17" y="9"/>
                  </a:lnTo>
                  <a:lnTo>
                    <a:pt x="10" y="0"/>
                  </a:lnTo>
                  <a:lnTo>
                    <a:pt x="2" y="3"/>
                  </a:lnTo>
                  <a:lnTo>
                    <a:pt x="2" y="13"/>
                  </a:lnTo>
                  <a:lnTo>
                    <a:pt x="5" y="16"/>
                  </a:lnTo>
                  <a:lnTo>
                    <a:pt x="3" y="18"/>
                  </a:lnTo>
                  <a:lnTo>
                    <a:pt x="3" y="23"/>
                  </a:lnTo>
                  <a:lnTo>
                    <a:pt x="1" y="28"/>
                  </a:lnTo>
                  <a:lnTo>
                    <a:pt x="0" y="32"/>
                  </a:lnTo>
                  <a:lnTo>
                    <a:pt x="2" y="36"/>
                  </a:lnTo>
                  <a:lnTo>
                    <a:pt x="3" y="31"/>
                  </a:lnTo>
                  <a:lnTo>
                    <a:pt x="12" y="31"/>
                  </a:lnTo>
                  <a:lnTo>
                    <a:pt x="17" y="33"/>
                  </a:lnTo>
                  <a:lnTo>
                    <a:pt x="26" y="35"/>
                  </a:lnTo>
                  <a:lnTo>
                    <a:pt x="30" y="44"/>
                  </a:lnTo>
                  <a:lnTo>
                    <a:pt x="36" y="46"/>
                  </a:lnTo>
                  <a:lnTo>
                    <a:pt x="39" y="42"/>
                  </a:lnTo>
                  <a:lnTo>
                    <a:pt x="42" y="57"/>
                  </a:lnTo>
                  <a:lnTo>
                    <a:pt x="52" y="56"/>
                  </a:lnTo>
                  <a:lnTo>
                    <a:pt x="55" y="52"/>
                  </a:lnTo>
                  <a:lnTo>
                    <a:pt x="60" y="48"/>
                  </a:lnTo>
                  <a:lnTo>
                    <a:pt x="51" y="36"/>
                  </a:lnTo>
                  <a:lnTo>
                    <a:pt x="54" y="31"/>
                  </a:lnTo>
                  <a:lnTo>
                    <a:pt x="59" y="29"/>
                  </a:lnTo>
                  <a:lnTo>
                    <a:pt x="67" y="24"/>
                  </a:lnTo>
                  <a:lnTo>
                    <a:pt x="72" y="15"/>
                  </a:lnTo>
                  <a:lnTo>
                    <a:pt x="81" y="14"/>
                  </a:lnTo>
                  <a:lnTo>
                    <a:pt x="91" y="21"/>
                  </a:lnTo>
                  <a:lnTo>
                    <a:pt x="95" y="28"/>
                  </a:lnTo>
                  <a:lnTo>
                    <a:pt x="100" y="30"/>
                  </a:lnTo>
                  <a:lnTo>
                    <a:pt x="94" y="37"/>
                  </a:lnTo>
                  <a:lnTo>
                    <a:pt x="98" y="50"/>
                  </a:lnTo>
                  <a:lnTo>
                    <a:pt x="104" y="57"/>
                  </a:lnTo>
                  <a:lnTo>
                    <a:pt x="108" y="44"/>
                  </a:lnTo>
                  <a:lnTo>
                    <a:pt x="115" y="46"/>
                  </a:lnTo>
                  <a:lnTo>
                    <a:pt x="119" y="40"/>
                  </a:lnTo>
                  <a:lnTo>
                    <a:pt x="115" y="26"/>
                  </a:lnTo>
                  <a:lnTo>
                    <a:pt x="117" y="2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19" name="Peru">
              <a:extLst>
                <a:ext uri="{FF2B5EF4-FFF2-40B4-BE49-F238E27FC236}">
                  <a16:creationId xmlns:a16="http://schemas.microsoft.com/office/drawing/2014/main" id="{7A4923D2-F8A5-4EB6-8EEE-7B9C03F2DE12}"/>
                </a:ext>
              </a:extLst>
            </p:cNvPr>
            <p:cNvSpPr>
              <a:spLocks/>
            </p:cNvSpPr>
            <p:nvPr/>
          </p:nvSpPr>
          <p:spPr bwMode="auto">
            <a:xfrm>
              <a:off x="3286919" y="4063773"/>
              <a:ext cx="438150" cy="690563"/>
            </a:xfrm>
            <a:custGeom>
              <a:avLst/>
              <a:gdLst>
                <a:gd name="T0" fmla="*/ 230 w 276"/>
                <a:gd name="T1" fmla="*/ 88 h 435"/>
                <a:gd name="T2" fmla="*/ 237 w 276"/>
                <a:gd name="T3" fmla="*/ 64 h 435"/>
                <a:gd name="T4" fmla="*/ 208 w 276"/>
                <a:gd name="T5" fmla="*/ 54 h 435"/>
                <a:gd name="T6" fmla="*/ 189 w 276"/>
                <a:gd name="T7" fmla="*/ 57 h 435"/>
                <a:gd name="T8" fmla="*/ 160 w 276"/>
                <a:gd name="T9" fmla="*/ 29 h 435"/>
                <a:gd name="T10" fmla="*/ 143 w 276"/>
                <a:gd name="T11" fmla="*/ 11 h 435"/>
                <a:gd name="T12" fmla="*/ 124 w 276"/>
                <a:gd name="T13" fmla="*/ 2 h 435"/>
                <a:gd name="T14" fmla="*/ 121 w 276"/>
                <a:gd name="T15" fmla="*/ 36 h 435"/>
                <a:gd name="T16" fmla="*/ 73 w 276"/>
                <a:gd name="T17" fmla="*/ 70 h 435"/>
                <a:gd name="T18" fmla="*/ 58 w 276"/>
                <a:gd name="T19" fmla="*/ 107 h 435"/>
                <a:gd name="T20" fmla="*/ 37 w 276"/>
                <a:gd name="T21" fmla="*/ 105 h 435"/>
                <a:gd name="T22" fmla="*/ 19 w 276"/>
                <a:gd name="T23" fmla="*/ 104 h 435"/>
                <a:gd name="T24" fmla="*/ 25 w 276"/>
                <a:gd name="T25" fmla="*/ 90 h 435"/>
                <a:gd name="T26" fmla="*/ 5 w 276"/>
                <a:gd name="T27" fmla="*/ 95 h 435"/>
                <a:gd name="T28" fmla="*/ 11 w 276"/>
                <a:gd name="T29" fmla="*/ 135 h 435"/>
                <a:gd name="T30" fmla="*/ 19 w 276"/>
                <a:gd name="T31" fmla="*/ 154 h 435"/>
                <a:gd name="T32" fmla="*/ 44 w 276"/>
                <a:gd name="T33" fmla="*/ 187 h 435"/>
                <a:gd name="T34" fmla="*/ 75 w 276"/>
                <a:gd name="T35" fmla="*/ 246 h 435"/>
                <a:gd name="T36" fmla="*/ 118 w 276"/>
                <a:gd name="T37" fmla="*/ 320 h 435"/>
                <a:gd name="T38" fmla="*/ 126 w 276"/>
                <a:gd name="T39" fmla="*/ 348 h 435"/>
                <a:gd name="T40" fmla="*/ 184 w 276"/>
                <a:gd name="T41" fmla="*/ 388 h 435"/>
                <a:gd name="T42" fmla="*/ 229 w 276"/>
                <a:gd name="T43" fmla="*/ 421 h 435"/>
                <a:gd name="T44" fmla="*/ 261 w 276"/>
                <a:gd name="T45" fmla="*/ 429 h 435"/>
                <a:gd name="T46" fmla="*/ 276 w 276"/>
                <a:gd name="T47" fmla="*/ 391 h 435"/>
                <a:gd name="T48" fmla="*/ 270 w 276"/>
                <a:gd name="T49" fmla="*/ 363 h 435"/>
                <a:gd name="T50" fmla="*/ 272 w 276"/>
                <a:gd name="T51" fmla="*/ 342 h 435"/>
                <a:gd name="T52" fmla="*/ 271 w 276"/>
                <a:gd name="T53" fmla="*/ 306 h 435"/>
                <a:gd name="T54" fmla="*/ 255 w 276"/>
                <a:gd name="T55" fmla="*/ 259 h 435"/>
                <a:gd name="T56" fmla="*/ 234 w 276"/>
                <a:gd name="T57" fmla="*/ 261 h 435"/>
                <a:gd name="T58" fmla="*/ 216 w 276"/>
                <a:gd name="T59" fmla="*/ 238 h 435"/>
                <a:gd name="T60" fmla="*/ 189 w 276"/>
                <a:gd name="T61" fmla="*/ 225 h 435"/>
                <a:gd name="T62" fmla="*/ 180 w 276"/>
                <a:gd name="T63" fmla="*/ 213 h 435"/>
                <a:gd name="T64" fmla="*/ 157 w 276"/>
                <a:gd name="T65" fmla="*/ 178 h 435"/>
                <a:gd name="T66" fmla="*/ 163 w 276"/>
                <a:gd name="T67" fmla="*/ 164 h 435"/>
                <a:gd name="T68" fmla="*/ 172 w 276"/>
                <a:gd name="T69" fmla="*/ 144 h 435"/>
                <a:gd name="T70" fmla="*/ 179 w 276"/>
                <a:gd name="T71" fmla="*/ 124 h 435"/>
                <a:gd name="T72" fmla="*/ 219 w 276"/>
                <a:gd name="T73" fmla="*/ 104 h 435"/>
                <a:gd name="T74" fmla="*/ 241 w 276"/>
                <a:gd name="T75" fmla="*/ 101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6" h="435">
                  <a:moveTo>
                    <a:pt x="241" y="101"/>
                  </a:moveTo>
                  <a:lnTo>
                    <a:pt x="230" y="88"/>
                  </a:lnTo>
                  <a:lnTo>
                    <a:pt x="224" y="88"/>
                  </a:lnTo>
                  <a:lnTo>
                    <a:pt x="237" y="64"/>
                  </a:lnTo>
                  <a:lnTo>
                    <a:pt x="220" y="53"/>
                  </a:lnTo>
                  <a:lnTo>
                    <a:pt x="208" y="54"/>
                  </a:lnTo>
                  <a:lnTo>
                    <a:pt x="200" y="51"/>
                  </a:lnTo>
                  <a:lnTo>
                    <a:pt x="189" y="57"/>
                  </a:lnTo>
                  <a:lnTo>
                    <a:pt x="173" y="54"/>
                  </a:lnTo>
                  <a:lnTo>
                    <a:pt x="160" y="29"/>
                  </a:lnTo>
                  <a:lnTo>
                    <a:pt x="150" y="23"/>
                  </a:lnTo>
                  <a:lnTo>
                    <a:pt x="143" y="11"/>
                  </a:lnTo>
                  <a:lnTo>
                    <a:pt x="129" y="0"/>
                  </a:lnTo>
                  <a:lnTo>
                    <a:pt x="124" y="2"/>
                  </a:lnTo>
                  <a:lnTo>
                    <a:pt x="128" y="21"/>
                  </a:lnTo>
                  <a:lnTo>
                    <a:pt x="121" y="36"/>
                  </a:lnTo>
                  <a:lnTo>
                    <a:pt x="99" y="61"/>
                  </a:lnTo>
                  <a:lnTo>
                    <a:pt x="73" y="70"/>
                  </a:lnTo>
                  <a:lnTo>
                    <a:pt x="61" y="91"/>
                  </a:lnTo>
                  <a:lnTo>
                    <a:pt x="58" y="107"/>
                  </a:lnTo>
                  <a:lnTo>
                    <a:pt x="46" y="117"/>
                  </a:lnTo>
                  <a:lnTo>
                    <a:pt x="37" y="105"/>
                  </a:lnTo>
                  <a:lnTo>
                    <a:pt x="29" y="102"/>
                  </a:lnTo>
                  <a:lnTo>
                    <a:pt x="19" y="104"/>
                  </a:lnTo>
                  <a:lnTo>
                    <a:pt x="19" y="95"/>
                  </a:lnTo>
                  <a:lnTo>
                    <a:pt x="25" y="90"/>
                  </a:lnTo>
                  <a:lnTo>
                    <a:pt x="22" y="80"/>
                  </a:lnTo>
                  <a:lnTo>
                    <a:pt x="5" y="95"/>
                  </a:lnTo>
                  <a:lnTo>
                    <a:pt x="0" y="111"/>
                  </a:lnTo>
                  <a:lnTo>
                    <a:pt x="11" y="135"/>
                  </a:lnTo>
                  <a:lnTo>
                    <a:pt x="4" y="145"/>
                  </a:lnTo>
                  <a:lnTo>
                    <a:pt x="19" y="154"/>
                  </a:lnTo>
                  <a:lnTo>
                    <a:pt x="36" y="170"/>
                  </a:lnTo>
                  <a:lnTo>
                    <a:pt x="44" y="187"/>
                  </a:lnTo>
                  <a:lnTo>
                    <a:pt x="53" y="198"/>
                  </a:lnTo>
                  <a:lnTo>
                    <a:pt x="75" y="246"/>
                  </a:lnTo>
                  <a:lnTo>
                    <a:pt x="99" y="290"/>
                  </a:lnTo>
                  <a:lnTo>
                    <a:pt x="118" y="320"/>
                  </a:lnTo>
                  <a:lnTo>
                    <a:pt x="115" y="327"/>
                  </a:lnTo>
                  <a:lnTo>
                    <a:pt x="126" y="348"/>
                  </a:lnTo>
                  <a:lnTo>
                    <a:pt x="143" y="362"/>
                  </a:lnTo>
                  <a:lnTo>
                    <a:pt x="184" y="388"/>
                  </a:lnTo>
                  <a:lnTo>
                    <a:pt x="227" y="411"/>
                  </a:lnTo>
                  <a:lnTo>
                    <a:pt x="229" y="421"/>
                  </a:lnTo>
                  <a:lnTo>
                    <a:pt x="251" y="435"/>
                  </a:lnTo>
                  <a:lnTo>
                    <a:pt x="261" y="429"/>
                  </a:lnTo>
                  <a:lnTo>
                    <a:pt x="266" y="417"/>
                  </a:lnTo>
                  <a:lnTo>
                    <a:pt x="276" y="391"/>
                  </a:lnTo>
                  <a:lnTo>
                    <a:pt x="266" y="371"/>
                  </a:lnTo>
                  <a:lnTo>
                    <a:pt x="270" y="363"/>
                  </a:lnTo>
                  <a:lnTo>
                    <a:pt x="266" y="354"/>
                  </a:lnTo>
                  <a:lnTo>
                    <a:pt x="272" y="342"/>
                  </a:lnTo>
                  <a:lnTo>
                    <a:pt x="271" y="322"/>
                  </a:lnTo>
                  <a:lnTo>
                    <a:pt x="271" y="306"/>
                  </a:lnTo>
                  <a:lnTo>
                    <a:pt x="275" y="297"/>
                  </a:lnTo>
                  <a:lnTo>
                    <a:pt x="255" y="259"/>
                  </a:lnTo>
                  <a:lnTo>
                    <a:pt x="243" y="264"/>
                  </a:lnTo>
                  <a:lnTo>
                    <a:pt x="234" y="261"/>
                  </a:lnTo>
                  <a:lnTo>
                    <a:pt x="233" y="224"/>
                  </a:lnTo>
                  <a:lnTo>
                    <a:pt x="216" y="238"/>
                  </a:lnTo>
                  <a:lnTo>
                    <a:pt x="199" y="237"/>
                  </a:lnTo>
                  <a:lnTo>
                    <a:pt x="189" y="225"/>
                  </a:lnTo>
                  <a:lnTo>
                    <a:pt x="176" y="224"/>
                  </a:lnTo>
                  <a:lnTo>
                    <a:pt x="180" y="213"/>
                  </a:lnTo>
                  <a:lnTo>
                    <a:pt x="167" y="199"/>
                  </a:lnTo>
                  <a:lnTo>
                    <a:pt x="157" y="178"/>
                  </a:lnTo>
                  <a:lnTo>
                    <a:pt x="163" y="174"/>
                  </a:lnTo>
                  <a:lnTo>
                    <a:pt x="163" y="164"/>
                  </a:lnTo>
                  <a:lnTo>
                    <a:pt x="175" y="156"/>
                  </a:lnTo>
                  <a:lnTo>
                    <a:pt x="172" y="144"/>
                  </a:lnTo>
                  <a:lnTo>
                    <a:pt x="177" y="136"/>
                  </a:lnTo>
                  <a:lnTo>
                    <a:pt x="179" y="124"/>
                  </a:lnTo>
                  <a:lnTo>
                    <a:pt x="202" y="109"/>
                  </a:lnTo>
                  <a:lnTo>
                    <a:pt x="219" y="104"/>
                  </a:lnTo>
                  <a:lnTo>
                    <a:pt x="222" y="100"/>
                  </a:lnTo>
                  <a:lnTo>
                    <a:pt x="241" y="101"/>
                  </a:lnTo>
                  <a:lnTo>
                    <a:pt x="241" y="10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0" name="The Philippines">
              <a:extLst>
                <a:ext uri="{FF2B5EF4-FFF2-40B4-BE49-F238E27FC236}">
                  <a16:creationId xmlns:a16="http://schemas.microsoft.com/office/drawing/2014/main" id="{87EC1A21-24A9-492D-9B99-5B1E3AB12B67}"/>
                </a:ext>
              </a:extLst>
            </p:cNvPr>
            <p:cNvSpPr>
              <a:spLocks noEditPoints="1"/>
            </p:cNvSpPr>
            <p:nvPr/>
          </p:nvSpPr>
          <p:spPr bwMode="auto">
            <a:xfrm>
              <a:off x="9886156" y="3365273"/>
              <a:ext cx="314325" cy="487363"/>
            </a:xfrm>
            <a:custGeom>
              <a:avLst/>
              <a:gdLst>
                <a:gd name="T0" fmla="*/ 191 w 198"/>
                <a:gd name="T1" fmla="*/ 230 h 307"/>
                <a:gd name="T2" fmla="*/ 170 w 198"/>
                <a:gd name="T3" fmla="*/ 207 h 307"/>
                <a:gd name="T4" fmla="*/ 158 w 198"/>
                <a:gd name="T5" fmla="*/ 226 h 307"/>
                <a:gd name="T6" fmla="*/ 140 w 198"/>
                <a:gd name="T7" fmla="*/ 243 h 307"/>
                <a:gd name="T8" fmla="*/ 122 w 198"/>
                <a:gd name="T9" fmla="*/ 241 h 307"/>
                <a:gd name="T10" fmla="*/ 101 w 198"/>
                <a:gd name="T11" fmla="*/ 268 h 307"/>
                <a:gd name="T12" fmla="*/ 120 w 198"/>
                <a:gd name="T13" fmla="*/ 262 h 307"/>
                <a:gd name="T14" fmla="*/ 136 w 198"/>
                <a:gd name="T15" fmla="*/ 253 h 307"/>
                <a:gd name="T16" fmla="*/ 144 w 198"/>
                <a:gd name="T17" fmla="*/ 276 h 307"/>
                <a:gd name="T18" fmla="*/ 177 w 198"/>
                <a:gd name="T19" fmla="*/ 307 h 307"/>
                <a:gd name="T20" fmla="*/ 174 w 198"/>
                <a:gd name="T21" fmla="*/ 278 h 307"/>
                <a:gd name="T22" fmla="*/ 193 w 198"/>
                <a:gd name="T23" fmla="*/ 290 h 307"/>
                <a:gd name="T24" fmla="*/ 196 w 198"/>
                <a:gd name="T25" fmla="*/ 255 h 307"/>
                <a:gd name="T26" fmla="*/ 193 w 198"/>
                <a:gd name="T27" fmla="*/ 239 h 307"/>
                <a:gd name="T28" fmla="*/ 138 w 198"/>
                <a:gd name="T29" fmla="*/ 172 h 307"/>
                <a:gd name="T30" fmla="*/ 127 w 198"/>
                <a:gd name="T31" fmla="*/ 179 h 307"/>
                <a:gd name="T32" fmla="*/ 115 w 198"/>
                <a:gd name="T33" fmla="*/ 196 h 307"/>
                <a:gd name="T34" fmla="*/ 107 w 198"/>
                <a:gd name="T35" fmla="*/ 209 h 307"/>
                <a:gd name="T36" fmla="*/ 127 w 198"/>
                <a:gd name="T37" fmla="*/ 218 h 307"/>
                <a:gd name="T38" fmla="*/ 138 w 198"/>
                <a:gd name="T39" fmla="*/ 195 h 307"/>
                <a:gd name="T40" fmla="*/ 26 w 198"/>
                <a:gd name="T41" fmla="*/ 218 h 307"/>
                <a:gd name="T42" fmla="*/ 49 w 198"/>
                <a:gd name="T43" fmla="*/ 188 h 307"/>
                <a:gd name="T44" fmla="*/ 34 w 198"/>
                <a:gd name="T45" fmla="*/ 192 h 307"/>
                <a:gd name="T46" fmla="*/ 10 w 198"/>
                <a:gd name="T47" fmla="*/ 224 h 307"/>
                <a:gd name="T48" fmla="*/ 26 w 198"/>
                <a:gd name="T49" fmla="*/ 218 h 307"/>
                <a:gd name="T50" fmla="*/ 92 w 198"/>
                <a:gd name="T51" fmla="*/ 156 h 307"/>
                <a:gd name="T52" fmla="*/ 96 w 198"/>
                <a:gd name="T53" fmla="*/ 180 h 307"/>
                <a:gd name="T54" fmla="*/ 110 w 198"/>
                <a:gd name="T55" fmla="*/ 183 h 307"/>
                <a:gd name="T56" fmla="*/ 118 w 198"/>
                <a:gd name="T57" fmla="*/ 164 h 307"/>
                <a:gd name="T58" fmla="*/ 92 w 198"/>
                <a:gd name="T59" fmla="*/ 156 h 307"/>
                <a:gd name="T60" fmla="*/ 166 w 198"/>
                <a:gd name="T61" fmla="*/ 150 h 307"/>
                <a:gd name="T62" fmla="*/ 139 w 198"/>
                <a:gd name="T63" fmla="*/ 141 h 307"/>
                <a:gd name="T64" fmla="*/ 155 w 198"/>
                <a:gd name="T65" fmla="*/ 168 h 307"/>
                <a:gd name="T66" fmla="*/ 148 w 198"/>
                <a:gd name="T67" fmla="*/ 181 h 307"/>
                <a:gd name="T68" fmla="*/ 156 w 198"/>
                <a:gd name="T69" fmla="*/ 198 h 307"/>
                <a:gd name="T70" fmla="*/ 159 w 198"/>
                <a:gd name="T71" fmla="*/ 178 h 307"/>
                <a:gd name="T72" fmla="*/ 175 w 198"/>
                <a:gd name="T73" fmla="*/ 177 h 307"/>
                <a:gd name="T74" fmla="*/ 166 w 198"/>
                <a:gd name="T75" fmla="*/ 150 h 307"/>
                <a:gd name="T76" fmla="*/ 72 w 198"/>
                <a:gd name="T77" fmla="*/ 120 h 307"/>
                <a:gd name="T78" fmla="*/ 68 w 198"/>
                <a:gd name="T79" fmla="*/ 137 h 307"/>
                <a:gd name="T80" fmla="*/ 81 w 198"/>
                <a:gd name="T81" fmla="*/ 128 h 307"/>
                <a:gd name="T82" fmla="*/ 56 w 198"/>
                <a:gd name="T83" fmla="*/ 0 h 307"/>
                <a:gd name="T84" fmla="*/ 41 w 198"/>
                <a:gd name="T85" fmla="*/ 21 h 307"/>
                <a:gd name="T86" fmla="*/ 36 w 198"/>
                <a:gd name="T87" fmla="*/ 50 h 307"/>
                <a:gd name="T88" fmla="*/ 44 w 198"/>
                <a:gd name="T89" fmla="*/ 84 h 307"/>
                <a:gd name="T90" fmla="*/ 58 w 198"/>
                <a:gd name="T91" fmla="*/ 88 h 307"/>
                <a:gd name="T92" fmla="*/ 59 w 198"/>
                <a:gd name="T93" fmla="*/ 100 h 307"/>
                <a:gd name="T94" fmla="*/ 70 w 198"/>
                <a:gd name="T95" fmla="*/ 115 h 307"/>
                <a:gd name="T96" fmla="*/ 104 w 198"/>
                <a:gd name="T97" fmla="*/ 126 h 307"/>
                <a:gd name="T98" fmla="*/ 118 w 198"/>
                <a:gd name="T99" fmla="*/ 129 h 307"/>
                <a:gd name="T100" fmla="*/ 137 w 198"/>
                <a:gd name="T101" fmla="*/ 130 h 307"/>
                <a:gd name="T102" fmla="*/ 129 w 198"/>
                <a:gd name="T103" fmla="*/ 112 h 307"/>
                <a:gd name="T104" fmla="*/ 93 w 198"/>
                <a:gd name="T105" fmla="*/ 101 h 307"/>
                <a:gd name="T106" fmla="*/ 73 w 198"/>
                <a:gd name="T107" fmla="*/ 80 h 307"/>
                <a:gd name="T108" fmla="*/ 85 w 198"/>
                <a:gd name="T109" fmla="*/ 53 h 307"/>
                <a:gd name="T110" fmla="*/ 77 w 198"/>
                <a:gd name="T111" fmla="*/ 15 h 307"/>
                <a:gd name="T112" fmla="*/ 76 w 198"/>
                <a:gd name="T113" fmla="*/ 0 h 307"/>
                <a:gd name="T114" fmla="*/ 56 w 198"/>
                <a:gd name="T115" fmla="*/ 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98" h="307">
                  <a:moveTo>
                    <a:pt x="193" y="239"/>
                  </a:moveTo>
                  <a:lnTo>
                    <a:pt x="191" y="230"/>
                  </a:lnTo>
                  <a:lnTo>
                    <a:pt x="188" y="218"/>
                  </a:lnTo>
                  <a:lnTo>
                    <a:pt x="170" y="207"/>
                  </a:lnTo>
                  <a:lnTo>
                    <a:pt x="173" y="225"/>
                  </a:lnTo>
                  <a:lnTo>
                    <a:pt x="158" y="226"/>
                  </a:lnTo>
                  <a:lnTo>
                    <a:pt x="155" y="237"/>
                  </a:lnTo>
                  <a:lnTo>
                    <a:pt x="140" y="243"/>
                  </a:lnTo>
                  <a:lnTo>
                    <a:pt x="132" y="233"/>
                  </a:lnTo>
                  <a:lnTo>
                    <a:pt x="122" y="241"/>
                  </a:lnTo>
                  <a:lnTo>
                    <a:pt x="109" y="248"/>
                  </a:lnTo>
                  <a:lnTo>
                    <a:pt x="101" y="268"/>
                  </a:lnTo>
                  <a:lnTo>
                    <a:pt x="106" y="275"/>
                  </a:lnTo>
                  <a:lnTo>
                    <a:pt x="120" y="262"/>
                  </a:lnTo>
                  <a:lnTo>
                    <a:pt x="130" y="263"/>
                  </a:lnTo>
                  <a:lnTo>
                    <a:pt x="136" y="253"/>
                  </a:lnTo>
                  <a:lnTo>
                    <a:pt x="150" y="264"/>
                  </a:lnTo>
                  <a:lnTo>
                    <a:pt x="144" y="276"/>
                  </a:lnTo>
                  <a:lnTo>
                    <a:pt x="152" y="293"/>
                  </a:lnTo>
                  <a:lnTo>
                    <a:pt x="177" y="307"/>
                  </a:lnTo>
                  <a:lnTo>
                    <a:pt x="182" y="296"/>
                  </a:lnTo>
                  <a:lnTo>
                    <a:pt x="174" y="278"/>
                  </a:lnTo>
                  <a:lnTo>
                    <a:pt x="183" y="266"/>
                  </a:lnTo>
                  <a:lnTo>
                    <a:pt x="193" y="290"/>
                  </a:lnTo>
                  <a:lnTo>
                    <a:pt x="198" y="268"/>
                  </a:lnTo>
                  <a:lnTo>
                    <a:pt x="196" y="255"/>
                  </a:lnTo>
                  <a:lnTo>
                    <a:pt x="193" y="239"/>
                  </a:lnTo>
                  <a:lnTo>
                    <a:pt x="193" y="239"/>
                  </a:lnTo>
                  <a:close/>
                  <a:moveTo>
                    <a:pt x="138" y="195"/>
                  </a:moveTo>
                  <a:lnTo>
                    <a:pt x="138" y="172"/>
                  </a:lnTo>
                  <a:lnTo>
                    <a:pt x="125" y="195"/>
                  </a:lnTo>
                  <a:lnTo>
                    <a:pt x="127" y="179"/>
                  </a:lnTo>
                  <a:lnTo>
                    <a:pt x="116" y="181"/>
                  </a:lnTo>
                  <a:lnTo>
                    <a:pt x="115" y="196"/>
                  </a:lnTo>
                  <a:lnTo>
                    <a:pt x="110" y="202"/>
                  </a:lnTo>
                  <a:lnTo>
                    <a:pt x="107" y="209"/>
                  </a:lnTo>
                  <a:lnTo>
                    <a:pt x="121" y="225"/>
                  </a:lnTo>
                  <a:lnTo>
                    <a:pt x="127" y="218"/>
                  </a:lnTo>
                  <a:lnTo>
                    <a:pt x="132" y="203"/>
                  </a:lnTo>
                  <a:lnTo>
                    <a:pt x="138" y="195"/>
                  </a:lnTo>
                  <a:lnTo>
                    <a:pt x="138" y="195"/>
                  </a:lnTo>
                  <a:close/>
                  <a:moveTo>
                    <a:pt x="26" y="218"/>
                  </a:moveTo>
                  <a:lnTo>
                    <a:pt x="36" y="201"/>
                  </a:lnTo>
                  <a:lnTo>
                    <a:pt x="49" y="188"/>
                  </a:lnTo>
                  <a:lnTo>
                    <a:pt x="43" y="169"/>
                  </a:lnTo>
                  <a:lnTo>
                    <a:pt x="34" y="192"/>
                  </a:lnTo>
                  <a:lnTo>
                    <a:pt x="24" y="209"/>
                  </a:lnTo>
                  <a:lnTo>
                    <a:pt x="10" y="224"/>
                  </a:lnTo>
                  <a:lnTo>
                    <a:pt x="0" y="240"/>
                  </a:lnTo>
                  <a:lnTo>
                    <a:pt x="26" y="218"/>
                  </a:lnTo>
                  <a:lnTo>
                    <a:pt x="26" y="218"/>
                  </a:lnTo>
                  <a:close/>
                  <a:moveTo>
                    <a:pt x="92" y="156"/>
                  </a:moveTo>
                  <a:lnTo>
                    <a:pt x="96" y="168"/>
                  </a:lnTo>
                  <a:lnTo>
                    <a:pt x="96" y="180"/>
                  </a:lnTo>
                  <a:lnTo>
                    <a:pt x="97" y="191"/>
                  </a:lnTo>
                  <a:lnTo>
                    <a:pt x="110" y="183"/>
                  </a:lnTo>
                  <a:lnTo>
                    <a:pt x="119" y="173"/>
                  </a:lnTo>
                  <a:lnTo>
                    <a:pt x="118" y="164"/>
                  </a:lnTo>
                  <a:lnTo>
                    <a:pt x="105" y="164"/>
                  </a:lnTo>
                  <a:lnTo>
                    <a:pt x="92" y="156"/>
                  </a:lnTo>
                  <a:lnTo>
                    <a:pt x="92" y="156"/>
                  </a:lnTo>
                  <a:close/>
                  <a:moveTo>
                    <a:pt x="166" y="150"/>
                  </a:moveTo>
                  <a:lnTo>
                    <a:pt x="159" y="141"/>
                  </a:lnTo>
                  <a:lnTo>
                    <a:pt x="139" y="141"/>
                  </a:lnTo>
                  <a:lnTo>
                    <a:pt x="154" y="158"/>
                  </a:lnTo>
                  <a:lnTo>
                    <a:pt x="155" y="168"/>
                  </a:lnTo>
                  <a:lnTo>
                    <a:pt x="143" y="166"/>
                  </a:lnTo>
                  <a:lnTo>
                    <a:pt x="148" y="181"/>
                  </a:lnTo>
                  <a:lnTo>
                    <a:pt x="153" y="182"/>
                  </a:lnTo>
                  <a:lnTo>
                    <a:pt x="156" y="198"/>
                  </a:lnTo>
                  <a:lnTo>
                    <a:pt x="166" y="193"/>
                  </a:lnTo>
                  <a:lnTo>
                    <a:pt x="159" y="178"/>
                  </a:lnTo>
                  <a:lnTo>
                    <a:pt x="158" y="170"/>
                  </a:lnTo>
                  <a:lnTo>
                    <a:pt x="175" y="177"/>
                  </a:lnTo>
                  <a:lnTo>
                    <a:pt x="166" y="150"/>
                  </a:lnTo>
                  <a:lnTo>
                    <a:pt x="166" y="150"/>
                  </a:lnTo>
                  <a:close/>
                  <a:moveTo>
                    <a:pt x="81" y="128"/>
                  </a:moveTo>
                  <a:lnTo>
                    <a:pt x="72" y="120"/>
                  </a:lnTo>
                  <a:lnTo>
                    <a:pt x="54" y="119"/>
                  </a:lnTo>
                  <a:lnTo>
                    <a:pt x="68" y="137"/>
                  </a:lnTo>
                  <a:lnTo>
                    <a:pt x="78" y="149"/>
                  </a:lnTo>
                  <a:lnTo>
                    <a:pt x="81" y="128"/>
                  </a:lnTo>
                  <a:lnTo>
                    <a:pt x="81" y="128"/>
                  </a:lnTo>
                  <a:close/>
                  <a:moveTo>
                    <a:pt x="56" y="0"/>
                  </a:moveTo>
                  <a:lnTo>
                    <a:pt x="44" y="0"/>
                  </a:lnTo>
                  <a:lnTo>
                    <a:pt x="41" y="21"/>
                  </a:lnTo>
                  <a:lnTo>
                    <a:pt x="45" y="57"/>
                  </a:lnTo>
                  <a:lnTo>
                    <a:pt x="36" y="50"/>
                  </a:lnTo>
                  <a:lnTo>
                    <a:pt x="40" y="72"/>
                  </a:lnTo>
                  <a:lnTo>
                    <a:pt x="44" y="84"/>
                  </a:lnTo>
                  <a:lnTo>
                    <a:pt x="56" y="97"/>
                  </a:lnTo>
                  <a:lnTo>
                    <a:pt x="58" y="88"/>
                  </a:lnTo>
                  <a:lnTo>
                    <a:pt x="65" y="94"/>
                  </a:lnTo>
                  <a:lnTo>
                    <a:pt x="59" y="100"/>
                  </a:lnTo>
                  <a:lnTo>
                    <a:pt x="60" y="110"/>
                  </a:lnTo>
                  <a:lnTo>
                    <a:pt x="70" y="115"/>
                  </a:lnTo>
                  <a:lnTo>
                    <a:pt x="89" y="112"/>
                  </a:lnTo>
                  <a:lnTo>
                    <a:pt x="104" y="126"/>
                  </a:lnTo>
                  <a:lnTo>
                    <a:pt x="109" y="117"/>
                  </a:lnTo>
                  <a:lnTo>
                    <a:pt x="118" y="129"/>
                  </a:lnTo>
                  <a:lnTo>
                    <a:pt x="136" y="141"/>
                  </a:lnTo>
                  <a:lnTo>
                    <a:pt x="137" y="130"/>
                  </a:lnTo>
                  <a:lnTo>
                    <a:pt x="129" y="125"/>
                  </a:lnTo>
                  <a:lnTo>
                    <a:pt x="129" y="112"/>
                  </a:lnTo>
                  <a:lnTo>
                    <a:pt x="101" y="99"/>
                  </a:lnTo>
                  <a:lnTo>
                    <a:pt x="93" y="101"/>
                  </a:lnTo>
                  <a:lnTo>
                    <a:pt x="81" y="99"/>
                  </a:lnTo>
                  <a:lnTo>
                    <a:pt x="73" y="80"/>
                  </a:lnTo>
                  <a:lnTo>
                    <a:pt x="74" y="60"/>
                  </a:lnTo>
                  <a:lnTo>
                    <a:pt x="85" y="53"/>
                  </a:lnTo>
                  <a:lnTo>
                    <a:pt x="87" y="33"/>
                  </a:lnTo>
                  <a:lnTo>
                    <a:pt x="77" y="15"/>
                  </a:lnTo>
                  <a:lnTo>
                    <a:pt x="79" y="6"/>
                  </a:lnTo>
                  <a:lnTo>
                    <a:pt x="76" y="0"/>
                  </a:lnTo>
                  <a:lnTo>
                    <a:pt x="70" y="6"/>
                  </a:lnTo>
                  <a:lnTo>
                    <a:pt x="56" y="0"/>
                  </a:lnTo>
                  <a:lnTo>
                    <a:pt x="5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1" name="Papua New Guinea">
              <a:extLst>
                <a:ext uri="{FF2B5EF4-FFF2-40B4-BE49-F238E27FC236}">
                  <a16:creationId xmlns:a16="http://schemas.microsoft.com/office/drawing/2014/main" id="{BB10E782-692E-4B19-984E-9EF4A89DF22C}"/>
                </a:ext>
              </a:extLst>
            </p:cNvPr>
            <p:cNvSpPr>
              <a:spLocks noEditPoints="1"/>
            </p:cNvSpPr>
            <p:nvPr/>
          </p:nvSpPr>
          <p:spPr bwMode="auto">
            <a:xfrm>
              <a:off x="10676731" y="4155848"/>
              <a:ext cx="504825" cy="307975"/>
            </a:xfrm>
            <a:custGeom>
              <a:avLst/>
              <a:gdLst>
                <a:gd name="T0" fmla="*/ 318 w 318"/>
                <a:gd name="T1" fmla="*/ 96 h 194"/>
                <a:gd name="T2" fmla="*/ 301 w 318"/>
                <a:gd name="T3" fmla="*/ 73 h 194"/>
                <a:gd name="T4" fmla="*/ 292 w 318"/>
                <a:gd name="T5" fmla="*/ 61 h 194"/>
                <a:gd name="T6" fmla="*/ 293 w 318"/>
                <a:gd name="T7" fmla="*/ 81 h 194"/>
                <a:gd name="T8" fmla="*/ 309 w 318"/>
                <a:gd name="T9" fmla="*/ 106 h 194"/>
                <a:gd name="T10" fmla="*/ 316 w 318"/>
                <a:gd name="T11" fmla="*/ 103 h 194"/>
                <a:gd name="T12" fmla="*/ 244 w 318"/>
                <a:gd name="T13" fmla="*/ 56 h 194"/>
                <a:gd name="T14" fmla="*/ 242 w 318"/>
                <a:gd name="T15" fmla="*/ 39 h 194"/>
                <a:gd name="T16" fmla="*/ 231 w 318"/>
                <a:gd name="T17" fmla="*/ 54 h 194"/>
                <a:gd name="T18" fmla="*/ 212 w 318"/>
                <a:gd name="T19" fmla="*/ 71 h 194"/>
                <a:gd name="T20" fmla="*/ 198 w 318"/>
                <a:gd name="T21" fmla="*/ 60 h 194"/>
                <a:gd name="T22" fmla="*/ 191 w 318"/>
                <a:gd name="T23" fmla="*/ 72 h 194"/>
                <a:gd name="T24" fmla="*/ 161 w 318"/>
                <a:gd name="T25" fmla="*/ 70 h 194"/>
                <a:gd name="T26" fmla="*/ 171 w 318"/>
                <a:gd name="T27" fmla="*/ 84 h 194"/>
                <a:gd name="T28" fmla="*/ 198 w 318"/>
                <a:gd name="T29" fmla="*/ 92 h 194"/>
                <a:gd name="T30" fmla="*/ 221 w 318"/>
                <a:gd name="T31" fmla="*/ 79 h 194"/>
                <a:gd name="T32" fmla="*/ 236 w 318"/>
                <a:gd name="T33" fmla="*/ 71 h 194"/>
                <a:gd name="T34" fmla="*/ 133 w 318"/>
                <a:gd name="T35" fmla="*/ 117 h 194"/>
                <a:gd name="T36" fmla="*/ 148 w 318"/>
                <a:gd name="T37" fmla="*/ 98 h 194"/>
                <a:gd name="T38" fmla="*/ 110 w 318"/>
                <a:gd name="T39" fmla="*/ 71 h 194"/>
                <a:gd name="T40" fmla="*/ 97 w 318"/>
                <a:gd name="T41" fmla="*/ 45 h 194"/>
                <a:gd name="T42" fmla="*/ 46 w 318"/>
                <a:gd name="T43" fmla="*/ 19 h 194"/>
                <a:gd name="T44" fmla="*/ 6 w 318"/>
                <a:gd name="T45" fmla="*/ 80 h 194"/>
                <a:gd name="T46" fmla="*/ 21 w 318"/>
                <a:gd name="T47" fmla="*/ 159 h 194"/>
                <a:gd name="T48" fmla="*/ 50 w 318"/>
                <a:gd name="T49" fmla="*/ 154 h 194"/>
                <a:gd name="T50" fmla="*/ 62 w 318"/>
                <a:gd name="T51" fmla="*/ 129 h 194"/>
                <a:gd name="T52" fmla="*/ 107 w 318"/>
                <a:gd name="T53" fmla="*/ 133 h 194"/>
                <a:gd name="T54" fmla="*/ 127 w 318"/>
                <a:gd name="T55" fmla="*/ 166 h 194"/>
                <a:gd name="T56" fmla="*/ 161 w 318"/>
                <a:gd name="T57" fmla="*/ 185 h 194"/>
                <a:gd name="T58" fmla="*/ 184 w 318"/>
                <a:gd name="T59" fmla="*/ 194 h 194"/>
                <a:gd name="T60" fmla="*/ 201 w 318"/>
                <a:gd name="T61" fmla="*/ 186 h 194"/>
                <a:gd name="T62" fmla="*/ 187 w 318"/>
                <a:gd name="T63" fmla="*/ 171 h 194"/>
                <a:gd name="T64" fmla="*/ 173 w 318"/>
                <a:gd name="T65" fmla="*/ 157 h 194"/>
                <a:gd name="T66" fmla="*/ 150 w 318"/>
                <a:gd name="T67" fmla="*/ 132 h 194"/>
                <a:gd name="T68" fmla="*/ 133 w 318"/>
                <a:gd name="T69" fmla="*/ 117 h 194"/>
                <a:gd name="T70" fmla="*/ 260 w 318"/>
                <a:gd name="T71" fmla="*/ 36 h 194"/>
                <a:gd name="T72" fmla="*/ 245 w 318"/>
                <a:gd name="T73" fmla="*/ 18 h 194"/>
                <a:gd name="T74" fmla="*/ 229 w 318"/>
                <a:gd name="T75" fmla="*/ 8 h 194"/>
                <a:gd name="T76" fmla="*/ 212 w 318"/>
                <a:gd name="T77" fmla="*/ 6 h 194"/>
                <a:gd name="T78" fmla="*/ 238 w 318"/>
                <a:gd name="T79" fmla="*/ 23 h 194"/>
                <a:gd name="T80" fmla="*/ 252 w 318"/>
                <a:gd name="T81" fmla="*/ 40 h 194"/>
                <a:gd name="T82" fmla="*/ 262 w 318"/>
                <a:gd name="T83" fmla="*/ 48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18" h="194">
                  <a:moveTo>
                    <a:pt x="316" y="103"/>
                  </a:moveTo>
                  <a:lnTo>
                    <a:pt x="318" y="96"/>
                  </a:lnTo>
                  <a:lnTo>
                    <a:pt x="310" y="88"/>
                  </a:lnTo>
                  <a:lnTo>
                    <a:pt x="301" y="73"/>
                  </a:lnTo>
                  <a:lnTo>
                    <a:pt x="294" y="67"/>
                  </a:lnTo>
                  <a:lnTo>
                    <a:pt x="292" y="61"/>
                  </a:lnTo>
                  <a:lnTo>
                    <a:pt x="289" y="64"/>
                  </a:lnTo>
                  <a:lnTo>
                    <a:pt x="293" y="81"/>
                  </a:lnTo>
                  <a:lnTo>
                    <a:pt x="302" y="96"/>
                  </a:lnTo>
                  <a:lnTo>
                    <a:pt x="309" y="106"/>
                  </a:lnTo>
                  <a:lnTo>
                    <a:pt x="316" y="103"/>
                  </a:lnTo>
                  <a:lnTo>
                    <a:pt x="316" y="103"/>
                  </a:lnTo>
                  <a:close/>
                  <a:moveTo>
                    <a:pt x="236" y="71"/>
                  </a:moveTo>
                  <a:lnTo>
                    <a:pt x="244" y="56"/>
                  </a:lnTo>
                  <a:lnTo>
                    <a:pt x="245" y="43"/>
                  </a:lnTo>
                  <a:lnTo>
                    <a:pt x="242" y="39"/>
                  </a:lnTo>
                  <a:lnTo>
                    <a:pt x="229" y="40"/>
                  </a:lnTo>
                  <a:lnTo>
                    <a:pt x="231" y="54"/>
                  </a:lnTo>
                  <a:lnTo>
                    <a:pt x="217" y="63"/>
                  </a:lnTo>
                  <a:lnTo>
                    <a:pt x="212" y="71"/>
                  </a:lnTo>
                  <a:lnTo>
                    <a:pt x="200" y="73"/>
                  </a:lnTo>
                  <a:lnTo>
                    <a:pt x="198" y="60"/>
                  </a:lnTo>
                  <a:lnTo>
                    <a:pt x="195" y="60"/>
                  </a:lnTo>
                  <a:lnTo>
                    <a:pt x="191" y="72"/>
                  </a:lnTo>
                  <a:lnTo>
                    <a:pt x="180" y="74"/>
                  </a:lnTo>
                  <a:lnTo>
                    <a:pt x="161" y="70"/>
                  </a:lnTo>
                  <a:lnTo>
                    <a:pt x="159" y="78"/>
                  </a:lnTo>
                  <a:lnTo>
                    <a:pt x="171" y="84"/>
                  </a:lnTo>
                  <a:lnTo>
                    <a:pt x="188" y="92"/>
                  </a:lnTo>
                  <a:lnTo>
                    <a:pt x="198" y="92"/>
                  </a:lnTo>
                  <a:lnTo>
                    <a:pt x="209" y="86"/>
                  </a:lnTo>
                  <a:lnTo>
                    <a:pt x="221" y="79"/>
                  </a:lnTo>
                  <a:lnTo>
                    <a:pt x="225" y="73"/>
                  </a:lnTo>
                  <a:lnTo>
                    <a:pt x="236" y="71"/>
                  </a:lnTo>
                  <a:lnTo>
                    <a:pt x="236" y="71"/>
                  </a:lnTo>
                  <a:close/>
                  <a:moveTo>
                    <a:pt x="133" y="117"/>
                  </a:moveTo>
                  <a:lnTo>
                    <a:pt x="129" y="101"/>
                  </a:lnTo>
                  <a:lnTo>
                    <a:pt x="148" y="98"/>
                  </a:lnTo>
                  <a:lnTo>
                    <a:pt x="145" y="86"/>
                  </a:lnTo>
                  <a:lnTo>
                    <a:pt x="110" y="71"/>
                  </a:lnTo>
                  <a:lnTo>
                    <a:pt x="108" y="57"/>
                  </a:lnTo>
                  <a:lnTo>
                    <a:pt x="97" y="45"/>
                  </a:lnTo>
                  <a:lnTo>
                    <a:pt x="83" y="33"/>
                  </a:lnTo>
                  <a:lnTo>
                    <a:pt x="46" y="19"/>
                  </a:lnTo>
                  <a:lnTo>
                    <a:pt x="9" y="3"/>
                  </a:lnTo>
                  <a:lnTo>
                    <a:pt x="6" y="80"/>
                  </a:lnTo>
                  <a:lnTo>
                    <a:pt x="0" y="158"/>
                  </a:lnTo>
                  <a:lnTo>
                    <a:pt x="21" y="159"/>
                  </a:lnTo>
                  <a:lnTo>
                    <a:pt x="33" y="163"/>
                  </a:lnTo>
                  <a:lnTo>
                    <a:pt x="50" y="154"/>
                  </a:lnTo>
                  <a:lnTo>
                    <a:pt x="49" y="136"/>
                  </a:lnTo>
                  <a:lnTo>
                    <a:pt x="62" y="129"/>
                  </a:lnTo>
                  <a:lnTo>
                    <a:pt x="81" y="122"/>
                  </a:lnTo>
                  <a:lnTo>
                    <a:pt x="107" y="133"/>
                  </a:lnTo>
                  <a:lnTo>
                    <a:pt x="116" y="153"/>
                  </a:lnTo>
                  <a:lnTo>
                    <a:pt x="127" y="166"/>
                  </a:lnTo>
                  <a:lnTo>
                    <a:pt x="141" y="181"/>
                  </a:lnTo>
                  <a:lnTo>
                    <a:pt x="161" y="185"/>
                  </a:lnTo>
                  <a:lnTo>
                    <a:pt x="180" y="188"/>
                  </a:lnTo>
                  <a:lnTo>
                    <a:pt x="184" y="194"/>
                  </a:lnTo>
                  <a:lnTo>
                    <a:pt x="198" y="192"/>
                  </a:lnTo>
                  <a:lnTo>
                    <a:pt x="201" y="186"/>
                  </a:lnTo>
                  <a:lnTo>
                    <a:pt x="180" y="176"/>
                  </a:lnTo>
                  <a:lnTo>
                    <a:pt x="187" y="171"/>
                  </a:lnTo>
                  <a:lnTo>
                    <a:pt x="171" y="167"/>
                  </a:lnTo>
                  <a:lnTo>
                    <a:pt x="173" y="157"/>
                  </a:lnTo>
                  <a:lnTo>
                    <a:pt x="161" y="157"/>
                  </a:lnTo>
                  <a:lnTo>
                    <a:pt x="150" y="132"/>
                  </a:lnTo>
                  <a:lnTo>
                    <a:pt x="133" y="117"/>
                  </a:lnTo>
                  <a:lnTo>
                    <a:pt x="133" y="117"/>
                  </a:lnTo>
                  <a:close/>
                  <a:moveTo>
                    <a:pt x="262" y="48"/>
                  </a:moveTo>
                  <a:lnTo>
                    <a:pt x="260" y="36"/>
                  </a:lnTo>
                  <a:lnTo>
                    <a:pt x="253" y="28"/>
                  </a:lnTo>
                  <a:lnTo>
                    <a:pt x="245" y="18"/>
                  </a:lnTo>
                  <a:lnTo>
                    <a:pt x="236" y="12"/>
                  </a:lnTo>
                  <a:lnTo>
                    <a:pt x="229" y="8"/>
                  </a:lnTo>
                  <a:lnTo>
                    <a:pt x="218" y="0"/>
                  </a:lnTo>
                  <a:lnTo>
                    <a:pt x="212" y="6"/>
                  </a:lnTo>
                  <a:lnTo>
                    <a:pt x="227" y="13"/>
                  </a:lnTo>
                  <a:lnTo>
                    <a:pt x="238" y="23"/>
                  </a:lnTo>
                  <a:lnTo>
                    <a:pt x="247" y="31"/>
                  </a:lnTo>
                  <a:lnTo>
                    <a:pt x="252" y="40"/>
                  </a:lnTo>
                  <a:lnTo>
                    <a:pt x="255" y="54"/>
                  </a:lnTo>
                  <a:lnTo>
                    <a:pt x="262" y="48"/>
                  </a:lnTo>
                  <a:lnTo>
                    <a:pt x="262"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2" name="Poland">
              <a:extLst>
                <a:ext uri="{FF2B5EF4-FFF2-40B4-BE49-F238E27FC236}">
                  <a16:creationId xmlns:a16="http://schemas.microsoft.com/office/drawing/2014/main" id="{BBA62AF0-6A2F-481D-BB47-141F4439E3D1}"/>
                </a:ext>
              </a:extLst>
            </p:cNvPr>
            <p:cNvSpPr>
              <a:spLocks/>
            </p:cNvSpPr>
            <p:nvPr/>
          </p:nvSpPr>
          <p:spPr bwMode="auto">
            <a:xfrm>
              <a:off x="6392069" y="2007962"/>
              <a:ext cx="295275" cy="211138"/>
            </a:xfrm>
            <a:custGeom>
              <a:avLst/>
              <a:gdLst>
                <a:gd name="T0" fmla="*/ 97 w 186"/>
                <a:gd name="T1" fmla="*/ 10 h 133"/>
                <a:gd name="T2" fmla="*/ 79 w 186"/>
                <a:gd name="T3" fmla="*/ 10 h 133"/>
                <a:gd name="T4" fmla="*/ 77 w 186"/>
                <a:gd name="T5" fmla="*/ 4 h 133"/>
                <a:gd name="T6" fmla="*/ 59 w 186"/>
                <a:gd name="T7" fmla="*/ 0 h 133"/>
                <a:gd name="T8" fmla="*/ 38 w 186"/>
                <a:gd name="T9" fmla="*/ 8 h 133"/>
                <a:gd name="T10" fmla="*/ 12 w 186"/>
                <a:gd name="T11" fmla="*/ 18 h 133"/>
                <a:gd name="T12" fmla="*/ 0 w 186"/>
                <a:gd name="T13" fmla="*/ 24 h 133"/>
                <a:gd name="T14" fmla="*/ 5 w 186"/>
                <a:gd name="T15" fmla="*/ 37 h 133"/>
                <a:gd name="T16" fmla="*/ 1 w 186"/>
                <a:gd name="T17" fmla="*/ 42 h 133"/>
                <a:gd name="T18" fmla="*/ 8 w 186"/>
                <a:gd name="T19" fmla="*/ 51 h 133"/>
                <a:gd name="T20" fmla="*/ 14 w 186"/>
                <a:gd name="T21" fmla="*/ 63 h 133"/>
                <a:gd name="T22" fmla="*/ 13 w 186"/>
                <a:gd name="T23" fmla="*/ 70 h 133"/>
                <a:gd name="T24" fmla="*/ 22 w 186"/>
                <a:gd name="T25" fmla="*/ 85 h 133"/>
                <a:gd name="T26" fmla="*/ 31 w 186"/>
                <a:gd name="T27" fmla="*/ 93 h 133"/>
                <a:gd name="T28" fmla="*/ 45 w 186"/>
                <a:gd name="T29" fmla="*/ 95 h 133"/>
                <a:gd name="T30" fmla="*/ 45 w 186"/>
                <a:gd name="T31" fmla="*/ 101 h 133"/>
                <a:gd name="T32" fmla="*/ 54 w 186"/>
                <a:gd name="T33" fmla="*/ 106 h 133"/>
                <a:gd name="T34" fmla="*/ 57 w 186"/>
                <a:gd name="T35" fmla="*/ 100 h 133"/>
                <a:gd name="T36" fmla="*/ 69 w 186"/>
                <a:gd name="T37" fmla="*/ 102 h 133"/>
                <a:gd name="T38" fmla="*/ 72 w 186"/>
                <a:gd name="T39" fmla="*/ 109 h 133"/>
                <a:gd name="T40" fmla="*/ 86 w 186"/>
                <a:gd name="T41" fmla="*/ 110 h 133"/>
                <a:gd name="T42" fmla="*/ 95 w 186"/>
                <a:gd name="T43" fmla="*/ 123 h 133"/>
                <a:gd name="T44" fmla="*/ 96 w 186"/>
                <a:gd name="T45" fmla="*/ 123 h 133"/>
                <a:gd name="T46" fmla="*/ 103 w 186"/>
                <a:gd name="T47" fmla="*/ 121 h 133"/>
                <a:gd name="T48" fmla="*/ 114 w 186"/>
                <a:gd name="T49" fmla="*/ 128 h 133"/>
                <a:gd name="T50" fmla="*/ 124 w 186"/>
                <a:gd name="T51" fmla="*/ 123 h 133"/>
                <a:gd name="T52" fmla="*/ 132 w 186"/>
                <a:gd name="T53" fmla="*/ 126 h 133"/>
                <a:gd name="T54" fmla="*/ 145 w 186"/>
                <a:gd name="T55" fmla="*/ 123 h 133"/>
                <a:gd name="T56" fmla="*/ 164 w 186"/>
                <a:gd name="T57" fmla="*/ 132 h 133"/>
                <a:gd name="T58" fmla="*/ 168 w 186"/>
                <a:gd name="T59" fmla="*/ 133 h 133"/>
                <a:gd name="T60" fmla="*/ 162 w 186"/>
                <a:gd name="T61" fmla="*/ 123 h 133"/>
                <a:gd name="T62" fmla="*/ 176 w 186"/>
                <a:gd name="T63" fmla="*/ 104 h 133"/>
                <a:gd name="T64" fmla="*/ 185 w 186"/>
                <a:gd name="T65" fmla="*/ 101 h 133"/>
                <a:gd name="T66" fmla="*/ 186 w 186"/>
                <a:gd name="T67" fmla="*/ 95 h 133"/>
                <a:gd name="T68" fmla="*/ 174 w 186"/>
                <a:gd name="T69" fmla="*/ 74 h 133"/>
                <a:gd name="T70" fmla="*/ 172 w 186"/>
                <a:gd name="T71" fmla="*/ 65 h 133"/>
                <a:gd name="T72" fmla="*/ 165 w 186"/>
                <a:gd name="T73" fmla="*/ 53 h 133"/>
                <a:gd name="T74" fmla="*/ 175 w 186"/>
                <a:gd name="T75" fmla="*/ 49 h 133"/>
                <a:gd name="T76" fmla="*/ 174 w 186"/>
                <a:gd name="T77" fmla="*/ 40 h 133"/>
                <a:gd name="T78" fmla="*/ 168 w 186"/>
                <a:gd name="T79" fmla="*/ 31 h 133"/>
                <a:gd name="T80" fmla="*/ 166 w 186"/>
                <a:gd name="T81" fmla="*/ 22 h 133"/>
                <a:gd name="T82" fmla="*/ 160 w 186"/>
                <a:gd name="T83" fmla="*/ 14 h 133"/>
                <a:gd name="T84" fmla="*/ 151 w 186"/>
                <a:gd name="T85" fmla="*/ 12 h 133"/>
                <a:gd name="T86" fmla="*/ 118 w 186"/>
                <a:gd name="T87" fmla="*/ 12 h 133"/>
                <a:gd name="T88" fmla="*/ 97 w 186"/>
                <a:gd name="T89" fmla="*/ 10 h 133"/>
                <a:gd name="T90" fmla="*/ 97 w 186"/>
                <a:gd name="T91" fmla="*/ 10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86" h="133">
                  <a:moveTo>
                    <a:pt x="97" y="10"/>
                  </a:moveTo>
                  <a:lnTo>
                    <a:pt x="79" y="10"/>
                  </a:lnTo>
                  <a:lnTo>
                    <a:pt x="77" y="4"/>
                  </a:lnTo>
                  <a:lnTo>
                    <a:pt x="59" y="0"/>
                  </a:lnTo>
                  <a:lnTo>
                    <a:pt x="38" y="8"/>
                  </a:lnTo>
                  <a:lnTo>
                    <a:pt x="12" y="18"/>
                  </a:lnTo>
                  <a:lnTo>
                    <a:pt x="0" y="24"/>
                  </a:lnTo>
                  <a:lnTo>
                    <a:pt x="5" y="37"/>
                  </a:lnTo>
                  <a:lnTo>
                    <a:pt x="1" y="42"/>
                  </a:lnTo>
                  <a:lnTo>
                    <a:pt x="8" y="51"/>
                  </a:lnTo>
                  <a:lnTo>
                    <a:pt x="14" y="63"/>
                  </a:lnTo>
                  <a:lnTo>
                    <a:pt x="13" y="70"/>
                  </a:lnTo>
                  <a:lnTo>
                    <a:pt x="22" y="85"/>
                  </a:lnTo>
                  <a:lnTo>
                    <a:pt x="31" y="93"/>
                  </a:lnTo>
                  <a:lnTo>
                    <a:pt x="45" y="95"/>
                  </a:lnTo>
                  <a:lnTo>
                    <a:pt x="45" y="101"/>
                  </a:lnTo>
                  <a:lnTo>
                    <a:pt x="54" y="106"/>
                  </a:lnTo>
                  <a:lnTo>
                    <a:pt x="57" y="100"/>
                  </a:lnTo>
                  <a:lnTo>
                    <a:pt x="69" y="102"/>
                  </a:lnTo>
                  <a:lnTo>
                    <a:pt x="72" y="109"/>
                  </a:lnTo>
                  <a:lnTo>
                    <a:pt x="86" y="110"/>
                  </a:lnTo>
                  <a:lnTo>
                    <a:pt x="95" y="123"/>
                  </a:lnTo>
                  <a:lnTo>
                    <a:pt x="96" y="123"/>
                  </a:lnTo>
                  <a:lnTo>
                    <a:pt x="103" y="121"/>
                  </a:lnTo>
                  <a:lnTo>
                    <a:pt x="114" y="128"/>
                  </a:lnTo>
                  <a:lnTo>
                    <a:pt x="124" y="123"/>
                  </a:lnTo>
                  <a:lnTo>
                    <a:pt x="132" y="126"/>
                  </a:lnTo>
                  <a:lnTo>
                    <a:pt x="145" y="123"/>
                  </a:lnTo>
                  <a:lnTo>
                    <a:pt x="164" y="132"/>
                  </a:lnTo>
                  <a:lnTo>
                    <a:pt x="168" y="133"/>
                  </a:lnTo>
                  <a:lnTo>
                    <a:pt x="162" y="123"/>
                  </a:lnTo>
                  <a:lnTo>
                    <a:pt x="176" y="104"/>
                  </a:lnTo>
                  <a:lnTo>
                    <a:pt x="185" y="101"/>
                  </a:lnTo>
                  <a:lnTo>
                    <a:pt x="186" y="95"/>
                  </a:lnTo>
                  <a:lnTo>
                    <a:pt x="174" y="74"/>
                  </a:lnTo>
                  <a:lnTo>
                    <a:pt x="172" y="65"/>
                  </a:lnTo>
                  <a:lnTo>
                    <a:pt x="165" y="53"/>
                  </a:lnTo>
                  <a:lnTo>
                    <a:pt x="175" y="49"/>
                  </a:lnTo>
                  <a:lnTo>
                    <a:pt x="174" y="40"/>
                  </a:lnTo>
                  <a:lnTo>
                    <a:pt x="168" y="31"/>
                  </a:lnTo>
                  <a:lnTo>
                    <a:pt x="166" y="22"/>
                  </a:lnTo>
                  <a:lnTo>
                    <a:pt x="160" y="14"/>
                  </a:lnTo>
                  <a:lnTo>
                    <a:pt x="151" y="12"/>
                  </a:lnTo>
                  <a:lnTo>
                    <a:pt x="118" y="12"/>
                  </a:lnTo>
                  <a:lnTo>
                    <a:pt x="97" y="10"/>
                  </a:lnTo>
                  <a:lnTo>
                    <a:pt x="97"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3" name="North Korea">
              <a:extLst>
                <a:ext uri="{FF2B5EF4-FFF2-40B4-BE49-F238E27FC236}">
                  <a16:creationId xmlns:a16="http://schemas.microsoft.com/office/drawing/2014/main" id="{D94127A5-0347-4CCC-B3FE-295D5D1DC31C}"/>
                </a:ext>
              </a:extLst>
            </p:cNvPr>
            <p:cNvSpPr>
              <a:spLocks/>
            </p:cNvSpPr>
            <p:nvPr/>
          </p:nvSpPr>
          <p:spPr bwMode="auto">
            <a:xfrm>
              <a:off x="9813131" y="2441348"/>
              <a:ext cx="150812" cy="198438"/>
            </a:xfrm>
            <a:custGeom>
              <a:avLst/>
              <a:gdLst>
                <a:gd name="T0" fmla="*/ 90 w 95"/>
                <a:gd name="T1" fmla="*/ 13 h 125"/>
                <a:gd name="T2" fmla="*/ 90 w 95"/>
                <a:gd name="T3" fmla="*/ 13 h 125"/>
                <a:gd name="T4" fmla="*/ 70 w 95"/>
                <a:gd name="T5" fmla="*/ 0 h 125"/>
                <a:gd name="T6" fmla="*/ 70 w 95"/>
                <a:gd name="T7" fmla="*/ 13 h 125"/>
                <a:gd name="T8" fmla="*/ 46 w 95"/>
                <a:gd name="T9" fmla="*/ 22 h 125"/>
                <a:gd name="T10" fmla="*/ 57 w 95"/>
                <a:gd name="T11" fmla="*/ 34 h 125"/>
                <a:gd name="T12" fmla="*/ 39 w 95"/>
                <a:gd name="T13" fmla="*/ 34 h 125"/>
                <a:gd name="T14" fmla="*/ 26 w 95"/>
                <a:gd name="T15" fmla="*/ 27 h 125"/>
                <a:gd name="T16" fmla="*/ 22 w 95"/>
                <a:gd name="T17" fmla="*/ 43 h 125"/>
                <a:gd name="T18" fmla="*/ 8 w 95"/>
                <a:gd name="T19" fmla="*/ 56 h 125"/>
                <a:gd name="T20" fmla="*/ 0 w 95"/>
                <a:gd name="T21" fmla="*/ 71 h 125"/>
                <a:gd name="T22" fmla="*/ 13 w 95"/>
                <a:gd name="T23" fmla="*/ 77 h 125"/>
                <a:gd name="T24" fmla="*/ 25 w 95"/>
                <a:gd name="T25" fmla="*/ 79 h 125"/>
                <a:gd name="T26" fmla="*/ 28 w 95"/>
                <a:gd name="T27" fmla="*/ 83 h 125"/>
                <a:gd name="T28" fmla="*/ 29 w 95"/>
                <a:gd name="T29" fmla="*/ 96 h 125"/>
                <a:gd name="T30" fmla="*/ 33 w 95"/>
                <a:gd name="T31" fmla="*/ 101 h 125"/>
                <a:gd name="T32" fmla="*/ 30 w 95"/>
                <a:gd name="T33" fmla="*/ 103 h 125"/>
                <a:gd name="T34" fmla="*/ 29 w 95"/>
                <a:gd name="T35" fmla="*/ 115 h 125"/>
                <a:gd name="T36" fmla="*/ 37 w 95"/>
                <a:gd name="T37" fmla="*/ 118 h 125"/>
                <a:gd name="T38" fmla="*/ 43 w 95"/>
                <a:gd name="T39" fmla="*/ 120 h 125"/>
                <a:gd name="T40" fmla="*/ 46 w 95"/>
                <a:gd name="T41" fmla="*/ 125 h 125"/>
                <a:gd name="T42" fmla="*/ 51 w 95"/>
                <a:gd name="T43" fmla="*/ 123 h 125"/>
                <a:gd name="T44" fmla="*/ 51 w 95"/>
                <a:gd name="T45" fmla="*/ 118 h 125"/>
                <a:gd name="T46" fmla="*/ 62 w 95"/>
                <a:gd name="T47" fmla="*/ 123 h 125"/>
                <a:gd name="T48" fmla="*/ 63 w 95"/>
                <a:gd name="T49" fmla="*/ 120 h 125"/>
                <a:gd name="T50" fmla="*/ 72 w 95"/>
                <a:gd name="T51" fmla="*/ 121 h 125"/>
                <a:gd name="T52" fmla="*/ 74 w 95"/>
                <a:gd name="T53" fmla="*/ 111 h 125"/>
                <a:gd name="T54" fmla="*/ 87 w 95"/>
                <a:gd name="T55" fmla="*/ 109 h 125"/>
                <a:gd name="T56" fmla="*/ 95 w 95"/>
                <a:gd name="T57" fmla="*/ 108 h 125"/>
                <a:gd name="T58" fmla="*/ 95 w 95"/>
                <a:gd name="T59" fmla="*/ 102 h 125"/>
                <a:gd name="T60" fmla="*/ 79 w 95"/>
                <a:gd name="T61" fmla="*/ 91 h 125"/>
                <a:gd name="T62" fmla="*/ 69 w 95"/>
                <a:gd name="T63" fmla="*/ 88 h 125"/>
                <a:gd name="T64" fmla="*/ 70 w 95"/>
                <a:gd name="T65" fmla="*/ 85 h 125"/>
                <a:gd name="T66" fmla="*/ 65 w 95"/>
                <a:gd name="T67" fmla="*/ 75 h 125"/>
                <a:gd name="T68" fmla="*/ 71 w 95"/>
                <a:gd name="T69" fmla="*/ 68 h 125"/>
                <a:gd name="T70" fmla="*/ 81 w 95"/>
                <a:gd name="T71" fmla="*/ 64 h 125"/>
                <a:gd name="T72" fmla="*/ 85 w 95"/>
                <a:gd name="T73" fmla="*/ 58 h 125"/>
                <a:gd name="T74" fmla="*/ 86 w 95"/>
                <a:gd name="T75" fmla="*/ 53 h 125"/>
                <a:gd name="T76" fmla="*/ 93 w 95"/>
                <a:gd name="T77" fmla="*/ 48 h 125"/>
                <a:gd name="T78" fmla="*/ 83 w 95"/>
                <a:gd name="T79" fmla="*/ 32 h 125"/>
                <a:gd name="T80" fmla="*/ 84 w 95"/>
                <a:gd name="T81" fmla="*/ 23 h 125"/>
                <a:gd name="T82" fmla="*/ 87 w 95"/>
                <a:gd name="T83" fmla="*/ 16 h 125"/>
                <a:gd name="T84" fmla="*/ 95 w 95"/>
                <a:gd name="T85" fmla="*/ 18 h 125"/>
                <a:gd name="T86" fmla="*/ 95 w 95"/>
                <a:gd name="T87" fmla="*/ 18 h 125"/>
                <a:gd name="T88" fmla="*/ 95 w 95"/>
                <a:gd name="T89" fmla="*/ 18 h 125"/>
                <a:gd name="T90" fmla="*/ 95 w 95"/>
                <a:gd name="T91" fmla="*/ 18 h 125"/>
                <a:gd name="T92" fmla="*/ 90 w 95"/>
                <a:gd name="T93" fmla="*/ 13 h 125"/>
                <a:gd name="T94" fmla="*/ 90 w 95"/>
                <a:gd name="T95" fmla="*/ 13 h 1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95" h="125">
                  <a:moveTo>
                    <a:pt x="90" y="13"/>
                  </a:moveTo>
                  <a:lnTo>
                    <a:pt x="90" y="13"/>
                  </a:lnTo>
                  <a:lnTo>
                    <a:pt x="70" y="0"/>
                  </a:lnTo>
                  <a:lnTo>
                    <a:pt x="70" y="13"/>
                  </a:lnTo>
                  <a:lnTo>
                    <a:pt x="46" y="22"/>
                  </a:lnTo>
                  <a:lnTo>
                    <a:pt x="57" y="34"/>
                  </a:lnTo>
                  <a:lnTo>
                    <a:pt x="39" y="34"/>
                  </a:lnTo>
                  <a:lnTo>
                    <a:pt x="26" y="27"/>
                  </a:lnTo>
                  <a:lnTo>
                    <a:pt x="22" y="43"/>
                  </a:lnTo>
                  <a:lnTo>
                    <a:pt x="8" y="56"/>
                  </a:lnTo>
                  <a:lnTo>
                    <a:pt x="0" y="71"/>
                  </a:lnTo>
                  <a:lnTo>
                    <a:pt x="13" y="77"/>
                  </a:lnTo>
                  <a:lnTo>
                    <a:pt x="25" y="79"/>
                  </a:lnTo>
                  <a:lnTo>
                    <a:pt x="28" y="83"/>
                  </a:lnTo>
                  <a:lnTo>
                    <a:pt x="29" y="96"/>
                  </a:lnTo>
                  <a:lnTo>
                    <a:pt x="33" y="101"/>
                  </a:lnTo>
                  <a:lnTo>
                    <a:pt x="30" y="103"/>
                  </a:lnTo>
                  <a:lnTo>
                    <a:pt x="29" y="115"/>
                  </a:lnTo>
                  <a:lnTo>
                    <a:pt x="37" y="118"/>
                  </a:lnTo>
                  <a:lnTo>
                    <a:pt x="43" y="120"/>
                  </a:lnTo>
                  <a:lnTo>
                    <a:pt x="46" y="125"/>
                  </a:lnTo>
                  <a:lnTo>
                    <a:pt x="51" y="123"/>
                  </a:lnTo>
                  <a:lnTo>
                    <a:pt x="51" y="118"/>
                  </a:lnTo>
                  <a:lnTo>
                    <a:pt x="62" y="123"/>
                  </a:lnTo>
                  <a:lnTo>
                    <a:pt x="63" y="120"/>
                  </a:lnTo>
                  <a:lnTo>
                    <a:pt x="72" y="121"/>
                  </a:lnTo>
                  <a:lnTo>
                    <a:pt x="74" y="111"/>
                  </a:lnTo>
                  <a:lnTo>
                    <a:pt x="87" y="109"/>
                  </a:lnTo>
                  <a:lnTo>
                    <a:pt x="95" y="108"/>
                  </a:lnTo>
                  <a:lnTo>
                    <a:pt x="95" y="102"/>
                  </a:lnTo>
                  <a:lnTo>
                    <a:pt x="79" y="91"/>
                  </a:lnTo>
                  <a:lnTo>
                    <a:pt x="69" y="88"/>
                  </a:lnTo>
                  <a:lnTo>
                    <a:pt x="70" y="85"/>
                  </a:lnTo>
                  <a:lnTo>
                    <a:pt x="65" y="75"/>
                  </a:lnTo>
                  <a:lnTo>
                    <a:pt x="71" y="68"/>
                  </a:lnTo>
                  <a:lnTo>
                    <a:pt x="81" y="64"/>
                  </a:lnTo>
                  <a:lnTo>
                    <a:pt x="85" y="58"/>
                  </a:lnTo>
                  <a:lnTo>
                    <a:pt x="86" y="53"/>
                  </a:lnTo>
                  <a:lnTo>
                    <a:pt x="93" y="48"/>
                  </a:lnTo>
                  <a:lnTo>
                    <a:pt x="83" y="32"/>
                  </a:lnTo>
                  <a:lnTo>
                    <a:pt x="84" y="23"/>
                  </a:lnTo>
                  <a:lnTo>
                    <a:pt x="87" y="16"/>
                  </a:lnTo>
                  <a:lnTo>
                    <a:pt x="95" y="18"/>
                  </a:lnTo>
                  <a:lnTo>
                    <a:pt x="95" y="18"/>
                  </a:lnTo>
                  <a:lnTo>
                    <a:pt x="95" y="18"/>
                  </a:lnTo>
                  <a:lnTo>
                    <a:pt x="95" y="18"/>
                  </a:lnTo>
                  <a:lnTo>
                    <a:pt x="90" y="13"/>
                  </a:lnTo>
                  <a:lnTo>
                    <a:pt x="90"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4" name="Portugal">
              <a:extLst>
                <a:ext uri="{FF2B5EF4-FFF2-40B4-BE49-F238E27FC236}">
                  <a16:creationId xmlns:a16="http://schemas.microsoft.com/office/drawing/2014/main" id="{65104AC5-AFE5-4876-B6CD-872E81F78603}"/>
                </a:ext>
              </a:extLst>
            </p:cNvPr>
            <p:cNvSpPr>
              <a:spLocks/>
            </p:cNvSpPr>
            <p:nvPr/>
          </p:nvSpPr>
          <p:spPr bwMode="auto">
            <a:xfrm>
              <a:off x="5701506" y="2466749"/>
              <a:ext cx="98425" cy="204788"/>
            </a:xfrm>
            <a:custGeom>
              <a:avLst/>
              <a:gdLst>
                <a:gd name="T0" fmla="*/ 39 w 62"/>
                <a:gd name="T1" fmla="*/ 123 h 129"/>
                <a:gd name="T2" fmla="*/ 38 w 62"/>
                <a:gd name="T3" fmla="*/ 115 h 129"/>
                <a:gd name="T4" fmla="*/ 45 w 62"/>
                <a:gd name="T5" fmla="*/ 105 h 129"/>
                <a:gd name="T6" fmla="*/ 48 w 62"/>
                <a:gd name="T7" fmla="*/ 99 h 129"/>
                <a:gd name="T8" fmla="*/ 42 w 62"/>
                <a:gd name="T9" fmla="*/ 92 h 129"/>
                <a:gd name="T10" fmla="*/ 47 w 62"/>
                <a:gd name="T11" fmla="*/ 76 h 129"/>
                <a:gd name="T12" fmla="*/ 40 w 62"/>
                <a:gd name="T13" fmla="*/ 61 h 129"/>
                <a:gd name="T14" fmla="*/ 48 w 62"/>
                <a:gd name="T15" fmla="*/ 59 h 129"/>
                <a:gd name="T16" fmla="*/ 49 w 62"/>
                <a:gd name="T17" fmla="*/ 48 h 129"/>
                <a:gd name="T18" fmla="*/ 53 w 62"/>
                <a:gd name="T19" fmla="*/ 45 h 129"/>
                <a:gd name="T20" fmla="*/ 54 w 62"/>
                <a:gd name="T21" fmla="*/ 27 h 129"/>
                <a:gd name="T22" fmla="*/ 62 w 62"/>
                <a:gd name="T23" fmla="*/ 20 h 129"/>
                <a:gd name="T24" fmla="*/ 58 w 62"/>
                <a:gd name="T25" fmla="*/ 9 h 129"/>
                <a:gd name="T26" fmla="*/ 46 w 62"/>
                <a:gd name="T27" fmla="*/ 8 h 129"/>
                <a:gd name="T28" fmla="*/ 43 w 62"/>
                <a:gd name="T29" fmla="*/ 11 h 129"/>
                <a:gd name="T30" fmla="*/ 31 w 62"/>
                <a:gd name="T31" fmla="*/ 11 h 129"/>
                <a:gd name="T32" fmla="*/ 28 w 62"/>
                <a:gd name="T33" fmla="*/ 0 h 129"/>
                <a:gd name="T34" fmla="*/ 19 w 62"/>
                <a:gd name="T35" fmla="*/ 3 h 129"/>
                <a:gd name="T36" fmla="*/ 13 w 62"/>
                <a:gd name="T37" fmla="*/ 9 h 129"/>
                <a:gd name="T38" fmla="*/ 13 w 62"/>
                <a:gd name="T39" fmla="*/ 17 h 129"/>
                <a:gd name="T40" fmla="*/ 16 w 62"/>
                <a:gd name="T41" fmla="*/ 25 h 129"/>
                <a:gd name="T42" fmla="*/ 16 w 62"/>
                <a:gd name="T43" fmla="*/ 35 h 129"/>
                <a:gd name="T44" fmla="*/ 12 w 62"/>
                <a:gd name="T45" fmla="*/ 49 h 129"/>
                <a:gd name="T46" fmla="*/ 10 w 62"/>
                <a:gd name="T47" fmla="*/ 59 h 129"/>
                <a:gd name="T48" fmla="*/ 2 w 62"/>
                <a:gd name="T49" fmla="*/ 67 h 129"/>
                <a:gd name="T50" fmla="*/ 0 w 62"/>
                <a:gd name="T51" fmla="*/ 83 h 129"/>
                <a:gd name="T52" fmla="*/ 4 w 62"/>
                <a:gd name="T53" fmla="*/ 92 h 129"/>
                <a:gd name="T54" fmla="*/ 13 w 62"/>
                <a:gd name="T55" fmla="*/ 94 h 129"/>
                <a:gd name="T56" fmla="*/ 15 w 62"/>
                <a:gd name="T57" fmla="*/ 109 h 129"/>
                <a:gd name="T58" fmla="*/ 11 w 62"/>
                <a:gd name="T59" fmla="*/ 129 h 129"/>
                <a:gd name="T60" fmla="*/ 21 w 62"/>
                <a:gd name="T61" fmla="*/ 126 h 129"/>
                <a:gd name="T62" fmla="*/ 31 w 62"/>
                <a:gd name="T63" fmla="*/ 129 h 129"/>
                <a:gd name="T64" fmla="*/ 39 w 62"/>
                <a:gd name="T65" fmla="*/ 123 h 129"/>
                <a:gd name="T66" fmla="*/ 39 w 62"/>
                <a:gd name="T67" fmla="*/ 12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62" h="129">
                  <a:moveTo>
                    <a:pt x="39" y="123"/>
                  </a:moveTo>
                  <a:lnTo>
                    <a:pt x="38" y="115"/>
                  </a:lnTo>
                  <a:lnTo>
                    <a:pt x="45" y="105"/>
                  </a:lnTo>
                  <a:lnTo>
                    <a:pt x="48" y="99"/>
                  </a:lnTo>
                  <a:lnTo>
                    <a:pt x="42" y="92"/>
                  </a:lnTo>
                  <a:lnTo>
                    <a:pt x="47" y="76"/>
                  </a:lnTo>
                  <a:lnTo>
                    <a:pt x="40" y="61"/>
                  </a:lnTo>
                  <a:lnTo>
                    <a:pt x="48" y="59"/>
                  </a:lnTo>
                  <a:lnTo>
                    <a:pt x="49" y="48"/>
                  </a:lnTo>
                  <a:lnTo>
                    <a:pt x="53" y="45"/>
                  </a:lnTo>
                  <a:lnTo>
                    <a:pt x="54" y="27"/>
                  </a:lnTo>
                  <a:lnTo>
                    <a:pt x="62" y="20"/>
                  </a:lnTo>
                  <a:lnTo>
                    <a:pt x="58" y="9"/>
                  </a:lnTo>
                  <a:lnTo>
                    <a:pt x="46" y="8"/>
                  </a:lnTo>
                  <a:lnTo>
                    <a:pt x="43" y="11"/>
                  </a:lnTo>
                  <a:lnTo>
                    <a:pt x="31" y="11"/>
                  </a:lnTo>
                  <a:lnTo>
                    <a:pt x="28" y="0"/>
                  </a:lnTo>
                  <a:lnTo>
                    <a:pt x="19" y="3"/>
                  </a:lnTo>
                  <a:lnTo>
                    <a:pt x="13" y="9"/>
                  </a:lnTo>
                  <a:lnTo>
                    <a:pt x="13" y="17"/>
                  </a:lnTo>
                  <a:lnTo>
                    <a:pt x="16" y="25"/>
                  </a:lnTo>
                  <a:lnTo>
                    <a:pt x="16" y="35"/>
                  </a:lnTo>
                  <a:lnTo>
                    <a:pt x="12" y="49"/>
                  </a:lnTo>
                  <a:lnTo>
                    <a:pt x="10" y="59"/>
                  </a:lnTo>
                  <a:lnTo>
                    <a:pt x="2" y="67"/>
                  </a:lnTo>
                  <a:lnTo>
                    <a:pt x="0" y="83"/>
                  </a:lnTo>
                  <a:lnTo>
                    <a:pt x="4" y="92"/>
                  </a:lnTo>
                  <a:lnTo>
                    <a:pt x="13" y="94"/>
                  </a:lnTo>
                  <a:lnTo>
                    <a:pt x="15" y="109"/>
                  </a:lnTo>
                  <a:lnTo>
                    <a:pt x="11" y="129"/>
                  </a:lnTo>
                  <a:lnTo>
                    <a:pt x="21" y="126"/>
                  </a:lnTo>
                  <a:lnTo>
                    <a:pt x="31" y="129"/>
                  </a:lnTo>
                  <a:lnTo>
                    <a:pt x="39" y="123"/>
                  </a:lnTo>
                  <a:lnTo>
                    <a:pt x="39" y="1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5" name="Paraguay">
              <a:extLst>
                <a:ext uri="{FF2B5EF4-FFF2-40B4-BE49-F238E27FC236}">
                  <a16:creationId xmlns:a16="http://schemas.microsoft.com/office/drawing/2014/main" id="{6155DBD2-4752-4F0B-887D-20D3ACEB45D0}"/>
                </a:ext>
              </a:extLst>
            </p:cNvPr>
            <p:cNvSpPr>
              <a:spLocks/>
            </p:cNvSpPr>
            <p:nvPr/>
          </p:nvSpPr>
          <p:spPr bwMode="auto">
            <a:xfrm>
              <a:off x="3952081" y="4792435"/>
              <a:ext cx="280987" cy="309562"/>
            </a:xfrm>
            <a:custGeom>
              <a:avLst/>
              <a:gdLst>
                <a:gd name="T0" fmla="*/ 89 w 177"/>
                <a:gd name="T1" fmla="*/ 19 h 195"/>
                <a:gd name="T2" fmla="*/ 88 w 177"/>
                <a:gd name="T3" fmla="*/ 12 h 195"/>
                <a:gd name="T4" fmla="*/ 67 w 177"/>
                <a:gd name="T5" fmla="*/ 0 h 195"/>
                <a:gd name="T6" fmla="*/ 48 w 177"/>
                <a:gd name="T7" fmla="*/ 0 h 195"/>
                <a:gd name="T8" fmla="*/ 13 w 177"/>
                <a:gd name="T9" fmla="*/ 6 h 195"/>
                <a:gd name="T10" fmla="*/ 5 w 177"/>
                <a:gd name="T11" fmla="*/ 28 h 195"/>
                <a:gd name="T12" fmla="*/ 6 w 177"/>
                <a:gd name="T13" fmla="*/ 40 h 195"/>
                <a:gd name="T14" fmla="*/ 0 w 177"/>
                <a:gd name="T15" fmla="*/ 69 h 195"/>
                <a:gd name="T16" fmla="*/ 42 w 177"/>
                <a:gd name="T17" fmla="*/ 107 h 195"/>
                <a:gd name="T18" fmla="*/ 59 w 177"/>
                <a:gd name="T19" fmla="*/ 111 h 195"/>
                <a:gd name="T20" fmla="*/ 86 w 177"/>
                <a:gd name="T21" fmla="*/ 129 h 195"/>
                <a:gd name="T22" fmla="*/ 108 w 177"/>
                <a:gd name="T23" fmla="*/ 138 h 195"/>
                <a:gd name="T24" fmla="*/ 112 w 177"/>
                <a:gd name="T25" fmla="*/ 148 h 195"/>
                <a:gd name="T26" fmla="*/ 96 w 177"/>
                <a:gd name="T27" fmla="*/ 185 h 195"/>
                <a:gd name="T28" fmla="*/ 118 w 177"/>
                <a:gd name="T29" fmla="*/ 191 h 195"/>
                <a:gd name="T30" fmla="*/ 141 w 177"/>
                <a:gd name="T31" fmla="*/ 195 h 195"/>
                <a:gd name="T32" fmla="*/ 157 w 177"/>
                <a:gd name="T33" fmla="*/ 191 h 195"/>
                <a:gd name="T34" fmla="*/ 173 w 177"/>
                <a:gd name="T35" fmla="*/ 172 h 195"/>
                <a:gd name="T36" fmla="*/ 174 w 177"/>
                <a:gd name="T37" fmla="*/ 152 h 195"/>
                <a:gd name="T38" fmla="*/ 176 w 177"/>
                <a:gd name="T39" fmla="*/ 138 h 195"/>
                <a:gd name="T40" fmla="*/ 177 w 177"/>
                <a:gd name="T41" fmla="*/ 124 h 195"/>
                <a:gd name="T42" fmla="*/ 176 w 177"/>
                <a:gd name="T43" fmla="*/ 111 h 195"/>
                <a:gd name="T44" fmla="*/ 168 w 177"/>
                <a:gd name="T45" fmla="*/ 106 h 195"/>
                <a:gd name="T46" fmla="*/ 161 w 177"/>
                <a:gd name="T47" fmla="*/ 111 h 195"/>
                <a:gd name="T48" fmla="*/ 153 w 177"/>
                <a:gd name="T49" fmla="*/ 109 h 195"/>
                <a:gd name="T50" fmla="*/ 150 w 177"/>
                <a:gd name="T51" fmla="*/ 100 h 195"/>
                <a:gd name="T52" fmla="*/ 147 w 177"/>
                <a:gd name="T53" fmla="*/ 78 h 195"/>
                <a:gd name="T54" fmla="*/ 142 w 177"/>
                <a:gd name="T55" fmla="*/ 72 h 195"/>
                <a:gd name="T56" fmla="*/ 127 w 177"/>
                <a:gd name="T57" fmla="*/ 65 h 195"/>
                <a:gd name="T58" fmla="*/ 119 w 177"/>
                <a:gd name="T59" fmla="*/ 70 h 195"/>
                <a:gd name="T60" fmla="*/ 97 w 177"/>
                <a:gd name="T61" fmla="*/ 65 h 195"/>
                <a:gd name="T62" fmla="*/ 95 w 177"/>
                <a:gd name="T63" fmla="*/ 32 h 195"/>
                <a:gd name="T64" fmla="*/ 89 w 177"/>
                <a:gd name="T65" fmla="*/ 19 h 195"/>
                <a:gd name="T66" fmla="*/ 89 w 177"/>
                <a:gd name="T67" fmla="*/ 19 h 1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7" h="195">
                  <a:moveTo>
                    <a:pt x="89" y="19"/>
                  </a:moveTo>
                  <a:lnTo>
                    <a:pt x="88" y="12"/>
                  </a:lnTo>
                  <a:lnTo>
                    <a:pt x="67" y="0"/>
                  </a:lnTo>
                  <a:lnTo>
                    <a:pt x="48" y="0"/>
                  </a:lnTo>
                  <a:lnTo>
                    <a:pt x="13" y="6"/>
                  </a:lnTo>
                  <a:lnTo>
                    <a:pt x="5" y="28"/>
                  </a:lnTo>
                  <a:lnTo>
                    <a:pt x="6" y="40"/>
                  </a:lnTo>
                  <a:lnTo>
                    <a:pt x="0" y="69"/>
                  </a:lnTo>
                  <a:lnTo>
                    <a:pt x="42" y="107"/>
                  </a:lnTo>
                  <a:lnTo>
                    <a:pt x="59" y="111"/>
                  </a:lnTo>
                  <a:lnTo>
                    <a:pt x="86" y="129"/>
                  </a:lnTo>
                  <a:lnTo>
                    <a:pt x="108" y="138"/>
                  </a:lnTo>
                  <a:lnTo>
                    <a:pt x="112" y="148"/>
                  </a:lnTo>
                  <a:lnTo>
                    <a:pt x="96" y="185"/>
                  </a:lnTo>
                  <a:lnTo>
                    <a:pt x="118" y="191"/>
                  </a:lnTo>
                  <a:lnTo>
                    <a:pt x="141" y="195"/>
                  </a:lnTo>
                  <a:lnTo>
                    <a:pt x="157" y="191"/>
                  </a:lnTo>
                  <a:lnTo>
                    <a:pt x="173" y="172"/>
                  </a:lnTo>
                  <a:lnTo>
                    <a:pt x="174" y="152"/>
                  </a:lnTo>
                  <a:lnTo>
                    <a:pt x="176" y="138"/>
                  </a:lnTo>
                  <a:lnTo>
                    <a:pt x="177" y="124"/>
                  </a:lnTo>
                  <a:lnTo>
                    <a:pt x="176" y="111"/>
                  </a:lnTo>
                  <a:lnTo>
                    <a:pt x="168" y="106"/>
                  </a:lnTo>
                  <a:lnTo>
                    <a:pt x="161" y="111"/>
                  </a:lnTo>
                  <a:lnTo>
                    <a:pt x="153" y="109"/>
                  </a:lnTo>
                  <a:lnTo>
                    <a:pt x="150" y="100"/>
                  </a:lnTo>
                  <a:lnTo>
                    <a:pt x="147" y="78"/>
                  </a:lnTo>
                  <a:lnTo>
                    <a:pt x="142" y="72"/>
                  </a:lnTo>
                  <a:lnTo>
                    <a:pt x="127" y="65"/>
                  </a:lnTo>
                  <a:lnTo>
                    <a:pt x="119" y="70"/>
                  </a:lnTo>
                  <a:lnTo>
                    <a:pt x="97" y="65"/>
                  </a:lnTo>
                  <a:lnTo>
                    <a:pt x="95" y="32"/>
                  </a:lnTo>
                  <a:lnTo>
                    <a:pt x="89" y="19"/>
                  </a:lnTo>
                  <a:lnTo>
                    <a:pt x="89" y="1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6" name="Cisjordania">
              <a:extLst>
                <a:ext uri="{FF2B5EF4-FFF2-40B4-BE49-F238E27FC236}">
                  <a16:creationId xmlns:a16="http://schemas.microsoft.com/office/drawing/2014/main" id="{389A95B7-F6DD-451F-BFAA-F80DD88C4F3F}"/>
                </a:ext>
              </a:extLst>
            </p:cNvPr>
            <p:cNvSpPr>
              <a:spLocks/>
            </p:cNvSpPr>
            <p:nvPr/>
          </p:nvSpPr>
          <p:spPr bwMode="auto">
            <a:xfrm>
              <a:off x="7108031" y="2835048"/>
              <a:ext cx="17462" cy="44450"/>
            </a:xfrm>
            <a:custGeom>
              <a:avLst/>
              <a:gdLst>
                <a:gd name="T0" fmla="*/ 10 w 11"/>
                <a:gd name="T1" fmla="*/ 3 h 28"/>
                <a:gd name="T2" fmla="*/ 2 w 11"/>
                <a:gd name="T3" fmla="*/ 0 h 28"/>
                <a:gd name="T4" fmla="*/ 0 w 11"/>
                <a:gd name="T5" fmla="*/ 16 h 28"/>
                <a:gd name="T6" fmla="*/ 4 w 11"/>
                <a:gd name="T7" fmla="*/ 19 h 28"/>
                <a:gd name="T8" fmla="*/ 1 w 11"/>
                <a:gd name="T9" fmla="*/ 22 h 28"/>
                <a:gd name="T10" fmla="*/ 0 w 11"/>
                <a:gd name="T11" fmla="*/ 28 h 28"/>
                <a:gd name="T12" fmla="*/ 9 w 11"/>
                <a:gd name="T13" fmla="*/ 25 h 28"/>
                <a:gd name="T14" fmla="*/ 11 w 11"/>
                <a:gd name="T15" fmla="*/ 18 h 28"/>
                <a:gd name="T16" fmla="*/ 10 w 11"/>
                <a:gd name="T17" fmla="*/ 3 h 28"/>
                <a:gd name="T18" fmla="*/ 10 w 11"/>
                <a:gd name="T19" fmla="*/ 3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 h="28">
                  <a:moveTo>
                    <a:pt x="10" y="3"/>
                  </a:moveTo>
                  <a:lnTo>
                    <a:pt x="2" y="0"/>
                  </a:lnTo>
                  <a:lnTo>
                    <a:pt x="0" y="16"/>
                  </a:lnTo>
                  <a:lnTo>
                    <a:pt x="4" y="19"/>
                  </a:lnTo>
                  <a:lnTo>
                    <a:pt x="1" y="22"/>
                  </a:lnTo>
                  <a:lnTo>
                    <a:pt x="0" y="28"/>
                  </a:lnTo>
                  <a:lnTo>
                    <a:pt x="9" y="25"/>
                  </a:lnTo>
                  <a:lnTo>
                    <a:pt x="11" y="18"/>
                  </a:lnTo>
                  <a:lnTo>
                    <a:pt x="10" y="3"/>
                  </a:lnTo>
                  <a:lnTo>
                    <a:pt x="1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7" name="Bahrain">
              <a:extLst>
                <a:ext uri="{FF2B5EF4-FFF2-40B4-BE49-F238E27FC236}">
                  <a16:creationId xmlns:a16="http://schemas.microsoft.com/office/drawing/2014/main" id="{2C8C5162-FE89-49E1-82D4-8C32EE037DDE}"/>
                </a:ext>
              </a:extLst>
            </p:cNvPr>
            <p:cNvSpPr>
              <a:spLocks/>
            </p:cNvSpPr>
            <p:nvPr/>
          </p:nvSpPr>
          <p:spPr bwMode="auto">
            <a:xfrm>
              <a:off x="7639844" y="3076348"/>
              <a:ext cx="28575" cy="60325"/>
            </a:xfrm>
            <a:custGeom>
              <a:avLst/>
              <a:gdLst>
                <a:gd name="T0" fmla="*/ 15 w 18"/>
                <a:gd name="T1" fmla="*/ 36 h 38"/>
                <a:gd name="T2" fmla="*/ 18 w 18"/>
                <a:gd name="T3" fmla="*/ 22 h 38"/>
                <a:gd name="T4" fmla="*/ 16 w 18"/>
                <a:gd name="T5" fmla="*/ 8 h 38"/>
                <a:gd name="T6" fmla="*/ 9 w 18"/>
                <a:gd name="T7" fmla="*/ 0 h 38"/>
                <a:gd name="T8" fmla="*/ 4 w 18"/>
                <a:gd name="T9" fmla="*/ 3 h 38"/>
                <a:gd name="T10" fmla="*/ 0 w 18"/>
                <a:gd name="T11" fmla="*/ 15 h 38"/>
                <a:gd name="T12" fmla="*/ 3 w 18"/>
                <a:gd name="T13" fmla="*/ 33 h 38"/>
                <a:gd name="T14" fmla="*/ 9 w 18"/>
                <a:gd name="T15" fmla="*/ 38 h 38"/>
                <a:gd name="T16" fmla="*/ 15 w 18"/>
                <a:gd name="T17" fmla="*/ 36 h 38"/>
                <a:gd name="T18" fmla="*/ 15 w 18"/>
                <a:gd name="T19" fmla="*/ 3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8" h="38">
                  <a:moveTo>
                    <a:pt x="15" y="36"/>
                  </a:moveTo>
                  <a:lnTo>
                    <a:pt x="18" y="22"/>
                  </a:lnTo>
                  <a:lnTo>
                    <a:pt x="16" y="8"/>
                  </a:lnTo>
                  <a:lnTo>
                    <a:pt x="9" y="0"/>
                  </a:lnTo>
                  <a:lnTo>
                    <a:pt x="4" y="3"/>
                  </a:lnTo>
                  <a:lnTo>
                    <a:pt x="0" y="15"/>
                  </a:lnTo>
                  <a:lnTo>
                    <a:pt x="3" y="33"/>
                  </a:lnTo>
                  <a:lnTo>
                    <a:pt x="9" y="38"/>
                  </a:lnTo>
                  <a:lnTo>
                    <a:pt x="15" y="36"/>
                  </a:lnTo>
                  <a:lnTo>
                    <a:pt x="15" y="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8" name="Romania">
              <a:extLst>
                <a:ext uri="{FF2B5EF4-FFF2-40B4-BE49-F238E27FC236}">
                  <a16:creationId xmlns:a16="http://schemas.microsoft.com/office/drawing/2014/main" id="{0C00FFBD-2F2C-4766-BCEA-EF1E2BEAE737}"/>
                </a:ext>
              </a:extLst>
            </p:cNvPr>
            <p:cNvSpPr>
              <a:spLocks/>
            </p:cNvSpPr>
            <p:nvPr/>
          </p:nvSpPr>
          <p:spPr bwMode="auto">
            <a:xfrm>
              <a:off x="6596856" y="2247673"/>
              <a:ext cx="284162" cy="168275"/>
            </a:xfrm>
            <a:custGeom>
              <a:avLst/>
              <a:gdLst>
                <a:gd name="T0" fmla="*/ 112 w 179"/>
                <a:gd name="T1" fmla="*/ 0 h 106"/>
                <a:gd name="T2" fmla="*/ 104 w 179"/>
                <a:gd name="T3" fmla="*/ 0 h 106"/>
                <a:gd name="T4" fmla="*/ 100 w 179"/>
                <a:gd name="T5" fmla="*/ 6 h 106"/>
                <a:gd name="T6" fmla="*/ 87 w 179"/>
                <a:gd name="T7" fmla="*/ 9 h 106"/>
                <a:gd name="T8" fmla="*/ 81 w 179"/>
                <a:gd name="T9" fmla="*/ 12 h 106"/>
                <a:gd name="T10" fmla="*/ 72 w 179"/>
                <a:gd name="T11" fmla="*/ 6 h 106"/>
                <a:gd name="T12" fmla="*/ 60 w 179"/>
                <a:gd name="T13" fmla="*/ 6 h 106"/>
                <a:gd name="T14" fmla="*/ 48 w 179"/>
                <a:gd name="T15" fmla="*/ 3 h 106"/>
                <a:gd name="T16" fmla="*/ 41 w 179"/>
                <a:gd name="T17" fmla="*/ 9 h 106"/>
                <a:gd name="T18" fmla="*/ 30 w 179"/>
                <a:gd name="T19" fmla="*/ 14 h 106"/>
                <a:gd name="T20" fmla="*/ 23 w 179"/>
                <a:gd name="T21" fmla="*/ 29 h 106"/>
                <a:gd name="T22" fmla="*/ 14 w 179"/>
                <a:gd name="T23" fmla="*/ 45 h 106"/>
                <a:gd name="T24" fmla="*/ 0 w 179"/>
                <a:gd name="T25" fmla="*/ 49 h 106"/>
                <a:gd name="T26" fmla="*/ 10 w 179"/>
                <a:gd name="T27" fmla="*/ 58 h 106"/>
                <a:gd name="T28" fmla="*/ 13 w 179"/>
                <a:gd name="T29" fmla="*/ 66 h 106"/>
                <a:gd name="T30" fmla="*/ 25 w 179"/>
                <a:gd name="T31" fmla="*/ 71 h 106"/>
                <a:gd name="T32" fmla="*/ 28 w 179"/>
                <a:gd name="T33" fmla="*/ 81 h 106"/>
                <a:gd name="T34" fmla="*/ 39 w 179"/>
                <a:gd name="T35" fmla="*/ 87 h 106"/>
                <a:gd name="T36" fmla="*/ 44 w 179"/>
                <a:gd name="T37" fmla="*/ 83 h 106"/>
                <a:gd name="T38" fmla="*/ 50 w 179"/>
                <a:gd name="T39" fmla="*/ 85 h 106"/>
                <a:gd name="T40" fmla="*/ 45 w 179"/>
                <a:gd name="T41" fmla="*/ 89 h 106"/>
                <a:gd name="T42" fmla="*/ 49 w 179"/>
                <a:gd name="T43" fmla="*/ 93 h 106"/>
                <a:gd name="T44" fmla="*/ 56 w 179"/>
                <a:gd name="T45" fmla="*/ 102 h 106"/>
                <a:gd name="T46" fmla="*/ 63 w 179"/>
                <a:gd name="T47" fmla="*/ 100 h 106"/>
                <a:gd name="T48" fmla="*/ 78 w 179"/>
                <a:gd name="T49" fmla="*/ 104 h 106"/>
                <a:gd name="T50" fmla="*/ 106 w 179"/>
                <a:gd name="T51" fmla="*/ 106 h 106"/>
                <a:gd name="T52" fmla="*/ 114 w 179"/>
                <a:gd name="T53" fmla="*/ 99 h 106"/>
                <a:gd name="T54" fmla="*/ 136 w 179"/>
                <a:gd name="T55" fmla="*/ 95 h 106"/>
                <a:gd name="T56" fmla="*/ 151 w 179"/>
                <a:gd name="T57" fmla="*/ 102 h 106"/>
                <a:gd name="T58" fmla="*/ 162 w 179"/>
                <a:gd name="T59" fmla="*/ 105 h 106"/>
                <a:gd name="T60" fmla="*/ 164 w 179"/>
                <a:gd name="T61" fmla="*/ 78 h 106"/>
                <a:gd name="T62" fmla="*/ 169 w 179"/>
                <a:gd name="T63" fmla="*/ 80 h 106"/>
                <a:gd name="T64" fmla="*/ 179 w 179"/>
                <a:gd name="T65" fmla="*/ 74 h 106"/>
                <a:gd name="T66" fmla="*/ 177 w 179"/>
                <a:gd name="T67" fmla="*/ 69 h 106"/>
                <a:gd name="T68" fmla="*/ 168 w 179"/>
                <a:gd name="T69" fmla="*/ 65 h 106"/>
                <a:gd name="T70" fmla="*/ 160 w 179"/>
                <a:gd name="T71" fmla="*/ 69 h 106"/>
                <a:gd name="T72" fmla="*/ 151 w 179"/>
                <a:gd name="T73" fmla="*/ 64 h 106"/>
                <a:gd name="T74" fmla="*/ 146 w 179"/>
                <a:gd name="T75" fmla="*/ 54 h 106"/>
                <a:gd name="T76" fmla="*/ 147 w 179"/>
                <a:gd name="T77" fmla="*/ 43 h 106"/>
                <a:gd name="T78" fmla="*/ 144 w 179"/>
                <a:gd name="T79" fmla="*/ 33 h 106"/>
                <a:gd name="T80" fmla="*/ 132 w 179"/>
                <a:gd name="T81" fmla="*/ 20 h 106"/>
                <a:gd name="T82" fmla="*/ 125 w 179"/>
                <a:gd name="T83" fmla="*/ 10 h 106"/>
                <a:gd name="T84" fmla="*/ 118 w 179"/>
                <a:gd name="T85" fmla="*/ 3 h 106"/>
                <a:gd name="T86" fmla="*/ 112 w 179"/>
                <a:gd name="T87" fmla="*/ 0 h 106"/>
                <a:gd name="T88" fmla="*/ 112 w 179"/>
                <a:gd name="T89" fmla="*/ 0 h 1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79" h="106">
                  <a:moveTo>
                    <a:pt x="112" y="0"/>
                  </a:moveTo>
                  <a:lnTo>
                    <a:pt x="104" y="0"/>
                  </a:lnTo>
                  <a:lnTo>
                    <a:pt x="100" y="6"/>
                  </a:lnTo>
                  <a:lnTo>
                    <a:pt x="87" y="9"/>
                  </a:lnTo>
                  <a:lnTo>
                    <a:pt x="81" y="12"/>
                  </a:lnTo>
                  <a:lnTo>
                    <a:pt x="72" y="6"/>
                  </a:lnTo>
                  <a:lnTo>
                    <a:pt x="60" y="6"/>
                  </a:lnTo>
                  <a:lnTo>
                    <a:pt x="48" y="3"/>
                  </a:lnTo>
                  <a:lnTo>
                    <a:pt x="41" y="9"/>
                  </a:lnTo>
                  <a:lnTo>
                    <a:pt x="30" y="14"/>
                  </a:lnTo>
                  <a:lnTo>
                    <a:pt x="23" y="29"/>
                  </a:lnTo>
                  <a:lnTo>
                    <a:pt x="14" y="45"/>
                  </a:lnTo>
                  <a:lnTo>
                    <a:pt x="0" y="49"/>
                  </a:lnTo>
                  <a:lnTo>
                    <a:pt x="10" y="58"/>
                  </a:lnTo>
                  <a:lnTo>
                    <a:pt x="13" y="66"/>
                  </a:lnTo>
                  <a:lnTo>
                    <a:pt x="25" y="71"/>
                  </a:lnTo>
                  <a:lnTo>
                    <a:pt x="28" y="81"/>
                  </a:lnTo>
                  <a:lnTo>
                    <a:pt x="39" y="87"/>
                  </a:lnTo>
                  <a:lnTo>
                    <a:pt x="44" y="83"/>
                  </a:lnTo>
                  <a:lnTo>
                    <a:pt x="50" y="85"/>
                  </a:lnTo>
                  <a:lnTo>
                    <a:pt x="45" y="89"/>
                  </a:lnTo>
                  <a:lnTo>
                    <a:pt x="49" y="93"/>
                  </a:lnTo>
                  <a:lnTo>
                    <a:pt x="56" y="102"/>
                  </a:lnTo>
                  <a:lnTo>
                    <a:pt x="63" y="100"/>
                  </a:lnTo>
                  <a:lnTo>
                    <a:pt x="78" y="104"/>
                  </a:lnTo>
                  <a:lnTo>
                    <a:pt x="106" y="106"/>
                  </a:lnTo>
                  <a:lnTo>
                    <a:pt x="114" y="99"/>
                  </a:lnTo>
                  <a:lnTo>
                    <a:pt x="136" y="95"/>
                  </a:lnTo>
                  <a:lnTo>
                    <a:pt x="151" y="102"/>
                  </a:lnTo>
                  <a:lnTo>
                    <a:pt x="162" y="105"/>
                  </a:lnTo>
                  <a:lnTo>
                    <a:pt x="164" y="78"/>
                  </a:lnTo>
                  <a:lnTo>
                    <a:pt x="169" y="80"/>
                  </a:lnTo>
                  <a:lnTo>
                    <a:pt x="179" y="74"/>
                  </a:lnTo>
                  <a:lnTo>
                    <a:pt x="177" y="69"/>
                  </a:lnTo>
                  <a:lnTo>
                    <a:pt x="168" y="65"/>
                  </a:lnTo>
                  <a:lnTo>
                    <a:pt x="160" y="69"/>
                  </a:lnTo>
                  <a:lnTo>
                    <a:pt x="151" y="64"/>
                  </a:lnTo>
                  <a:lnTo>
                    <a:pt x="146" y="54"/>
                  </a:lnTo>
                  <a:lnTo>
                    <a:pt x="147" y="43"/>
                  </a:lnTo>
                  <a:lnTo>
                    <a:pt x="144" y="33"/>
                  </a:lnTo>
                  <a:lnTo>
                    <a:pt x="132" y="20"/>
                  </a:lnTo>
                  <a:lnTo>
                    <a:pt x="125" y="10"/>
                  </a:lnTo>
                  <a:lnTo>
                    <a:pt x="118" y="3"/>
                  </a:lnTo>
                  <a:lnTo>
                    <a:pt x="112" y="0"/>
                  </a:lnTo>
                  <a:lnTo>
                    <a:pt x="11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29" name="Russia">
              <a:extLst>
                <a:ext uri="{FF2B5EF4-FFF2-40B4-BE49-F238E27FC236}">
                  <a16:creationId xmlns:a16="http://schemas.microsoft.com/office/drawing/2014/main" id="{E262E96C-B762-46D7-AA00-68F059C74918}"/>
                </a:ext>
              </a:extLst>
            </p:cNvPr>
            <p:cNvSpPr>
              <a:spLocks noEditPoints="1"/>
            </p:cNvSpPr>
            <p:nvPr/>
          </p:nvSpPr>
          <p:spPr bwMode="auto">
            <a:xfrm>
              <a:off x="6546056" y="1174525"/>
              <a:ext cx="4113212" cy="1333499"/>
            </a:xfrm>
            <a:custGeom>
              <a:avLst/>
              <a:gdLst>
                <a:gd name="T0" fmla="*/ 955 w 2591"/>
                <a:gd name="T1" fmla="*/ 40 h 840"/>
                <a:gd name="T2" fmla="*/ 261 w 2591"/>
                <a:gd name="T3" fmla="*/ 10 h 840"/>
                <a:gd name="T4" fmla="*/ 999 w 2591"/>
                <a:gd name="T5" fmla="*/ 29 h 840"/>
                <a:gd name="T6" fmla="*/ 1046 w 2591"/>
                <a:gd name="T7" fmla="*/ 80 h 840"/>
                <a:gd name="T8" fmla="*/ 899 w 2591"/>
                <a:gd name="T9" fmla="*/ 127 h 840"/>
                <a:gd name="T10" fmla="*/ 771 w 2591"/>
                <a:gd name="T11" fmla="*/ 176 h 840"/>
                <a:gd name="T12" fmla="*/ 798 w 2591"/>
                <a:gd name="T13" fmla="*/ 236 h 840"/>
                <a:gd name="T14" fmla="*/ 746 w 2591"/>
                <a:gd name="T15" fmla="*/ 195 h 840"/>
                <a:gd name="T16" fmla="*/ 668 w 2591"/>
                <a:gd name="T17" fmla="*/ 204 h 840"/>
                <a:gd name="T18" fmla="*/ 586 w 2591"/>
                <a:gd name="T19" fmla="*/ 224 h 840"/>
                <a:gd name="T20" fmla="*/ 400 w 2591"/>
                <a:gd name="T21" fmla="*/ 253 h 840"/>
                <a:gd name="T22" fmla="*/ 350 w 2591"/>
                <a:gd name="T23" fmla="*/ 268 h 840"/>
                <a:gd name="T24" fmla="*/ 250 w 2591"/>
                <a:gd name="T25" fmla="*/ 328 h 840"/>
                <a:gd name="T26" fmla="*/ 291 w 2591"/>
                <a:gd name="T27" fmla="*/ 254 h 840"/>
                <a:gd name="T28" fmla="*/ 117 w 2591"/>
                <a:gd name="T29" fmla="*/ 249 h 840"/>
                <a:gd name="T30" fmla="*/ 121 w 2591"/>
                <a:gd name="T31" fmla="*/ 400 h 840"/>
                <a:gd name="T32" fmla="*/ 142 w 2591"/>
                <a:gd name="T33" fmla="*/ 496 h 840"/>
                <a:gd name="T34" fmla="*/ 228 w 2591"/>
                <a:gd name="T35" fmla="*/ 553 h 840"/>
                <a:gd name="T36" fmla="*/ 240 w 2591"/>
                <a:gd name="T37" fmla="*/ 584 h 840"/>
                <a:gd name="T38" fmla="*/ 346 w 2591"/>
                <a:gd name="T39" fmla="*/ 637 h 840"/>
                <a:gd name="T40" fmla="*/ 379 w 2591"/>
                <a:gd name="T41" fmla="*/ 699 h 840"/>
                <a:gd name="T42" fmla="*/ 430 w 2591"/>
                <a:gd name="T43" fmla="*/ 789 h 840"/>
                <a:gd name="T44" fmla="*/ 573 w 2591"/>
                <a:gd name="T45" fmla="*/ 840 h 840"/>
                <a:gd name="T46" fmla="*/ 558 w 2591"/>
                <a:gd name="T47" fmla="*/ 715 h 840"/>
                <a:gd name="T48" fmla="*/ 567 w 2591"/>
                <a:gd name="T49" fmla="*/ 597 h 840"/>
                <a:gd name="T50" fmla="*/ 730 w 2591"/>
                <a:gd name="T51" fmla="*/ 591 h 840"/>
                <a:gd name="T52" fmla="*/ 893 w 2591"/>
                <a:gd name="T53" fmla="*/ 518 h 840"/>
                <a:gd name="T54" fmla="*/ 1106 w 2591"/>
                <a:gd name="T55" fmla="*/ 604 h 840"/>
                <a:gd name="T56" fmla="*/ 1277 w 2591"/>
                <a:gd name="T57" fmla="*/ 648 h 840"/>
                <a:gd name="T58" fmla="*/ 1427 w 2591"/>
                <a:gd name="T59" fmla="*/ 589 h 840"/>
                <a:gd name="T60" fmla="*/ 1639 w 2591"/>
                <a:gd name="T61" fmla="*/ 652 h 840"/>
                <a:gd name="T62" fmla="*/ 1824 w 2591"/>
                <a:gd name="T63" fmla="*/ 633 h 840"/>
                <a:gd name="T64" fmla="*/ 1901 w 2591"/>
                <a:gd name="T65" fmla="*/ 572 h 840"/>
                <a:gd name="T66" fmla="*/ 2139 w 2591"/>
                <a:gd name="T67" fmla="*/ 671 h 840"/>
                <a:gd name="T68" fmla="*/ 2148 w 2591"/>
                <a:gd name="T69" fmla="*/ 811 h 840"/>
                <a:gd name="T70" fmla="*/ 2214 w 2591"/>
                <a:gd name="T71" fmla="*/ 789 h 840"/>
                <a:gd name="T72" fmla="*/ 2122 w 2591"/>
                <a:gd name="T73" fmla="*/ 540 h 840"/>
                <a:gd name="T74" fmla="*/ 2172 w 2591"/>
                <a:gd name="T75" fmla="*/ 419 h 840"/>
                <a:gd name="T76" fmla="*/ 2325 w 2591"/>
                <a:gd name="T77" fmla="*/ 358 h 840"/>
                <a:gd name="T78" fmla="*/ 2428 w 2591"/>
                <a:gd name="T79" fmla="*/ 564 h 840"/>
                <a:gd name="T80" fmla="*/ 2483 w 2591"/>
                <a:gd name="T81" fmla="*/ 496 h 840"/>
                <a:gd name="T82" fmla="*/ 2511 w 2591"/>
                <a:gd name="T83" fmla="*/ 414 h 840"/>
                <a:gd name="T84" fmla="*/ 2524 w 2591"/>
                <a:gd name="T85" fmla="*/ 324 h 840"/>
                <a:gd name="T86" fmla="*/ 2228 w 2591"/>
                <a:gd name="T87" fmla="*/ 210 h 840"/>
                <a:gd name="T88" fmla="*/ 2027 w 2591"/>
                <a:gd name="T89" fmla="*/ 185 h 840"/>
                <a:gd name="T90" fmla="*/ 1657 w 2591"/>
                <a:gd name="T91" fmla="*/ 170 h 840"/>
                <a:gd name="T92" fmla="*/ 1426 w 2591"/>
                <a:gd name="T93" fmla="*/ 130 h 840"/>
                <a:gd name="T94" fmla="*/ 1217 w 2591"/>
                <a:gd name="T95" fmla="*/ 122 h 840"/>
                <a:gd name="T96" fmla="*/ 1119 w 2591"/>
                <a:gd name="T97" fmla="*/ 71 h 840"/>
                <a:gd name="T98" fmla="*/ 588 w 2591"/>
                <a:gd name="T99" fmla="*/ 71 h 840"/>
                <a:gd name="T100" fmla="*/ 424 w 2591"/>
                <a:gd name="T101" fmla="*/ 159 h 840"/>
                <a:gd name="T102" fmla="*/ 1581 w 2591"/>
                <a:gd name="T103" fmla="*/ 85 h 840"/>
                <a:gd name="T104" fmla="*/ 1712 w 2591"/>
                <a:gd name="T105" fmla="*/ 103 h 840"/>
                <a:gd name="T106" fmla="*/ 1679 w 2591"/>
                <a:gd name="T107" fmla="*/ 138 h 840"/>
                <a:gd name="T108" fmla="*/ 52 w 2591"/>
                <a:gd name="T109" fmla="*/ 525 h 840"/>
                <a:gd name="T110" fmla="*/ 2185 w 2591"/>
                <a:gd name="T111" fmla="*/ 551 h 840"/>
                <a:gd name="T112" fmla="*/ 2293 w 2591"/>
                <a:gd name="T113" fmla="*/ 709 h 8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591" h="840">
                  <a:moveTo>
                    <a:pt x="981" y="37"/>
                  </a:moveTo>
                  <a:lnTo>
                    <a:pt x="964" y="22"/>
                  </a:lnTo>
                  <a:lnTo>
                    <a:pt x="914" y="7"/>
                  </a:lnTo>
                  <a:lnTo>
                    <a:pt x="878" y="0"/>
                  </a:lnTo>
                  <a:lnTo>
                    <a:pt x="855" y="2"/>
                  </a:lnTo>
                  <a:lnTo>
                    <a:pt x="835" y="14"/>
                  </a:lnTo>
                  <a:lnTo>
                    <a:pt x="857" y="16"/>
                  </a:lnTo>
                  <a:lnTo>
                    <a:pt x="882" y="29"/>
                  </a:lnTo>
                  <a:lnTo>
                    <a:pt x="912" y="35"/>
                  </a:lnTo>
                  <a:lnTo>
                    <a:pt x="955" y="40"/>
                  </a:lnTo>
                  <a:lnTo>
                    <a:pt x="981" y="37"/>
                  </a:lnTo>
                  <a:close/>
                  <a:moveTo>
                    <a:pt x="314" y="10"/>
                  </a:moveTo>
                  <a:lnTo>
                    <a:pt x="317" y="8"/>
                  </a:lnTo>
                  <a:lnTo>
                    <a:pt x="296" y="4"/>
                  </a:lnTo>
                  <a:lnTo>
                    <a:pt x="286" y="7"/>
                  </a:lnTo>
                  <a:lnTo>
                    <a:pt x="281" y="11"/>
                  </a:lnTo>
                  <a:lnTo>
                    <a:pt x="275" y="6"/>
                  </a:lnTo>
                  <a:lnTo>
                    <a:pt x="256" y="7"/>
                  </a:lnTo>
                  <a:lnTo>
                    <a:pt x="232" y="10"/>
                  </a:lnTo>
                  <a:lnTo>
                    <a:pt x="261" y="10"/>
                  </a:lnTo>
                  <a:lnTo>
                    <a:pt x="258" y="14"/>
                  </a:lnTo>
                  <a:lnTo>
                    <a:pt x="273" y="18"/>
                  </a:lnTo>
                  <a:lnTo>
                    <a:pt x="287" y="16"/>
                  </a:lnTo>
                  <a:lnTo>
                    <a:pt x="287" y="14"/>
                  </a:lnTo>
                  <a:lnTo>
                    <a:pt x="299" y="13"/>
                  </a:lnTo>
                  <a:lnTo>
                    <a:pt x="314" y="10"/>
                  </a:lnTo>
                  <a:close/>
                  <a:moveTo>
                    <a:pt x="1062" y="47"/>
                  </a:moveTo>
                  <a:lnTo>
                    <a:pt x="1057" y="41"/>
                  </a:lnTo>
                  <a:lnTo>
                    <a:pt x="1010" y="30"/>
                  </a:lnTo>
                  <a:lnTo>
                    <a:pt x="999" y="29"/>
                  </a:lnTo>
                  <a:lnTo>
                    <a:pt x="991" y="31"/>
                  </a:lnTo>
                  <a:lnTo>
                    <a:pt x="995" y="54"/>
                  </a:lnTo>
                  <a:lnTo>
                    <a:pt x="1062" y="47"/>
                  </a:lnTo>
                  <a:close/>
                  <a:moveTo>
                    <a:pt x="1119" y="71"/>
                  </a:moveTo>
                  <a:lnTo>
                    <a:pt x="1085" y="68"/>
                  </a:lnTo>
                  <a:lnTo>
                    <a:pt x="1098" y="63"/>
                  </a:lnTo>
                  <a:lnTo>
                    <a:pt x="1067" y="57"/>
                  </a:lnTo>
                  <a:lnTo>
                    <a:pt x="1045" y="65"/>
                  </a:lnTo>
                  <a:lnTo>
                    <a:pt x="1041" y="72"/>
                  </a:lnTo>
                  <a:lnTo>
                    <a:pt x="1046" y="80"/>
                  </a:lnTo>
                  <a:lnTo>
                    <a:pt x="1020" y="80"/>
                  </a:lnTo>
                  <a:lnTo>
                    <a:pt x="1001" y="89"/>
                  </a:lnTo>
                  <a:lnTo>
                    <a:pt x="985" y="85"/>
                  </a:lnTo>
                  <a:lnTo>
                    <a:pt x="950" y="87"/>
                  </a:lnTo>
                  <a:lnTo>
                    <a:pt x="951" y="92"/>
                  </a:lnTo>
                  <a:lnTo>
                    <a:pt x="917" y="95"/>
                  </a:lnTo>
                  <a:lnTo>
                    <a:pt x="898" y="104"/>
                  </a:lnTo>
                  <a:lnTo>
                    <a:pt x="883" y="104"/>
                  </a:lnTo>
                  <a:lnTo>
                    <a:pt x="878" y="117"/>
                  </a:lnTo>
                  <a:lnTo>
                    <a:pt x="899" y="127"/>
                  </a:lnTo>
                  <a:lnTo>
                    <a:pt x="870" y="129"/>
                  </a:lnTo>
                  <a:lnTo>
                    <a:pt x="835" y="128"/>
                  </a:lnTo>
                  <a:lnTo>
                    <a:pt x="813" y="132"/>
                  </a:lnTo>
                  <a:lnTo>
                    <a:pt x="831" y="153"/>
                  </a:lnTo>
                  <a:lnTo>
                    <a:pt x="857" y="169"/>
                  </a:lnTo>
                  <a:lnTo>
                    <a:pt x="821" y="157"/>
                  </a:lnTo>
                  <a:lnTo>
                    <a:pt x="792" y="158"/>
                  </a:lnTo>
                  <a:lnTo>
                    <a:pt x="772" y="166"/>
                  </a:lnTo>
                  <a:lnTo>
                    <a:pt x="789" y="180"/>
                  </a:lnTo>
                  <a:lnTo>
                    <a:pt x="771" y="176"/>
                  </a:lnTo>
                  <a:lnTo>
                    <a:pt x="763" y="157"/>
                  </a:lnTo>
                  <a:lnTo>
                    <a:pt x="747" y="147"/>
                  </a:lnTo>
                  <a:lnTo>
                    <a:pt x="740" y="147"/>
                  </a:lnTo>
                  <a:lnTo>
                    <a:pt x="754" y="161"/>
                  </a:lnTo>
                  <a:lnTo>
                    <a:pt x="736" y="174"/>
                  </a:lnTo>
                  <a:lnTo>
                    <a:pt x="767" y="190"/>
                  </a:lnTo>
                  <a:lnTo>
                    <a:pt x="768" y="211"/>
                  </a:lnTo>
                  <a:lnTo>
                    <a:pt x="779" y="221"/>
                  </a:lnTo>
                  <a:lnTo>
                    <a:pt x="797" y="223"/>
                  </a:lnTo>
                  <a:lnTo>
                    <a:pt x="798" y="236"/>
                  </a:lnTo>
                  <a:lnTo>
                    <a:pt x="815" y="248"/>
                  </a:lnTo>
                  <a:lnTo>
                    <a:pt x="807" y="257"/>
                  </a:lnTo>
                  <a:lnTo>
                    <a:pt x="809" y="268"/>
                  </a:lnTo>
                  <a:lnTo>
                    <a:pt x="795" y="272"/>
                  </a:lnTo>
                  <a:lnTo>
                    <a:pt x="793" y="280"/>
                  </a:lnTo>
                  <a:lnTo>
                    <a:pt x="774" y="277"/>
                  </a:lnTo>
                  <a:lnTo>
                    <a:pt x="787" y="248"/>
                  </a:lnTo>
                  <a:lnTo>
                    <a:pt x="785" y="235"/>
                  </a:lnTo>
                  <a:lnTo>
                    <a:pt x="760" y="222"/>
                  </a:lnTo>
                  <a:lnTo>
                    <a:pt x="746" y="195"/>
                  </a:lnTo>
                  <a:lnTo>
                    <a:pt x="732" y="181"/>
                  </a:lnTo>
                  <a:lnTo>
                    <a:pt x="719" y="175"/>
                  </a:lnTo>
                  <a:lnTo>
                    <a:pt x="722" y="159"/>
                  </a:lnTo>
                  <a:lnTo>
                    <a:pt x="711" y="149"/>
                  </a:lnTo>
                  <a:lnTo>
                    <a:pt x="668" y="143"/>
                  </a:lnTo>
                  <a:lnTo>
                    <a:pt x="661" y="147"/>
                  </a:lnTo>
                  <a:lnTo>
                    <a:pt x="663" y="165"/>
                  </a:lnTo>
                  <a:lnTo>
                    <a:pt x="647" y="183"/>
                  </a:lnTo>
                  <a:lnTo>
                    <a:pt x="652" y="188"/>
                  </a:lnTo>
                  <a:lnTo>
                    <a:pt x="668" y="204"/>
                  </a:lnTo>
                  <a:lnTo>
                    <a:pt x="669" y="213"/>
                  </a:lnTo>
                  <a:lnTo>
                    <a:pt x="689" y="215"/>
                  </a:lnTo>
                  <a:lnTo>
                    <a:pt x="692" y="220"/>
                  </a:lnTo>
                  <a:lnTo>
                    <a:pt x="713" y="230"/>
                  </a:lnTo>
                  <a:lnTo>
                    <a:pt x="709" y="240"/>
                  </a:lnTo>
                  <a:lnTo>
                    <a:pt x="640" y="218"/>
                  </a:lnTo>
                  <a:lnTo>
                    <a:pt x="616" y="212"/>
                  </a:lnTo>
                  <a:lnTo>
                    <a:pt x="568" y="206"/>
                  </a:lnTo>
                  <a:lnTo>
                    <a:pt x="564" y="212"/>
                  </a:lnTo>
                  <a:lnTo>
                    <a:pt x="586" y="224"/>
                  </a:lnTo>
                  <a:lnTo>
                    <a:pt x="576" y="237"/>
                  </a:lnTo>
                  <a:lnTo>
                    <a:pt x="552" y="226"/>
                  </a:lnTo>
                  <a:lnTo>
                    <a:pt x="533" y="233"/>
                  </a:lnTo>
                  <a:lnTo>
                    <a:pt x="505" y="234"/>
                  </a:lnTo>
                  <a:lnTo>
                    <a:pt x="497" y="240"/>
                  </a:lnTo>
                  <a:lnTo>
                    <a:pt x="477" y="239"/>
                  </a:lnTo>
                  <a:lnTo>
                    <a:pt x="486" y="226"/>
                  </a:lnTo>
                  <a:lnTo>
                    <a:pt x="474" y="226"/>
                  </a:lnTo>
                  <a:lnTo>
                    <a:pt x="428" y="242"/>
                  </a:lnTo>
                  <a:lnTo>
                    <a:pt x="400" y="253"/>
                  </a:lnTo>
                  <a:lnTo>
                    <a:pt x="401" y="266"/>
                  </a:lnTo>
                  <a:lnTo>
                    <a:pt x="379" y="270"/>
                  </a:lnTo>
                  <a:lnTo>
                    <a:pt x="364" y="263"/>
                  </a:lnTo>
                  <a:lnTo>
                    <a:pt x="360" y="252"/>
                  </a:lnTo>
                  <a:lnTo>
                    <a:pt x="379" y="249"/>
                  </a:lnTo>
                  <a:lnTo>
                    <a:pt x="365" y="238"/>
                  </a:lnTo>
                  <a:lnTo>
                    <a:pt x="319" y="231"/>
                  </a:lnTo>
                  <a:lnTo>
                    <a:pt x="336" y="244"/>
                  </a:lnTo>
                  <a:lnTo>
                    <a:pt x="332" y="255"/>
                  </a:lnTo>
                  <a:lnTo>
                    <a:pt x="350" y="268"/>
                  </a:lnTo>
                  <a:lnTo>
                    <a:pt x="346" y="282"/>
                  </a:lnTo>
                  <a:lnTo>
                    <a:pt x="328" y="275"/>
                  </a:lnTo>
                  <a:lnTo>
                    <a:pt x="314" y="274"/>
                  </a:lnTo>
                  <a:lnTo>
                    <a:pt x="284" y="295"/>
                  </a:lnTo>
                  <a:lnTo>
                    <a:pt x="300" y="310"/>
                  </a:lnTo>
                  <a:lnTo>
                    <a:pt x="287" y="315"/>
                  </a:lnTo>
                  <a:lnTo>
                    <a:pt x="245" y="302"/>
                  </a:lnTo>
                  <a:lnTo>
                    <a:pt x="237" y="310"/>
                  </a:lnTo>
                  <a:lnTo>
                    <a:pt x="250" y="319"/>
                  </a:lnTo>
                  <a:lnTo>
                    <a:pt x="250" y="328"/>
                  </a:lnTo>
                  <a:lnTo>
                    <a:pt x="236" y="324"/>
                  </a:lnTo>
                  <a:lnTo>
                    <a:pt x="214" y="317"/>
                  </a:lnTo>
                  <a:lnTo>
                    <a:pt x="207" y="296"/>
                  </a:lnTo>
                  <a:lnTo>
                    <a:pt x="203" y="285"/>
                  </a:lnTo>
                  <a:lnTo>
                    <a:pt x="173" y="270"/>
                  </a:lnTo>
                  <a:lnTo>
                    <a:pt x="184" y="268"/>
                  </a:lnTo>
                  <a:lnTo>
                    <a:pt x="259" y="283"/>
                  </a:lnTo>
                  <a:lnTo>
                    <a:pt x="283" y="278"/>
                  </a:lnTo>
                  <a:lnTo>
                    <a:pt x="297" y="268"/>
                  </a:lnTo>
                  <a:lnTo>
                    <a:pt x="291" y="254"/>
                  </a:lnTo>
                  <a:lnTo>
                    <a:pt x="276" y="244"/>
                  </a:lnTo>
                  <a:lnTo>
                    <a:pt x="210" y="222"/>
                  </a:lnTo>
                  <a:lnTo>
                    <a:pt x="167" y="216"/>
                  </a:lnTo>
                  <a:lnTo>
                    <a:pt x="138" y="205"/>
                  </a:lnTo>
                  <a:lnTo>
                    <a:pt x="125" y="212"/>
                  </a:lnTo>
                  <a:lnTo>
                    <a:pt x="125" y="212"/>
                  </a:lnTo>
                  <a:lnTo>
                    <a:pt x="101" y="220"/>
                  </a:lnTo>
                  <a:lnTo>
                    <a:pt x="89" y="222"/>
                  </a:lnTo>
                  <a:lnTo>
                    <a:pt x="90" y="235"/>
                  </a:lnTo>
                  <a:lnTo>
                    <a:pt x="117" y="249"/>
                  </a:lnTo>
                  <a:lnTo>
                    <a:pt x="107" y="265"/>
                  </a:lnTo>
                  <a:lnTo>
                    <a:pt x="131" y="288"/>
                  </a:lnTo>
                  <a:lnTo>
                    <a:pt x="125" y="306"/>
                  </a:lnTo>
                  <a:lnTo>
                    <a:pt x="143" y="321"/>
                  </a:lnTo>
                  <a:lnTo>
                    <a:pt x="140" y="335"/>
                  </a:lnTo>
                  <a:lnTo>
                    <a:pt x="167" y="350"/>
                  </a:lnTo>
                  <a:lnTo>
                    <a:pt x="163" y="360"/>
                  </a:lnTo>
                  <a:lnTo>
                    <a:pt x="151" y="373"/>
                  </a:lnTo>
                  <a:lnTo>
                    <a:pt x="121" y="400"/>
                  </a:lnTo>
                  <a:lnTo>
                    <a:pt x="121" y="400"/>
                  </a:lnTo>
                  <a:lnTo>
                    <a:pt x="142" y="410"/>
                  </a:lnTo>
                  <a:lnTo>
                    <a:pt x="125" y="423"/>
                  </a:lnTo>
                  <a:lnTo>
                    <a:pt x="125" y="423"/>
                  </a:lnTo>
                  <a:lnTo>
                    <a:pt x="128" y="426"/>
                  </a:lnTo>
                  <a:lnTo>
                    <a:pt x="118" y="439"/>
                  </a:lnTo>
                  <a:lnTo>
                    <a:pt x="128" y="460"/>
                  </a:lnTo>
                  <a:lnTo>
                    <a:pt x="121" y="466"/>
                  </a:lnTo>
                  <a:lnTo>
                    <a:pt x="131" y="472"/>
                  </a:lnTo>
                  <a:lnTo>
                    <a:pt x="134" y="482"/>
                  </a:lnTo>
                  <a:lnTo>
                    <a:pt x="142" y="496"/>
                  </a:lnTo>
                  <a:lnTo>
                    <a:pt x="161" y="502"/>
                  </a:lnTo>
                  <a:lnTo>
                    <a:pt x="165" y="507"/>
                  </a:lnTo>
                  <a:lnTo>
                    <a:pt x="173" y="504"/>
                  </a:lnTo>
                  <a:lnTo>
                    <a:pt x="192" y="509"/>
                  </a:lnTo>
                  <a:lnTo>
                    <a:pt x="196" y="521"/>
                  </a:lnTo>
                  <a:lnTo>
                    <a:pt x="193" y="526"/>
                  </a:lnTo>
                  <a:lnTo>
                    <a:pt x="207" y="541"/>
                  </a:lnTo>
                  <a:lnTo>
                    <a:pt x="216" y="545"/>
                  </a:lnTo>
                  <a:lnTo>
                    <a:pt x="215" y="549"/>
                  </a:lnTo>
                  <a:lnTo>
                    <a:pt x="228" y="553"/>
                  </a:lnTo>
                  <a:lnTo>
                    <a:pt x="234" y="559"/>
                  </a:lnTo>
                  <a:lnTo>
                    <a:pt x="228" y="564"/>
                  </a:lnTo>
                  <a:lnTo>
                    <a:pt x="214" y="564"/>
                  </a:lnTo>
                  <a:lnTo>
                    <a:pt x="211" y="565"/>
                  </a:lnTo>
                  <a:lnTo>
                    <a:pt x="216" y="573"/>
                  </a:lnTo>
                  <a:lnTo>
                    <a:pt x="224" y="588"/>
                  </a:lnTo>
                  <a:lnTo>
                    <a:pt x="224" y="588"/>
                  </a:lnTo>
                  <a:lnTo>
                    <a:pt x="230" y="588"/>
                  </a:lnTo>
                  <a:lnTo>
                    <a:pt x="234" y="583"/>
                  </a:lnTo>
                  <a:lnTo>
                    <a:pt x="240" y="584"/>
                  </a:lnTo>
                  <a:lnTo>
                    <a:pt x="258" y="582"/>
                  </a:lnTo>
                  <a:lnTo>
                    <a:pt x="272" y="595"/>
                  </a:lnTo>
                  <a:lnTo>
                    <a:pt x="269" y="600"/>
                  </a:lnTo>
                  <a:lnTo>
                    <a:pt x="271" y="606"/>
                  </a:lnTo>
                  <a:lnTo>
                    <a:pt x="286" y="607"/>
                  </a:lnTo>
                  <a:lnTo>
                    <a:pt x="294" y="618"/>
                  </a:lnTo>
                  <a:lnTo>
                    <a:pt x="295" y="622"/>
                  </a:lnTo>
                  <a:lnTo>
                    <a:pt x="319" y="631"/>
                  </a:lnTo>
                  <a:lnTo>
                    <a:pt x="332" y="627"/>
                  </a:lnTo>
                  <a:lnTo>
                    <a:pt x="346" y="637"/>
                  </a:lnTo>
                  <a:lnTo>
                    <a:pt x="356" y="637"/>
                  </a:lnTo>
                  <a:lnTo>
                    <a:pt x="385" y="645"/>
                  </a:lnTo>
                  <a:lnTo>
                    <a:pt x="386" y="651"/>
                  </a:lnTo>
                  <a:lnTo>
                    <a:pt x="382" y="663"/>
                  </a:lnTo>
                  <a:lnTo>
                    <a:pt x="388" y="676"/>
                  </a:lnTo>
                  <a:lnTo>
                    <a:pt x="387" y="684"/>
                  </a:lnTo>
                  <a:lnTo>
                    <a:pt x="370" y="686"/>
                  </a:lnTo>
                  <a:lnTo>
                    <a:pt x="362" y="692"/>
                  </a:lnTo>
                  <a:lnTo>
                    <a:pt x="363" y="703"/>
                  </a:lnTo>
                  <a:lnTo>
                    <a:pt x="379" y="699"/>
                  </a:lnTo>
                  <a:lnTo>
                    <a:pt x="381" y="704"/>
                  </a:lnTo>
                  <a:lnTo>
                    <a:pt x="355" y="714"/>
                  </a:lnTo>
                  <a:lnTo>
                    <a:pt x="367" y="722"/>
                  </a:lnTo>
                  <a:lnTo>
                    <a:pt x="355" y="742"/>
                  </a:lnTo>
                  <a:lnTo>
                    <a:pt x="342" y="746"/>
                  </a:lnTo>
                  <a:lnTo>
                    <a:pt x="361" y="760"/>
                  </a:lnTo>
                  <a:lnTo>
                    <a:pt x="384" y="768"/>
                  </a:lnTo>
                  <a:lnTo>
                    <a:pt x="412" y="788"/>
                  </a:lnTo>
                  <a:lnTo>
                    <a:pt x="413" y="785"/>
                  </a:lnTo>
                  <a:lnTo>
                    <a:pt x="430" y="789"/>
                  </a:lnTo>
                  <a:lnTo>
                    <a:pt x="459" y="792"/>
                  </a:lnTo>
                  <a:lnTo>
                    <a:pt x="487" y="803"/>
                  </a:lnTo>
                  <a:lnTo>
                    <a:pt x="491" y="808"/>
                  </a:lnTo>
                  <a:lnTo>
                    <a:pt x="502" y="804"/>
                  </a:lnTo>
                  <a:lnTo>
                    <a:pt x="521" y="809"/>
                  </a:lnTo>
                  <a:lnTo>
                    <a:pt x="529" y="818"/>
                  </a:lnTo>
                  <a:lnTo>
                    <a:pt x="542" y="823"/>
                  </a:lnTo>
                  <a:lnTo>
                    <a:pt x="548" y="824"/>
                  </a:lnTo>
                  <a:lnTo>
                    <a:pt x="564" y="838"/>
                  </a:lnTo>
                  <a:lnTo>
                    <a:pt x="573" y="840"/>
                  </a:lnTo>
                  <a:lnTo>
                    <a:pt x="575" y="834"/>
                  </a:lnTo>
                  <a:lnTo>
                    <a:pt x="584" y="825"/>
                  </a:lnTo>
                  <a:lnTo>
                    <a:pt x="584" y="825"/>
                  </a:lnTo>
                  <a:lnTo>
                    <a:pt x="557" y="798"/>
                  </a:lnTo>
                  <a:lnTo>
                    <a:pt x="555" y="782"/>
                  </a:lnTo>
                  <a:lnTo>
                    <a:pt x="534" y="761"/>
                  </a:lnTo>
                  <a:lnTo>
                    <a:pt x="547" y="737"/>
                  </a:lnTo>
                  <a:lnTo>
                    <a:pt x="564" y="732"/>
                  </a:lnTo>
                  <a:lnTo>
                    <a:pt x="569" y="718"/>
                  </a:lnTo>
                  <a:lnTo>
                    <a:pt x="558" y="715"/>
                  </a:lnTo>
                  <a:lnTo>
                    <a:pt x="558" y="704"/>
                  </a:lnTo>
                  <a:lnTo>
                    <a:pt x="542" y="688"/>
                  </a:lnTo>
                  <a:lnTo>
                    <a:pt x="528" y="689"/>
                  </a:lnTo>
                  <a:lnTo>
                    <a:pt x="509" y="673"/>
                  </a:lnTo>
                  <a:lnTo>
                    <a:pt x="515" y="655"/>
                  </a:lnTo>
                  <a:lnTo>
                    <a:pt x="509" y="650"/>
                  </a:lnTo>
                  <a:lnTo>
                    <a:pt x="517" y="625"/>
                  </a:lnTo>
                  <a:lnTo>
                    <a:pt x="539" y="638"/>
                  </a:lnTo>
                  <a:lnTo>
                    <a:pt x="537" y="621"/>
                  </a:lnTo>
                  <a:lnTo>
                    <a:pt x="567" y="597"/>
                  </a:lnTo>
                  <a:lnTo>
                    <a:pt x="595" y="596"/>
                  </a:lnTo>
                  <a:lnTo>
                    <a:pt x="639" y="612"/>
                  </a:lnTo>
                  <a:lnTo>
                    <a:pt x="664" y="621"/>
                  </a:lnTo>
                  <a:lnTo>
                    <a:pt x="680" y="612"/>
                  </a:lnTo>
                  <a:lnTo>
                    <a:pt x="708" y="611"/>
                  </a:lnTo>
                  <a:lnTo>
                    <a:pt x="736" y="623"/>
                  </a:lnTo>
                  <a:lnTo>
                    <a:pt x="738" y="616"/>
                  </a:lnTo>
                  <a:lnTo>
                    <a:pt x="764" y="618"/>
                  </a:lnTo>
                  <a:lnTo>
                    <a:pt x="765" y="606"/>
                  </a:lnTo>
                  <a:lnTo>
                    <a:pt x="730" y="591"/>
                  </a:lnTo>
                  <a:lnTo>
                    <a:pt x="743" y="579"/>
                  </a:lnTo>
                  <a:lnTo>
                    <a:pt x="737" y="573"/>
                  </a:lnTo>
                  <a:lnTo>
                    <a:pt x="752" y="567"/>
                  </a:lnTo>
                  <a:lnTo>
                    <a:pt x="734" y="552"/>
                  </a:lnTo>
                  <a:lnTo>
                    <a:pt x="739" y="544"/>
                  </a:lnTo>
                  <a:lnTo>
                    <a:pt x="802" y="536"/>
                  </a:lnTo>
                  <a:lnTo>
                    <a:pt x="808" y="531"/>
                  </a:lnTo>
                  <a:lnTo>
                    <a:pt x="849" y="522"/>
                  </a:lnTo>
                  <a:lnTo>
                    <a:pt x="860" y="513"/>
                  </a:lnTo>
                  <a:lnTo>
                    <a:pt x="893" y="518"/>
                  </a:lnTo>
                  <a:lnTo>
                    <a:pt x="909" y="541"/>
                  </a:lnTo>
                  <a:lnTo>
                    <a:pt x="926" y="535"/>
                  </a:lnTo>
                  <a:lnTo>
                    <a:pt x="952" y="544"/>
                  </a:lnTo>
                  <a:lnTo>
                    <a:pt x="956" y="556"/>
                  </a:lnTo>
                  <a:lnTo>
                    <a:pt x="973" y="554"/>
                  </a:lnTo>
                  <a:lnTo>
                    <a:pt x="1006" y="534"/>
                  </a:lnTo>
                  <a:lnTo>
                    <a:pt x="1004" y="540"/>
                  </a:lnTo>
                  <a:lnTo>
                    <a:pt x="1034" y="558"/>
                  </a:lnTo>
                  <a:lnTo>
                    <a:pt x="1102" y="616"/>
                  </a:lnTo>
                  <a:lnTo>
                    <a:pt x="1106" y="604"/>
                  </a:lnTo>
                  <a:lnTo>
                    <a:pt x="1137" y="617"/>
                  </a:lnTo>
                  <a:lnTo>
                    <a:pt x="1160" y="611"/>
                  </a:lnTo>
                  <a:lnTo>
                    <a:pt x="1173" y="615"/>
                  </a:lnTo>
                  <a:lnTo>
                    <a:pt x="1187" y="629"/>
                  </a:lnTo>
                  <a:lnTo>
                    <a:pt x="1202" y="633"/>
                  </a:lnTo>
                  <a:lnTo>
                    <a:pt x="1215" y="643"/>
                  </a:lnTo>
                  <a:lnTo>
                    <a:pt x="1237" y="639"/>
                  </a:lnTo>
                  <a:lnTo>
                    <a:pt x="1253" y="653"/>
                  </a:lnTo>
                  <a:lnTo>
                    <a:pt x="1259" y="651"/>
                  </a:lnTo>
                  <a:lnTo>
                    <a:pt x="1277" y="648"/>
                  </a:lnTo>
                  <a:lnTo>
                    <a:pt x="1301" y="628"/>
                  </a:lnTo>
                  <a:lnTo>
                    <a:pt x="1324" y="617"/>
                  </a:lnTo>
                  <a:lnTo>
                    <a:pt x="1343" y="624"/>
                  </a:lnTo>
                  <a:lnTo>
                    <a:pt x="1363" y="624"/>
                  </a:lnTo>
                  <a:lnTo>
                    <a:pt x="1380" y="635"/>
                  </a:lnTo>
                  <a:lnTo>
                    <a:pt x="1398" y="636"/>
                  </a:lnTo>
                  <a:lnTo>
                    <a:pt x="1428" y="642"/>
                  </a:lnTo>
                  <a:lnTo>
                    <a:pt x="1438" y="626"/>
                  </a:lnTo>
                  <a:lnTo>
                    <a:pt x="1423" y="612"/>
                  </a:lnTo>
                  <a:lnTo>
                    <a:pt x="1427" y="589"/>
                  </a:lnTo>
                  <a:lnTo>
                    <a:pt x="1453" y="598"/>
                  </a:lnTo>
                  <a:lnTo>
                    <a:pt x="1471" y="601"/>
                  </a:lnTo>
                  <a:lnTo>
                    <a:pt x="1496" y="606"/>
                  </a:lnTo>
                  <a:lnTo>
                    <a:pt x="1510" y="623"/>
                  </a:lnTo>
                  <a:lnTo>
                    <a:pt x="1540" y="634"/>
                  </a:lnTo>
                  <a:lnTo>
                    <a:pt x="1555" y="629"/>
                  </a:lnTo>
                  <a:lnTo>
                    <a:pt x="1577" y="626"/>
                  </a:lnTo>
                  <a:lnTo>
                    <a:pt x="1596" y="629"/>
                  </a:lnTo>
                  <a:lnTo>
                    <a:pt x="1621" y="640"/>
                  </a:lnTo>
                  <a:lnTo>
                    <a:pt x="1639" y="652"/>
                  </a:lnTo>
                  <a:lnTo>
                    <a:pt x="1656" y="652"/>
                  </a:lnTo>
                  <a:lnTo>
                    <a:pt x="1681" y="656"/>
                  </a:lnTo>
                  <a:lnTo>
                    <a:pt x="1694" y="649"/>
                  </a:lnTo>
                  <a:lnTo>
                    <a:pt x="1716" y="646"/>
                  </a:lnTo>
                  <a:lnTo>
                    <a:pt x="1733" y="630"/>
                  </a:lnTo>
                  <a:lnTo>
                    <a:pt x="1746" y="633"/>
                  </a:lnTo>
                  <a:lnTo>
                    <a:pt x="1760" y="640"/>
                  </a:lnTo>
                  <a:lnTo>
                    <a:pt x="1780" y="638"/>
                  </a:lnTo>
                  <a:lnTo>
                    <a:pt x="1807" y="647"/>
                  </a:lnTo>
                  <a:lnTo>
                    <a:pt x="1824" y="633"/>
                  </a:lnTo>
                  <a:lnTo>
                    <a:pt x="1817" y="622"/>
                  </a:lnTo>
                  <a:lnTo>
                    <a:pt x="1817" y="598"/>
                  </a:lnTo>
                  <a:lnTo>
                    <a:pt x="1821" y="591"/>
                  </a:lnTo>
                  <a:lnTo>
                    <a:pt x="1812" y="578"/>
                  </a:lnTo>
                  <a:lnTo>
                    <a:pt x="1798" y="573"/>
                  </a:lnTo>
                  <a:lnTo>
                    <a:pt x="1805" y="562"/>
                  </a:lnTo>
                  <a:lnTo>
                    <a:pt x="1823" y="557"/>
                  </a:lnTo>
                  <a:lnTo>
                    <a:pt x="1847" y="556"/>
                  </a:lnTo>
                  <a:lnTo>
                    <a:pt x="1878" y="564"/>
                  </a:lnTo>
                  <a:lnTo>
                    <a:pt x="1901" y="572"/>
                  </a:lnTo>
                  <a:lnTo>
                    <a:pt x="1929" y="594"/>
                  </a:lnTo>
                  <a:lnTo>
                    <a:pt x="1944" y="605"/>
                  </a:lnTo>
                  <a:lnTo>
                    <a:pt x="1960" y="619"/>
                  </a:lnTo>
                  <a:lnTo>
                    <a:pt x="1983" y="641"/>
                  </a:lnTo>
                  <a:lnTo>
                    <a:pt x="2019" y="648"/>
                  </a:lnTo>
                  <a:lnTo>
                    <a:pt x="2053" y="665"/>
                  </a:lnTo>
                  <a:lnTo>
                    <a:pt x="2075" y="687"/>
                  </a:lnTo>
                  <a:lnTo>
                    <a:pt x="2103" y="687"/>
                  </a:lnTo>
                  <a:lnTo>
                    <a:pt x="2113" y="677"/>
                  </a:lnTo>
                  <a:lnTo>
                    <a:pt x="2139" y="671"/>
                  </a:lnTo>
                  <a:lnTo>
                    <a:pt x="2144" y="691"/>
                  </a:lnTo>
                  <a:lnTo>
                    <a:pt x="2142" y="700"/>
                  </a:lnTo>
                  <a:lnTo>
                    <a:pt x="2153" y="726"/>
                  </a:lnTo>
                  <a:lnTo>
                    <a:pt x="2155" y="748"/>
                  </a:lnTo>
                  <a:lnTo>
                    <a:pt x="2130" y="744"/>
                  </a:lnTo>
                  <a:lnTo>
                    <a:pt x="2118" y="752"/>
                  </a:lnTo>
                  <a:lnTo>
                    <a:pt x="2136" y="772"/>
                  </a:lnTo>
                  <a:lnTo>
                    <a:pt x="2150" y="799"/>
                  </a:lnTo>
                  <a:lnTo>
                    <a:pt x="2141" y="800"/>
                  </a:lnTo>
                  <a:lnTo>
                    <a:pt x="2148" y="811"/>
                  </a:lnTo>
                  <a:lnTo>
                    <a:pt x="2148" y="811"/>
                  </a:lnTo>
                  <a:lnTo>
                    <a:pt x="2153" y="816"/>
                  </a:lnTo>
                  <a:lnTo>
                    <a:pt x="2153" y="816"/>
                  </a:lnTo>
                  <a:lnTo>
                    <a:pt x="2153" y="816"/>
                  </a:lnTo>
                  <a:lnTo>
                    <a:pt x="2153" y="816"/>
                  </a:lnTo>
                  <a:lnTo>
                    <a:pt x="2152" y="808"/>
                  </a:lnTo>
                  <a:lnTo>
                    <a:pt x="2167" y="791"/>
                  </a:lnTo>
                  <a:lnTo>
                    <a:pt x="2186" y="803"/>
                  </a:lnTo>
                  <a:lnTo>
                    <a:pt x="2198" y="802"/>
                  </a:lnTo>
                  <a:lnTo>
                    <a:pt x="2214" y="789"/>
                  </a:lnTo>
                  <a:lnTo>
                    <a:pt x="2218" y="775"/>
                  </a:lnTo>
                  <a:lnTo>
                    <a:pt x="2226" y="748"/>
                  </a:lnTo>
                  <a:lnTo>
                    <a:pt x="2233" y="721"/>
                  </a:lnTo>
                  <a:lnTo>
                    <a:pt x="2228" y="705"/>
                  </a:lnTo>
                  <a:lnTo>
                    <a:pt x="2231" y="672"/>
                  </a:lnTo>
                  <a:lnTo>
                    <a:pt x="2213" y="634"/>
                  </a:lnTo>
                  <a:lnTo>
                    <a:pt x="2192" y="607"/>
                  </a:lnTo>
                  <a:lnTo>
                    <a:pt x="2186" y="584"/>
                  </a:lnTo>
                  <a:lnTo>
                    <a:pt x="2170" y="565"/>
                  </a:lnTo>
                  <a:lnTo>
                    <a:pt x="2122" y="540"/>
                  </a:lnTo>
                  <a:lnTo>
                    <a:pt x="2101" y="538"/>
                  </a:lnTo>
                  <a:lnTo>
                    <a:pt x="2100" y="549"/>
                  </a:lnTo>
                  <a:lnTo>
                    <a:pt x="2078" y="545"/>
                  </a:lnTo>
                  <a:lnTo>
                    <a:pt x="2057" y="531"/>
                  </a:lnTo>
                  <a:lnTo>
                    <a:pt x="2027" y="528"/>
                  </a:lnTo>
                  <a:lnTo>
                    <a:pt x="2045" y="476"/>
                  </a:lnTo>
                  <a:lnTo>
                    <a:pt x="2059" y="433"/>
                  </a:lnTo>
                  <a:lnTo>
                    <a:pt x="2107" y="425"/>
                  </a:lnTo>
                  <a:lnTo>
                    <a:pt x="2163" y="429"/>
                  </a:lnTo>
                  <a:lnTo>
                    <a:pt x="2172" y="419"/>
                  </a:lnTo>
                  <a:lnTo>
                    <a:pt x="2201" y="422"/>
                  </a:lnTo>
                  <a:lnTo>
                    <a:pt x="2218" y="438"/>
                  </a:lnTo>
                  <a:lnTo>
                    <a:pt x="2242" y="436"/>
                  </a:lnTo>
                  <a:lnTo>
                    <a:pt x="2273" y="430"/>
                  </a:lnTo>
                  <a:lnTo>
                    <a:pt x="2244" y="417"/>
                  </a:lnTo>
                  <a:lnTo>
                    <a:pt x="2244" y="380"/>
                  </a:lnTo>
                  <a:lnTo>
                    <a:pt x="2278" y="373"/>
                  </a:lnTo>
                  <a:lnTo>
                    <a:pt x="2324" y="399"/>
                  </a:lnTo>
                  <a:lnTo>
                    <a:pt x="2337" y="376"/>
                  </a:lnTo>
                  <a:lnTo>
                    <a:pt x="2325" y="358"/>
                  </a:lnTo>
                  <a:lnTo>
                    <a:pt x="2342" y="356"/>
                  </a:lnTo>
                  <a:lnTo>
                    <a:pt x="2367" y="386"/>
                  </a:lnTo>
                  <a:lnTo>
                    <a:pt x="2358" y="404"/>
                  </a:lnTo>
                  <a:lnTo>
                    <a:pt x="2355" y="426"/>
                  </a:lnTo>
                  <a:lnTo>
                    <a:pt x="2356" y="454"/>
                  </a:lnTo>
                  <a:lnTo>
                    <a:pt x="2335" y="459"/>
                  </a:lnTo>
                  <a:lnTo>
                    <a:pt x="2345" y="469"/>
                  </a:lnTo>
                  <a:lnTo>
                    <a:pt x="2345" y="482"/>
                  </a:lnTo>
                  <a:lnTo>
                    <a:pt x="2369" y="513"/>
                  </a:lnTo>
                  <a:lnTo>
                    <a:pt x="2428" y="564"/>
                  </a:lnTo>
                  <a:lnTo>
                    <a:pt x="2467" y="596"/>
                  </a:lnTo>
                  <a:lnTo>
                    <a:pt x="2489" y="612"/>
                  </a:lnTo>
                  <a:lnTo>
                    <a:pt x="2495" y="592"/>
                  </a:lnTo>
                  <a:lnTo>
                    <a:pt x="2478" y="568"/>
                  </a:lnTo>
                  <a:lnTo>
                    <a:pt x="2499" y="563"/>
                  </a:lnTo>
                  <a:lnTo>
                    <a:pt x="2480" y="536"/>
                  </a:lnTo>
                  <a:lnTo>
                    <a:pt x="2498" y="525"/>
                  </a:lnTo>
                  <a:lnTo>
                    <a:pt x="2481" y="515"/>
                  </a:lnTo>
                  <a:lnTo>
                    <a:pt x="2467" y="496"/>
                  </a:lnTo>
                  <a:lnTo>
                    <a:pt x="2483" y="496"/>
                  </a:lnTo>
                  <a:lnTo>
                    <a:pt x="2450" y="464"/>
                  </a:lnTo>
                  <a:lnTo>
                    <a:pt x="2425" y="459"/>
                  </a:lnTo>
                  <a:lnTo>
                    <a:pt x="2413" y="450"/>
                  </a:lnTo>
                  <a:lnTo>
                    <a:pt x="2410" y="429"/>
                  </a:lnTo>
                  <a:lnTo>
                    <a:pt x="2397" y="414"/>
                  </a:lnTo>
                  <a:lnTo>
                    <a:pt x="2424" y="417"/>
                  </a:lnTo>
                  <a:lnTo>
                    <a:pt x="2429" y="408"/>
                  </a:lnTo>
                  <a:lnTo>
                    <a:pt x="2446" y="416"/>
                  </a:lnTo>
                  <a:lnTo>
                    <a:pt x="2469" y="399"/>
                  </a:lnTo>
                  <a:lnTo>
                    <a:pt x="2511" y="414"/>
                  </a:lnTo>
                  <a:lnTo>
                    <a:pt x="2506" y="404"/>
                  </a:lnTo>
                  <a:lnTo>
                    <a:pt x="2513" y="391"/>
                  </a:lnTo>
                  <a:lnTo>
                    <a:pt x="2519" y="376"/>
                  </a:lnTo>
                  <a:lnTo>
                    <a:pt x="2530" y="373"/>
                  </a:lnTo>
                  <a:lnTo>
                    <a:pt x="2554" y="357"/>
                  </a:lnTo>
                  <a:lnTo>
                    <a:pt x="2591" y="362"/>
                  </a:lnTo>
                  <a:lnTo>
                    <a:pt x="2588" y="356"/>
                  </a:lnTo>
                  <a:lnTo>
                    <a:pt x="2573" y="347"/>
                  </a:lnTo>
                  <a:lnTo>
                    <a:pt x="2558" y="341"/>
                  </a:lnTo>
                  <a:lnTo>
                    <a:pt x="2524" y="324"/>
                  </a:lnTo>
                  <a:lnTo>
                    <a:pt x="2494" y="313"/>
                  </a:lnTo>
                  <a:lnTo>
                    <a:pt x="2517" y="314"/>
                  </a:lnTo>
                  <a:lnTo>
                    <a:pt x="2524" y="305"/>
                  </a:lnTo>
                  <a:lnTo>
                    <a:pt x="2524" y="305"/>
                  </a:lnTo>
                  <a:lnTo>
                    <a:pt x="2401" y="224"/>
                  </a:lnTo>
                  <a:lnTo>
                    <a:pt x="2366" y="214"/>
                  </a:lnTo>
                  <a:lnTo>
                    <a:pt x="2308" y="205"/>
                  </a:lnTo>
                  <a:lnTo>
                    <a:pt x="2278" y="206"/>
                  </a:lnTo>
                  <a:lnTo>
                    <a:pt x="2221" y="201"/>
                  </a:lnTo>
                  <a:lnTo>
                    <a:pt x="2228" y="210"/>
                  </a:lnTo>
                  <a:lnTo>
                    <a:pt x="2259" y="222"/>
                  </a:lnTo>
                  <a:lnTo>
                    <a:pt x="2250" y="229"/>
                  </a:lnTo>
                  <a:lnTo>
                    <a:pt x="2198" y="211"/>
                  </a:lnTo>
                  <a:lnTo>
                    <a:pt x="2172" y="213"/>
                  </a:lnTo>
                  <a:lnTo>
                    <a:pt x="2138" y="209"/>
                  </a:lnTo>
                  <a:lnTo>
                    <a:pt x="2112" y="210"/>
                  </a:lnTo>
                  <a:lnTo>
                    <a:pt x="2097" y="214"/>
                  </a:lnTo>
                  <a:lnTo>
                    <a:pt x="2070" y="208"/>
                  </a:lnTo>
                  <a:lnTo>
                    <a:pt x="2051" y="194"/>
                  </a:lnTo>
                  <a:lnTo>
                    <a:pt x="2027" y="185"/>
                  </a:lnTo>
                  <a:lnTo>
                    <a:pt x="1992" y="183"/>
                  </a:lnTo>
                  <a:lnTo>
                    <a:pt x="1937" y="186"/>
                  </a:lnTo>
                  <a:lnTo>
                    <a:pt x="1877" y="171"/>
                  </a:lnTo>
                  <a:lnTo>
                    <a:pt x="1848" y="160"/>
                  </a:lnTo>
                  <a:lnTo>
                    <a:pt x="1698" y="147"/>
                  </a:lnTo>
                  <a:lnTo>
                    <a:pt x="1691" y="155"/>
                  </a:lnTo>
                  <a:lnTo>
                    <a:pt x="1725" y="173"/>
                  </a:lnTo>
                  <a:lnTo>
                    <a:pt x="1697" y="170"/>
                  </a:lnTo>
                  <a:lnTo>
                    <a:pt x="1693" y="176"/>
                  </a:lnTo>
                  <a:lnTo>
                    <a:pt x="1657" y="170"/>
                  </a:lnTo>
                  <a:lnTo>
                    <a:pt x="1638" y="175"/>
                  </a:lnTo>
                  <a:lnTo>
                    <a:pt x="1604" y="167"/>
                  </a:lnTo>
                  <a:lnTo>
                    <a:pt x="1615" y="187"/>
                  </a:lnTo>
                  <a:lnTo>
                    <a:pt x="1581" y="179"/>
                  </a:lnTo>
                  <a:lnTo>
                    <a:pt x="1544" y="164"/>
                  </a:lnTo>
                  <a:lnTo>
                    <a:pt x="1543" y="155"/>
                  </a:lnTo>
                  <a:lnTo>
                    <a:pt x="1521" y="143"/>
                  </a:lnTo>
                  <a:lnTo>
                    <a:pt x="1484" y="134"/>
                  </a:lnTo>
                  <a:lnTo>
                    <a:pt x="1461" y="134"/>
                  </a:lnTo>
                  <a:lnTo>
                    <a:pt x="1426" y="130"/>
                  </a:lnTo>
                  <a:lnTo>
                    <a:pt x="1444" y="145"/>
                  </a:lnTo>
                  <a:lnTo>
                    <a:pt x="1380" y="141"/>
                  </a:lnTo>
                  <a:lnTo>
                    <a:pt x="1365" y="133"/>
                  </a:lnTo>
                  <a:lnTo>
                    <a:pt x="1315" y="130"/>
                  </a:lnTo>
                  <a:lnTo>
                    <a:pt x="1296" y="133"/>
                  </a:lnTo>
                  <a:lnTo>
                    <a:pt x="1296" y="138"/>
                  </a:lnTo>
                  <a:lnTo>
                    <a:pt x="1273" y="126"/>
                  </a:lnTo>
                  <a:lnTo>
                    <a:pt x="1265" y="129"/>
                  </a:lnTo>
                  <a:lnTo>
                    <a:pt x="1238" y="125"/>
                  </a:lnTo>
                  <a:lnTo>
                    <a:pt x="1217" y="122"/>
                  </a:lnTo>
                  <a:lnTo>
                    <a:pt x="1221" y="116"/>
                  </a:lnTo>
                  <a:lnTo>
                    <a:pt x="1246" y="106"/>
                  </a:lnTo>
                  <a:lnTo>
                    <a:pt x="1255" y="100"/>
                  </a:lnTo>
                  <a:lnTo>
                    <a:pt x="1245" y="91"/>
                  </a:lnTo>
                  <a:lnTo>
                    <a:pt x="1225" y="84"/>
                  </a:lnTo>
                  <a:lnTo>
                    <a:pt x="1182" y="75"/>
                  </a:lnTo>
                  <a:lnTo>
                    <a:pt x="1142" y="75"/>
                  </a:lnTo>
                  <a:lnTo>
                    <a:pt x="1135" y="80"/>
                  </a:lnTo>
                  <a:lnTo>
                    <a:pt x="1119" y="71"/>
                  </a:lnTo>
                  <a:lnTo>
                    <a:pt x="1119" y="71"/>
                  </a:lnTo>
                  <a:close/>
                  <a:moveTo>
                    <a:pt x="513" y="188"/>
                  </a:moveTo>
                  <a:lnTo>
                    <a:pt x="477" y="172"/>
                  </a:lnTo>
                  <a:lnTo>
                    <a:pt x="465" y="156"/>
                  </a:lnTo>
                  <a:lnTo>
                    <a:pt x="478" y="138"/>
                  </a:lnTo>
                  <a:lnTo>
                    <a:pt x="488" y="119"/>
                  </a:lnTo>
                  <a:lnTo>
                    <a:pt x="520" y="102"/>
                  </a:lnTo>
                  <a:lnTo>
                    <a:pt x="556" y="93"/>
                  </a:lnTo>
                  <a:lnTo>
                    <a:pt x="599" y="84"/>
                  </a:lnTo>
                  <a:lnTo>
                    <a:pt x="604" y="78"/>
                  </a:lnTo>
                  <a:lnTo>
                    <a:pt x="588" y="71"/>
                  </a:lnTo>
                  <a:lnTo>
                    <a:pt x="564" y="73"/>
                  </a:lnTo>
                  <a:lnTo>
                    <a:pt x="545" y="80"/>
                  </a:lnTo>
                  <a:lnTo>
                    <a:pt x="501" y="84"/>
                  </a:lnTo>
                  <a:lnTo>
                    <a:pt x="464" y="95"/>
                  </a:lnTo>
                  <a:lnTo>
                    <a:pt x="439" y="105"/>
                  </a:lnTo>
                  <a:lnTo>
                    <a:pt x="448" y="113"/>
                  </a:lnTo>
                  <a:lnTo>
                    <a:pt x="423" y="130"/>
                  </a:lnTo>
                  <a:lnTo>
                    <a:pt x="438" y="132"/>
                  </a:lnTo>
                  <a:lnTo>
                    <a:pt x="417" y="149"/>
                  </a:lnTo>
                  <a:lnTo>
                    <a:pt x="424" y="159"/>
                  </a:lnTo>
                  <a:lnTo>
                    <a:pt x="411" y="163"/>
                  </a:lnTo>
                  <a:lnTo>
                    <a:pt x="418" y="173"/>
                  </a:lnTo>
                  <a:lnTo>
                    <a:pt x="447" y="179"/>
                  </a:lnTo>
                  <a:lnTo>
                    <a:pt x="455" y="187"/>
                  </a:lnTo>
                  <a:lnTo>
                    <a:pt x="506" y="190"/>
                  </a:lnTo>
                  <a:lnTo>
                    <a:pt x="513" y="188"/>
                  </a:lnTo>
                  <a:lnTo>
                    <a:pt x="513" y="188"/>
                  </a:lnTo>
                  <a:close/>
                  <a:moveTo>
                    <a:pt x="1686" y="97"/>
                  </a:moveTo>
                  <a:lnTo>
                    <a:pt x="1620" y="86"/>
                  </a:lnTo>
                  <a:lnTo>
                    <a:pt x="1581" y="85"/>
                  </a:lnTo>
                  <a:lnTo>
                    <a:pt x="1568" y="89"/>
                  </a:lnTo>
                  <a:lnTo>
                    <a:pt x="1581" y="102"/>
                  </a:lnTo>
                  <a:lnTo>
                    <a:pt x="1628" y="113"/>
                  </a:lnTo>
                  <a:lnTo>
                    <a:pt x="1645" y="110"/>
                  </a:lnTo>
                  <a:lnTo>
                    <a:pt x="1697" y="110"/>
                  </a:lnTo>
                  <a:lnTo>
                    <a:pt x="1686" y="97"/>
                  </a:lnTo>
                  <a:close/>
                  <a:moveTo>
                    <a:pt x="1780" y="105"/>
                  </a:moveTo>
                  <a:lnTo>
                    <a:pt x="1736" y="100"/>
                  </a:lnTo>
                  <a:lnTo>
                    <a:pt x="1707" y="98"/>
                  </a:lnTo>
                  <a:lnTo>
                    <a:pt x="1712" y="103"/>
                  </a:lnTo>
                  <a:lnTo>
                    <a:pt x="1751" y="111"/>
                  </a:lnTo>
                  <a:lnTo>
                    <a:pt x="1777" y="113"/>
                  </a:lnTo>
                  <a:lnTo>
                    <a:pt x="1780" y="105"/>
                  </a:lnTo>
                  <a:lnTo>
                    <a:pt x="1780" y="105"/>
                  </a:lnTo>
                  <a:close/>
                  <a:moveTo>
                    <a:pt x="1734" y="141"/>
                  </a:moveTo>
                  <a:lnTo>
                    <a:pt x="1724" y="135"/>
                  </a:lnTo>
                  <a:lnTo>
                    <a:pt x="1693" y="128"/>
                  </a:lnTo>
                  <a:lnTo>
                    <a:pt x="1679" y="130"/>
                  </a:lnTo>
                  <a:lnTo>
                    <a:pt x="1675" y="138"/>
                  </a:lnTo>
                  <a:lnTo>
                    <a:pt x="1679" y="138"/>
                  </a:lnTo>
                  <a:lnTo>
                    <a:pt x="1712" y="141"/>
                  </a:lnTo>
                  <a:lnTo>
                    <a:pt x="1734" y="141"/>
                  </a:lnTo>
                  <a:close/>
                  <a:moveTo>
                    <a:pt x="2341" y="186"/>
                  </a:moveTo>
                  <a:lnTo>
                    <a:pt x="2319" y="173"/>
                  </a:lnTo>
                  <a:lnTo>
                    <a:pt x="2313" y="181"/>
                  </a:lnTo>
                  <a:lnTo>
                    <a:pt x="2327" y="187"/>
                  </a:lnTo>
                  <a:lnTo>
                    <a:pt x="2341" y="186"/>
                  </a:lnTo>
                  <a:close/>
                  <a:moveTo>
                    <a:pt x="54" y="537"/>
                  </a:moveTo>
                  <a:lnTo>
                    <a:pt x="52" y="532"/>
                  </a:lnTo>
                  <a:lnTo>
                    <a:pt x="52" y="525"/>
                  </a:lnTo>
                  <a:lnTo>
                    <a:pt x="45" y="521"/>
                  </a:lnTo>
                  <a:lnTo>
                    <a:pt x="26" y="518"/>
                  </a:lnTo>
                  <a:lnTo>
                    <a:pt x="2" y="525"/>
                  </a:lnTo>
                  <a:lnTo>
                    <a:pt x="0" y="535"/>
                  </a:lnTo>
                  <a:lnTo>
                    <a:pt x="21" y="537"/>
                  </a:lnTo>
                  <a:lnTo>
                    <a:pt x="54" y="537"/>
                  </a:lnTo>
                  <a:close/>
                  <a:moveTo>
                    <a:pt x="2256" y="619"/>
                  </a:moveTo>
                  <a:lnTo>
                    <a:pt x="2229" y="595"/>
                  </a:lnTo>
                  <a:lnTo>
                    <a:pt x="2211" y="573"/>
                  </a:lnTo>
                  <a:lnTo>
                    <a:pt x="2185" y="551"/>
                  </a:lnTo>
                  <a:lnTo>
                    <a:pt x="2167" y="536"/>
                  </a:lnTo>
                  <a:lnTo>
                    <a:pt x="2162" y="539"/>
                  </a:lnTo>
                  <a:lnTo>
                    <a:pt x="2178" y="549"/>
                  </a:lnTo>
                  <a:lnTo>
                    <a:pt x="2172" y="560"/>
                  </a:lnTo>
                  <a:lnTo>
                    <a:pt x="2197" y="592"/>
                  </a:lnTo>
                  <a:lnTo>
                    <a:pt x="2226" y="614"/>
                  </a:lnTo>
                  <a:lnTo>
                    <a:pt x="2250" y="645"/>
                  </a:lnTo>
                  <a:lnTo>
                    <a:pt x="2258" y="662"/>
                  </a:lnTo>
                  <a:lnTo>
                    <a:pt x="2279" y="687"/>
                  </a:lnTo>
                  <a:lnTo>
                    <a:pt x="2293" y="709"/>
                  </a:lnTo>
                  <a:lnTo>
                    <a:pt x="2311" y="729"/>
                  </a:lnTo>
                  <a:lnTo>
                    <a:pt x="2310" y="711"/>
                  </a:lnTo>
                  <a:lnTo>
                    <a:pt x="2334" y="725"/>
                  </a:lnTo>
                  <a:lnTo>
                    <a:pt x="2323" y="709"/>
                  </a:lnTo>
                  <a:lnTo>
                    <a:pt x="2287" y="685"/>
                  </a:lnTo>
                  <a:lnTo>
                    <a:pt x="2274" y="651"/>
                  </a:lnTo>
                  <a:lnTo>
                    <a:pt x="2307" y="659"/>
                  </a:lnTo>
                  <a:lnTo>
                    <a:pt x="2256" y="619"/>
                  </a:lnTo>
                  <a:lnTo>
                    <a:pt x="2256" y="61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0" name="Rwanda">
              <a:extLst>
                <a:ext uri="{FF2B5EF4-FFF2-40B4-BE49-F238E27FC236}">
                  <a16:creationId xmlns:a16="http://schemas.microsoft.com/office/drawing/2014/main" id="{D4506CDA-495F-4B1B-8E6A-E0474C4D3CF0}"/>
                </a:ext>
              </a:extLst>
            </p:cNvPr>
            <p:cNvSpPr>
              <a:spLocks/>
            </p:cNvSpPr>
            <p:nvPr/>
          </p:nvSpPr>
          <p:spPr bwMode="auto">
            <a:xfrm>
              <a:off x="6961981" y="4105049"/>
              <a:ext cx="60325" cy="66675"/>
            </a:xfrm>
            <a:custGeom>
              <a:avLst/>
              <a:gdLst>
                <a:gd name="T0" fmla="*/ 29 w 38"/>
                <a:gd name="T1" fmla="*/ 0 h 42"/>
                <a:gd name="T2" fmla="*/ 17 w 38"/>
                <a:gd name="T3" fmla="*/ 7 h 42"/>
                <a:gd name="T4" fmla="*/ 12 w 38"/>
                <a:gd name="T5" fmla="*/ 5 h 42"/>
                <a:gd name="T6" fmla="*/ 6 w 38"/>
                <a:gd name="T7" fmla="*/ 12 h 42"/>
                <a:gd name="T8" fmla="*/ 5 w 38"/>
                <a:gd name="T9" fmla="*/ 26 h 42"/>
                <a:gd name="T10" fmla="*/ 2 w 38"/>
                <a:gd name="T11" fmla="*/ 27 h 42"/>
                <a:gd name="T12" fmla="*/ 0 w 38"/>
                <a:gd name="T13" fmla="*/ 41 h 42"/>
                <a:gd name="T14" fmla="*/ 13 w 38"/>
                <a:gd name="T15" fmla="*/ 42 h 42"/>
                <a:gd name="T16" fmla="*/ 20 w 38"/>
                <a:gd name="T17" fmla="*/ 28 h 42"/>
                <a:gd name="T18" fmla="*/ 31 w 38"/>
                <a:gd name="T19" fmla="*/ 30 h 42"/>
                <a:gd name="T20" fmla="*/ 31 w 38"/>
                <a:gd name="T21" fmla="*/ 30 h 42"/>
                <a:gd name="T22" fmla="*/ 37 w 38"/>
                <a:gd name="T23" fmla="*/ 27 h 42"/>
                <a:gd name="T24" fmla="*/ 38 w 38"/>
                <a:gd name="T25" fmla="*/ 13 h 42"/>
                <a:gd name="T26" fmla="*/ 29 w 38"/>
                <a:gd name="T27" fmla="*/ 0 h 42"/>
                <a:gd name="T28" fmla="*/ 29 w 38"/>
                <a:gd name="T29" fmla="*/ 0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8" h="42">
                  <a:moveTo>
                    <a:pt x="29" y="0"/>
                  </a:moveTo>
                  <a:lnTo>
                    <a:pt x="17" y="7"/>
                  </a:lnTo>
                  <a:lnTo>
                    <a:pt x="12" y="5"/>
                  </a:lnTo>
                  <a:lnTo>
                    <a:pt x="6" y="12"/>
                  </a:lnTo>
                  <a:lnTo>
                    <a:pt x="5" y="26"/>
                  </a:lnTo>
                  <a:lnTo>
                    <a:pt x="2" y="27"/>
                  </a:lnTo>
                  <a:lnTo>
                    <a:pt x="0" y="41"/>
                  </a:lnTo>
                  <a:lnTo>
                    <a:pt x="13" y="42"/>
                  </a:lnTo>
                  <a:lnTo>
                    <a:pt x="20" y="28"/>
                  </a:lnTo>
                  <a:lnTo>
                    <a:pt x="31" y="30"/>
                  </a:lnTo>
                  <a:lnTo>
                    <a:pt x="31" y="30"/>
                  </a:lnTo>
                  <a:lnTo>
                    <a:pt x="37" y="27"/>
                  </a:lnTo>
                  <a:lnTo>
                    <a:pt x="38" y="13"/>
                  </a:lnTo>
                  <a:lnTo>
                    <a:pt x="29" y="0"/>
                  </a:lnTo>
                  <a:lnTo>
                    <a:pt x="2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1" name="Western Sahara">
              <a:extLst>
                <a:ext uri="{FF2B5EF4-FFF2-40B4-BE49-F238E27FC236}">
                  <a16:creationId xmlns:a16="http://schemas.microsoft.com/office/drawing/2014/main" id="{D1ABBC25-B123-44FD-AE94-20B6A2934CE3}"/>
                </a:ext>
              </a:extLst>
            </p:cNvPr>
            <p:cNvSpPr>
              <a:spLocks/>
            </p:cNvSpPr>
            <p:nvPr/>
          </p:nvSpPr>
          <p:spPr bwMode="auto">
            <a:xfrm>
              <a:off x="5437981" y="3019198"/>
              <a:ext cx="277812" cy="250825"/>
            </a:xfrm>
            <a:custGeom>
              <a:avLst/>
              <a:gdLst>
                <a:gd name="T0" fmla="*/ 175 w 175"/>
                <a:gd name="T1" fmla="*/ 0 h 158"/>
                <a:gd name="T2" fmla="*/ 172 w 175"/>
                <a:gd name="T3" fmla="*/ 0 h 158"/>
                <a:gd name="T4" fmla="*/ 172 w 175"/>
                <a:gd name="T5" fmla="*/ 0 h 158"/>
                <a:gd name="T6" fmla="*/ 173 w 175"/>
                <a:gd name="T7" fmla="*/ 12 h 158"/>
                <a:gd name="T8" fmla="*/ 160 w 175"/>
                <a:gd name="T9" fmla="*/ 13 h 158"/>
                <a:gd name="T10" fmla="*/ 154 w 175"/>
                <a:gd name="T11" fmla="*/ 19 h 158"/>
                <a:gd name="T12" fmla="*/ 144 w 175"/>
                <a:gd name="T13" fmla="*/ 19 h 158"/>
                <a:gd name="T14" fmla="*/ 137 w 175"/>
                <a:gd name="T15" fmla="*/ 16 h 158"/>
                <a:gd name="T16" fmla="*/ 120 w 175"/>
                <a:gd name="T17" fmla="*/ 18 h 158"/>
                <a:gd name="T18" fmla="*/ 112 w 175"/>
                <a:gd name="T19" fmla="*/ 36 h 158"/>
                <a:gd name="T20" fmla="*/ 106 w 175"/>
                <a:gd name="T21" fmla="*/ 38 h 158"/>
                <a:gd name="T22" fmla="*/ 96 w 175"/>
                <a:gd name="T23" fmla="*/ 68 h 158"/>
                <a:gd name="T24" fmla="*/ 67 w 175"/>
                <a:gd name="T25" fmla="*/ 94 h 158"/>
                <a:gd name="T26" fmla="*/ 59 w 175"/>
                <a:gd name="T27" fmla="*/ 127 h 158"/>
                <a:gd name="T28" fmla="*/ 51 w 175"/>
                <a:gd name="T29" fmla="*/ 137 h 158"/>
                <a:gd name="T30" fmla="*/ 48 w 175"/>
                <a:gd name="T31" fmla="*/ 147 h 158"/>
                <a:gd name="T32" fmla="*/ 1 w 175"/>
                <a:gd name="T33" fmla="*/ 148 h 158"/>
                <a:gd name="T34" fmla="*/ 1 w 175"/>
                <a:gd name="T35" fmla="*/ 148 h 158"/>
                <a:gd name="T36" fmla="*/ 0 w 175"/>
                <a:gd name="T37" fmla="*/ 158 h 158"/>
                <a:gd name="T38" fmla="*/ 5 w 175"/>
                <a:gd name="T39" fmla="*/ 150 h 158"/>
                <a:gd name="T40" fmla="*/ 85 w 175"/>
                <a:gd name="T41" fmla="*/ 150 h 158"/>
                <a:gd name="T42" fmla="*/ 82 w 175"/>
                <a:gd name="T43" fmla="*/ 116 h 158"/>
                <a:gd name="T44" fmla="*/ 87 w 175"/>
                <a:gd name="T45" fmla="*/ 104 h 158"/>
                <a:gd name="T46" fmla="*/ 107 w 175"/>
                <a:gd name="T47" fmla="*/ 102 h 158"/>
                <a:gd name="T48" fmla="*/ 108 w 175"/>
                <a:gd name="T49" fmla="*/ 41 h 158"/>
                <a:gd name="T50" fmla="*/ 174 w 175"/>
                <a:gd name="T51" fmla="*/ 42 h 158"/>
                <a:gd name="T52" fmla="*/ 175 w 175"/>
                <a:gd name="T53" fmla="*/ 6 h 158"/>
                <a:gd name="T54" fmla="*/ 175 w 175"/>
                <a:gd name="T55" fmla="*/ 1 h 158"/>
                <a:gd name="T56" fmla="*/ 175 w 175"/>
                <a:gd name="T57" fmla="*/ 0 h 158"/>
                <a:gd name="T58" fmla="*/ 175 w 175"/>
                <a:gd name="T59"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75" h="158">
                  <a:moveTo>
                    <a:pt x="175" y="0"/>
                  </a:moveTo>
                  <a:lnTo>
                    <a:pt x="172" y="0"/>
                  </a:lnTo>
                  <a:lnTo>
                    <a:pt x="172" y="0"/>
                  </a:lnTo>
                  <a:lnTo>
                    <a:pt x="173" y="12"/>
                  </a:lnTo>
                  <a:lnTo>
                    <a:pt x="160" y="13"/>
                  </a:lnTo>
                  <a:lnTo>
                    <a:pt x="154" y="19"/>
                  </a:lnTo>
                  <a:lnTo>
                    <a:pt x="144" y="19"/>
                  </a:lnTo>
                  <a:lnTo>
                    <a:pt x="137" y="16"/>
                  </a:lnTo>
                  <a:lnTo>
                    <a:pt x="120" y="18"/>
                  </a:lnTo>
                  <a:lnTo>
                    <a:pt x="112" y="36"/>
                  </a:lnTo>
                  <a:lnTo>
                    <a:pt x="106" y="38"/>
                  </a:lnTo>
                  <a:lnTo>
                    <a:pt x="96" y="68"/>
                  </a:lnTo>
                  <a:lnTo>
                    <a:pt x="67" y="94"/>
                  </a:lnTo>
                  <a:lnTo>
                    <a:pt x="59" y="127"/>
                  </a:lnTo>
                  <a:lnTo>
                    <a:pt x="51" y="137"/>
                  </a:lnTo>
                  <a:lnTo>
                    <a:pt x="48" y="147"/>
                  </a:lnTo>
                  <a:lnTo>
                    <a:pt x="1" y="148"/>
                  </a:lnTo>
                  <a:lnTo>
                    <a:pt x="1" y="148"/>
                  </a:lnTo>
                  <a:lnTo>
                    <a:pt x="0" y="158"/>
                  </a:lnTo>
                  <a:lnTo>
                    <a:pt x="5" y="150"/>
                  </a:lnTo>
                  <a:lnTo>
                    <a:pt x="85" y="150"/>
                  </a:lnTo>
                  <a:lnTo>
                    <a:pt x="82" y="116"/>
                  </a:lnTo>
                  <a:lnTo>
                    <a:pt x="87" y="104"/>
                  </a:lnTo>
                  <a:lnTo>
                    <a:pt x="107" y="102"/>
                  </a:lnTo>
                  <a:lnTo>
                    <a:pt x="108" y="41"/>
                  </a:lnTo>
                  <a:lnTo>
                    <a:pt x="174" y="42"/>
                  </a:lnTo>
                  <a:lnTo>
                    <a:pt x="175" y="6"/>
                  </a:lnTo>
                  <a:lnTo>
                    <a:pt x="175" y="1"/>
                  </a:lnTo>
                  <a:lnTo>
                    <a:pt x="175" y="0"/>
                  </a:lnTo>
                  <a:lnTo>
                    <a:pt x="175"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2" name="Saudi Arabia">
              <a:extLst>
                <a:ext uri="{FF2B5EF4-FFF2-40B4-BE49-F238E27FC236}">
                  <a16:creationId xmlns:a16="http://schemas.microsoft.com/office/drawing/2014/main" id="{1F3F2BE1-CBE3-4998-9BB6-8644FB5FCFA2}"/>
                </a:ext>
              </a:extLst>
            </p:cNvPr>
            <p:cNvSpPr>
              <a:spLocks/>
            </p:cNvSpPr>
            <p:nvPr/>
          </p:nvSpPr>
          <p:spPr bwMode="auto">
            <a:xfrm>
              <a:off x="7109619" y="2849337"/>
              <a:ext cx="701675" cy="596900"/>
            </a:xfrm>
            <a:custGeom>
              <a:avLst/>
              <a:gdLst>
                <a:gd name="T0" fmla="*/ 201 w 442"/>
                <a:gd name="T1" fmla="*/ 71 h 376"/>
                <a:gd name="T2" fmla="*/ 107 w 442"/>
                <a:gd name="T3" fmla="*/ 6 h 376"/>
                <a:gd name="T4" fmla="*/ 79 w 442"/>
                <a:gd name="T5" fmla="*/ 3 h 376"/>
                <a:gd name="T6" fmla="*/ 63 w 442"/>
                <a:gd name="T7" fmla="*/ 39 h 376"/>
                <a:gd name="T8" fmla="*/ 54 w 442"/>
                <a:gd name="T9" fmla="*/ 51 h 376"/>
                <a:gd name="T10" fmla="*/ 35 w 442"/>
                <a:gd name="T11" fmla="*/ 63 h 376"/>
                <a:gd name="T12" fmla="*/ 4 w 442"/>
                <a:gd name="T13" fmla="*/ 67 h 376"/>
                <a:gd name="T14" fmla="*/ 2 w 442"/>
                <a:gd name="T15" fmla="*/ 84 h 376"/>
                <a:gd name="T16" fmla="*/ 10 w 442"/>
                <a:gd name="T17" fmla="*/ 97 h 376"/>
                <a:gd name="T18" fmla="*/ 36 w 442"/>
                <a:gd name="T19" fmla="*/ 132 h 376"/>
                <a:gd name="T20" fmla="*/ 52 w 442"/>
                <a:gd name="T21" fmla="*/ 156 h 376"/>
                <a:gd name="T22" fmla="*/ 58 w 442"/>
                <a:gd name="T23" fmla="*/ 173 h 376"/>
                <a:gd name="T24" fmla="*/ 76 w 442"/>
                <a:gd name="T25" fmla="*/ 192 h 376"/>
                <a:gd name="T26" fmla="*/ 100 w 442"/>
                <a:gd name="T27" fmla="*/ 227 h 376"/>
                <a:gd name="T28" fmla="*/ 103 w 442"/>
                <a:gd name="T29" fmla="*/ 258 h 376"/>
                <a:gd name="T30" fmla="*/ 128 w 442"/>
                <a:gd name="T31" fmla="*/ 284 h 376"/>
                <a:gd name="T32" fmla="*/ 150 w 442"/>
                <a:gd name="T33" fmla="*/ 321 h 376"/>
                <a:gd name="T34" fmla="*/ 173 w 442"/>
                <a:gd name="T35" fmla="*/ 349 h 376"/>
                <a:gd name="T36" fmla="*/ 183 w 442"/>
                <a:gd name="T37" fmla="*/ 366 h 376"/>
                <a:gd name="T38" fmla="*/ 194 w 442"/>
                <a:gd name="T39" fmla="*/ 367 h 376"/>
                <a:gd name="T40" fmla="*/ 196 w 442"/>
                <a:gd name="T41" fmla="*/ 346 h 376"/>
                <a:gd name="T42" fmla="*/ 211 w 442"/>
                <a:gd name="T43" fmla="*/ 351 h 376"/>
                <a:gd name="T44" fmla="*/ 239 w 442"/>
                <a:gd name="T45" fmla="*/ 353 h 376"/>
                <a:gd name="T46" fmla="*/ 267 w 442"/>
                <a:gd name="T47" fmla="*/ 353 h 376"/>
                <a:gd name="T48" fmla="*/ 282 w 442"/>
                <a:gd name="T49" fmla="*/ 357 h 376"/>
                <a:gd name="T50" fmla="*/ 313 w 442"/>
                <a:gd name="T51" fmla="*/ 322 h 376"/>
                <a:gd name="T52" fmla="*/ 432 w 442"/>
                <a:gd name="T53" fmla="*/ 289 h 376"/>
                <a:gd name="T54" fmla="*/ 431 w 442"/>
                <a:gd name="T55" fmla="*/ 225 h 376"/>
                <a:gd name="T56" fmla="*/ 365 w 442"/>
                <a:gd name="T57" fmla="*/ 217 h 376"/>
                <a:gd name="T58" fmla="*/ 353 w 442"/>
                <a:gd name="T59" fmla="*/ 188 h 376"/>
                <a:gd name="T60" fmla="*/ 343 w 442"/>
                <a:gd name="T61" fmla="*/ 181 h 376"/>
                <a:gd name="T62" fmla="*/ 333 w 442"/>
                <a:gd name="T63" fmla="*/ 170 h 376"/>
                <a:gd name="T64" fmla="*/ 323 w 442"/>
                <a:gd name="T65" fmla="*/ 156 h 376"/>
                <a:gd name="T66" fmla="*/ 321 w 442"/>
                <a:gd name="T67" fmla="*/ 140 h 376"/>
                <a:gd name="T68" fmla="*/ 304 w 442"/>
                <a:gd name="T69" fmla="*/ 120 h 376"/>
                <a:gd name="T70" fmla="*/ 288 w 442"/>
                <a:gd name="T71" fmla="*/ 106 h 376"/>
                <a:gd name="T72" fmla="*/ 264 w 442"/>
                <a:gd name="T73" fmla="*/ 86 h 376"/>
                <a:gd name="T74" fmla="*/ 240 w 442"/>
                <a:gd name="T75" fmla="*/ 72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42" h="376">
                  <a:moveTo>
                    <a:pt x="240" y="72"/>
                  </a:moveTo>
                  <a:lnTo>
                    <a:pt x="201" y="71"/>
                  </a:lnTo>
                  <a:lnTo>
                    <a:pt x="139" y="23"/>
                  </a:lnTo>
                  <a:lnTo>
                    <a:pt x="107" y="6"/>
                  </a:lnTo>
                  <a:lnTo>
                    <a:pt x="82" y="0"/>
                  </a:lnTo>
                  <a:lnTo>
                    <a:pt x="79" y="3"/>
                  </a:lnTo>
                  <a:lnTo>
                    <a:pt x="40" y="15"/>
                  </a:lnTo>
                  <a:lnTo>
                    <a:pt x="63" y="39"/>
                  </a:lnTo>
                  <a:lnTo>
                    <a:pt x="57" y="43"/>
                  </a:lnTo>
                  <a:lnTo>
                    <a:pt x="54" y="51"/>
                  </a:lnTo>
                  <a:lnTo>
                    <a:pt x="39" y="54"/>
                  </a:lnTo>
                  <a:lnTo>
                    <a:pt x="35" y="63"/>
                  </a:lnTo>
                  <a:lnTo>
                    <a:pt x="27" y="71"/>
                  </a:lnTo>
                  <a:lnTo>
                    <a:pt x="4" y="67"/>
                  </a:lnTo>
                  <a:lnTo>
                    <a:pt x="2" y="76"/>
                  </a:lnTo>
                  <a:lnTo>
                    <a:pt x="2" y="84"/>
                  </a:lnTo>
                  <a:lnTo>
                    <a:pt x="0" y="97"/>
                  </a:lnTo>
                  <a:lnTo>
                    <a:pt x="10" y="97"/>
                  </a:lnTo>
                  <a:lnTo>
                    <a:pt x="22" y="114"/>
                  </a:lnTo>
                  <a:lnTo>
                    <a:pt x="36" y="132"/>
                  </a:lnTo>
                  <a:lnTo>
                    <a:pt x="45" y="150"/>
                  </a:lnTo>
                  <a:lnTo>
                    <a:pt x="52" y="156"/>
                  </a:lnTo>
                  <a:lnTo>
                    <a:pt x="58" y="168"/>
                  </a:lnTo>
                  <a:lnTo>
                    <a:pt x="58" y="173"/>
                  </a:lnTo>
                  <a:lnTo>
                    <a:pt x="65" y="187"/>
                  </a:lnTo>
                  <a:lnTo>
                    <a:pt x="76" y="192"/>
                  </a:lnTo>
                  <a:lnTo>
                    <a:pt x="86" y="201"/>
                  </a:lnTo>
                  <a:lnTo>
                    <a:pt x="100" y="227"/>
                  </a:lnTo>
                  <a:lnTo>
                    <a:pt x="100" y="241"/>
                  </a:lnTo>
                  <a:lnTo>
                    <a:pt x="103" y="258"/>
                  </a:lnTo>
                  <a:lnTo>
                    <a:pt x="118" y="281"/>
                  </a:lnTo>
                  <a:lnTo>
                    <a:pt x="128" y="284"/>
                  </a:lnTo>
                  <a:lnTo>
                    <a:pt x="143" y="301"/>
                  </a:lnTo>
                  <a:lnTo>
                    <a:pt x="150" y="321"/>
                  </a:lnTo>
                  <a:lnTo>
                    <a:pt x="162" y="340"/>
                  </a:lnTo>
                  <a:lnTo>
                    <a:pt x="173" y="349"/>
                  </a:lnTo>
                  <a:lnTo>
                    <a:pt x="175" y="358"/>
                  </a:lnTo>
                  <a:lnTo>
                    <a:pt x="183" y="366"/>
                  </a:lnTo>
                  <a:lnTo>
                    <a:pt x="185" y="376"/>
                  </a:lnTo>
                  <a:lnTo>
                    <a:pt x="194" y="367"/>
                  </a:lnTo>
                  <a:lnTo>
                    <a:pt x="192" y="358"/>
                  </a:lnTo>
                  <a:lnTo>
                    <a:pt x="196" y="346"/>
                  </a:lnTo>
                  <a:lnTo>
                    <a:pt x="205" y="353"/>
                  </a:lnTo>
                  <a:lnTo>
                    <a:pt x="211" y="351"/>
                  </a:lnTo>
                  <a:lnTo>
                    <a:pt x="235" y="350"/>
                  </a:lnTo>
                  <a:lnTo>
                    <a:pt x="239" y="353"/>
                  </a:lnTo>
                  <a:lnTo>
                    <a:pt x="258" y="354"/>
                  </a:lnTo>
                  <a:lnTo>
                    <a:pt x="267" y="353"/>
                  </a:lnTo>
                  <a:lnTo>
                    <a:pt x="272" y="361"/>
                  </a:lnTo>
                  <a:lnTo>
                    <a:pt x="282" y="357"/>
                  </a:lnTo>
                  <a:lnTo>
                    <a:pt x="295" y="332"/>
                  </a:lnTo>
                  <a:lnTo>
                    <a:pt x="313" y="322"/>
                  </a:lnTo>
                  <a:lnTo>
                    <a:pt x="372" y="312"/>
                  </a:lnTo>
                  <a:lnTo>
                    <a:pt x="432" y="289"/>
                  </a:lnTo>
                  <a:lnTo>
                    <a:pt x="442" y="241"/>
                  </a:lnTo>
                  <a:lnTo>
                    <a:pt x="431" y="225"/>
                  </a:lnTo>
                  <a:lnTo>
                    <a:pt x="427" y="229"/>
                  </a:lnTo>
                  <a:lnTo>
                    <a:pt x="365" y="217"/>
                  </a:lnTo>
                  <a:lnTo>
                    <a:pt x="354" y="194"/>
                  </a:lnTo>
                  <a:lnTo>
                    <a:pt x="353" y="188"/>
                  </a:lnTo>
                  <a:lnTo>
                    <a:pt x="349" y="179"/>
                  </a:lnTo>
                  <a:lnTo>
                    <a:pt x="343" y="181"/>
                  </a:lnTo>
                  <a:lnTo>
                    <a:pt x="337" y="176"/>
                  </a:lnTo>
                  <a:lnTo>
                    <a:pt x="333" y="170"/>
                  </a:lnTo>
                  <a:lnTo>
                    <a:pt x="329" y="162"/>
                  </a:lnTo>
                  <a:lnTo>
                    <a:pt x="323" y="156"/>
                  </a:lnTo>
                  <a:lnTo>
                    <a:pt x="319" y="147"/>
                  </a:lnTo>
                  <a:lnTo>
                    <a:pt x="321" y="140"/>
                  </a:lnTo>
                  <a:lnTo>
                    <a:pt x="319" y="129"/>
                  </a:lnTo>
                  <a:lnTo>
                    <a:pt x="304" y="120"/>
                  </a:lnTo>
                  <a:lnTo>
                    <a:pt x="299" y="112"/>
                  </a:lnTo>
                  <a:lnTo>
                    <a:pt x="288" y="106"/>
                  </a:lnTo>
                  <a:lnTo>
                    <a:pt x="278" y="86"/>
                  </a:lnTo>
                  <a:lnTo>
                    <a:pt x="264" y="86"/>
                  </a:lnTo>
                  <a:lnTo>
                    <a:pt x="257" y="74"/>
                  </a:lnTo>
                  <a:lnTo>
                    <a:pt x="240" y="72"/>
                  </a:lnTo>
                  <a:lnTo>
                    <a:pt x="240" y="7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3" name="Sudan">
              <a:extLst>
                <a:ext uri="{FF2B5EF4-FFF2-40B4-BE49-F238E27FC236}">
                  <a16:creationId xmlns:a16="http://schemas.microsoft.com/office/drawing/2014/main" id="{7D33937E-450D-4D2F-89B1-DC960C086177}"/>
                </a:ext>
              </a:extLst>
            </p:cNvPr>
            <p:cNvSpPr>
              <a:spLocks/>
            </p:cNvSpPr>
            <p:nvPr/>
          </p:nvSpPr>
          <p:spPr bwMode="auto">
            <a:xfrm>
              <a:off x="6720681" y="3231924"/>
              <a:ext cx="536575" cy="504825"/>
            </a:xfrm>
            <a:custGeom>
              <a:avLst/>
              <a:gdLst>
                <a:gd name="T0" fmla="*/ 307 w 338"/>
                <a:gd name="T1" fmla="*/ 120 h 318"/>
                <a:gd name="T2" fmla="*/ 328 w 338"/>
                <a:gd name="T3" fmla="*/ 109 h 318"/>
                <a:gd name="T4" fmla="*/ 326 w 338"/>
                <a:gd name="T5" fmla="*/ 86 h 318"/>
                <a:gd name="T6" fmla="*/ 308 w 338"/>
                <a:gd name="T7" fmla="*/ 52 h 318"/>
                <a:gd name="T8" fmla="*/ 308 w 338"/>
                <a:gd name="T9" fmla="*/ 24 h 318"/>
                <a:gd name="T10" fmla="*/ 219 w 338"/>
                <a:gd name="T11" fmla="*/ 0 h 318"/>
                <a:gd name="T12" fmla="*/ 57 w 338"/>
                <a:gd name="T13" fmla="*/ 0 h 318"/>
                <a:gd name="T14" fmla="*/ 35 w 338"/>
                <a:gd name="T15" fmla="*/ 48 h 318"/>
                <a:gd name="T16" fmla="*/ 39 w 338"/>
                <a:gd name="T17" fmla="*/ 152 h 318"/>
                <a:gd name="T18" fmla="*/ 12 w 338"/>
                <a:gd name="T19" fmla="*/ 168 h 318"/>
                <a:gd name="T20" fmla="*/ 11 w 338"/>
                <a:gd name="T21" fmla="*/ 188 h 318"/>
                <a:gd name="T22" fmla="*/ 7 w 338"/>
                <a:gd name="T23" fmla="*/ 205 h 318"/>
                <a:gd name="T24" fmla="*/ 0 w 338"/>
                <a:gd name="T25" fmla="*/ 224 h 318"/>
                <a:gd name="T26" fmla="*/ 12 w 338"/>
                <a:gd name="T27" fmla="*/ 232 h 318"/>
                <a:gd name="T28" fmla="*/ 21 w 338"/>
                <a:gd name="T29" fmla="*/ 253 h 318"/>
                <a:gd name="T30" fmla="*/ 23 w 338"/>
                <a:gd name="T31" fmla="*/ 268 h 318"/>
                <a:gd name="T32" fmla="*/ 35 w 338"/>
                <a:gd name="T33" fmla="*/ 293 h 318"/>
                <a:gd name="T34" fmla="*/ 34 w 338"/>
                <a:gd name="T35" fmla="*/ 310 h 318"/>
                <a:gd name="T36" fmla="*/ 43 w 338"/>
                <a:gd name="T37" fmla="*/ 318 h 318"/>
                <a:gd name="T38" fmla="*/ 56 w 338"/>
                <a:gd name="T39" fmla="*/ 311 h 318"/>
                <a:gd name="T40" fmla="*/ 67 w 338"/>
                <a:gd name="T41" fmla="*/ 279 h 318"/>
                <a:gd name="T42" fmla="*/ 86 w 338"/>
                <a:gd name="T43" fmla="*/ 282 h 318"/>
                <a:gd name="T44" fmla="*/ 103 w 338"/>
                <a:gd name="T45" fmla="*/ 298 h 318"/>
                <a:gd name="T46" fmla="*/ 125 w 338"/>
                <a:gd name="T47" fmla="*/ 295 h 318"/>
                <a:gd name="T48" fmla="*/ 148 w 338"/>
                <a:gd name="T49" fmla="*/ 300 h 318"/>
                <a:gd name="T50" fmla="*/ 161 w 338"/>
                <a:gd name="T51" fmla="*/ 291 h 318"/>
                <a:gd name="T52" fmla="*/ 170 w 338"/>
                <a:gd name="T53" fmla="*/ 279 h 318"/>
                <a:gd name="T54" fmla="*/ 198 w 338"/>
                <a:gd name="T55" fmla="*/ 290 h 318"/>
                <a:gd name="T56" fmla="*/ 219 w 338"/>
                <a:gd name="T57" fmla="*/ 260 h 318"/>
                <a:gd name="T58" fmla="*/ 212 w 338"/>
                <a:gd name="T59" fmla="*/ 239 h 318"/>
                <a:gd name="T60" fmla="*/ 226 w 338"/>
                <a:gd name="T61" fmla="*/ 232 h 318"/>
                <a:gd name="T62" fmla="*/ 233 w 338"/>
                <a:gd name="T63" fmla="*/ 252 h 318"/>
                <a:gd name="T64" fmla="*/ 247 w 338"/>
                <a:gd name="T65" fmla="*/ 278 h 318"/>
                <a:gd name="T66" fmla="*/ 250 w 338"/>
                <a:gd name="T67" fmla="*/ 297 h 318"/>
                <a:gd name="T68" fmla="*/ 253 w 338"/>
                <a:gd name="T69" fmla="*/ 295 h 318"/>
                <a:gd name="T70" fmla="*/ 268 w 338"/>
                <a:gd name="T71" fmla="*/ 264 h 318"/>
                <a:gd name="T72" fmla="*/ 278 w 338"/>
                <a:gd name="T73" fmla="*/ 236 h 318"/>
                <a:gd name="T74" fmla="*/ 299 w 338"/>
                <a:gd name="T75" fmla="*/ 201 h 318"/>
                <a:gd name="T76" fmla="*/ 299 w 338"/>
                <a:gd name="T77" fmla="*/ 171 h 318"/>
                <a:gd name="T78" fmla="*/ 305 w 338"/>
                <a:gd name="T79" fmla="*/ 136 h 3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38" h="318">
                  <a:moveTo>
                    <a:pt x="305" y="136"/>
                  </a:moveTo>
                  <a:lnTo>
                    <a:pt x="307" y="120"/>
                  </a:lnTo>
                  <a:lnTo>
                    <a:pt x="313" y="112"/>
                  </a:lnTo>
                  <a:lnTo>
                    <a:pt x="328" y="109"/>
                  </a:lnTo>
                  <a:lnTo>
                    <a:pt x="338" y="96"/>
                  </a:lnTo>
                  <a:lnTo>
                    <a:pt x="326" y="86"/>
                  </a:lnTo>
                  <a:lnTo>
                    <a:pt x="317" y="81"/>
                  </a:lnTo>
                  <a:lnTo>
                    <a:pt x="308" y="52"/>
                  </a:lnTo>
                  <a:lnTo>
                    <a:pt x="304" y="28"/>
                  </a:lnTo>
                  <a:lnTo>
                    <a:pt x="308" y="24"/>
                  </a:lnTo>
                  <a:lnTo>
                    <a:pt x="301" y="0"/>
                  </a:lnTo>
                  <a:lnTo>
                    <a:pt x="219" y="0"/>
                  </a:lnTo>
                  <a:lnTo>
                    <a:pt x="139" y="0"/>
                  </a:lnTo>
                  <a:lnTo>
                    <a:pt x="57" y="0"/>
                  </a:lnTo>
                  <a:lnTo>
                    <a:pt x="59" y="48"/>
                  </a:lnTo>
                  <a:lnTo>
                    <a:pt x="35" y="48"/>
                  </a:lnTo>
                  <a:lnTo>
                    <a:pt x="35" y="57"/>
                  </a:lnTo>
                  <a:lnTo>
                    <a:pt x="39" y="152"/>
                  </a:lnTo>
                  <a:lnTo>
                    <a:pt x="21" y="151"/>
                  </a:lnTo>
                  <a:lnTo>
                    <a:pt x="12" y="168"/>
                  </a:lnTo>
                  <a:lnTo>
                    <a:pt x="7" y="183"/>
                  </a:lnTo>
                  <a:lnTo>
                    <a:pt x="11" y="188"/>
                  </a:lnTo>
                  <a:lnTo>
                    <a:pt x="5" y="196"/>
                  </a:lnTo>
                  <a:lnTo>
                    <a:pt x="7" y="205"/>
                  </a:lnTo>
                  <a:lnTo>
                    <a:pt x="2" y="215"/>
                  </a:lnTo>
                  <a:lnTo>
                    <a:pt x="0" y="224"/>
                  </a:lnTo>
                  <a:lnTo>
                    <a:pt x="7" y="223"/>
                  </a:lnTo>
                  <a:lnTo>
                    <a:pt x="12" y="232"/>
                  </a:lnTo>
                  <a:lnTo>
                    <a:pt x="13" y="246"/>
                  </a:lnTo>
                  <a:lnTo>
                    <a:pt x="21" y="253"/>
                  </a:lnTo>
                  <a:lnTo>
                    <a:pt x="21" y="258"/>
                  </a:lnTo>
                  <a:lnTo>
                    <a:pt x="23" y="268"/>
                  </a:lnTo>
                  <a:lnTo>
                    <a:pt x="35" y="283"/>
                  </a:lnTo>
                  <a:lnTo>
                    <a:pt x="35" y="293"/>
                  </a:lnTo>
                  <a:lnTo>
                    <a:pt x="33" y="303"/>
                  </a:lnTo>
                  <a:lnTo>
                    <a:pt x="34" y="310"/>
                  </a:lnTo>
                  <a:lnTo>
                    <a:pt x="41" y="317"/>
                  </a:lnTo>
                  <a:lnTo>
                    <a:pt x="43" y="318"/>
                  </a:lnTo>
                  <a:lnTo>
                    <a:pt x="49" y="315"/>
                  </a:lnTo>
                  <a:lnTo>
                    <a:pt x="56" y="311"/>
                  </a:lnTo>
                  <a:lnTo>
                    <a:pt x="62" y="290"/>
                  </a:lnTo>
                  <a:lnTo>
                    <a:pt x="67" y="279"/>
                  </a:lnTo>
                  <a:lnTo>
                    <a:pt x="82" y="276"/>
                  </a:lnTo>
                  <a:lnTo>
                    <a:pt x="86" y="282"/>
                  </a:lnTo>
                  <a:lnTo>
                    <a:pt x="97" y="296"/>
                  </a:lnTo>
                  <a:lnTo>
                    <a:pt x="103" y="298"/>
                  </a:lnTo>
                  <a:lnTo>
                    <a:pt x="110" y="294"/>
                  </a:lnTo>
                  <a:lnTo>
                    <a:pt x="125" y="295"/>
                  </a:lnTo>
                  <a:lnTo>
                    <a:pt x="128" y="300"/>
                  </a:lnTo>
                  <a:lnTo>
                    <a:pt x="148" y="300"/>
                  </a:lnTo>
                  <a:lnTo>
                    <a:pt x="149" y="295"/>
                  </a:lnTo>
                  <a:lnTo>
                    <a:pt x="161" y="291"/>
                  </a:lnTo>
                  <a:lnTo>
                    <a:pt x="162" y="283"/>
                  </a:lnTo>
                  <a:lnTo>
                    <a:pt x="170" y="279"/>
                  </a:lnTo>
                  <a:lnTo>
                    <a:pt x="188" y="293"/>
                  </a:lnTo>
                  <a:lnTo>
                    <a:pt x="198" y="290"/>
                  </a:lnTo>
                  <a:lnTo>
                    <a:pt x="208" y="273"/>
                  </a:lnTo>
                  <a:lnTo>
                    <a:pt x="219" y="260"/>
                  </a:lnTo>
                  <a:lnTo>
                    <a:pt x="218" y="245"/>
                  </a:lnTo>
                  <a:lnTo>
                    <a:pt x="212" y="239"/>
                  </a:lnTo>
                  <a:lnTo>
                    <a:pt x="225" y="238"/>
                  </a:lnTo>
                  <a:lnTo>
                    <a:pt x="226" y="232"/>
                  </a:lnTo>
                  <a:lnTo>
                    <a:pt x="235" y="234"/>
                  </a:lnTo>
                  <a:lnTo>
                    <a:pt x="233" y="252"/>
                  </a:lnTo>
                  <a:lnTo>
                    <a:pt x="237" y="268"/>
                  </a:lnTo>
                  <a:lnTo>
                    <a:pt x="247" y="278"/>
                  </a:lnTo>
                  <a:lnTo>
                    <a:pt x="250" y="286"/>
                  </a:lnTo>
                  <a:lnTo>
                    <a:pt x="250" y="297"/>
                  </a:lnTo>
                  <a:lnTo>
                    <a:pt x="253" y="298"/>
                  </a:lnTo>
                  <a:lnTo>
                    <a:pt x="253" y="295"/>
                  </a:lnTo>
                  <a:lnTo>
                    <a:pt x="259" y="270"/>
                  </a:lnTo>
                  <a:lnTo>
                    <a:pt x="268" y="264"/>
                  </a:lnTo>
                  <a:lnTo>
                    <a:pt x="270" y="253"/>
                  </a:lnTo>
                  <a:lnTo>
                    <a:pt x="278" y="236"/>
                  </a:lnTo>
                  <a:lnTo>
                    <a:pt x="290" y="224"/>
                  </a:lnTo>
                  <a:lnTo>
                    <a:pt x="299" y="201"/>
                  </a:lnTo>
                  <a:lnTo>
                    <a:pt x="301" y="181"/>
                  </a:lnTo>
                  <a:lnTo>
                    <a:pt x="299" y="171"/>
                  </a:lnTo>
                  <a:lnTo>
                    <a:pt x="305" y="136"/>
                  </a:lnTo>
                  <a:lnTo>
                    <a:pt x="305" y="13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4" name="South Sudan">
              <a:extLst>
                <a:ext uri="{FF2B5EF4-FFF2-40B4-BE49-F238E27FC236}">
                  <a16:creationId xmlns:a16="http://schemas.microsoft.com/office/drawing/2014/main" id="{FE252EDF-97A1-4696-81E5-B1947EA2743D}"/>
                </a:ext>
              </a:extLst>
            </p:cNvPr>
            <p:cNvSpPr>
              <a:spLocks/>
            </p:cNvSpPr>
            <p:nvPr/>
          </p:nvSpPr>
          <p:spPr bwMode="auto">
            <a:xfrm>
              <a:off x="6788944" y="3600224"/>
              <a:ext cx="381000" cy="328613"/>
            </a:xfrm>
            <a:custGeom>
              <a:avLst/>
              <a:gdLst>
                <a:gd name="T0" fmla="*/ 204 w 240"/>
                <a:gd name="T1" fmla="*/ 46 h 207"/>
                <a:gd name="T2" fmla="*/ 190 w 240"/>
                <a:gd name="T3" fmla="*/ 20 h 207"/>
                <a:gd name="T4" fmla="*/ 183 w 240"/>
                <a:gd name="T5" fmla="*/ 0 h 207"/>
                <a:gd name="T6" fmla="*/ 169 w 240"/>
                <a:gd name="T7" fmla="*/ 7 h 207"/>
                <a:gd name="T8" fmla="*/ 176 w 240"/>
                <a:gd name="T9" fmla="*/ 28 h 207"/>
                <a:gd name="T10" fmla="*/ 155 w 240"/>
                <a:gd name="T11" fmla="*/ 58 h 207"/>
                <a:gd name="T12" fmla="*/ 127 w 240"/>
                <a:gd name="T13" fmla="*/ 47 h 207"/>
                <a:gd name="T14" fmla="*/ 118 w 240"/>
                <a:gd name="T15" fmla="*/ 59 h 207"/>
                <a:gd name="T16" fmla="*/ 105 w 240"/>
                <a:gd name="T17" fmla="*/ 68 h 207"/>
                <a:gd name="T18" fmla="*/ 82 w 240"/>
                <a:gd name="T19" fmla="*/ 63 h 207"/>
                <a:gd name="T20" fmla="*/ 60 w 240"/>
                <a:gd name="T21" fmla="*/ 66 h 207"/>
                <a:gd name="T22" fmla="*/ 43 w 240"/>
                <a:gd name="T23" fmla="*/ 50 h 207"/>
                <a:gd name="T24" fmla="*/ 24 w 240"/>
                <a:gd name="T25" fmla="*/ 47 h 207"/>
                <a:gd name="T26" fmla="*/ 13 w 240"/>
                <a:gd name="T27" fmla="*/ 79 h 207"/>
                <a:gd name="T28" fmla="*/ 0 w 240"/>
                <a:gd name="T29" fmla="*/ 86 h 207"/>
                <a:gd name="T30" fmla="*/ 26 w 240"/>
                <a:gd name="T31" fmla="*/ 105 h 207"/>
                <a:gd name="T32" fmla="*/ 40 w 240"/>
                <a:gd name="T33" fmla="*/ 125 h 207"/>
                <a:gd name="T34" fmla="*/ 55 w 240"/>
                <a:gd name="T35" fmla="*/ 149 h 207"/>
                <a:gd name="T36" fmla="*/ 74 w 240"/>
                <a:gd name="T37" fmla="*/ 167 h 207"/>
                <a:gd name="T38" fmla="*/ 96 w 240"/>
                <a:gd name="T39" fmla="*/ 190 h 207"/>
                <a:gd name="T40" fmla="*/ 112 w 240"/>
                <a:gd name="T41" fmla="*/ 187 h 207"/>
                <a:gd name="T42" fmla="*/ 129 w 240"/>
                <a:gd name="T43" fmla="*/ 191 h 207"/>
                <a:gd name="T44" fmla="*/ 147 w 240"/>
                <a:gd name="T45" fmla="*/ 207 h 207"/>
                <a:gd name="T46" fmla="*/ 169 w 240"/>
                <a:gd name="T47" fmla="*/ 206 h 207"/>
                <a:gd name="T48" fmla="*/ 201 w 240"/>
                <a:gd name="T49" fmla="*/ 201 h 207"/>
                <a:gd name="T50" fmla="*/ 226 w 240"/>
                <a:gd name="T51" fmla="*/ 176 h 207"/>
                <a:gd name="T52" fmla="*/ 227 w 240"/>
                <a:gd name="T53" fmla="*/ 134 h 207"/>
                <a:gd name="T54" fmla="*/ 214 w 240"/>
                <a:gd name="T55" fmla="*/ 120 h 207"/>
                <a:gd name="T56" fmla="*/ 190 w 240"/>
                <a:gd name="T57" fmla="*/ 105 h 207"/>
                <a:gd name="T58" fmla="*/ 208 w 240"/>
                <a:gd name="T59" fmla="*/ 92 h 207"/>
                <a:gd name="T60" fmla="*/ 210 w 240"/>
                <a:gd name="T61" fmla="*/ 66 h 207"/>
                <a:gd name="T62" fmla="*/ 207 w 240"/>
                <a:gd name="T63" fmla="*/ 54 h 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207">
                  <a:moveTo>
                    <a:pt x="207" y="54"/>
                  </a:moveTo>
                  <a:lnTo>
                    <a:pt x="204" y="46"/>
                  </a:lnTo>
                  <a:lnTo>
                    <a:pt x="194" y="36"/>
                  </a:lnTo>
                  <a:lnTo>
                    <a:pt x="190" y="20"/>
                  </a:lnTo>
                  <a:lnTo>
                    <a:pt x="192" y="2"/>
                  </a:lnTo>
                  <a:lnTo>
                    <a:pt x="183" y="0"/>
                  </a:lnTo>
                  <a:lnTo>
                    <a:pt x="182" y="6"/>
                  </a:lnTo>
                  <a:lnTo>
                    <a:pt x="169" y="7"/>
                  </a:lnTo>
                  <a:lnTo>
                    <a:pt x="175" y="13"/>
                  </a:lnTo>
                  <a:lnTo>
                    <a:pt x="176" y="28"/>
                  </a:lnTo>
                  <a:lnTo>
                    <a:pt x="165" y="41"/>
                  </a:lnTo>
                  <a:lnTo>
                    <a:pt x="155" y="58"/>
                  </a:lnTo>
                  <a:lnTo>
                    <a:pt x="145" y="61"/>
                  </a:lnTo>
                  <a:lnTo>
                    <a:pt x="127" y="47"/>
                  </a:lnTo>
                  <a:lnTo>
                    <a:pt x="119" y="51"/>
                  </a:lnTo>
                  <a:lnTo>
                    <a:pt x="118" y="59"/>
                  </a:lnTo>
                  <a:lnTo>
                    <a:pt x="106" y="63"/>
                  </a:lnTo>
                  <a:lnTo>
                    <a:pt x="105" y="68"/>
                  </a:lnTo>
                  <a:lnTo>
                    <a:pt x="85" y="68"/>
                  </a:lnTo>
                  <a:lnTo>
                    <a:pt x="82" y="63"/>
                  </a:lnTo>
                  <a:lnTo>
                    <a:pt x="67" y="62"/>
                  </a:lnTo>
                  <a:lnTo>
                    <a:pt x="60" y="66"/>
                  </a:lnTo>
                  <a:lnTo>
                    <a:pt x="54" y="64"/>
                  </a:lnTo>
                  <a:lnTo>
                    <a:pt x="43" y="50"/>
                  </a:lnTo>
                  <a:lnTo>
                    <a:pt x="39" y="44"/>
                  </a:lnTo>
                  <a:lnTo>
                    <a:pt x="24" y="47"/>
                  </a:lnTo>
                  <a:lnTo>
                    <a:pt x="19" y="58"/>
                  </a:lnTo>
                  <a:lnTo>
                    <a:pt x="13" y="79"/>
                  </a:lnTo>
                  <a:lnTo>
                    <a:pt x="6" y="83"/>
                  </a:lnTo>
                  <a:lnTo>
                    <a:pt x="0" y="86"/>
                  </a:lnTo>
                  <a:lnTo>
                    <a:pt x="14" y="95"/>
                  </a:lnTo>
                  <a:lnTo>
                    <a:pt x="26" y="105"/>
                  </a:lnTo>
                  <a:lnTo>
                    <a:pt x="26" y="113"/>
                  </a:lnTo>
                  <a:lnTo>
                    <a:pt x="40" y="125"/>
                  </a:lnTo>
                  <a:lnTo>
                    <a:pt x="49" y="135"/>
                  </a:lnTo>
                  <a:lnTo>
                    <a:pt x="55" y="149"/>
                  </a:lnTo>
                  <a:lnTo>
                    <a:pt x="71" y="159"/>
                  </a:lnTo>
                  <a:lnTo>
                    <a:pt x="74" y="167"/>
                  </a:lnTo>
                  <a:lnTo>
                    <a:pt x="87" y="186"/>
                  </a:lnTo>
                  <a:lnTo>
                    <a:pt x="96" y="190"/>
                  </a:lnTo>
                  <a:lnTo>
                    <a:pt x="102" y="185"/>
                  </a:lnTo>
                  <a:lnTo>
                    <a:pt x="112" y="187"/>
                  </a:lnTo>
                  <a:lnTo>
                    <a:pt x="123" y="182"/>
                  </a:lnTo>
                  <a:lnTo>
                    <a:pt x="129" y="191"/>
                  </a:lnTo>
                  <a:lnTo>
                    <a:pt x="147" y="207"/>
                  </a:lnTo>
                  <a:lnTo>
                    <a:pt x="147" y="207"/>
                  </a:lnTo>
                  <a:lnTo>
                    <a:pt x="156" y="201"/>
                  </a:lnTo>
                  <a:lnTo>
                    <a:pt x="169" y="206"/>
                  </a:lnTo>
                  <a:lnTo>
                    <a:pt x="186" y="201"/>
                  </a:lnTo>
                  <a:lnTo>
                    <a:pt x="201" y="201"/>
                  </a:lnTo>
                  <a:lnTo>
                    <a:pt x="213" y="190"/>
                  </a:lnTo>
                  <a:lnTo>
                    <a:pt x="226" y="176"/>
                  </a:lnTo>
                  <a:lnTo>
                    <a:pt x="240" y="160"/>
                  </a:lnTo>
                  <a:lnTo>
                    <a:pt x="227" y="134"/>
                  </a:lnTo>
                  <a:lnTo>
                    <a:pt x="217" y="129"/>
                  </a:lnTo>
                  <a:lnTo>
                    <a:pt x="214" y="120"/>
                  </a:lnTo>
                  <a:lnTo>
                    <a:pt x="203" y="107"/>
                  </a:lnTo>
                  <a:lnTo>
                    <a:pt x="190" y="105"/>
                  </a:lnTo>
                  <a:lnTo>
                    <a:pt x="197" y="92"/>
                  </a:lnTo>
                  <a:lnTo>
                    <a:pt x="208" y="92"/>
                  </a:lnTo>
                  <a:lnTo>
                    <a:pt x="211" y="85"/>
                  </a:lnTo>
                  <a:lnTo>
                    <a:pt x="210" y="66"/>
                  </a:lnTo>
                  <a:lnTo>
                    <a:pt x="207" y="65"/>
                  </a:lnTo>
                  <a:lnTo>
                    <a:pt x="207" y="54"/>
                  </a:lnTo>
                  <a:lnTo>
                    <a:pt x="207" y="5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5" name="Senegal">
              <a:extLst>
                <a:ext uri="{FF2B5EF4-FFF2-40B4-BE49-F238E27FC236}">
                  <a16:creationId xmlns:a16="http://schemas.microsoft.com/office/drawing/2014/main" id="{26E5A239-835E-4CBF-BD49-FFF4C846F482}"/>
                </a:ext>
              </a:extLst>
            </p:cNvPr>
            <p:cNvSpPr>
              <a:spLocks/>
            </p:cNvSpPr>
            <p:nvPr/>
          </p:nvSpPr>
          <p:spPr bwMode="auto">
            <a:xfrm>
              <a:off x="5414169" y="3435124"/>
              <a:ext cx="201612" cy="161925"/>
            </a:xfrm>
            <a:custGeom>
              <a:avLst/>
              <a:gdLst>
                <a:gd name="T0" fmla="*/ 113 w 127"/>
                <a:gd name="T1" fmla="*/ 48 h 102"/>
                <a:gd name="T2" fmla="*/ 99 w 127"/>
                <a:gd name="T3" fmla="*/ 31 h 102"/>
                <a:gd name="T4" fmla="*/ 87 w 127"/>
                <a:gd name="T5" fmla="*/ 13 h 102"/>
                <a:gd name="T6" fmla="*/ 74 w 127"/>
                <a:gd name="T7" fmla="*/ 8 h 102"/>
                <a:gd name="T8" fmla="*/ 64 w 127"/>
                <a:gd name="T9" fmla="*/ 0 h 102"/>
                <a:gd name="T10" fmla="*/ 53 w 127"/>
                <a:gd name="T11" fmla="*/ 0 h 102"/>
                <a:gd name="T12" fmla="*/ 42 w 127"/>
                <a:gd name="T13" fmla="*/ 6 h 102"/>
                <a:gd name="T14" fmla="*/ 32 w 127"/>
                <a:gd name="T15" fmla="*/ 4 h 102"/>
                <a:gd name="T16" fmla="*/ 25 w 127"/>
                <a:gd name="T17" fmla="*/ 12 h 102"/>
                <a:gd name="T18" fmla="*/ 20 w 127"/>
                <a:gd name="T19" fmla="*/ 24 h 102"/>
                <a:gd name="T20" fmla="*/ 9 w 127"/>
                <a:gd name="T21" fmla="*/ 41 h 102"/>
                <a:gd name="T22" fmla="*/ 0 w 127"/>
                <a:gd name="T23" fmla="*/ 45 h 102"/>
                <a:gd name="T24" fmla="*/ 10 w 127"/>
                <a:gd name="T25" fmla="*/ 54 h 102"/>
                <a:gd name="T26" fmla="*/ 18 w 127"/>
                <a:gd name="T27" fmla="*/ 72 h 102"/>
                <a:gd name="T28" fmla="*/ 41 w 127"/>
                <a:gd name="T29" fmla="*/ 71 h 102"/>
                <a:gd name="T30" fmla="*/ 46 w 127"/>
                <a:gd name="T31" fmla="*/ 66 h 102"/>
                <a:gd name="T32" fmla="*/ 53 w 127"/>
                <a:gd name="T33" fmla="*/ 66 h 102"/>
                <a:gd name="T34" fmla="*/ 60 w 127"/>
                <a:gd name="T35" fmla="*/ 71 h 102"/>
                <a:gd name="T36" fmla="*/ 67 w 127"/>
                <a:gd name="T37" fmla="*/ 71 h 102"/>
                <a:gd name="T38" fmla="*/ 74 w 127"/>
                <a:gd name="T39" fmla="*/ 68 h 102"/>
                <a:gd name="T40" fmla="*/ 78 w 127"/>
                <a:gd name="T41" fmla="*/ 74 h 102"/>
                <a:gd name="T42" fmla="*/ 69 w 127"/>
                <a:gd name="T43" fmla="*/ 80 h 102"/>
                <a:gd name="T44" fmla="*/ 60 w 127"/>
                <a:gd name="T45" fmla="*/ 79 h 102"/>
                <a:gd name="T46" fmla="*/ 51 w 127"/>
                <a:gd name="T47" fmla="*/ 74 h 102"/>
                <a:gd name="T48" fmla="*/ 43 w 127"/>
                <a:gd name="T49" fmla="*/ 80 h 102"/>
                <a:gd name="T50" fmla="*/ 40 w 127"/>
                <a:gd name="T51" fmla="*/ 80 h 102"/>
                <a:gd name="T52" fmla="*/ 34 w 127"/>
                <a:gd name="T53" fmla="*/ 83 h 102"/>
                <a:gd name="T54" fmla="*/ 15 w 127"/>
                <a:gd name="T55" fmla="*/ 83 h 102"/>
                <a:gd name="T56" fmla="*/ 18 w 127"/>
                <a:gd name="T57" fmla="*/ 101 h 102"/>
                <a:gd name="T58" fmla="*/ 29 w 127"/>
                <a:gd name="T59" fmla="*/ 97 h 102"/>
                <a:gd name="T60" fmla="*/ 37 w 127"/>
                <a:gd name="T61" fmla="*/ 97 h 102"/>
                <a:gd name="T62" fmla="*/ 42 w 127"/>
                <a:gd name="T63" fmla="*/ 95 h 102"/>
                <a:gd name="T64" fmla="*/ 81 w 127"/>
                <a:gd name="T65" fmla="*/ 96 h 102"/>
                <a:gd name="T66" fmla="*/ 91 w 127"/>
                <a:gd name="T67" fmla="*/ 97 h 102"/>
                <a:gd name="T68" fmla="*/ 106 w 127"/>
                <a:gd name="T69" fmla="*/ 102 h 102"/>
                <a:gd name="T70" fmla="*/ 111 w 127"/>
                <a:gd name="T71" fmla="*/ 101 h 102"/>
                <a:gd name="T72" fmla="*/ 112 w 127"/>
                <a:gd name="T73" fmla="*/ 99 h 102"/>
                <a:gd name="T74" fmla="*/ 123 w 127"/>
                <a:gd name="T75" fmla="*/ 101 h 102"/>
                <a:gd name="T76" fmla="*/ 126 w 127"/>
                <a:gd name="T77" fmla="*/ 99 h 102"/>
                <a:gd name="T78" fmla="*/ 127 w 127"/>
                <a:gd name="T79" fmla="*/ 92 h 102"/>
                <a:gd name="T80" fmla="*/ 126 w 127"/>
                <a:gd name="T81" fmla="*/ 83 h 102"/>
                <a:gd name="T82" fmla="*/ 118 w 127"/>
                <a:gd name="T83" fmla="*/ 76 h 102"/>
                <a:gd name="T84" fmla="*/ 113 w 127"/>
                <a:gd name="T85" fmla="*/ 62 h 102"/>
                <a:gd name="T86" fmla="*/ 113 w 127"/>
                <a:gd name="T87" fmla="*/ 48 h 102"/>
                <a:gd name="T88" fmla="*/ 113 w 127"/>
                <a:gd name="T89" fmla="*/ 48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27" h="102">
                  <a:moveTo>
                    <a:pt x="113" y="48"/>
                  </a:moveTo>
                  <a:lnTo>
                    <a:pt x="99" y="31"/>
                  </a:lnTo>
                  <a:lnTo>
                    <a:pt x="87" y="13"/>
                  </a:lnTo>
                  <a:lnTo>
                    <a:pt x="74" y="8"/>
                  </a:lnTo>
                  <a:lnTo>
                    <a:pt x="64" y="0"/>
                  </a:lnTo>
                  <a:lnTo>
                    <a:pt x="53" y="0"/>
                  </a:lnTo>
                  <a:lnTo>
                    <a:pt x="42" y="6"/>
                  </a:lnTo>
                  <a:lnTo>
                    <a:pt x="32" y="4"/>
                  </a:lnTo>
                  <a:lnTo>
                    <a:pt x="25" y="12"/>
                  </a:lnTo>
                  <a:lnTo>
                    <a:pt x="20" y="24"/>
                  </a:lnTo>
                  <a:lnTo>
                    <a:pt x="9" y="41"/>
                  </a:lnTo>
                  <a:lnTo>
                    <a:pt x="0" y="45"/>
                  </a:lnTo>
                  <a:lnTo>
                    <a:pt x="10" y="54"/>
                  </a:lnTo>
                  <a:lnTo>
                    <a:pt x="18" y="72"/>
                  </a:lnTo>
                  <a:lnTo>
                    <a:pt x="41" y="71"/>
                  </a:lnTo>
                  <a:lnTo>
                    <a:pt x="46" y="66"/>
                  </a:lnTo>
                  <a:lnTo>
                    <a:pt x="53" y="66"/>
                  </a:lnTo>
                  <a:lnTo>
                    <a:pt x="60" y="71"/>
                  </a:lnTo>
                  <a:lnTo>
                    <a:pt x="67" y="71"/>
                  </a:lnTo>
                  <a:lnTo>
                    <a:pt x="74" y="68"/>
                  </a:lnTo>
                  <a:lnTo>
                    <a:pt x="78" y="74"/>
                  </a:lnTo>
                  <a:lnTo>
                    <a:pt x="69" y="80"/>
                  </a:lnTo>
                  <a:lnTo>
                    <a:pt x="60" y="79"/>
                  </a:lnTo>
                  <a:lnTo>
                    <a:pt x="51" y="74"/>
                  </a:lnTo>
                  <a:lnTo>
                    <a:pt x="43" y="80"/>
                  </a:lnTo>
                  <a:lnTo>
                    <a:pt x="40" y="80"/>
                  </a:lnTo>
                  <a:lnTo>
                    <a:pt x="34" y="83"/>
                  </a:lnTo>
                  <a:lnTo>
                    <a:pt x="15" y="83"/>
                  </a:lnTo>
                  <a:lnTo>
                    <a:pt x="18" y="101"/>
                  </a:lnTo>
                  <a:lnTo>
                    <a:pt x="29" y="97"/>
                  </a:lnTo>
                  <a:lnTo>
                    <a:pt x="37" y="97"/>
                  </a:lnTo>
                  <a:lnTo>
                    <a:pt x="42" y="95"/>
                  </a:lnTo>
                  <a:lnTo>
                    <a:pt x="81" y="96"/>
                  </a:lnTo>
                  <a:lnTo>
                    <a:pt x="91" y="97"/>
                  </a:lnTo>
                  <a:lnTo>
                    <a:pt x="106" y="102"/>
                  </a:lnTo>
                  <a:lnTo>
                    <a:pt x="111" y="101"/>
                  </a:lnTo>
                  <a:lnTo>
                    <a:pt x="112" y="99"/>
                  </a:lnTo>
                  <a:lnTo>
                    <a:pt x="123" y="101"/>
                  </a:lnTo>
                  <a:lnTo>
                    <a:pt x="126" y="99"/>
                  </a:lnTo>
                  <a:lnTo>
                    <a:pt x="127" y="92"/>
                  </a:lnTo>
                  <a:lnTo>
                    <a:pt x="126" y="83"/>
                  </a:lnTo>
                  <a:lnTo>
                    <a:pt x="118" y="76"/>
                  </a:lnTo>
                  <a:lnTo>
                    <a:pt x="113" y="62"/>
                  </a:lnTo>
                  <a:lnTo>
                    <a:pt x="113" y="48"/>
                  </a:lnTo>
                  <a:lnTo>
                    <a:pt x="113" y="4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6" name="Sierra Leone">
              <a:extLst>
                <a:ext uri="{FF2B5EF4-FFF2-40B4-BE49-F238E27FC236}">
                  <a16:creationId xmlns:a16="http://schemas.microsoft.com/office/drawing/2014/main" id="{EAC6B936-4107-4095-AB34-DF4A305E6305}"/>
                </a:ext>
              </a:extLst>
            </p:cNvPr>
            <p:cNvSpPr>
              <a:spLocks/>
            </p:cNvSpPr>
            <p:nvPr/>
          </p:nvSpPr>
          <p:spPr bwMode="auto">
            <a:xfrm>
              <a:off x="5555456" y="3682774"/>
              <a:ext cx="101600" cy="123825"/>
            </a:xfrm>
            <a:custGeom>
              <a:avLst/>
              <a:gdLst>
                <a:gd name="T0" fmla="*/ 64 w 64"/>
                <a:gd name="T1" fmla="*/ 39 h 78"/>
                <a:gd name="T2" fmla="*/ 58 w 64"/>
                <a:gd name="T3" fmla="*/ 40 h 78"/>
                <a:gd name="T4" fmla="*/ 58 w 64"/>
                <a:gd name="T5" fmla="*/ 32 h 78"/>
                <a:gd name="T6" fmla="*/ 54 w 64"/>
                <a:gd name="T7" fmla="*/ 25 h 78"/>
                <a:gd name="T8" fmla="*/ 55 w 64"/>
                <a:gd name="T9" fmla="*/ 19 h 78"/>
                <a:gd name="T10" fmla="*/ 51 w 64"/>
                <a:gd name="T11" fmla="*/ 9 h 78"/>
                <a:gd name="T12" fmla="*/ 45 w 64"/>
                <a:gd name="T13" fmla="*/ 0 h 78"/>
                <a:gd name="T14" fmla="*/ 28 w 64"/>
                <a:gd name="T15" fmla="*/ 0 h 78"/>
                <a:gd name="T16" fmla="*/ 23 w 64"/>
                <a:gd name="T17" fmla="*/ 5 h 78"/>
                <a:gd name="T18" fmla="*/ 18 w 64"/>
                <a:gd name="T19" fmla="*/ 5 h 78"/>
                <a:gd name="T20" fmla="*/ 14 w 64"/>
                <a:gd name="T21" fmla="*/ 11 h 78"/>
                <a:gd name="T22" fmla="*/ 11 w 64"/>
                <a:gd name="T23" fmla="*/ 17 h 78"/>
                <a:gd name="T24" fmla="*/ 0 w 64"/>
                <a:gd name="T25" fmla="*/ 27 h 78"/>
                <a:gd name="T26" fmla="*/ 3 w 64"/>
                <a:gd name="T27" fmla="*/ 45 h 78"/>
                <a:gd name="T28" fmla="*/ 6 w 64"/>
                <a:gd name="T29" fmla="*/ 53 h 78"/>
                <a:gd name="T30" fmla="*/ 17 w 64"/>
                <a:gd name="T31" fmla="*/ 67 h 78"/>
                <a:gd name="T32" fmla="*/ 32 w 64"/>
                <a:gd name="T33" fmla="*/ 76 h 78"/>
                <a:gd name="T34" fmla="*/ 37 w 64"/>
                <a:gd name="T35" fmla="*/ 78 h 78"/>
                <a:gd name="T36" fmla="*/ 43 w 64"/>
                <a:gd name="T37" fmla="*/ 70 h 78"/>
                <a:gd name="T38" fmla="*/ 44 w 64"/>
                <a:gd name="T39" fmla="*/ 63 h 78"/>
                <a:gd name="T40" fmla="*/ 53 w 64"/>
                <a:gd name="T41" fmla="*/ 51 h 78"/>
                <a:gd name="T42" fmla="*/ 64 w 64"/>
                <a:gd name="T43" fmla="*/ 39 h 78"/>
                <a:gd name="T44" fmla="*/ 64 w 64"/>
                <a:gd name="T45" fmla="*/ 3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4" h="78">
                  <a:moveTo>
                    <a:pt x="64" y="39"/>
                  </a:moveTo>
                  <a:lnTo>
                    <a:pt x="58" y="40"/>
                  </a:lnTo>
                  <a:lnTo>
                    <a:pt x="58" y="32"/>
                  </a:lnTo>
                  <a:lnTo>
                    <a:pt x="54" y="25"/>
                  </a:lnTo>
                  <a:lnTo>
                    <a:pt x="55" y="19"/>
                  </a:lnTo>
                  <a:lnTo>
                    <a:pt x="51" y="9"/>
                  </a:lnTo>
                  <a:lnTo>
                    <a:pt x="45" y="0"/>
                  </a:lnTo>
                  <a:lnTo>
                    <a:pt x="28" y="0"/>
                  </a:lnTo>
                  <a:lnTo>
                    <a:pt x="23" y="5"/>
                  </a:lnTo>
                  <a:lnTo>
                    <a:pt x="18" y="5"/>
                  </a:lnTo>
                  <a:lnTo>
                    <a:pt x="14" y="11"/>
                  </a:lnTo>
                  <a:lnTo>
                    <a:pt x="11" y="17"/>
                  </a:lnTo>
                  <a:lnTo>
                    <a:pt x="0" y="27"/>
                  </a:lnTo>
                  <a:lnTo>
                    <a:pt x="3" y="45"/>
                  </a:lnTo>
                  <a:lnTo>
                    <a:pt x="6" y="53"/>
                  </a:lnTo>
                  <a:lnTo>
                    <a:pt x="17" y="67"/>
                  </a:lnTo>
                  <a:lnTo>
                    <a:pt x="32" y="76"/>
                  </a:lnTo>
                  <a:lnTo>
                    <a:pt x="37" y="78"/>
                  </a:lnTo>
                  <a:lnTo>
                    <a:pt x="43" y="70"/>
                  </a:lnTo>
                  <a:lnTo>
                    <a:pt x="44" y="63"/>
                  </a:lnTo>
                  <a:lnTo>
                    <a:pt x="53" y="51"/>
                  </a:lnTo>
                  <a:lnTo>
                    <a:pt x="64" y="39"/>
                  </a:lnTo>
                  <a:lnTo>
                    <a:pt x="64" y="3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7" name="El Salvador">
              <a:extLst>
                <a:ext uri="{FF2B5EF4-FFF2-40B4-BE49-F238E27FC236}">
                  <a16:creationId xmlns:a16="http://schemas.microsoft.com/office/drawing/2014/main" id="{9396812F-B5D2-46C7-93CA-EB8A1A2445B4}"/>
                </a:ext>
              </a:extLst>
            </p:cNvPr>
            <p:cNvSpPr>
              <a:spLocks/>
            </p:cNvSpPr>
            <p:nvPr/>
          </p:nvSpPr>
          <p:spPr bwMode="auto">
            <a:xfrm>
              <a:off x="3018631" y="3519262"/>
              <a:ext cx="77787" cy="47625"/>
            </a:xfrm>
            <a:custGeom>
              <a:avLst/>
              <a:gdLst>
                <a:gd name="T0" fmla="*/ 47 w 49"/>
                <a:gd name="T1" fmla="*/ 24 h 30"/>
                <a:gd name="T2" fmla="*/ 49 w 49"/>
                <a:gd name="T3" fmla="*/ 15 h 30"/>
                <a:gd name="T4" fmla="*/ 46 w 49"/>
                <a:gd name="T5" fmla="*/ 12 h 30"/>
                <a:gd name="T6" fmla="*/ 43 w 49"/>
                <a:gd name="T7" fmla="*/ 10 h 30"/>
                <a:gd name="T8" fmla="*/ 33 w 49"/>
                <a:gd name="T9" fmla="*/ 13 h 30"/>
                <a:gd name="T10" fmla="*/ 33 w 49"/>
                <a:gd name="T11" fmla="*/ 10 h 30"/>
                <a:gd name="T12" fmla="*/ 27 w 49"/>
                <a:gd name="T13" fmla="*/ 6 h 30"/>
                <a:gd name="T14" fmla="*/ 23 w 49"/>
                <a:gd name="T15" fmla="*/ 2 h 30"/>
                <a:gd name="T16" fmla="*/ 17 w 49"/>
                <a:gd name="T17" fmla="*/ 0 h 30"/>
                <a:gd name="T18" fmla="*/ 12 w 49"/>
                <a:gd name="T19" fmla="*/ 1 h 30"/>
                <a:gd name="T20" fmla="*/ 13 w 49"/>
                <a:gd name="T21" fmla="*/ 3 h 30"/>
                <a:gd name="T22" fmla="*/ 9 w 49"/>
                <a:gd name="T23" fmla="*/ 6 h 30"/>
                <a:gd name="T24" fmla="*/ 1 w 49"/>
                <a:gd name="T25" fmla="*/ 12 h 30"/>
                <a:gd name="T26" fmla="*/ 0 w 49"/>
                <a:gd name="T27" fmla="*/ 16 h 30"/>
                <a:gd name="T28" fmla="*/ 5 w 49"/>
                <a:gd name="T29" fmla="*/ 20 h 30"/>
                <a:gd name="T30" fmla="*/ 17 w 49"/>
                <a:gd name="T31" fmla="*/ 22 h 30"/>
                <a:gd name="T32" fmla="*/ 25 w 49"/>
                <a:gd name="T33" fmla="*/ 27 h 30"/>
                <a:gd name="T34" fmla="*/ 32 w 49"/>
                <a:gd name="T35" fmla="*/ 30 h 30"/>
                <a:gd name="T36" fmla="*/ 45 w 49"/>
                <a:gd name="T37" fmla="*/ 30 h 30"/>
                <a:gd name="T38" fmla="*/ 47 w 49"/>
                <a:gd name="T39" fmla="*/ 24 h 30"/>
                <a:gd name="T40" fmla="*/ 47 w 49"/>
                <a:gd name="T41" fmla="*/ 2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 h="30">
                  <a:moveTo>
                    <a:pt x="47" y="24"/>
                  </a:moveTo>
                  <a:lnTo>
                    <a:pt x="49" y="15"/>
                  </a:lnTo>
                  <a:lnTo>
                    <a:pt x="46" y="12"/>
                  </a:lnTo>
                  <a:lnTo>
                    <a:pt x="43" y="10"/>
                  </a:lnTo>
                  <a:lnTo>
                    <a:pt x="33" y="13"/>
                  </a:lnTo>
                  <a:lnTo>
                    <a:pt x="33" y="10"/>
                  </a:lnTo>
                  <a:lnTo>
                    <a:pt x="27" y="6"/>
                  </a:lnTo>
                  <a:lnTo>
                    <a:pt x="23" y="2"/>
                  </a:lnTo>
                  <a:lnTo>
                    <a:pt x="17" y="0"/>
                  </a:lnTo>
                  <a:lnTo>
                    <a:pt x="12" y="1"/>
                  </a:lnTo>
                  <a:lnTo>
                    <a:pt x="13" y="3"/>
                  </a:lnTo>
                  <a:lnTo>
                    <a:pt x="9" y="6"/>
                  </a:lnTo>
                  <a:lnTo>
                    <a:pt x="1" y="12"/>
                  </a:lnTo>
                  <a:lnTo>
                    <a:pt x="0" y="16"/>
                  </a:lnTo>
                  <a:lnTo>
                    <a:pt x="5" y="20"/>
                  </a:lnTo>
                  <a:lnTo>
                    <a:pt x="17" y="22"/>
                  </a:lnTo>
                  <a:lnTo>
                    <a:pt x="25" y="27"/>
                  </a:lnTo>
                  <a:lnTo>
                    <a:pt x="32" y="30"/>
                  </a:lnTo>
                  <a:lnTo>
                    <a:pt x="45" y="30"/>
                  </a:lnTo>
                  <a:lnTo>
                    <a:pt x="47" y="24"/>
                  </a:lnTo>
                  <a:lnTo>
                    <a:pt x="47" y="2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8" name="Serbia">
              <a:extLst>
                <a:ext uri="{FF2B5EF4-FFF2-40B4-BE49-F238E27FC236}">
                  <a16:creationId xmlns:a16="http://schemas.microsoft.com/office/drawing/2014/main" id="{80229AF6-F213-4668-B720-BBE29EF52D18}"/>
                </a:ext>
              </a:extLst>
            </p:cNvPr>
            <p:cNvSpPr>
              <a:spLocks/>
            </p:cNvSpPr>
            <p:nvPr/>
          </p:nvSpPr>
          <p:spPr bwMode="auto">
            <a:xfrm>
              <a:off x="6553994" y="2323874"/>
              <a:ext cx="134937" cy="144463"/>
            </a:xfrm>
            <a:custGeom>
              <a:avLst/>
              <a:gdLst>
                <a:gd name="T0" fmla="*/ 52 w 85"/>
                <a:gd name="T1" fmla="*/ 23 h 91"/>
                <a:gd name="T2" fmla="*/ 40 w 85"/>
                <a:gd name="T3" fmla="*/ 18 h 91"/>
                <a:gd name="T4" fmla="*/ 37 w 85"/>
                <a:gd name="T5" fmla="*/ 10 h 91"/>
                <a:gd name="T6" fmla="*/ 27 w 85"/>
                <a:gd name="T7" fmla="*/ 1 h 91"/>
                <a:gd name="T8" fmla="*/ 14 w 85"/>
                <a:gd name="T9" fmla="*/ 0 h 91"/>
                <a:gd name="T10" fmla="*/ 0 w 85"/>
                <a:gd name="T11" fmla="*/ 7 h 91"/>
                <a:gd name="T12" fmla="*/ 0 w 85"/>
                <a:gd name="T13" fmla="*/ 7 h 91"/>
                <a:gd name="T14" fmla="*/ 6 w 85"/>
                <a:gd name="T15" fmla="*/ 15 h 91"/>
                <a:gd name="T16" fmla="*/ 13 w 85"/>
                <a:gd name="T17" fmla="*/ 23 h 91"/>
                <a:gd name="T18" fmla="*/ 6 w 85"/>
                <a:gd name="T19" fmla="*/ 31 h 91"/>
                <a:gd name="T20" fmla="*/ 6 w 85"/>
                <a:gd name="T21" fmla="*/ 31 h 91"/>
                <a:gd name="T22" fmla="*/ 13 w 85"/>
                <a:gd name="T23" fmla="*/ 31 h 91"/>
                <a:gd name="T24" fmla="*/ 9 w 85"/>
                <a:gd name="T25" fmla="*/ 41 h 91"/>
                <a:gd name="T26" fmla="*/ 19 w 85"/>
                <a:gd name="T27" fmla="*/ 50 h 91"/>
                <a:gd name="T28" fmla="*/ 17 w 85"/>
                <a:gd name="T29" fmla="*/ 60 h 91"/>
                <a:gd name="T30" fmla="*/ 13 w 85"/>
                <a:gd name="T31" fmla="*/ 62 h 91"/>
                <a:gd name="T32" fmla="*/ 18 w 85"/>
                <a:gd name="T33" fmla="*/ 65 h 91"/>
                <a:gd name="T34" fmla="*/ 21 w 85"/>
                <a:gd name="T35" fmla="*/ 68 h 91"/>
                <a:gd name="T36" fmla="*/ 28 w 85"/>
                <a:gd name="T37" fmla="*/ 71 h 91"/>
                <a:gd name="T38" fmla="*/ 36 w 85"/>
                <a:gd name="T39" fmla="*/ 76 h 91"/>
                <a:gd name="T40" fmla="*/ 34 w 85"/>
                <a:gd name="T41" fmla="*/ 78 h 91"/>
                <a:gd name="T42" fmla="*/ 39 w 85"/>
                <a:gd name="T43" fmla="*/ 76 h 91"/>
                <a:gd name="T44" fmla="*/ 41 w 85"/>
                <a:gd name="T45" fmla="*/ 68 h 91"/>
                <a:gd name="T46" fmla="*/ 43 w 85"/>
                <a:gd name="T47" fmla="*/ 67 h 91"/>
                <a:gd name="T48" fmla="*/ 47 w 85"/>
                <a:gd name="T49" fmla="*/ 70 h 91"/>
                <a:gd name="T50" fmla="*/ 51 w 85"/>
                <a:gd name="T51" fmla="*/ 72 h 91"/>
                <a:gd name="T52" fmla="*/ 54 w 85"/>
                <a:gd name="T53" fmla="*/ 76 h 91"/>
                <a:gd name="T54" fmla="*/ 56 w 85"/>
                <a:gd name="T55" fmla="*/ 77 h 91"/>
                <a:gd name="T56" fmla="*/ 60 w 85"/>
                <a:gd name="T57" fmla="*/ 80 h 91"/>
                <a:gd name="T58" fmla="*/ 64 w 85"/>
                <a:gd name="T59" fmla="*/ 80 h 91"/>
                <a:gd name="T60" fmla="*/ 62 w 85"/>
                <a:gd name="T61" fmla="*/ 86 h 91"/>
                <a:gd name="T62" fmla="*/ 60 w 85"/>
                <a:gd name="T63" fmla="*/ 89 h 91"/>
                <a:gd name="T64" fmla="*/ 60 w 85"/>
                <a:gd name="T65" fmla="*/ 91 h 91"/>
                <a:gd name="T66" fmla="*/ 67 w 85"/>
                <a:gd name="T67" fmla="*/ 90 h 91"/>
                <a:gd name="T68" fmla="*/ 76 w 85"/>
                <a:gd name="T69" fmla="*/ 89 h 91"/>
                <a:gd name="T70" fmla="*/ 79 w 85"/>
                <a:gd name="T71" fmla="*/ 86 h 91"/>
                <a:gd name="T72" fmla="*/ 76 w 85"/>
                <a:gd name="T73" fmla="*/ 83 h 91"/>
                <a:gd name="T74" fmla="*/ 79 w 85"/>
                <a:gd name="T75" fmla="*/ 76 h 91"/>
                <a:gd name="T76" fmla="*/ 85 w 85"/>
                <a:gd name="T77" fmla="*/ 68 h 91"/>
                <a:gd name="T78" fmla="*/ 75 w 85"/>
                <a:gd name="T79" fmla="*/ 59 h 91"/>
                <a:gd name="T80" fmla="*/ 72 w 85"/>
                <a:gd name="T81" fmla="*/ 51 h 91"/>
                <a:gd name="T82" fmla="*/ 76 w 85"/>
                <a:gd name="T83" fmla="*/ 45 h 91"/>
                <a:gd name="T84" fmla="*/ 72 w 85"/>
                <a:gd name="T85" fmla="*/ 41 h 91"/>
                <a:gd name="T86" fmla="*/ 77 w 85"/>
                <a:gd name="T87" fmla="*/ 37 h 91"/>
                <a:gd name="T88" fmla="*/ 71 w 85"/>
                <a:gd name="T89" fmla="*/ 35 h 91"/>
                <a:gd name="T90" fmla="*/ 66 w 85"/>
                <a:gd name="T91" fmla="*/ 39 h 91"/>
                <a:gd name="T92" fmla="*/ 55 w 85"/>
                <a:gd name="T93" fmla="*/ 33 h 91"/>
                <a:gd name="T94" fmla="*/ 52 w 85"/>
                <a:gd name="T95" fmla="*/ 23 h 91"/>
                <a:gd name="T96" fmla="*/ 52 w 85"/>
                <a:gd name="T97" fmla="*/ 23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5" h="91">
                  <a:moveTo>
                    <a:pt x="52" y="23"/>
                  </a:moveTo>
                  <a:lnTo>
                    <a:pt x="40" y="18"/>
                  </a:lnTo>
                  <a:lnTo>
                    <a:pt x="37" y="10"/>
                  </a:lnTo>
                  <a:lnTo>
                    <a:pt x="27" y="1"/>
                  </a:lnTo>
                  <a:lnTo>
                    <a:pt x="14" y="0"/>
                  </a:lnTo>
                  <a:lnTo>
                    <a:pt x="0" y="7"/>
                  </a:lnTo>
                  <a:lnTo>
                    <a:pt x="0" y="7"/>
                  </a:lnTo>
                  <a:lnTo>
                    <a:pt x="6" y="15"/>
                  </a:lnTo>
                  <a:lnTo>
                    <a:pt x="13" y="23"/>
                  </a:lnTo>
                  <a:lnTo>
                    <a:pt x="6" y="31"/>
                  </a:lnTo>
                  <a:lnTo>
                    <a:pt x="6" y="31"/>
                  </a:lnTo>
                  <a:lnTo>
                    <a:pt x="13" y="31"/>
                  </a:lnTo>
                  <a:lnTo>
                    <a:pt x="9" y="41"/>
                  </a:lnTo>
                  <a:lnTo>
                    <a:pt x="19" y="50"/>
                  </a:lnTo>
                  <a:lnTo>
                    <a:pt x="17" y="60"/>
                  </a:lnTo>
                  <a:lnTo>
                    <a:pt x="13" y="62"/>
                  </a:lnTo>
                  <a:lnTo>
                    <a:pt x="18" y="65"/>
                  </a:lnTo>
                  <a:lnTo>
                    <a:pt x="21" y="68"/>
                  </a:lnTo>
                  <a:lnTo>
                    <a:pt x="28" y="71"/>
                  </a:lnTo>
                  <a:lnTo>
                    <a:pt x="36" y="76"/>
                  </a:lnTo>
                  <a:lnTo>
                    <a:pt x="34" y="78"/>
                  </a:lnTo>
                  <a:lnTo>
                    <a:pt x="39" y="76"/>
                  </a:lnTo>
                  <a:lnTo>
                    <a:pt x="41" y="68"/>
                  </a:lnTo>
                  <a:lnTo>
                    <a:pt x="43" y="67"/>
                  </a:lnTo>
                  <a:lnTo>
                    <a:pt x="47" y="70"/>
                  </a:lnTo>
                  <a:lnTo>
                    <a:pt x="51" y="72"/>
                  </a:lnTo>
                  <a:lnTo>
                    <a:pt x="54" y="76"/>
                  </a:lnTo>
                  <a:lnTo>
                    <a:pt x="56" y="77"/>
                  </a:lnTo>
                  <a:lnTo>
                    <a:pt x="60" y="80"/>
                  </a:lnTo>
                  <a:lnTo>
                    <a:pt x="64" y="80"/>
                  </a:lnTo>
                  <a:lnTo>
                    <a:pt x="62" y="86"/>
                  </a:lnTo>
                  <a:lnTo>
                    <a:pt x="60" y="89"/>
                  </a:lnTo>
                  <a:lnTo>
                    <a:pt x="60" y="91"/>
                  </a:lnTo>
                  <a:lnTo>
                    <a:pt x="67" y="90"/>
                  </a:lnTo>
                  <a:lnTo>
                    <a:pt x="76" y="89"/>
                  </a:lnTo>
                  <a:lnTo>
                    <a:pt x="79" y="86"/>
                  </a:lnTo>
                  <a:lnTo>
                    <a:pt x="76" y="83"/>
                  </a:lnTo>
                  <a:lnTo>
                    <a:pt x="79" y="76"/>
                  </a:lnTo>
                  <a:lnTo>
                    <a:pt x="85" y="68"/>
                  </a:lnTo>
                  <a:lnTo>
                    <a:pt x="75" y="59"/>
                  </a:lnTo>
                  <a:lnTo>
                    <a:pt x="72" y="51"/>
                  </a:lnTo>
                  <a:lnTo>
                    <a:pt x="76" y="45"/>
                  </a:lnTo>
                  <a:lnTo>
                    <a:pt x="72" y="41"/>
                  </a:lnTo>
                  <a:lnTo>
                    <a:pt x="77" y="37"/>
                  </a:lnTo>
                  <a:lnTo>
                    <a:pt x="71" y="35"/>
                  </a:lnTo>
                  <a:lnTo>
                    <a:pt x="66" y="39"/>
                  </a:lnTo>
                  <a:lnTo>
                    <a:pt x="55" y="33"/>
                  </a:lnTo>
                  <a:lnTo>
                    <a:pt x="52" y="23"/>
                  </a:lnTo>
                  <a:lnTo>
                    <a:pt x="52" y="2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39" name="Suriname">
              <a:extLst>
                <a:ext uri="{FF2B5EF4-FFF2-40B4-BE49-F238E27FC236}">
                  <a16:creationId xmlns:a16="http://schemas.microsoft.com/office/drawing/2014/main" id="{C24929D7-DA7B-4063-89BB-16268A2C764A}"/>
                </a:ext>
              </a:extLst>
            </p:cNvPr>
            <p:cNvSpPr>
              <a:spLocks/>
            </p:cNvSpPr>
            <p:nvPr/>
          </p:nvSpPr>
          <p:spPr bwMode="auto">
            <a:xfrm>
              <a:off x="4063206" y="3835174"/>
              <a:ext cx="138112" cy="157163"/>
            </a:xfrm>
            <a:custGeom>
              <a:avLst/>
              <a:gdLst>
                <a:gd name="T0" fmla="*/ 64 w 87"/>
                <a:gd name="T1" fmla="*/ 0 h 99"/>
                <a:gd name="T2" fmla="*/ 48 w 87"/>
                <a:gd name="T3" fmla="*/ 1 h 99"/>
                <a:gd name="T4" fmla="*/ 45 w 87"/>
                <a:gd name="T5" fmla="*/ 6 h 99"/>
                <a:gd name="T6" fmla="*/ 20 w 87"/>
                <a:gd name="T7" fmla="*/ 1 h 99"/>
                <a:gd name="T8" fmla="*/ 16 w 87"/>
                <a:gd name="T9" fmla="*/ 23 h 99"/>
                <a:gd name="T10" fmla="*/ 3 w 87"/>
                <a:gd name="T11" fmla="*/ 28 h 99"/>
                <a:gd name="T12" fmla="*/ 5 w 87"/>
                <a:gd name="T13" fmla="*/ 34 h 99"/>
                <a:gd name="T14" fmla="*/ 0 w 87"/>
                <a:gd name="T15" fmla="*/ 46 h 99"/>
                <a:gd name="T16" fmla="*/ 9 w 87"/>
                <a:gd name="T17" fmla="*/ 64 h 99"/>
                <a:gd name="T18" fmla="*/ 16 w 87"/>
                <a:gd name="T19" fmla="*/ 64 h 99"/>
                <a:gd name="T20" fmla="*/ 19 w 87"/>
                <a:gd name="T21" fmla="*/ 77 h 99"/>
                <a:gd name="T22" fmla="*/ 31 w 87"/>
                <a:gd name="T23" fmla="*/ 98 h 99"/>
                <a:gd name="T24" fmla="*/ 42 w 87"/>
                <a:gd name="T25" fmla="*/ 99 h 99"/>
                <a:gd name="T26" fmla="*/ 44 w 87"/>
                <a:gd name="T27" fmla="*/ 95 h 99"/>
                <a:gd name="T28" fmla="*/ 41 w 87"/>
                <a:gd name="T29" fmla="*/ 90 h 99"/>
                <a:gd name="T30" fmla="*/ 43 w 87"/>
                <a:gd name="T31" fmla="*/ 84 h 99"/>
                <a:gd name="T32" fmla="*/ 51 w 87"/>
                <a:gd name="T33" fmla="*/ 85 h 99"/>
                <a:gd name="T34" fmla="*/ 62 w 87"/>
                <a:gd name="T35" fmla="*/ 83 h 99"/>
                <a:gd name="T36" fmla="*/ 74 w 87"/>
                <a:gd name="T37" fmla="*/ 88 h 99"/>
                <a:gd name="T38" fmla="*/ 78 w 87"/>
                <a:gd name="T39" fmla="*/ 78 h 99"/>
                <a:gd name="T40" fmla="*/ 81 w 87"/>
                <a:gd name="T41" fmla="*/ 68 h 99"/>
                <a:gd name="T42" fmla="*/ 85 w 87"/>
                <a:gd name="T43" fmla="*/ 56 h 99"/>
                <a:gd name="T44" fmla="*/ 77 w 87"/>
                <a:gd name="T45" fmla="*/ 43 h 99"/>
                <a:gd name="T46" fmla="*/ 76 w 87"/>
                <a:gd name="T47" fmla="*/ 27 h 99"/>
                <a:gd name="T48" fmla="*/ 87 w 87"/>
                <a:gd name="T49" fmla="*/ 6 h 99"/>
                <a:gd name="T50" fmla="*/ 64 w 87"/>
                <a:gd name="T51" fmla="*/ 0 h 99"/>
                <a:gd name="T52" fmla="*/ 64 w 87"/>
                <a:gd name="T53" fmla="*/ 0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7" h="99">
                  <a:moveTo>
                    <a:pt x="64" y="0"/>
                  </a:moveTo>
                  <a:lnTo>
                    <a:pt x="48" y="1"/>
                  </a:lnTo>
                  <a:lnTo>
                    <a:pt x="45" y="6"/>
                  </a:lnTo>
                  <a:lnTo>
                    <a:pt x="20" y="1"/>
                  </a:lnTo>
                  <a:lnTo>
                    <a:pt x="16" y="23"/>
                  </a:lnTo>
                  <a:lnTo>
                    <a:pt x="3" y="28"/>
                  </a:lnTo>
                  <a:lnTo>
                    <a:pt x="5" y="34"/>
                  </a:lnTo>
                  <a:lnTo>
                    <a:pt x="0" y="46"/>
                  </a:lnTo>
                  <a:lnTo>
                    <a:pt x="9" y="64"/>
                  </a:lnTo>
                  <a:lnTo>
                    <a:pt x="16" y="64"/>
                  </a:lnTo>
                  <a:lnTo>
                    <a:pt x="19" y="77"/>
                  </a:lnTo>
                  <a:lnTo>
                    <a:pt x="31" y="98"/>
                  </a:lnTo>
                  <a:lnTo>
                    <a:pt x="42" y="99"/>
                  </a:lnTo>
                  <a:lnTo>
                    <a:pt x="44" y="95"/>
                  </a:lnTo>
                  <a:lnTo>
                    <a:pt x="41" y="90"/>
                  </a:lnTo>
                  <a:lnTo>
                    <a:pt x="43" y="84"/>
                  </a:lnTo>
                  <a:lnTo>
                    <a:pt x="51" y="85"/>
                  </a:lnTo>
                  <a:lnTo>
                    <a:pt x="62" y="83"/>
                  </a:lnTo>
                  <a:lnTo>
                    <a:pt x="74" y="88"/>
                  </a:lnTo>
                  <a:lnTo>
                    <a:pt x="78" y="78"/>
                  </a:lnTo>
                  <a:lnTo>
                    <a:pt x="81" y="68"/>
                  </a:lnTo>
                  <a:lnTo>
                    <a:pt x="85" y="56"/>
                  </a:lnTo>
                  <a:lnTo>
                    <a:pt x="77" y="43"/>
                  </a:lnTo>
                  <a:lnTo>
                    <a:pt x="76" y="27"/>
                  </a:lnTo>
                  <a:lnTo>
                    <a:pt x="87" y="6"/>
                  </a:lnTo>
                  <a:lnTo>
                    <a:pt x="64" y="0"/>
                  </a:lnTo>
                  <a:lnTo>
                    <a:pt x="64"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0" name="Slovakia">
              <a:extLst>
                <a:ext uri="{FF2B5EF4-FFF2-40B4-BE49-F238E27FC236}">
                  <a16:creationId xmlns:a16="http://schemas.microsoft.com/office/drawing/2014/main" id="{232781A3-B508-4013-95E8-BCE55AB1150B}"/>
                </a:ext>
              </a:extLst>
            </p:cNvPr>
            <p:cNvSpPr>
              <a:spLocks/>
            </p:cNvSpPr>
            <p:nvPr/>
          </p:nvSpPr>
          <p:spPr bwMode="auto">
            <a:xfrm>
              <a:off x="6488906" y="2200049"/>
              <a:ext cx="163512" cy="66675"/>
            </a:xfrm>
            <a:custGeom>
              <a:avLst/>
              <a:gdLst>
                <a:gd name="T0" fmla="*/ 103 w 103"/>
                <a:gd name="T1" fmla="*/ 11 h 42"/>
                <a:gd name="T2" fmla="*/ 84 w 103"/>
                <a:gd name="T3" fmla="*/ 2 h 42"/>
                <a:gd name="T4" fmla="*/ 71 w 103"/>
                <a:gd name="T5" fmla="*/ 5 h 42"/>
                <a:gd name="T6" fmla="*/ 63 w 103"/>
                <a:gd name="T7" fmla="*/ 2 h 42"/>
                <a:gd name="T8" fmla="*/ 53 w 103"/>
                <a:gd name="T9" fmla="*/ 7 h 42"/>
                <a:gd name="T10" fmla="*/ 42 w 103"/>
                <a:gd name="T11" fmla="*/ 0 h 42"/>
                <a:gd name="T12" fmla="*/ 35 w 103"/>
                <a:gd name="T13" fmla="*/ 2 h 42"/>
                <a:gd name="T14" fmla="*/ 34 w 103"/>
                <a:gd name="T15" fmla="*/ 2 h 42"/>
                <a:gd name="T16" fmla="*/ 28 w 103"/>
                <a:gd name="T17" fmla="*/ 2 h 42"/>
                <a:gd name="T18" fmla="*/ 26 w 103"/>
                <a:gd name="T19" fmla="*/ 5 h 42"/>
                <a:gd name="T20" fmla="*/ 22 w 103"/>
                <a:gd name="T21" fmla="*/ 6 h 42"/>
                <a:gd name="T22" fmla="*/ 21 w 103"/>
                <a:gd name="T23" fmla="*/ 12 h 42"/>
                <a:gd name="T24" fmla="*/ 18 w 103"/>
                <a:gd name="T25" fmla="*/ 13 h 42"/>
                <a:gd name="T26" fmla="*/ 17 w 103"/>
                <a:gd name="T27" fmla="*/ 15 h 42"/>
                <a:gd name="T28" fmla="*/ 12 w 103"/>
                <a:gd name="T29" fmla="*/ 17 h 42"/>
                <a:gd name="T30" fmla="*/ 3 w 103"/>
                <a:gd name="T31" fmla="*/ 16 h 42"/>
                <a:gd name="T32" fmla="*/ 1 w 103"/>
                <a:gd name="T33" fmla="*/ 22 h 42"/>
                <a:gd name="T34" fmla="*/ 0 w 103"/>
                <a:gd name="T35" fmla="*/ 25 h 42"/>
                <a:gd name="T36" fmla="*/ 2 w 103"/>
                <a:gd name="T37" fmla="*/ 33 h 42"/>
                <a:gd name="T38" fmla="*/ 12 w 103"/>
                <a:gd name="T39" fmla="*/ 39 h 42"/>
                <a:gd name="T40" fmla="*/ 19 w 103"/>
                <a:gd name="T41" fmla="*/ 42 h 42"/>
                <a:gd name="T42" fmla="*/ 35 w 103"/>
                <a:gd name="T43" fmla="*/ 39 h 42"/>
                <a:gd name="T44" fmla="*/ 36 w 103"/>
                <a:gd name="T45" fmla="*/ 34 h 42"/>
                <a:gd name="T46" fmla="*/ 43 w 103"/>
                <a:gd name="T47" fmla="*/ 33 h 42"/>
                <a:gd name="T48" fmla="*/ 52 w 103"/>
                <a:gd name="T49" fmla="*/ 30 h 42"/>
                <a:gd name="T50" fmla="*/ 54 w 103"/>
                <a:gd name="T51" fmla="*/ 31 h 42"/>
                <a:gd name="T52" fmla="*/ 62 w 103"/>
                <a:gd name="T53" fmla="*/ 29 h 42"/>
                <a:gd name="T54" fmla="*/ 66 w 103"/>
                <a:gd name="T55" fmla="*/ 23 h 42"/>
                <a:gd name="T56" fmla="*/ 71 w 103"/>
                <a:gd name="T57" fmla="*/ 21 h 42"/>
                <a:gd name="T58" fmla="*/ 92 w 103"/>
                <a:gd name="T59" fmla="*/ 29 h 42"/>
                <a:gd name="T60" fmla="*/ 96 w 103"/>
                <a:gd name="T61" fmla="*/ 26 h 42"/>
                <a:gd name="T62" fmla="*/ 98 w 103"/>
                <a:gd name="T63" fmla="*/ 16 h 42"/>
                <a:gd name="T64" fmla="*/ 103 w 103"/>
                <a:gd name="T65" fmla="*/ 11 h 42"/>
                <a:gd name="T66" fmla="*/ 103 w 103"/>
                <a:gd name="T67" fmla="*/ 11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3" h="42">
                  <a:moveTo>
                    <a:pt x="103" y="11"/>
                  </a:moveTo>
                  <a:lnTo>
                    <a:pt x="84" y="2"/>
                  </a:lnTo>
                  <a:lnTo>
                    <a:pt x="71" y="5"/>
                  </a:lnTo>
                  <a:lnTo>
                    <a:pt x="63" y="2"/>
                  </a:lnTo>
                  <a:lnTo>
                    <a:pt x="53" y="7"/>
                  </a:lnTo>
                  <a:lnTo>
                    <a:pt x="42" y="0"/>
                  </a:lnTo>
                  <a:lnTo>
                    <a:pt x="35" y="2"/>
                  </a:lnTo>
                  <a:lnTo>
                    <a:pt x="34" y="2"/>
                  </a:lnTo>
                  <a:lnTo>
                    <a:pt x="28" y="2"/>
                  </a:lnTo>
                  <a:lnTo>
                    <a:pt x="26" y="5"/>
                  </a:lnTo>
                  <a:lnTo>
                    <a:pt x="22" y="6"/>
                  </a:lnTo>
                  <a:lnTo>
                    <a:pt x="21" y="12"/>
                  </a:lnTo>
                  <a:lnTo>
                    <a:pt x="18" y="13"/>
                  </a:lnTo>
                  <a:lnTo>
                    <a:pt x="17" y="15"/>
                  </a:lnTo>
                  <a:lnTo>
                    <a:pt x="12" y="17"/>
                  </a:lnTo>
                  <a:lnTo>
                    <a:pt x="3" y="16"/>
                  </a:lnTo>
                  <a:lnTo>
                    <a:pt x="1" y="22"/>
                  </a:lnTo>
                  <a:lnTo>
                    <a:pt x="0" y="25"/>
                  </a:lnTo>
                  <a:lnTo>
                    <a:pt x="2" y="33"/>
                  </a:lnTo>
                  <a:lnTo>
                    <a:pt x="12" y="39"/>
                  </a:lnTo>
                  <a:lnTo>
                    <a:pt x="19" y="42"/>
                  </a:lnTo>
                  <a:lnTo>
                    <a:pt x="35" y="39"/>
                  </a:lnTo>
                  <a:lnTo>
                    <a:pt x="36" y="34"/>
                  </a:lnTo>
                  <a:lnTo>
                    <a:pt x="43" y="33"/>
                  </a:lnTo>
                  <a:lnTo>
                    <a:pt x="52" y="30"/>
                  </a:lnTo>
                  <a:lnTo>
                    <a:pt x="54" y="31"/>
                  </a:lnTo>
                  <a:lnTo>
                    <a:pt x="62" y="29"/>
                  </a:lnTo>
                  <a:lnTo>
                    <a:pt x="66" y="23"/>
                  </a:lnTo>
                  <a:lnTo>
                    <a:pt x="71" y="21"/>
                  </a:lnTo>
                  <a:lnTo>
                    <a:pt x="92" y="29"/>
                  </a:lnTo>
                  <a:lnTo>
                    <a:pt x="96" y="26"/>
                  </a:lnTo>
                  <a:lnTo>
                    <a:pt x="98" y="16"/>
                  </a:lnTo>
                  <a:lnTo>
                    <a:pt x="103" y="11"/>
                  </a:lnTo>
                  <a:lnTo>
                    <a:pt x="103"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1" name="Slovenia">
              <a:extLst>
                <a:ext uri="{FF2B5EF4-FFF2-40B4-BE49-F238E27FC236}">
                  <a16:creationId xmlns:a16="http://schemas.microsoft.com/office/drawing/2014/main" id="{95B6FDDA-763B-48AD-A8F3-4DF1296ACF8A}"/>
                </a:ext>
              </a:extLst>
            </p:cNvPr>
            <p:cNvSpPr>
              <a:spLocks/>
            </p:cNvSpPr>
            <p:nvPr/>
          </p:nvSpPr>
          <p:spPr bwMode="auto">
            <a:xfrm>
              <a:off x="6401594" y="2298474"/>
              <a:ext cx="84137" cy="52388"/>
            </a:xfrm>
            <a:custGeom>
              <a:avLst/>
              <a:gdLst>
                <a:gd name="T0" fmla="*/ 53 w 53"/>
                <a:gd name="T1" fmla="*/ 9 h 33"/>
                <a:gd name="T2" fmla="*/ 49 w 53"/>
                <a:gd name="T3" fmla="*/ 1 h 33"/>
                <a:gd name="T4" fmla="*/ 46 w 53"/>
                <a:gd name="T5" fmla="*/ 0 h 33"/>
                <a:gd name="T6" fmla="*/ 42 w 53"/>
                <a:gd name="T7" fmla="*/ 5 h 33"/>
                <a:gd name="T8" fmla="*/ 26 w 53"/>
                <a:gd name="T9" fmla="*/ 5 h 33"/>
                <a:gd name="T10" fmla="*/ 17 w 53"/>
                <a:gd name="T11" fmla="*/ 10 h 33"/>
                <a:gd name="T12" fmla="*/ 1 w 53"/>
                <a:gd name="T13" fmla="*/ 9 h 33"/>
                <a:gd name="T14" fmla="*/ 0 w 53"/>
                <a:gd name="T15" fmla="*/ 20 h 33"/>
                <a:gd name="T16" fmla="*/ 6 w 53"/>
                <a:gd name="T17" fmla="*/ 30 h 33"/>
                <a:gd name="T18" fmla="*/ 1 w 53"/>
                <a:gd name="T19" fmla="*/ 32 h 33"/>
                <a:gd name="T20" fmla="*/ 14 w 53"/>
                <a:gd name="T21" fmla="*/ 33 h 33"/>
                <a:gd name="T22" fmla="*/ 18 w 53"/>
                <a:gd name="T23" fmla="*/ 29 h 33"/>
                <a:gd name="T24" fmla="*/ 25 w 53"/>
                <a:gd name="T25" fmla="*/ 33 h 33"/>
                <a:gd name="T26" fmla="*/ 32 w 53"/>
                <a:gd name="T27" fmla="*/ 33 h 33"/>
                <a:gd name="T28" fmla="*/ 31 w 53"/>
                <a:gd name="T29" fmla="*/ 26 h 33"/>
                <a:gd name="T30" fmla="*/ 38 w 53"/>
                <a:gd name="T31" fmla="*/ 24 h 33"/>
                <a:gd name="T32" fmla="*/ 39 w 53"/>
                <a:gd name="T33" fmla="*/ 15 h 33"/>
                <a:gd name="T34" fmla="*/ 53 w 53"/>
                <a:gd name="T35" fmla="*/ 9 h 33"/>
                <a:gd name="T36" fmla="*/ 53 w 53"/>
                <a:gd name="T37" fmla="*/ 9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3" h="33">
                  <a:moveTo>
                    <a:pt x="53" y="9"/>
                  </a:moveTo>
                  <a:lnTo>
                    <a:pt x="49" y="1"/>
                  </a:lnTo>
                  <a:lnTo>
                    <a:pt x="46" y="0"/>
                  </a:lnTo>
                  <a:lnTo>
                    <a:pt x="42" y="5"/>
                  </a:lnTo>
                  <a:lnTo>
                    <a:pt x="26" y="5"/>
                  </a:lnTo>
                  <a:lnTo>
                    <a:pt x="17" y="10"/>
                  </a:lnTo>
                  <a:lnTo>
                    <a:pt x="1" y="9"/>
                  </a:lnTo>
                  <a:lnTo>
                    <a:pt x="0" y="20"/>
                  </a:lnTo>
                  <a:lnTo>
                    <a:pt x="6" y="30"/>
                  </a:lnTo>
                  <a:lnTo>
                    <a:pt x="1" y="32"/>
                  </a:lnTo>
                  <a:lnTo>
                    <a:pt x="14" y="33"/>
                  </a:lnTo>
                  <a:lnTo>
                    <a:pt x="18" y="29"/>
                  </a:lnTo>
                  <a:lnTo>
                    <a:pt x="25" y="33"/>
                  </a:lnTo>
                  <a:lnTo>
                    <a:pt x="32" y="33"/>
                  </a:lnTo>
                  <a:lnTo>
                    <a:pt x="31" y="26"/>
                  </a:lnTo>
                  <a:lnTo>
                    <a:pt x="38" y="24"/>
                  </a:lnTo>
                  <a:lnTo>
                    <a:pt x="39" y="15"/>
                  </a:lnTo>
                  <a:lnTo>
                    <a:pt x="53" y="9"/>
                  </a:lnTo>
                  <a:lnTo>
                    <a:pt x="53" y="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2" name="Sweden">
              <a:extLst>
                <a:ext uri="{FF2B5EF4-FFF2-40B4-BE49-F238E27FC236}">
                  <a16:creationId xmlns:a16="http://schemas.microsoft.com/office/drawing/2014/main" id="{DAF2A54F-6E68-4B00-8C7E-E2E58F22A958}"/>
                </a:ext>
              </a:extLst>
            </p:cNvPr>
            <p:cNvSpPr>
              <a:spLocks/>
            </p:cNvSpPr>
            <p:nvPr/>
          </p:nvSpPr>
          <p:spPr bwMode="auto">
            <a:xfrm>
              <a:off x="6292056" y="1523774"/>
              <a:ext cx="303212" cy="466724"/>
            </a:xfrm>
            <a:custGeom>
              <a:avLst/>
              <a:gdLst>
                <a:gd name="T0" fmla="*/ 191 w 191"/>
                <a:gd name="T1" fmla="*/ 63 h 294"/>
                <a:gd name="T2" fmla="*/ 183 w 191"/>
                <a:gd name="T3" fmla="*/ 56 h 294"/>
                <a:gd name="T4" fmla="*/ 177 w 191"/>
                <a:gd name="T5" fmla="*/ 24 h 294"/>
                <a:gd name="T6" fmla="*/ 150 w 191"/>
                <a:gd name="T7" fmla="*/ 10 h 294"/>
                <a:gd name="T8" fmla="*/ 128 w 191"/>
                <a:gd name="T9" fmla="*/ 0 h 294"/>
                <a:gd name="T10" fmla="*/ 119 w 191"/>
                <a:gd name="T11" fmla="*/ 2 h 294"/>
                <a:gd name="T12" fmla="*/ 119 w 191"/>
                <a:gd name="T13" fmla="*/ 15 h 294"/>
                <a:gd name="T14" fmla="*/ 89 w 191"/>
                <a:gd name="T15" fmla="*/ 11 h 294"/>
                <a:gd name="T16" fmla="*/ 87 w 191"/>
                <a:gd name="T17" fmla="*/ 22 h 294"/>
                <a:gd name="T18" fmla="*/ 72 w 191"/>
                <a:gd name="T19" fmla="*/ 22 h 294"/>
                <a:gd name="T20" fmla="*/ 64 w 191"/>
                <a:gd name="T21" fmla="*/ 37 h 294"/>
                <a:gd name="T22" fmla="*/ 52 w 191"/>
                <a:gd name="T23" fmla="*/ 60 h 294"/>
                <a:gd name="T24" fmla="*/ 30 w 191"/>
                <a:gd name="T25" fmla="*/ 90 h 294"/>
                <a:gd name="T26" fmla="*/ 37 w 191"/>
                <a:gd name="T27" fmla="*/ 96 h 294"/>
                <a:gd name="T28" fmla="*/ 32 w 191"/>
                <a:gd name="T29" fmla="*/ 104 h 294"/>
                <a:gd name="T30" fmla="*/ 16 w 191"/>
                <a:gd name="T31" fmla="*/ 104 h 294"/>
                <a:gd name="T32" fmla="*/ 7 w 191"/>
                <a:gd name="T33" fmla="*/ 124 h 294"/>
                <a:gd name="T34" fmla="*/ 10 w 191"/>
                <a:gd name="T35" fmla="*/ 152 h 294"/>
                <a:gd name="T36" fmla="*/ 23 w 191"/>
                <a:gd name="T37" fmla="*/ 163 h 294"/>
                <a:gd name="T38" fmla="*/ 19 w 191"/>
                <a:gd name="T39" fmla="*/ 189 h 294"/>
                <a:gd name="T40" fmla="*/ 7 w 191"/>
                <a:gd name="T41" fmla="*/ 203 h 294"/>
                <a:gd name="T42" fmla="*/ 0 w 191"/>
                <a:gd name="T43" fmla="*/ 217 h 294"/>
                <a:gd name="T44" fmla="*/ 16 w 191"/>
                <a:gd name="T45" fmla="*/ 247 h 294"/>
                <a:gd name="T46" fmla="*/ 32 w 191"/>
                <a:gd name="T47" fmla="*/ 273 h 294"/>
                <a:gd name="T48" fmla="*/ 39 w 191"/>
                <a:gd name="T49" fmla="*/ 294 h 294"/>
                <a:gd name="T50" fmla="*/ 59 w 191"/>
                <a:gd name="T51" fmla="*/ 293 h 294"/>
                <a:gd name="T52" fmla="*/ 67 w 191"/>
                <a:gd name="T53" fmla="*/ 275 h 294"/>
                <a:gd name="T54" fmla="*/ 89 w 191"/>
                <a:gd name="T55" fmla="*/ 277 h 294"/>
                <a:gd name="T56" fmla="*/ 96 w 191"/>
                <a:gd name="T57" fmla="*/ 257 h 294"/>
                <a:gd name="T58" fmla="*/ 98 w 191"/>
                <a:gd name="T59" fmla="*/ 219 h 294"/>
                <a:gd name="T60" fmla="*/ 116 w 191"/>
                <a:gd name="T61" fmla="*/ 215 h 294"/>
                <a:gd name="T62" fmla="*/ 128 w 191"/>
                <a:gd name="T63" fmla="*/ 189 h 294"/>
                <a:gd name="T64" fmla="*/ 110 w 191"/>
                <a:gd name="T65" fmla="*/ 177 h 294"/>
                <a:gd name="T66" fmla="*/ 96 w 191"/>
                <a:gd name="T67" fmla="*/ 162 h 294"/>
                <a:gd name="T68" fmla="*/ 105 w 191"/>
                <a:gd name="T69" fmla="*/ 132 h 294"/>
                <a:gd name="T70" fmla="*/ 134 w 191"/>
                <a:gd name="T71" fmla="*/ 114 h 294"/>
                <a:gd name="T72" fmla="*/ 156 w 191"/>
                <a:gd name="T73" fmla="*/ 97 h 294"/>
                <a:gd name="T74" fmla="*/ 151 w 191"/>
                <a:gd name="T75" fmla="*/ 84 h 294"/>
                <a:gd name="T76" fmla="*/ 164 w 191"/>
                <a:gd name="T77" fmla="*/ 69 h 294"/>
                <a:gd name="T78" fmla="*/ 191 w 191"/>
                <a:gd name="T79" fmla="*/ 63 h 294"/>
                <a:gd name="T80" fmla="*/ 191 w 191"/>
                <a:gd name="T81" fmla="*/ 63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91" h="294">
                  <a:moveTo>
                    <a:pt x="191" y="63"/>
                  </a:moveTo>
                  <a:lnTo>
                    <a:pt x="183" y="56"/>
                  </a:lnTo>
                  <a:lnTo>
                    <a:pt x="177" y="24"/>
                  </a:lnTo>
                  <a:lnTo>
                    <a:pt x="150" y="10"/>
                  </a:lnTo>
                  <a:lnTo>
                    <a:pt x="128" y="0"/>
                  </a:lnTo>
                  <a:lnTo>
                    <a:pt x="119" y="2"/>
                  </a:lnTo>
                  <a:lnTo>
                    <a:pt x="119" y="15"/>
                  </a:lnTo>
                  <a:lnTo>
                    <a:pt x="89" y="11"/>
                  </a:lnTo>
                  <a:lnTo>
                    <a:pt x="87" y="22"/>
                  </a:lnTo>
                  <a:lnTo>
                    <a:pt x="72" y="22"/>
                  </a:lnTo>
                  <a:lnTo>
                    <a:pt x="64" y="37"/>
                  </a:lnTo>
                  <a:lnTo>
                    <a:pt x="52" y="60"/>
                  </a:lnTo>
                  <a:lnTo>
                    <a:pt x="30" y="90"/>
                  </a:lnTo>
                  <a:lnTo>
                    <a:pt x="37" y="96"/>
                  </a:lnTo>
                  <a:lnTo>
                    <a:pt x="32" y="104"/>
                  </a:lnTo>
                  <a:lnTo>
                    <a:pt x="16" y="104"/>
                  </a:lnTo>
                  <a:lnTo>
                    <a:pt x="7" y="124"/>
                  </a:lnTo>
                  <a:lnTo>
                    <a:pt x="10" y="152"/>
                  </a:lnTo>
                  <a:lnTo>
                    <a:pt x="23" y="163"/>
                  </a:lnTo>
                  <a:lnTo>
                    <a:pt x="19" y="189"/>
                  </a:lnTo>
                  <a:lnTo>
                    <a:pt x="7" y="203"/>
                  </a:lnTo>
                  <a:lnTo>
                    <a:pt x="0" y="217"/>
                  </a:lnTo>
                  <a:lnTo>
                    <a:pt x="16" y="247"/>
                  </a:lnTo>
                  <a:lnTo>
                    <a:pt x="32" y="273"/>
                  </a:lnTo>
                  <a:lnTo>
                    <a:pt x="39" y="294"/>
                  </a:lnTo>
                  <a:lnTo>
                    <a:pt x="59" y="293"/>
                  </a:lnTo>
                  <a:lnTo>
                    <a:pt x="67" y="275"/>
                  </a:lnTo>
                  <a:lnTo>
                    <a:pt x="89" y="277"/>
                  </a:lnTo>
                  <a:lnTo>
                    <a:pt x="96" y="257"/>
                  </a:lnTo>
                  <a:lnTo>
                    <a:pt x="98" y="219"/>
                  </a:lnTo>
                  <a:lnTo>
                    <a:pt x="116" y="215"/>
                  </a:lnTo>
                  <a:lnTo>
                    <a:pt x="128" y="189"/>
                  </a:lnTo>
                  <a:lnTo>
                    <a:pt x="110" y="177"/>
                  </a:lnTo>
                  <a:lnTo>
                    <a:pt x="96" y="162"/>
                  </a:lnTo>
                  <a:lnTo>
                    <a:pt x="105" y="132"/>
                  </a:lnTo>
                  <a:lnTo>
                    <a:pt x="134" y="114"/>
                  </a:lnTo>
                  <a:lnTo>
                    <a:pt x="156" y="97"/>
                  </a:lnTo>
                  <a:lnTo>
                    <a:pt x="151" y="84"/>
                  </a:lnTo>
                  <a:lnTo>
                    <a:pt x="164" y="69"/>
                  </a:lnTo>
                  <a:lnTo>
                    <a:pt x="191" y="63"/>
                  </a:lnTo>
                  <a:lnTo>
                    <a:pt x="191" y="6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3" name="Swaziland">
              <a:extLst>
                <a:ext uri="{FF2B5EF4-FFF2-40B4-BE49-F238E27FC236}">
                  <a16:creationId xmlns:a16="http://schemas.microsoft.com/office/drawing/2014/main" id="{703A3E72-669B-48E1-907B-6C39D11EEC28}"/>
                </a:ext>
              </a:extLst>
            </p:cNvPr>
            <p:cNvSpPr>
              <a:spLocks/>
            </p:cNvSpPr>
            <p:nvPr/>
          </p:nvSpPr>
          <p:spPr bwMode="auto">
            <a:xfrm>
              <a:off x="6985794" y="5030561"/>
              <a:ext cx="46037" cy="60325"/>
            </a:xfrm>
            <a:custGeom>
              <a:avLst/>
              <a:gdLst>
                <a:gd name="T0" fmla="*/ 25 w 29"/>
                <a:gd name="T1" fmla="*/ 4 h 38"/>
                <a:gd name="T2" fmla="*/ 15 w 29"/>
                <a:gd name="T3" fmla="*/ 0 h 38"/>
                <a:gd name="T4" fmla="*/ 9 w 29"/>
                <a:gd name="T5" fmla="*/ 2 h 38"/>
                <a:gd name="T6" fmla="*/ 7 w 29"/>
                <a:gd name="T7" fmla="*/ 8 h 38"/>
                <a:gd name="T8" fmla="*/ 1 w 29"/>
                <a:gd name="T9" fmla="*/ 17 h 38"/>
                <a:gd name="T10" fmla="*/ 0 w 29"/>
                <a:gd name="T11" fmla="*/ 25 h 38"/>
                <a:gd name="T12" fmla="*/ 11 w 29"/>
                <a:gd name="T13" fmla="*/ 38 h 38"/>
                <a:gd name="T14" fmla="*/ 23 w 29"/>
                <a:gd name="T15" fmla="*/ 35 h 38"/>
                <a:gd name="T16" fmla="*/ 29 w 29"/>
                <a:gd name="T17" fmla="*/ 25 h 38"/>
                <a:gd name="T18" fmla="*/ 27 w 29"/>
                <a:gd name="T19" fmla="*/ 15 h 38"/>
                <a:gd name="T20" fmla="*/ 25 w 29"/>
                <a:gd name="T21" fmla="*/ 4 h 38"/>
                <a:gd name="T22" fmla="*/ 25 w 29"/>
                <a:gd name="T23"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9" h="38">
                  <a:moveTo>
                    <a:pt x="25" y="4"/>
                  </a:moveTo>
                  <a:lnTo>
                    <a:pt x="15" y="0"/>
                  </a:lnTo>
                  <a:lnTo>
                    <a:pt x="9" y="2"/>
                  </a:lnTo>
                  <a:lnTo>
                    <a:pt x="7" y="8"/>
                  </a:lnTo>
                  <a:lnTo>
                    <a:pt x="1" y="17"/>
                  </a:lnTo>
                  <a:lnTo>
                    <a:pt x="0" y="25"/>
                  </a:lnTo>
                  <a:lnTo>
                    <a:pt x="11" y="38"/>
                  </a:lnTo>
                  <a:lnTo>
                    <a:pt x="23" y="35"/>
                  </a:lnTo>
                  <a:lnTo>
                    <a:pt x="29" y="25"/>
                  </a:lnTo>
                  <a:lnTo>
                    <a:pt x="27" y="15"/>
                  </a:lnTo>
                  <a:lnTo>
                    <a:pt x="25" y="4"/>
                  </a:lnTo>
                  <a:lnTo>
                    <a:pt x="2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4" name="Syria">
              <a:extLst>
                <a:ext uri="{FF2B5EF4-FFF2-40B4-BE49-F238E27FC236}">
                  <a16:creationId xmlns:a16="http://schemas.microsoft.com/office/drawing/2014/main" id="{93B5F49D-178C-4088-AB68-7B7CE97FDE51}"/>
                </a:ext>
              </a:extLst>
            </p:cNvPr>
            <p:cNvSpPr>
              <a:spLocks/>
            </p:cNvSpPr>
            <p:nvPr/>
          </p:nvSpPr>
          <p:spPr bwMode="auto">
            <a:xfrm>
              <a:off x="7120731" y="2655662"/>
              <a:ext cx="192087" cy="187325"/>
            </a:xfrm>
            <a:custGeom>
              <a:avLst/>
              <a:gdLst>
                <a:gd name="T0" fmla="*/ 64 w 121"/>
                <a:gd name="T1" fmla="*/ 94 h 118"/>
                <a:gd name="T2" fmla="*/ 105 w 121"/>
                <a:gd name="T3" fmla="*/ 68 h 118"/>
                <a:gd name="T4" fmla="*/ 108 w 121"/>
                <a:gd name="T5" fmla="*/ 39 h 118"/>
                <a:gd name="T6" fmla="*/ 104 w 121"/>
                <a:gd name="T7" fmla="*/ 22 h 118"/>
                <a:gd name="T8" fmla="*/ 114 w 121"/>
                <a:gd name="T9" fmla="*/ 15 h 118"/>
                <a:gd name="T10" fmla="*/ 121 w 121"/>
                <a:gd name="T11" fmla="*/ 0 h 118"/>
                <a:gd name="T12" fmla="*/ 99 w 121"/>
                <a:gd name="T13" fmla="*/ 4 h 118"/>
                <a:gd name="T14" fmla="*/ 89 w 121"/>
                <a:gd name="T15" fmla="*/ 4 h 118"/>
                <a:gd name="T16" fmla="*/ 67 w 121"/>
                <a:gd name="T17" fmla="*/ 13 h 118"/>
                <a:gd name="T18" fmla="*/ 51 w 121"/>
                <a:gd name="T19" fmla="*/ 13 h 118"/>
                <a:gd name="T20" fmla="*/ 40 w 121"/>
                <a:gd name="T21" fmla="*/ 9 h 118"/>
                <a:gd name="T22" fmla="*/ 20 w 121"/>
                <a:gd name="T23" fmla="*/ 15 h 118"/>
                <a:gd name="T24" fmla="*/ 13 w 121"/>
                <a:gd name="T25" fmla="*/ 11 h 118"/>
                <a:gd name="T26" fmla="*/ 13 w 121"/>
                <a:gd name="T27" fmla="*/ 24 h 118"/>
                <a:gd name="T28" fmla="*/ 8 w 121"/>
                <a:gd name="T29" fmla="*/ 29 h 118"/>
                <a:gd name="T30" fmla="*/ 4 w 121"/>
                <a:gd name="T31" fmla="*/ 35 h 118"/>
                <a:gd name="T32" fmla="*/ 0 w 121"/>
                <a:gd name="T33" fmla="*/ 44 h 118"/>
                <a:gd name="T34" fmla="*/ 5 w 121"/>
                <a:gd name="T35" fmla="*/ 63 h 118"/>
                <a:gd name="T36" fmla="*/ 13 w 121"/>
                <a:gd name="T37" fmla="*/ 64 h 118"/>
                <a:gd name="T38" fmla="*/ 18 w 121"/>
                <a:gd name="T39" fmla="*/ 73 h 118"/>
                <a:gd name="T40" fmla="*/ 8 w 121"/>
                <a:gd name="T41" fmla="*/ 82 h 118"/>
                <a:gd name="T42" fmla="*/ 5 w 121"/>
                <a:gd name="T43" fmla="*/ 95 h 118"/>
                <a:gd name="T44" fmla="*/ 6 w 121"/>
                <a:gd name="T45" fmla="*/ 105 h 118"/>
                <a:gd name="T46" fmla="*/ 4 w 121"/>
                <a:gd name="T47" fmla="*/ 109 h 118"/>
                <a:gd name="T48" fmla="*/ 4 w 121"/>
                <a:gd name="T49" fmla="*/ 109 h 118"/>
                <a:gd name="T50" fmla="*/ 28 w 121"/>
                <a:gd name="T51" fmla="*/ 118 h 118"/>
                <a:gd name="T52" fmla="*/ 64 w 121"/>
                <a:gd name="T53" fmla="*/ 94 h 118"/>
                <a:gd name="T54" fmla="*/ 64 w 121"/>
                <a:gd name="T55" fmla="*/ 94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1" h="118">
                  <a:moveTo>
                    <a:pt x="64" y="94"/>
                  </a:moveTo>
                  <a:lnTo>
                    <a:pt x="105" y="68"/>
                  </a:lnTo>
                  <a:lnTo>
                    <a:pt x="108" y="39"/>
                  </a:lnTo>
                  <a:lnTo>
                    <a:pt x="104" y="22"/>
                  </a:lnTo>
                  <a:lnTo>
                    <a:pt x="114" y="15"/>
                  </a:lnTo>
                  <a:lnTo>
                    <a:pt x="121" y="0"/>
                  </a:lnTo>
                  <a:lnTo>
                    <a:pt x="99" y="4"/>
                  </a:lnTo>
                  <a:lnTo>
                    <a:pt x="89" y="4"/>
                  </a:lnTo>
                  <a:lnTo>
                    <a:pt x="67" y="13"/>
                  </a:lnTo>
                  <a:lnTo>
                    <a:pt x="51" y="13"/>
                  </a:lnTo>
                  <a:lnTo>
                    <a:pt x="40" y="9"/>
                  </a:lnTo>
                  <a:lnTo>
                    <a:pt x="20" y="15"/>
                  </a:lnTo>
                  <a:lnTo>
                    <a:pt x="13" y="11"/>
                  </a:lnTo>
                  <a:lnTo>
                    <a:pt x="13" y="24"/>
                  </a:lnTo>
                  <a:lnTo>
                    <a:pt x="8" y="29"/>
                  </a:lnTo>
                  <a:lnTo>
                    <a:pt x="4" y="35"/>
                  </a:lnTo>
                  <a:lnTo>
                    <a:pt x="0" y="44"/>
                  </a:lnTo>
                  <a:lnTo>
                    <a:pt x="5" y="63"/>
                  </a:lnTo>
                  <a:lnTo>
                    <a:pt x="13" y="64"/>
                  </a:lnTo>
                  <a:lnTo>
                    <a:pt x="18" y="73"/>
                  </a:lnTo>
                  <a:lnTo>
                    <a:pt x="8" y="82"/>
                  </a:lnTo>
                  <a:lnTo>
                    <a:pt x="5" y="95"/>
                  </a:lnTo>
                  <a:lnTo>
                    <a:pt x="6" y="105"/>
                  </a:lnTo>
                  <a:lnTo>
                    <a:pt x="4" y="109"/>
                  </a:lnTo>
                  <a:lnTo>
                    <a:pt x="4" y="109"/>
                  </a:lnTo>
                  <a:lnTo>
                    <a:pt x="28" y="118"/>
                  </a:lnTo>
                  <a:lnTo>
                    <a:pt x="64" y="94"/>
                  </a:lnTo>
                  <a:lnTo>
                    <a:pt x="64" y="9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5" name="Chad">
              <a:extLst>
                <a:ext uri="{FF2B5EF4-FFF2-40B4-BE49-F238E27FC236}">
                  <a16:creationId xmlns:a16="http://schemas.microsoft.com/office/drawing/2014/main" id="{9475128B-AE1D-40F8-893E-F5B5CF0726F6}"/>
                </a:ext>
              </a:extLst>
            </p:cNvPr>
            <p:cNvSpPr>
              <a:spLocks/>
            </p:cNvSpPr>
            <p:nvPr/>
          </p:nvSpPr>
          <p:spPr bwMode="auto">
            <a:xfrm>
              <a:off x="6441281" y="3179537"/>
              <a:ext cx="341312" cy="603250"/>
            </a:xfrm>
            <a:custGeom>
              <a:avLst/>
              <a:gdLst>
                <a:gd name="T0" fmla="*/ 211 w 215"/>
                <a:gd name="T1" fmla="*/ 90 h 380"/>
                <a:gd name="T2" fmla="*/ 127 w 215"/>
                <a:gd name="T3" fmla="*/ 46 h 380"/>
                <a:gd name="T4" fmla="*/ 44 w 215"/>
                <a:gd name="T5" fmla="*/ 0 h 380"/>
                <a:gd name="T6" fmla="*/ 24 w 215"/>
                <a:gd name="T7" fmla="*/ 13 h 380"/>
                <a:gd name="T8" fmla="*/ 30 w 215"/>
                <a:gd name="T9" fmla="*/ 49 h 380"/>
                <a:gd name="T10" fmla="*/ 38 w 215"/>
                <a:gd name="T11" fmla="*/ 56 h 380"/>
                <a:gd name="T12" fmla="*/ 38 w 215"/>
                <a:gd name="T13" fmla="*/ 63 h 380"/>
                <a:gd name="T14" fmla="*/ 47 w 215"/>
                <a:gd name="T15" fmla="*/ 72 h 380"/>
                <a:gd name="T16" fmla="*/ 42 w 215"/>
                <a:gd name="T17" fmla="*/ 82 h 380"/>
                <a:gd name="T18" fmla="*/ 36 w 215"/>
                <a:gd name="T19" fmla="*/ 130 h 380"/>
                <a:gd name="T20" fmla="*/ 35 w 215"/>
                <a:gd name="T21" fmla="*/ 161 h 380"/>
                <a:gd name="T22" fmla="*/ 10 w 215"/>
                <a:gd name="T23" fmla="*/ 184 h 380"/>
                <a:gd name="T24" fmla="*/ 0 w 215"/>
                <a:gd name="T25" fmla="*/ 215 h 380"/>
                <a:gd name="T26" fmla="*/ 10 w 215"/>
                <a:gd name="T27" fmla="*/ 223 h 380"/>
                <a:gd name="T28" fmla="*/ 10 w 215"/>
                <a:gd name="T29" fmla="*/ 239 h 380"/>
                <a:gd name="T30" fmla="*/ 23 w 215"/>
                <a:gd name="T31" fmla="*/ 240 h 380"/>
                <a:gd name="T32" fmla="*/ 21 w 215"/>
                <a:gd name="T33" fmla="*/ 250 h 380"/>
                <a:gd name="T34" fmla="*/ 29 w 215"/>
                <a:gd name="T35" fmla="*/ 266 h 380"/>
                <a:gd name="T36" fmla="*/ 31 w 215"/>
                <a:gd name="T37" fmla="*/ 281 h 380"/>
                <a:gd name="T38" fmla="*/ 30 w 215"/>
                <a:gd name="T39" fmla="*/ 298 h 380"/>
                <a:gd name="T40" fmla="*/ 42 w 215"/>
                <a:gd name="T41" fmla="*/ 319 h 380"/>
                <a:gd name="T42" fmla="*/ 30 w 215"/>
                <a:gd name="T43" fmla="*/ 318 h 380"/>
                <a:gd name="T44" fmla="*/ 25 w 215"/>
                <a:gd name="T45" fmla="*/ 320 h 380"/>
                <a:gd name="T46" fmla="*/ 15 w 215"/>
                <a:gd name="T47" fmla="*/ 318 h 380"/>
                <a:gd name="T48" fmla="*/ 11 w 215"/>
                <a:gd name="T49" fmla="*/ 329 h 380"/>
                <a:gd name="T50" fmla="*/ 23 w 215"/>
                <a:gd name="T51" fmla="*/ 342 h 380"/>
                <a:gd name="T52" fmla="*/ 32 w 215"/>
                <a:gd name="T53" fmla="*/ 347 h 380"/>
                <a:gd name="T54" fmla="*/ 36 w 215"/>
                <a:gd name="T55" fmla="*/ 356 h 380"/>
                <a:gd name="T56" fmla="*/ 42 w 215"/>
                <a:gd name="T57" fmla="*/ 373 h 380"/>
                <a:gd name="T58" fmla="*/ 39 w 215"/>
                <a:gd name="T59" fmla="*/ 380 h 380"/>
                <a:gd name="T60" fmla="*/ 56 w 215"/>
                <a:gd name="T61" fmla="*/ 378 h 380"/>
                <a:gd name="T62" fmla="*/ 60 w 215"/>
                <a:gd name="T63" fmla="*/ 371 h 380"/>
                <a:gd name="T64" fmla="*/ 64 w 215"/>
                <a:gd name="T65" fmla="*/ 372 h 380"/>
                <a:gd name="T66" fmla="*/ 69 w 215"/>
                <a:gd name="T67" fmla="*/ 378 h 380"/>
                <a:gd name="T68" fmla="*/ 96 w 215"/>
                <a:gd name="T69" fmla="*/ 369 h 380"/>
                <a:gd name="T70" fmla="*/ 104 w 215"/>
                <a:gd name="T71" fmla="*/ 359 h 380"/>
                <a:gd name="T72" fmla="*/ 114 w 215"/>
                <a:gd name="T73" fmla="*/ 351 h 380"/>
                <a:gd name="T74" fmla="*/ 113 w 215"/>
                <a:gd name="T75" fmla="*/ 342 h 380"/>
                <a:gd name="T76" fmla="*/ 118 w 215"/>
                <a:gd name="T77" fmla="*/ 341 h 380"/>
                <a:gd name="T78" fmla="*/ 139 w 215"/>
                <a:gd name="T79" fmla="*/ 342 h 380"/>
                <a:gd name="T80" fmla="*/ 158 w 215"/>
                <a:gd name="T81" fmla="*/ 331 h 380"/>
                <a:gd name="T82" fmla="*/ 173 w 215"/>
                <a:gd name="T83" fmla="*/ 305 h 380"/>
                <a:gd name="T84" fmla="*/ 183 w 215"/>
                <a:gd name="T85" fmla="*/ 296 h 380"/>
                <a:gd name="T86" fmla="*/ 197 w 215"/>
                <a:gd name="T87" fmla="*/ 291 h 380"/>
                <a:gd name="T88" fmla="*/ 197 w 215"/>
                <a:gd name="T89" fmla="*/ 286 h 380"/>
                <a:gd name="T90" fmla="*/ 189 w 215"/>
                <a:gd name="T91" fmla="*/ 279 h 380"/>
                <a:gd name="T92" fmla="*/ 188 w 215"/>
                <a:gd name="T93" fmla="*/ 265 h 380"/>
                <a:gd name="T94" fmla="*/ 183 w 215"/>
                <a:gd name="T95" fmla="*/ 256 h 380"/>
                <a:gd name="T96" fmla="*/ 176 w 215"/>
                <a:gd name="T97" fmla="*/ 257 h 380"/>
                <a:gd name="T98" fmla="*/ 178 w 215"/>
                <a:gd name="T99" fmla="*/ 248 h 380"/>
                <a:gd name="T100" fmla="*/ 183 w 215"/>
                <a:gd name="T101" fmla="*/ 238 h 380"/>
                <a:gd name="T102" fmla="*/ 181 w 215"/>
                <a:gd name="T103" fmla="*/ 229 h 380"/>
                <a:gd name="T104" fmla="*/ 187 w 215"/>
                <a:gd name="T105" fmla="*/ 221 h 380"/>
                <a:gd name="T106" fmla="*/ 183 w 215"/>
                <a:gd name="T107" fmla="*/ 216 h 380"/>
                <a:gd name="T108" fmla="*/ 188 w 215"/>
                <a:gd name="T109" fmla="*/ 201 h 380"/>
                <a:gd name="T110" fmla="*/ 197 w 215"/>
                <a:gd name="T111" fmla="*/ 184 h 380"/>
                <a:gd name="T112" fmla="*/ 215 w 215"/>
                <a:gd name="T113" fmla="*/ 185 h 380"/>
                <a:gd name="T114" fmla="*/ 211 w 215"/>
                <a:gd name="T115" fmla="*/ 90 h 380"/>
                <a:gd name="T116" fmla="*/ 211 w 215"/>
                <a:gd name="T117" fmla="*/ 9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15" h="380">
                  <a:moveTo>
                    <a:pt x="211" y="90"/>
                  </a:moveTo>
                  <a:lnTo>
                    <a:pt x="127" y="46"/>
                  </a:lnTo>
                  <a:lnTo>
                    <a:pt x="44" y="0"/>
                  </a:lnTo>
                  <a:lnTo>
                    <a:pt x="24" y="13"/>
                  </a:lnTo>
                  <a:lnTo>
                    <a:pt x="30" y="49"/>
                  </a:lnTo>
                  <a:lnTo>
                    <a:pt x="38" y="56"/>
                  </a:lnTo>
                  <a:lnTo>
                    <a:pt x="38" y="63"/>
                  </a:lnTo>
                  <a:lnTo>
                    <a:pt x="47" y="72"/>
                  </a:lnTo>
                  <a:lnTo>
                    <a:pt x="42" y="82"/>
                  </a:lnTo>
                  <a:lnTo>
                    <a:pt x="36" y="130"/>
                  </a:lnTo>
                  <a:lnTo>
                    <a:pt x="35" y="161"/>
                  </a:lnTo>
                  <a:lnTo>
                    <a:pt x="10" y="184"/>
                  </a:lnTo>
                  <a:lnTo>
                    <a:pt x="0" y="215"/>
                  </a:lnTo>
                  <a:lnTo>
                    <a:pt x="10" y="223"/>
                  </a:lnTo>
                  <a:lnTo>
                    <a:pt x="10" y="239"/>
                  </a:lnTo>
                  <a:lnTo>
                    <a:pt x="23" y="240"/>
                  </a:lnTo>
                  <a:lnTo>
                    <a:pt x="21" y="250"/>
                  </a:lnTo>
                  <a:lnTo>
                    <a:pt x="29" y="266"/>
                  </a:lnTo>
                  <a:lnTo>
                    <a:pt x="31" y="281"/>
                  </a:lnTo>
                  <a:lnTo>
                    <a:pt x="30" y="298"/>
                  </a:lnTo>
                  <a:lnTo>
                    <a:pt x="42" y="319"/>
                  </a:lnTo>
                  <a:lnTo>
                    <a:pt x="30" y="318"/>
                  </a:lnTo>
                  <a:lnTo>
                    <a:pt x="25" y="320"/>
                  </a:lnTo>
                  <a:lnTo>
                    <a:pt x="15" y="318"/>
                  </a:lnTo>
                  <a:lnTo>
                    <a:pt x="11" y="329"/>
                  </a:lnTo>
                  <a:lnTo>
                    <a:pt x="23" y="342"/>
                  </a:lnTo>
                  <a:lnTo>
                    <a:pt x="32" y="347"/>
                  </a:lnTo>
                  <a:lnTo>
                    <a:pt x="36" y="356"/>
                  </a:lnTo>
                  <a:lnTo>
                    <a:pt x="42" y="373"/>
                  </a:lnTo>
                  <a:lnTo>
                    <a:pt x="39" y="380"/>
                  </a:lnTo>
                  <a:lnTo>
                    <a:pt x="56" y="378"/>
                  </a:lnTo>
                  <a:lnTo>
                    <a:pt x="60" y="371"/>
                  </a:lnTo>
                  <a:lnTo>
                    <a:pt x="64" y="372"/>
                  </a:lnTo>
                  <a:lnTo>
                    <a:pt x="69" y="378"/>
                  </a:lnTo>
                  <a:lnTo>
                    <a:pt x="96" y="369"/>
                  </a:lnTo>
                  <a:lnTo>
                    <a:pt x="104" y="359"/>
                  </a:lnTo>
                  <a:lnTo>
                    <a:pt x="114" y="351"/>
                  </a:lnTo>
                  <a:lnTo>
                    <a:pt x="113" y="342"/>
                  </a:lnTo>
                  <a:lnTo>
                    <a:pt x="118" y="341"/>
                  </a:lnTo>
                  <a:lnTo>
                    <a:pt x="139" y="342"/>
                  </a:lnTo>
                  <a:lnTo>
                    <a:pt x="158" y="331"/>
                  </a:lnTo>
                  <a:lnTo>
                    <a:pt x="173" y="305"/>
                  </a:lnTo>
                  <a:lnTo>
                    <a:pt x="183" y="296"/>
                  </a:lnTo>
                  <a:lnTo>
                    <a:pt x="197" y="291"/>
                  </a:lnTo>
                  <a:lnTo>
                    <a:pt x="197" y="286"/>
                  </a:lnTo>
                  <a:lnTo>
                    <a:pt x="189" y="279"/>
                  </a:lnTo>
                  <a:lnTo>
                    <a:pt x="188" y="265"/>
                  </a:lnTo>
                  <a:lnTo>
                    <a:pt x="183" y="256"/>
                  </a:lnTo>
                  <a:lnTo>
                    <a:pt x="176" y="257"/>
                  </a:lnTo>
                  <a:lnTo>
                    <a:pt x="178" y="248"/>
                  </a:lnTo>
                  <a:lnTo>
                    <a:pt x="183" y="238"/>
                  </a:lnTo>
                  <a:lnTo>
                    <a:pt x="181" y="229"/>
                  </a:lnTo>
                  <a:lnTo>
                    <a:pt x="187" y="221"/>
                  </a:lnTo>
                  <a:lnTo>
                    <a:pt x="183" y="216"/>
                  </a:lnTo>
                  <a:lnTo>
                    <a:pt x="188" y="201"/>
                  </a:lnTo>
                  <a:lnTo>
                    <a:pt x="197" y="184"/>
                  </a:lnTo>
                  <a:lnTo>
                    <a:pt x="215" y="185"/>
                  </a:lnTo>
                  <a:lnTo>
                    <a:pt x="211" y="90"/>
                  </a:lnTo>
                  <a:lnTo>
                    <a:pt x="211" y="9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6" name="Togo">
              <a:extLst>
                <a:ext uri="{FF2B5EF4-FFF2-40B4-BE49-F238E27FC236}">
                  <a16:creationId xmlns:a16="http://schemas.microsoft.com/office/drawing/2014/main" id="{2B43EF06-1F3A-480A-82D2-D467DFB45A65}"/>
                </a:ext>
              </a:extLst>
            </p:cNvPr>
            <p:cNvSpPr>
              <a:spLocks/>
            </p:cNvSpPr>
            <p:nvPr/>
          </p:nvSpPr>
          <p:spPr bwMode="auto">
            <a:xfrm>
              <a:off x="5995194" y="3646262"/>
              <a:ext cx="63500" cy="192088"/>
            </a:xfrm>
            <a:custGeom>
              <a:avLst/>
              <a:gdLst>
                <a:gd name="T0" fmla="*/ 19 w 40"/>
                <a:gd name="T1" fmla="*/ 1 h 121"/>
                <a:gd name="T2" fmla="*/ 0 w 40"/>
                <a:gd name="T3" fmla="*/ 0 h 121"/>
                <a:gd name="T4" fmla="*/ 0 w 40"/>
                <a:gd name="T5" fmla="*/ 7 h 121"/>
                <a:gd name="T6" fmla="*/ 8 w 40"/>
                <a:gd name="T7" fmla="*/ 20 h 121"/>
                <a:gd name="T8" fmla="*/ 8 w 40"/>
                <a:gd name="T9" fmla="*/ 37 h 121"/>
                <a:gd name="T10" fmla="*/ 10 w 40"/>
                <a:gd name="T11" fmla="*/ 56 h 121"/>
                <a:gd name="T12" fmla="*/ 15 w 40"/>
                <a:gd name="T13" fmla="*/ 64 h 121"/>
                <a:gd name="T14" fmla="*/ 11 w 40"/>
                <a:gd name="T15" fmla="*/ 86 h 121"/>
                <a:gd name="T16" fmla="*/ 13 w 40"/>
                <a:gd name="T17" fmla="*/ 98 h 121"/>
                <a:gd name="T18" fmla="*/ 18 w 40"/>
                <a:gd name="T19" fmla="*/ 113 h 121"/>
                <a:gd name="T20" fmla="*/ 22 w 40"/>
                <a:gd name="T21" fmla="*/ 121 h 121"/>
                <a:gd name="T22" fmla="*/ 40 w 40"/>
                <a:gd name="T23" fmla="*/ 116 h 121"/>
                <a:gd name="T24" fmla="*/ 34 w 40"/>
                <a:gd name="T25" fmla="*/ 100 h 121"/>
                <a:gd name="T26" fmla="*/ 35 w 40"/>
                <a:gd name="T27" fmla="*/ 45 h 121"/>
                <a:gd name="T28" fmla="*/ 31 w 40"/>
                <a:gd name="T29" fmla="*/ 40 h 121"/>
                <a:gd name="T30" fmla="*/ 30 w 40"/>
                <a:gd name="T31" fmla="*/ 29 h 121"/>
                <a:gd name="T32" fmla="*/ 23 w 40"/>
                <a:gd name="T33" fmla="*/ 20 h 121"/>
                <a:gd name="T34" fmla="*/ 16 w 40"/>
                <a:gd name="T35" fmla="*/ 13 h 121"/>
                <a:gd name="T36" fmla="*/ 19 w 40"/>
                <a:gd name="T37" fmla="*/ 1 h 121"/>
                <a:gd name="T38" fmla="*/ 19 w 40"/>
                <a:gd name="T39" fmla="*/ 1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0" h="121">
                  <a:moveTo>
                    <a:pt x="19" y="1"/>
                  </a:moveTo>
                  <a:lnTo>
                    <a:pt x="0" y="0"/>
                  </a:lnTo>
                  <a:lnTo>
                    <a:pt x="0" y="7"/>
                  </a:lnTo>
                  <a:lnTo>
                    <a:pt x="8" y="20"/>
                  </a:lnTo>
                  <a:lnTo>
                    <a:pt x="8" y="37"/>
                  </a:lnTo>
                  <a:lnTo>
                    <a:pt x="10" y="56"/>
                  </a:lnTo>
                  <a:lnTo>
                    <a:pt x="15" y="64"/>
                  </a:lnTo>
                  <a:lnTo>
                    <a:pt x="11" y="86"/>
                  </a:lnTo>
                  <a:lnTo>
                    <a:pt x="13" y="98"/>
                  </a:lnTo>
                  <a:lnTo>
                    <a:pt x="18" y="113"/>
                  </a:lnTo>
                  <a:lnTo>
                    <a:pt x="22" y="121"/>
                  </a:lnTo>
                  <a:lnTo>
                    <a:pt x="40" y="116"/>
                  </a:lnTo>
                  <a:lnTo>
                    <a:pt x="34" y="100"/>
                  </a:lnTo>
                  <a:lnTo>
                    <a:pt x="35" y="45"/>
                  </a:lnTo>
                  <a:lnTo>
                    <a:pt x="31" y="40"/>
                  </a:lnTo>
                  <a:lnTo>
                    <a:pt x="30" y="29"/>
                  </a:lnTo>
                  <a:lnTo>
                    <a:pt x="23" y="20"/>
                  </a:lnTo>
                  <a:lnTo>
                    <a:pt x="16" y="13"/>
                  </a:lnTo>
                  <a:lnTo>
                    <a:pt x="19" y="1"/>
                  </a:lnTo>
                  <a:lnTo>
                    <a:pt x="1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7" name="Thailand">
              <a:extLst>
                <a:ext uri="{FF2B5EF4-FFF2-40B4-BE49-F238E27FC236}">
                  <a16:creationId xmlns:a16="http://schemas.microsoft.com/office/drawing/2014/main" id="{46ADA662-D9DC-442F-A51D-C8516D2C15CD}"/>
                </a:ext>
              </a:extLst>
            </p:cNvPr>
            <p:cNvSpPr>
              <a:spLocks/>
            </p:cNvSpPr>
            <p:nvPr/>
          </p:nvSpPr>
          <p:spPr bwMode="auto">
            <a:xfrm>
              <a:off x="9189244" y="3292249"/>
              <a:ext cx="290512" cy="555625"/>
            </a:xfrm>
            <a:custGeom>
              <a:avLst/>
              <a:gdLst>
                <a:gd name="T0" fmla="*/ 183 w 183"/>
                <a:gd name="T1" fmla="*/ 135 h 350"/>
                <a:gd name="T2" fmla="*/ 161 w 183"/>
                <a:gd name="T3" fmla="*/ 94 h 350"/>
                <a:gd name="T4" fmla="*/ 138 w 183"/>
                <a:gd name="T5" fmla="*/ 51 h 350"/>
                <a:gd name="T6" fmla="*/ 119 w 183"/>
                <a:gd name="T7" fmla="*/ 59 h 350"/>
                <a:gd name="T8" fmla="*/ 100 w 183"/>
                <a:gd name="T9" fmla="*/ 55 h 350"/>
                <a:gd name="T10" fmla="*/ 77 w 183"/>
                <a:gd name="T11" fmla="*/ 47 h 350"/>
                <a:gd name="T12" fmla="*/ 64 w 183"/>
                <a:gd name="T13" fmla="*/ 21 h 350"/>
                <a:gd name="T14" fmla="*/ 51 w 183"/>
                <a:gd name="T15" fmla="*/ 0 h 350"/>
                <a:gd name="T16" fmla="*/ 29 w 183"/>
                <a:gd name="T17" fmla="*/ 16 h 350"/>
                <a:gd name="T18" fmla="*/ 9 w 183"/>
                <a:gd name="T19" fmla="*/ 43 h 350"/>
                <a:gd name="T20" fmla="*/ 14 w 183"/>
                <a:gd name="T21" fmla="*/ 68 h 350"/>
                <a:gd name="T22" fmla="*/ 40 w 183"/>
                <a:gd name="T23" fmla="*/ 101 h 350"/>
                <a:gd name="T24" fmla="*/ 28 w 183"/>
                <a:gd name="T25" fmla="*/ 126 h 350"/>
                <a:gd name="T26" fmla="*/ 51 w 183"/>
                <a:gd name="T27" fmla="*/ 157 h 350"/>
                <a:gd name="T28" fmla="*/ 55 w 183"/>
                <a:gd name="T29" fmla="*/ 181 h 350"/>
                <a:gd name="T30" fmla="*/ 56 w 183"/>
                <a:gd name="T31" fmla="*/ 225 h 350"/>
                <a:gd name="T32" fmla="*/ 42 w 183"/>
                <a:gd name="T33" fmla="*/ 271 h 350"/>
                <a:gd name="T34" fmla="*/ 46 w 183"/>
                <a:gd name="T35" fmla="*/ 299 h 350"/>
                <a:gd name="T36" fmla="*/ 59 w 183"/>
                <a:gd name="T37" fmla="*/ 298 h 350"/>
                <a:gd name="T38" fmla="*/ 75 w 183"/>
                <a:gd name="T39" fmla="*/ 322 h 350"/>
                <a:gd name="T40" fmla="*/ 88 w 183"/>
                <a:gd name="T41" fmla="*/ 328 h 350"/>
                <a:gd name="T42" fmla="*/ 108 w 183"/>
                <a:gd name="T43" fmla="*/ 350 h 350"/>
                <a:gd name="T44" fmla="*/ 127 w 183"/>
                <a:gd name="T45" fmla="*/ 337 h 350"/>
                <a:gd name="T46" fmla="*/ 103 w 183"/>
                <a:gd name="T47" fmla="*/ 322 h 350"/>
                <a:gd name="T48" fmla="*/ 86 w 183"/>
                <a:gd name="T49" fmla="*/ 288 h 350"/>
                <a:gd name="T50" fmla="*/ 62 w 183"/>
                <a:gd name="T51" fmla="*/ 266 h 350"/>
                <a:gd name="T52" fmla="*/ 65 w 183"/>
                <a:gd name="T53" fmla="*/ 228 h 350"/>
                <a:gd name="T54" fmla="*/ 72 w 183"/>
                <a:gd name="T55" fmla="*/ 167 h 350"/>
                <a:gd name="T56" fmla="*/ 90 w 183"/>
                <a:gd name="T57" fmla="*/ 185 h 350"/>
                <a:gd name="T58" fmla="*/ 127 w 183"/>
                <a:gd name="T59" fmla="*/ 195 h 350"/>
                <a:gd name="T60" fmla="*/ 130 w 183"/>
                <a:gd name="T61" fmla="*/ 147 h 350"/>
                <a:gd name="T62" fmla="*/ 177 w 183"/>
                <a:gd name="T63" fmla="*/ 146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83" h="350">
                  <a:moveTo>
                    <a:pt x="177" y="146"/>
                  </a:moveTo>
                  <a:lnTo>
                    <a:pt x="183" y="135"/>
                  </a:lnTo>
                  <a:lnTo>
                    <a:pt x="181" y="115"/>
                  </a:lnTo>
                  <a:lnTo>
                    <a:pt x="161" y="94"/>
                  </a:lnTo>
                  <a:lnTo>
                    <a:pt x="156" y="71"/>
                  </a:lnTo>
                  <a:lnTo>
                    <a:pt x="138" y="51"/>
                  </a:lnTo>
                  <a:lnTo>
                    <a:pt x="122" y="50"/>
                  </a:lnTo>
                  <a:lnTo>
                    <a:pt x="119" y="59"/>
                  </a:lnTo>
                  <a:lnTo>
                    <a:pt x="107" y="59"/>
                  </a:lnTo>
                  <a:lnTo>
                    <a:pt x="100" y="55"/>
                  </a:lnTo>
                  <a:lnTo>
                    <a:pt x="81" y="69"/>
                  </a:lnTo>
                  <a:lnTo>
                    <a:pt x="77" y="47"/>
                  </a:lnTo>
                  <a:lnTo>
                    <a:pt x="78" y="22"/>
                  </a:lnTo>
                  <a:lnTo>
                    <a:pt x="64" y="21"/>
                  </a:lnTo>
                  <a:lnTo>
                    <a:pt x="60" y="7"/>
                  </a:lnTo>
                  <a:lnTo>
                    <a:pt x="51" y="0"/>
                  </a:lnTo>
                  <a:lnTo>
                    <a:pt x="40" y="5"/>
                  </a:lnTo>
                  <a:lnTo>
                    <a:pt x="29" y="16"/>
                  </a:lnTo>
                  <a:lnTo>
                    <a:pt x="14" y="17"/>
                  </a:lnTo>
                  <a:lnTo>
                    <a:pt x="9" y="43"/>
                  </a:lnTo>
                  <a:lnTo>
                    <a:pt x="0" y="46"/>
                  </a:lnTo>
                  <a:lnTo>
                    <a:pt x="14" y="68"/>
                  </a:lnTo>
                  <a:lnTo>
                    <a:pt x="29" y="85"/>
                  </a:lnTo>
                  <a:lnTo>
                    <a:pt x="40" y="101"/>
                  </a:lnTo>
                  <a:lnTo>
                    <a:pt x="35" y="121"/>
                  </a:lnTo>
                  <a:lnTo>
                    <a:pt x="28" y="126"/>
                  </a:lnTo>
                  <a:lnTo>
                    <a:pt x="35" y="137"/>
                  </a:lnTo>
                  <a:lnTo>
                    <a:pt x="51" y="157"/>
                  </a:lnTo>
                  <a:lnTo>
                    <a:pt x="55" y="170"/>
                  </a:lnTo>
                  <a:lnTo>
                    <a:pt x="55" y="181"/>
                  </a:lnTo>
                  <a:lnTo>
                    <a:pt x="66" y="202"/>
                  </a:lnTo>
                  <a:lnTo>
                    <a:pt x="56" y="225"/>
                  </a:lnTo>
                  <a:lnTo>
                    <a:pt x="47" y="249"/>
                  </a:lnTo>
                  <a:lnTo>
                    <a:pt x="42" y="271"/>
                  </a:lnTo>
                  <a:lnTo>
                    <a:pt x="42" y="286"/>
                  </a:lnTo>
                  <a:lnTo>
                    <a:pt x="46" y="299"/>
                  </a:lnTo>
                  <a:lnTo>
                    <a:pt x="49" y="285"/>
                  </a:lnTo>
                  <a:lnTo>
                    <a:pt x="59" y="298"/>
                  </a:lnTo>
                  <a:lnTo>
                    <a:pt x="71" y="311"/>
                  </a:lnTo>
                  <a:lnTo>
                    <a:pt x="75" y="322"/>
                  </a:lnTo>
                  <a:lnTo>
                    <a:pt x="85" y="331"/>
                  </a:lnTo>
                  <a:lnTo>
                    <a:pt x="88" y="328"/>
                  </a:lnTo>
                  <a:lnTo>
                    <a:pt x="105" y="338"/>
                  </a:lnTo>
                  <a:lnTo>
                    <a:pt x="108" y="350"/>
                  </a:lnTo>
                  <a:lnTo>
                    <a:pt x="122" y="347"/>
                  </a:lnTo>
                  <a:lnTo>
                    <a:pt x="127" y="337"/>
                  </a:lnTo>
                  <a:lnTo>
                    <a:pt x="116" y="325"/>
                  </a:lnTo>
                  <a:lnTo>
                    <a:pt x="103" y="322"/>
                  </a:lnTo>
                  <a:lnTo>
                    <a:pt x="91" y="309"/>
                  </a:lnTo>
                  <a:lnTo>
                    <a:pt x="86" y="288"/>
                  </a:lnTo>
                  <a:lnTo>
                    <a:pt x="76" y="266"/>
                  </a:lnTo>
                  <a:lnTo>
                    <a:pt x="62" y="266"/>
                  </a:lnTo>
                  <a:lnTo>
                    <a:pt x="60" y="248"/>
                  </a:lnTo>
                  <a:lnTo>
                    <a:pt x="65" y="228"/>
                  </a:lnTo>
                  <a:lnTo>
                    <a:pt x="73" y="193"/>
                  </a:lnTo>
                  <a:lnTo>
                    <a:pt x="72" y="167"/>
                  </a:lnTo>
                  <a:lnTo>
                    <a:pt x="91" y="166"/>
                  </a:lnTo>
                  <a:lnTo>
                    <a:pt x="90" y="185"/>
                  </a:lnTo>
                  <a:lnTo>
                    <a:pt x="107" y="185"/>
                  </a:lnTo>
                  <a:lnTo>
                    <a:pt x="127" y="195"/>
                  </a:lnTo>
                  <a:lnTo>
                    <a:pt x="119" y="167"/>
                  </a:lnTo>
                  <a:lnTo>
                    <a:pt x="130" y="147"/>
                  </a:lnTo>
                  <a:lnTo>
                    <a:pt x="157" y="143"/>
                  </a:lnTo>
                  <a:lnTo>
                    <a:pt x="177" y="146"/>
                  </a:lnTo>
                  <a:lnTo>
                    <a:pt x="177" y="14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8" name="Tajikistan">
              <a:extLst>
                <a:ext uri="{FF2B5EF4-FFF2-40B4-BE49-F238E27FC236}">
                  <a16:creationId xmlns:a16="http://schemas.microsoft.com/office/drawing/2014/main" id="{5FE04113-5751-4378-9FA5-C6832F124D6E}"/>
                </a:ext>
              </a:extLst>
            </p:cNvPr>
            <p:cNvSpPr>
              <a:spLocks/>
            </p:cNvSpPr>
            <p:nvPr/>
          </p:nvSpPr>
          <p:spPr bwMode="auto">
            <a:xfrm>
              <a:off x="8074819" y="2515962"/>
              <a:ext cx="252412" cy="158750"/>
            </a:xfrm>
            <a:custGeom>
              <a:avLst/>
              <a:gdLst>
                <a:gd name="T0" fmla="*/ 62 w 159"/>
                <a:gd name="T1" fmla="*/ 16 h 100"/>
                <a:gd name="T2" fmla="*/ 55 w 159"/>
                <a:gd name="T3" fmla="*/ 17 h 100"/>
                <a:gd name="T4" fmla="*/ 50 w 159"/>
                <a:gd name="T5" fmla="*/ 10 h 100"/>
                <a:gd name="T6" fmla="*/ 51 w 159"/>
                <a:gd name="T7" fmla="*/ 0 h 100"/>
                <a:gd name="T8" fmla="*/ 27 w 159"/>
                <a:gd name="T9" fmla="*/ 5 h 100"/>
                <a:gd name="T10" fmla="*/ 25 w 159"/>
                <a:gd name="T11" fmla="*/ 20 h 100"/>
                <a:gd name="T12" fmla="*/ 19 w 159"/>
                <a:gd name="T13" fmla="*/ 33 h 100"/>
                <a:gd name="T14" fmla="*/ 2 w 159"/>
                <a:gd name="T15" fmla="*/ 32 h 100"/>
                <a:gd name="T16" fmla="*/ 0 w 159"/>
                <a:gd name="T17" fmla="*/ 42 h 100"/>
                <a:gd name="T18" fmla="*/ 16 w 159"/>
                <a:gd name="T19" fmla="*/ 48 h 100"/>
                <a:gd name="T20" fmla="*/ 25 w 159"/>
                <a:gd name="T21" fmla="*/ 66 h 100"/>
                <a:gd name="T22" fmla="*/ 20 w 159"/>
                <a:gd name="T23" fmla="*/ 90 h 100"/>
                <a:gd name="T24" fmla="*/ 27 w 159"/>
                <a:gd name="T25" fmla="*/ 94 h 100"/>
                <a:gd name="T26" fmla="*/ 40 w 159"/>
                <a:gd name="T27" fmla="*/ 85 h 100"/>
                <a:gd name="T28" fmla="*/ 47 w 159"/>
                <a:gd name="T29" fmla="*/ 90 h 100"/>
                <a:gd name="T30" fmla="*/ 51 w 159"/>
                <a:gd name="T31" fmla="*/ 79 h 100"/>
                <a:gd name="T32" fmla="*/ 62 w 159"/>
                <a:gd name="T33" fmla="*/ 80 h 100"/>
                <a:gd name="T34" fmla="*/ 65 w 159"/>
                <a:gd name="T35" fmla="*/ 76 h 100"/>
                <a:gd name="T36" fmla="*/ 64 w 159"/>
                <a:gd name="T37" fmla="*/ 67 h 100"/>
                <a:gd name="T38" fmla="*/ 70 w 159"/>
                <a:gd name="T39" fmla="*/ 58 h 100"/>
                <a:gd name="T40" fmla="*/ 83 w 159"/>
                <a:gd name="T41" fmla="*/ 64 h 100"/>
                <a:gd name="T42" fmla="*/ 83 w 159"/>
                <a:gd name="T43" fmla="*/ 71 h 100"/>
                <a:gd name="T44" fmla="*/ 88 w 159"/>
                <a:gd name="T45" fmla="*/ 72 h 100"/>
                <a:gd name="T46" fmla="*/ 92 w 159"/>
                <a:gd name="T47" fmla="*/ 92 h 100"/>
                <a:gd name="T48" fmla="*/ 101 w 159"/>
                <a:gd name="T49" fmla="*/ 100 h 100"/>
                <a:gd name="T50" fmla="*/ 107 w 159"/>
                <a:gd name="T51" fmla="*/ 96 h 100"/>
                <a:gd name="T52" fmla="*/ 115 w 159"/>
                <a:gd name="T53" fmla="*/ 93 h 100"/>
                <a:gd name="T54" fmla="*/ 125 w 159"/>
                <a:gd name="T55" fmla="*/ 82 h 100"/>
                <a:gd name="T56" fmla="*/ 139 w 159"/>
                <a:gd name="T57" fmla="*/ 84 h 100"/>
                <a:gd name="T58" fmla="*/ 159 w 159"/>
                <a:gd name="T59" fmla="*/ 84 h 100"/>
                <a:gd name="T60" fmla="*/ 152 w 159"/>
                <a:gd name="T61" fmla="*/ 70 h 100"/>
                <a:gd name="T62" fmla="*/ 150 w 159"/>
                <a:gd name="T63" fmla="*/ 60 h 100"/>
                <a:gd name="T64" fmla="*/ 137 w 159"/>
                <a:gd name="T65" fmla="*/ 56 h 100"/>
                <a:gd name="T66" fmla="*/ 131 w 159"/>
                <a:gd name="T67" fmla="*/ 57 h 100"/>
                <a:gd name="T68" fmla="*/ 120 w 159"/>
                <a:gd name="T69" fmla="*/ 36 h 100"/>
                <a:gd name="T70" fmla="*/ 84 w 159"/>
                <a:gd name="T71" fmla="*/ 39 h 100"/>
                <a:gd name="T72" fmla="*/ 57 w 159"/>
                <a:gd name="T73" fmla="*/ 31 h 100"/>
                <a:gd name="T74" fmla="*/ 38 w 159"/>
                <a:gd name="T75" fmla="*/ 33 h 100"/>
                <a:gd name="T76" fmla="*/ 35 w 159"/>
                <a:gd name="T77" fmla="*/ 19 h 100"/>
                <a:gd name="T78" fmla="*/ 57 w 159"/>
                <a:gd name="T79" fmla="*/ 24 h 100"/>
                <a:gd name="T80" fmla="*/ 62 w 159"/>
                <a:gd name="T81" fmla="*/ 16 h 100"/>
                <a:gd name="T82" fmla="*/ 62 w 159"/>
                <a:gd name="T83" fmla="*/ 1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59" h="100">
                  <a:moveTo>
                    <a:pt x="62" y="16"/>
                  </a:moveTo>
                  <a:lnTo>
                    <a:pt x="55" y="17"/>
                  </a:lnTo>
                  <a:lnTo>
                    <a:pt x="50" y="10"/>
                  </a:lnTo>
                  <a:lnTo>
                    <a:pt x="51" y="0"/>
                  </a:lnTo>
                  <a:lnTo>
                    <a:pt x="27" y="5"/>
                  </a:lnTo>
                  <a:lnTo>
                    <a:pt x="25" y="20"/>
                  </a:lnTo>
                  <a:lnTo>
                    <a:pt x="19" y="33"/>
                  </a:lnTo>
                  <a:lnTo>
                    <a:pt x="2" y="32"/>
                  </a:lnTo>
                  <a:lnTo>
                    <a:pt x="0" y="42"/>
                  </a:lnTo>
                  <a:lnTo>
                    <a:pt x="16" y="48"/>
                  </a:lnTo>
                  <a:lnTo>
                    <a:pt x="25" y="66"/>
                  </a:lnTo>
                  <a:lnTo>
                    <a:pt x="20" y="90"/>
                  </a:lnTo>
                  <a:lnTo>
                    <a:pt x="27" y="94"/>
                  </a:lnTo>
                  <a:lnTo>
                    <a:pt x="40" y="85"/>
                  </a:lnTo>
                  <a:lnTo>
                    <a:pt x="47" y="90"/>
                  </a:lnTo>
                  <a:lnTo>
                    <a:pt x="51" y="79"/>
                  </a:lnTo>
                  <a:lnTo>
                    <a:pt x="62" y="80"/>
                  </a:lnTo>
                  <a:lnTo>
                    <a:pt x="65" y="76"/>
                  </a:lnTo>
                  <a:lnTo>
                    <a:pt x="64" y="67"/>
                  </a:lnTo>
                  <a:lnTo>
                    <a:pt x="70" y="58"/>
                  </a:lnTo>
                  <a:lnTo>
                    <a:pt x="83" y="64"/>
                  </a:lnTo>
                  <a:lnTo>
                    <a:pt x="83" y="71"/>
                  </a:lnTo>
                  <a:lnTo>
                    <a:pt x="88" y="72"/>
                  </a:lnTo>
                  <a:lnTo>
                    <a:pt x="92" y="92"/>
                  </a:lnTo>
                  <a:lnTo>
                    <a:pt x="101" y="100"/>
                  </a:lnTo>
                  <a:lnTo>
                    <a:pt x="107" y="96"/>
                  </a:lnTo>
                  <a:lnTo>
                    <a:pt x="115" y="93"/>
                  </a:lnTo>
                  <a:lnTo>
                    <a:pt x="125" y="82"/>
                  </a:lnTo>
                  <a:lnTo>
                    <a:pt x="139" y="84"/>
                  </a:lnTo>
                  <a:lnTo>
                    <a:pt x="159" y="84"/>
                  </a:lnTo>
                  <a:lnTo>
                    <a:pt x="152" y="70"/>
                  </a:lnTo>
                  <a:lnTo>
                    <a:pt x="150" y="60"/>
                  </a:lnTo>
                  <a:lnTo>
                    <a:pt x="137" y="56"/>
                  </a:lnTo>
                  <a:lnTo>
                    <a:pt x="131" y="57"/>
                  </a:lnTo>
                  <a:lnTo>
                    <a:pt x="120" y="36"/>
                  </a:lnTo>
                  <a:lnTo>
                    <a:pt x="84" y="39"/>
                  </a:lnTo>
                  <a:lnTo>
                    <a:pt x="57" y="31"/>
                  </a:lnTo>
                  <a:lnTo>
                    <a:pt x="38" y="33"/>
                  </a:lnTo>
                  <a:lnTo>
                    <a:pt x="35" y="19"/>
                  </a:lnTo>
                  <a:lnTo>
                    <a:pt x="57" y="24"/>
                  </a:lnTo>
                  <a:lnTo>
                    <a:pt x="62" y="16"/>
                  </a:lnTo>
                  <a:lnTo>
                    <a:pt x="62" y="1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49" name="Turkmenistan">
              <a:extLst>
                <a:ext uri="{FF2B5EF4-FFF2-40B4-BE49-F238E27FC236}">
                  <a16:creationId xmlns:a16="http://schemas.microsoft.com/office/drawing/2014/main" id="{2416B534-AC93-4684-97A3-B904FEE0AB9A}"/>
                </a:ext>
              </a:extLst>
            </p:cNvPr>
            <p:cNvSpPr>
              <a:spLocks/>
            </p:cNvSpPr>
            <p:nvPr/>
          </p:nvSpPr>
          <p:spPr bwMode="auto">
            <a:xfrm>
              <a:off x="7592219" y="2449287"/>
              <a:ext cx="471487" cy="282575"/>
            </a:xfrm>
            <a:custGeom>
              <a:avLst/>
              <a:gdLst>
                <a:gd name="T0" fmla="*/ 297 w 297"/>
                <a:gd name="T1" fmla="*/ 127 h 178"/>
                <a:gd name="T2" fmla="*/ 294 w 297"/>
                <a:gd name="T3" fmla="*/ 112 h 178"/>
                <a:gd name="T4" fmla="*/ 265 w 297"/>
                <a:gd name="T5" fmla="*/ 102 h 178"/>
                <a:gd name="T6" fmla="*/ 243 w 297"/>
                <a:gd name="T7" fmla="*/ 90 h 178"/>
                <a:gd name="T8" fmla="*/ 227 w 297"/>
                <a:gd name="T9" fmla="*/ 79 h 178"/>
                <a:gd name="T10" fmla="*/ 201 w 297"/>
                <a:gd name="T11" fmla="*/ 63 h 178"/>
                <a:gd name="T12" fmla="*/ 185 w 297"/>
                <a:gd name="T13" fmla="*/ 39 h 178"/>
                <a:gd name="T14" fmla="*/ 177 w 297"/>
                <a:gd name="T15" fmla="*/ 34 h 178"/>
                <a:gd name="T16" fmla="*/ 157 w 297"/>
                <a:gd name="T17" fmla="*/ 35 h 178"/>
                <a:gd name="T18" fmla="*/ 148 w 297"/>
                <a:gd name="T19" fmla="*/ 30 h 178"/>
                <a:gd name="T20" fmla="*/ 141 w 297"/>
                <a:gd name="T21" fmla="*/ 13 h 178"/>
                <a:gd name="T22" fmla="*/ 112 w 297"/>
                <a:gd name="T23" fmla="*/ 0 h 178"/>
                <a:gd name="T24" fmla="*/ 99 w 297"/>
                <a:gd name="T25" fmla="*/ 14 h 178"/>
                <a:gd name="T26" fmla="*/ 85 w 297"/>
                <a:gd name="T27" fmla="*/ 22 h 178"/>
                <a:gd name="T28" fmla="*/ 91 w 297"/>
                <a:gd name="T29" fmla="*/ 33 h 178"/>
                <a:gd name="T30" fmla="*/ 69 w 297"/>
                <a:gd name="T31" fmla="*/ 33 h 178"/>
                <a:gd name="T32" fmla="*/ 60 w 297"/>
                <a:gd name="T33" fmla="*/ 35 h 178"/>
                <a:gd name="T34" fmla="*/ 42 w 297"/>
                <a:gd name="T35" fmla="*/ 16 h 178"/>
                <a:gd name="T36" fmla="*/ 28 w 297"/>
                <a:gd name="T37" fmla="*/ 10 h 178"/>
                <a:gd name="T38" fmla="*/ 7 w 297"/>
                <a:gd name="T39" fmla="*/ 14 h 178"/>
                <a:gd name="T40" fmla="*/ 0 w 297"/>
                <a:gd name="T41" fmla="*/ 22 h 178"/>
                <a:gd name="T42" fmla="*/ 9 w 297"/>
                <a:gd name="T43" fmla="*/ 37 h 178"/>
                <a:gd name="T44" fmla="*/ 7 w 297"/>
                <a:gd name="T45" fmla="*/ 20 h 178"/>
                <a:gd name="T46" fmla="*/ 21 w 297"/>
                <a:gd name="T47" fmla="*/ 14 h 178"/>
                <a:gd name="T48" fmla="*/ 31 w 297"/>
                <a:gd name="T49" fmla="*/ 28 h 178"/>
                <a:gd name="T50" fmla="*/ 48 w 297"/>
                <a:gd name="T51" fmla="*/ 42 h 178"/>
                <a:gd name="T52" fmla="*/ 33 w 297"/>
                <a:gd name="T53" fmla="*/ 49 h 178"/>
                <a:gd name="T54" fmla="*/ 13 w 297"/>
                <a:gd name="T55" fmla="*/ 43 h 178"/>
                <a:gd name="T56" fmla="*/ 13 w 297"/>
                <a:gd name="T57" fmla="*/ 63 h 178"/>
                <a:gd name="T58" fmla="*/ 26 w 297"/>
                <a:gd name="T59" fmla="*/ 65 h 178"/>
                <a:gd name="T60" fmla="*/ 25 w 297"/>
                <a:gd name="T61" fmla="*/ 81 h 178"/>
                <a:gd name="T62" fmla="*/ 42 w 297"/>
                <a:gd name="T63" fmla="*/ 89 h 178"/>
                <a:gd name="T64" fmla="*/ 45 w 297"/>
                <a:gd name="T65" fmla="*/ 114 h 178"/>
                <a:gd name="T66" fmla="*/ 51 w 297"/>
                <a:gd name="T67" fmla="*/ 131 h 178"/>
                <a:gd name="T68" fmla="*/ 67 w 297"/>
                <a:gd name="T69" fmla="*/ 127 h 178"/>
                <a:gd name="T70" fmla="*/ 78 w 297"/>
                <a:gd name="T71" fmla="*/ 112 h 178"/>
                <a:gd name="T72" fmla="*/ 91 w 297"/>
                <a:gd name="T73" fmla="*/ 113 h 178"/>
                <a:gd name="T74" fmla="*/ 100 w 297"/>
                <a:gd name="T75" fmla="*/ 109 h 178"/>
                <a:gd name="T76" fmla="*/ 114 w 297"/>
                <a:gd name="T77" fmla="*/ 112 h 178"/>
                <a:gd name="T78" fmla="*/ 138 w 297"/>
                <a:gd name="T79" fmla="*/ 124 h 178"/>
                <a:gd name="T80" fmla="*/ 154 w 297"/>
                <a:gd name="T81" fmla="*/ 127 h 178"/>
                <a:gd name="T82" fmla="*/ 181 w 297"/>
                <a:gd name="T83" fmla="*/ 147 h 178"/>
                <a:gd name="T84" fmla="*/ 196 w 297"/>
                <a:gd name="T85" fmla="*/ 148 h 178"/>
                <a:gd name="T86" fmla="*/ 202 w 297"/>
                <a:gd name="T87" fmla="*/ 169 h 178"/>
                <a:gd name="T88" fmla="*/ 224 w 297"/>
                <a:gd name="T89" fmla="*/ 178 h 178"/>
                <a:gd name="T90" fmla="*/ 239 w 297"/>
                <a:gd name="T91" fmla="*/ 175 h 178"/>
                <a:gd name="T92" fmla="*/ 240 w 297"/>
                <a:gd name="T93" fmla="*/ 164 h 178"/>
                <a:gd name="T94" fmla="*/ 255 w 297"/>
                <a:gd name="T95" fmla="*/ 160 h 178"/>
                <a:gd name="T96" fmla="*/ 264 w 297"/>
                <a:gd name="T97" fmla="*/ 153 h 178"/>
                <a:gd name="T98" fmla="*/ 264 w 297"/>
                <a:gd name="T99" fmla="*/ 133 h 178"/>
                <a:gd name="T100" fmla="*/ 279 w 297"/>
                <a:gd name="T101" fmla="*/ 128 h 178"/>
                <a:gd name="T102" fmla="*/ 280 w 297"/>
                <a:gd name="T103" fmla="*/ 120 h 178"/>
                <a:gd name="T104" fmla="*/ 291 w 297"/>
                <a:gd name="T105" fmla="*/ 127 h 178"/>
                <a:gd name="T106" fmla="*/ 297 w 297"/>
                <a:gd name="T107" fmla="*/ 127 h 178"/>
                <a:gd name="T108" fmla="*/ 297 w 297"/>
                <a:gd name="T109" fmla="*/ 127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97" h="178">
                  <a:moveTo>
                    <a:pt x="297" y="127"/>
                  </a:moveTo>
                  <a:lnTo>
                    <a:pt x="294" y="112"/>
                  </a:lnTo>
                  <a:lnTo>
                    <a:pt x="265" y="102"/>
                  </a:lnTo>
                  <a:lnTo>
                    <a:pt x="243" y="90"/>
                  </a:lnTo>
                  <a:lnTo>
                    <a:pt x="227" y="79"/>
                  </a:lnTo>
                  <a:lnTo>
                    <a:pt x="201" y="63"/>
                  </a:lnTo>
                  <a:lnTo>
                    <a:pt x="185" y="39"/>
                  </a:lnTo>
                  <a:lnTo>
                    <a:pt x="177" y="34"/>
                  </a:lnTo>
                  <a:lnTo>
                    <a:pt x="157" y="35"/>
                  </a:lnTo>
                  <a:lnTo>
                    <a:pt x="148" y="30"/>
                  </a:lnTo>
                  <a:lnTo>
                    <a:pt x="141" y="13"/>
                  </a:lnTo>
                  <a:lnTo>
                    <a:pt x="112" y="0"/>
                  </a:lnTo>
                  <a:lnTo>
                    <a:pt x="99" y="14"/>
                  </a:lnTo>
                  <a:lnTo>
                    <a:pt x="85" y="22"/>
                  </a:lnTo>
                  <a:lnTo>
                    <a:pt x="91" y="33"/>
                  </a:lnTo>
                  <a:lnTo>
                    <a:pt x="69" y="33"/>
                  </a:lnTo>
                  <a:lnTo>
                    <a:pt x="60" y="35"/>
                  </a:lnTo>
                  <a:lnTo>
                    <a:pt x="42" y="16"/>
                  </a:lnTo>
                  <a:lnTo>
                    <a:pt x="28" y="10"/>
                  </a:lnTo>
                  <a:lnTo>
                    <a:pt x="7" y="14"/>
                  </a:lnTo>
                  <a:lnTo>
                    <a:pt x="0" y="22"/>
                  </a:lnTo>
                  <a:lnTo>
                    <a:pt x="9" y="37"/>
                  </a:lnTo>
                  <a:lnTo>
                    <a:pt x="7" y="20"/>
                  </a:lnTo>
                  <a:lnTo>
                    <a:pt x="21" y="14"/>
                  </a:lnTo>
                  <a:lnTo>
                    <a:pt x="31" y="28"/>
                  </a:lnTo>
                  <a:lnTo>
                    <a:pt x="48" y="42"/>
                  </a:lnTo>
                  <a:lnTo>
                    <a:pt x="33" y="49"/>
                  </a:lnTo>
                  <a:lnTo>
                    <a:pt x="13" y="43"/>
                  </a:lnTo>
                  <a:lnTo>
                    <a:pt x="13" y="63"/>
                  </a:lnTo>
                  <a:lnTo>
                    <a:pt x="26" y="65"/>
                  </a:lnTo>
                  <a:lnTo>
                    <a:pt x="25" y="81"/>
                  </a:lnTo>
                  <a:lnTo>
                    <a:pt x="42" y="89"/>
                  </a:lnTo>
                  <a:lnTo>
                    <a:pt x="45" y="114"/>
                  </a:lnTo>
                  <a:lnTo>
                    <a:pt x="51" y="131"/>
                  </a:lnTo>
                  <a:lnTo>
                    <a:pt x="67" y="127"/>
                  </a:lnTo>
                  <a:lnTo>
                    <a:pt x="78" y="112"/>
                  </a:lnTo>
                  <a:lnTo>
                    <a:pt x="91" y="113"/>
                  </a:lnTo>
                  <a:lnTo>
                    <a:pt x="100" y="109"/>
                  </a:lnTo>
                  <a:lnTo>
                    <a:pt x="114" y="112"/>
                  </a:lnTo>
                  <a:lnTo>
                    <a:pt x="138" y="124"/>
                  </a:lnTo>
                  <a:lnTo>
                    <a:pt x="154" y="127"/>
                  </a:lnTo>
                  <a:lnTo>
                    <a:pt x="181" y="147"/>
                  </a:lnTo>
                  <a:lnTo>
                    <a:pt x="196" y="148"/>
                  </a:lnTo>
                  <a:lnTo>
                    <a:pt x="202" y="169"/>
                  </a:lnTo>
                  <a:lnTo>
                    <a:pt x="224" y="178"/>
                  </a:lnTo>
                  <a:lnTo>
                    <a:pt x="239" y="175"/>
                  </a:lnTo>
                  <a:lnTo>
                    <a:pt x="240" y="164"/>
                  </a:lnTo>
                  <a:lnTo>
                    <a:pt x="255" y="160"/>
                  </a:lnTo>
                  <a:lnTo>
                    <a:pt x="264" y="153"/>
                  </a:lnTo>
                  <a:lnTo>
                    <a:pt x="264" y="133"/>
                  </a:lnTo>
                  <a:lnTo>
                    <a:pt x="279" y="128"/>
                  </a:lnTo>
                  <a:lnTo>
                    <a:pt x="280" y="120"/>
                  </a:lnTo>
                  <a:lnTo>
                    <a:pt x="291" y="127"/>
                  </a:lnTo>
                  <a:lnTo>
                    <a:pt x="297" y="127"/>
                  </a:lnTo>
                  <a:lnTo>
                    <a:pt x="297" y="1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0" name="Timor-Leste">
              <a:extLst>
                <a:ext uri="{FF2B5EF4-FFF2-40B4-BE49-F238E27FC236}">
                  <a16:creationId xmlns:a16="http://schemas.microsoft.com/office/drawing/2014/main" id="{DDF9CF53-0105-4E8D-9C58-2595E9567762}"/>
                </a:ext>
              </a:extLst>
            </p:cNvPr>
            <p:cNvSpPr>
              <a:spLocks/>
            </p:cNvSpPr>
            <p:nvPr/>
          </p:nvSpPr>
          <p:spPr bwMode="auto">
            <a:xfrm>
              <a:off x="10144919" y="4373337"/>
              <a:ext cx="79375" cy="42863"/>
            </a:xfrm>
            <a:custGeom>
              <a:avLst/>
              <a:gdLst>
                <a:gd name="T0" fmla="*/ 1 w 50"/>
                <a:gd name="T1" fmla="*/ 27 h 27"/>
                <a:gd name="T2" fmla="*/ 19 w 50"/>
                <a:gd name="T3" fmla="*/ 20 h 27"/>
                <a:gd name="T4" fmla="*/ 42 w 50"/>
                <a:gd name="T5" fmla="*/ 10 h 27"/>
                <a:gd name="T6" fmla="*/ 50 w 50"/>
                <a:gd name="T7" fmla="*/ 3 h 27"/>
                <a:gd name="T8" fmla="*/ 43 w 50"/>
                <a:gd name="T9" fmla="*/ 0 h 27"/>
                <a:gd name="T10" fmla="*/ 35 w 50"/>
                <a:gd name="T11" fmla="*/ 3 h 27"/>
                <a:gd name="T12" fmla="*/ 20 w 50"/>
                <a:gd name="T13" fmla="*/ 4 h 27"/>
                <a:gd name="T14" fmla="*/ 3 w 50"/>
                <a:gd name="T15" fmla="*/ 10 h 27"/>
                <a:gd name="T16" fmla="*/ 0 w 50"/>
                <a:gd name="T17" fmla="*/ 15 h 27"/>
                <a:gd name="T18" fmla="*/ 2 w 50"/>
                <a:gd name="T19" fmla="*/ 20 h 27"/>
                <a:gd name="T20" fmla="*/ 1 w 50"/>
                <a:gd name="T21" fmla="*/ 27 h 27"/>
                <a:gd name="T22" fmla="*/ 1 w 50"/>
                <a:gd name="T2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 h="27">
                  <a:moveTo>
                    <a:pt x="1" y="27"/>
                  </a:moveTo>
                  <a:lnTo>
                    <a:pt x="19" y="20"/>
                  </a:lnTo>
                  <a:lnTo>
                    <a:pt x="42" y="10"/>
                  </a:lnTo>
                  <a:lnTo>
                    <a:pt x="50" y="3"/>
                  </a:lnTo>
                  <a:lnTo>
                    <a:pt x="43" y="0"/>
                  </a:lnTo>
                  <a:lnTo>
                    <a:pt x="35" y="3"/>
                  </a:lnTo>
                  <a:lnTo>
                    <a:pt x="20" y="4"/>
                  </a:lnTo>
                  <a:lnTo>
                    <a:pt x="3" y="10"/>
                  </a:lnTo>
                  <a:lnTo>
                    <a:pt x="0" y="15"/>
                  </a:lnTo>
                  <a:lnTo>
                    <a:pt x="2" y="20"/>
                  </a:lnTo>
                  <a:lnTo>
                    <a:pt x="1" y="27"/>
                  </a:lnTo>
                  <a:lnTo>
                    <a:pt x="1" y="2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1" name="Tunisia">
              <a:extLst>
                <a:ext uri="{FF2B5EF4-FFF2-40B4-BE49-F238E27FC236}">
                  <a16:creationId xmlns:a16="http://schemas.microsoft.com/office/drawing/2014/main" id="{A9B18689-9B5A-49E5-95AA-F1FB5597F3A2}"/>
                </a:ext>
              </a:extLst>
            </p:cNvPr>
            <p:cNvSpPr>
              <a:spLocks/>
            </p:cNvSpPr>
            <p:nvPr/>
          </p:nvSpPr>
          <p:spPr bwMode="auto">
            <a:xfrm>
              <a:off x="6233319" y="2652220"/>
              <a:ext cx="125412" cy="264059"/>
            </a:xfrm>
            <a:custGeom>
              <a:avLst/>
              <a:gdLst>
                <a:gd name="T0" fmla="*/ 79 w 79"/>
                <a:gd name="T1" fmla="*/ 102 h 168"/>
                <a:gd name="T2" fmla="*/ 72 w 79"/>
                <a:gd name="T3" fmla="*/ 98 h 168"/>
                <a:gd name="T4" fmla="*/ 66 w 79"/>
                <a:gd name="T5" fmla="*/ 87 h 168"/>
                <a:gd name="T6" fmla="*/ 56 w 79"/>
                <a:gd name="T7" fmla="*/ 86 h 168"/>
                <a:gd name="T8" fmla="*/ 51 w 79"/>
                <a:gd name="T9" fmla="*/ 73 h 168"/>
                <a:gd name="T10" fmla="*/ 64 w 79"/>
                <a:gd name="T11" fmla="*/ 61 h 168"/>
                <a:gd name="T12" fmla="*/ 66 w 79"/>
                <a:gd name="T13" fmla="*/ 41 h 168"/>
                <a:gd name="T14" fmla="*/ 59 w 79"/>
                <a:gd name="T15" fmla="*/ 35 h 168"/>
                <a:gd name="T16" fmla="*/ 59 w 79"/>
                <a:gd name="T17" fmla="*/ 24 h 168"/>
                <a:gd name="T18" fmla="*/ 68 w 79"/>
                <a:gd name="T19" fmla="*/ 12 h 168"/>
                <a:gd name="T20" fmla="*/ 66 w 79"/>
                <a:gd name="T21" fmla="*/ 7 h 168"/>
                <a:gd name="T22" fmla="*/ 50 w 79"/>
                <a:gd name="T23" fmla="*/ 15 h 168"/>
                <a:gd name="T24" fmla="*/ 50 w 79"/>
                <a:gd name="T25" fmla="*/ 3 h 168"/>
                <a:gd name="T26" fmla="*/ 36 w 79"/>
                <a:gd name="T27" fmla="*/ 0 h 168"/>
                <a:gd name="T28" fmla="*/ 16 w 79"/>
                <a:gd name="T29" fmla="*/ 11 h 168"/>
                <a:gd name="T30" fmla="*/ 12 w 79"/>
                <a:gd name="T31" fmla="*/ 23 h 168"/>
                <a:gd name="T32" fmla="*/ 16 w 79"/>
                <a:gd name="T33" fmla="*/ 46 h 168"/>
                <a:gd name="T34" fmla="*/ 12 w 79"/>
                <a:gd name="T35" fmla="*/ 66 h 168"/>
                <a:gd name="T36" fmla="*/ 0 w 79"/>
                <a:gd name="T37" fmla="*/ 79 h 168"/>
                <a:gd name="T38" fmla="*/ 2 w 79"/>
                <a:gd name="T39" fmla="*/ 97 h 168"/>
                <a:gd name="T40" fmla="*/ 18 w 79"/>
                <a:gd name="T41" fmla="*/ 112 h 168"/>
                <a:gd name="T42" fmla="*/ 18 w 79"/>
                <a:gd name="T43" fmla="*/ 117 h 168"/>
                <a:gd name="T44" fmla="*/ 32 w 79"/>
                <a:gd name="T45" fmla="*/ 126 h 168"/>
                <a:gd name="T46" fmla="*/ 41 w 79"/>
                <a:gd name="T47" fmla="*/ 168 h 168"/>
                <a:gd name="T48" fmla="*/ 51 w 79"/>
                <a:gd name="T49" fmla="*/ 164 h 168"/>
                <a:gd name="T50" fmla="*/ 52 w 79"/>
                <a:gd name="T51" fmla="*/ 154 h 168"/>
                <a:gd name="T52" fmla="*/ 49 w 79"/>
                <a:gd name="T53" fmla="*/ 143 h 168"/>
                <a:gd name="T54" fmla="*/ 63 w 79"/>
                <a:gd name="T55" fmla="*/ 134 h 168"/>
                <a:gd name="T56" fmla="*/ 69 w 79"/>
                <a:gd name="T57" fmla="*/ 126 h 168"/>
                <a:gd name="T58" fmla="*/ 79 w 79"/>
                <a:gd name="T59" fmla="*/ 120 h 168"/>
                <a:gd name="T60" fmla="*/ 79 w 79"/>
                <a:gd name="T61" fmla="*/ 102 h 168"/>
                <a:gd name="T62" fmla="*/ 79 w 79"/>
                <a:gd name="T63" fmla="*/ 102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79" h="168">
                  <a:moveTo>
                    <a:pt x="79" y="102"/>
                  </a:moveTo>
                  <a:lnTo>
                    <a:pt x="72" y="98"/>
                  </a:lnTo>
                  <a:lnTo>
                    <a:pt x="66" y="87"/>
                  </a:lnTo>
                  <a:lnTo>
                    <a:pt x="56" y="86"/>
                  </a:lnTo>
                  <a:lnTo>
                    <a:pt x="51" y="73"/>
                  </a:lnTo>
                  <a:lnTo>
                    <a:pt x="64" y="61"/>
                  </a:lnTo>
                  <a:lnTo>
                    <a:pt x="66" y="41"/>
                  </a:lnTo>
                  <a:lnTo>
                    <a:pt x="59" y="35"/>
                  </a:lnTo>
                  <a:lnTo>
                    <a:pt x="59" y="24"/>
                  </a:lnTo>
                  <a:lnTo>
                    <a:pt x="68" y="12"/>
                  </a:lnTo>
                  <a:lnTo>
                    <a:pt x="66" y="7"/>
                  </a:lnTo>
                  <a:lnTo>
                    <a:pt x="50" y="15"/>
                  </a:lnTo>
                  <a:lnTo>
                    <a:pt x="50" y="3"/>
                  </a:lnTo>
                  <a:lnTo>
                    <a:pt x="36" y="0"/>
                  </a:lnTo>
                  <a:lnTo>
                    <a:pt x="16" y="11"/>
                  </a:lnTo>
                  <a:lnTo>
                    <a:pt x="12" y="23"/>
                  </a:lnTo>
                  <a:lnTo>
                    <a:pt x="16" y="46"/>
                  </a:lnTo>
                  <a:lnTo>
                    <a:pt x="12" y="66"/>
                  </a:lnTo>
                  <a:lnTo>
                    <a:pt x="0" y="79"/>
                  </a:lnTo>
                  <a:lnTo>
                    <a:pt x="2" y="97"/>
                  </a:lnTo>
                  <a:lnTo>
                    <a:pt x="18" y="112"/>
                  </a:lnTo>
                  <a:lnTo>
                    <a:pt x="18" y="117"/>
                  </a:lnTo>
                  <a:lnTo>
                    <a:pt x="32" y="126"/>
                  </a:lnTo>
                  <a:lnTo>
                    <a:pt x="41" y="168"/>
                  </a:lnTo>
                  <a:lnTo>
                    <a:pt x="51" y="164"/>
                  </a:lnTo>
                  <a:lnTo>
                    <a:pt x="52" y="154"/>
                  </a:lnTo>
                  <a:lnTo>
                    <a:pt x="49" y="143"/>
                  </a:lnTo>
                  <a:lnTo>
                    <a:pt x="63" y="134"/>
                  </a:lnTo>
                  <a:lnTo>
                    <a:pt x="69" y="126"/>
                  </a:lnTo>
                  <a:lnTo>
                    <a:pt x="79" y="120"/>
                  </a:lnTo>
                  <a:lnTo>
                    <a:pt x="79" y="102"/>
                  </a:lnTo>
                  <a:lnTo>
                    <a:pt x="79" y="10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2" name="Turkey">
              <a:extLst>
                <a:ext uri="{FF2B5EF4-FFF2-40B4-BE49-F238E27FC236}">
                  <a16:creationId xmlns:a16="http://schemas.microsoft.com/office/drawing/2014/main" id="{7B8092D1-3D85-41B2-A9BA-772857B1A74C}"/>
                </a:ext>
              </a:extLst>
            </p:cNvPr>
            <p:cNvSpPr>
              <a:spLocks noEditPoints="1"/>
            </p:cNvSpPr>
            <p:nvPr/>
          </p:nvSpPr>
          <p:spPr bwMode="auto">
            <a:xfrm>
              <a:off x="6790531" y="2471512"/>
              <a:ext cx="598487" cy="239713"/>
            </a:xfrm>
            <a:custGeom>
              <a:avLst/>
              <a:gdLst>
                <a:gd name="T0" fmla="*/ 173 w 377"/>
                <a:gd name="T1" fmla="*/ 2 h 151"/>
                <a:gd name="T2" fmla="*/ 119 w 377"/>
                <a:gd name="T3" fmla="*/ 10 h 151"/>
                <a:gd name="T4" fmla="*/ 62 w 377"/>
                <a:gd name="T5" fmla="*/ 21 h 151"/>
                <a:gd name="T6" fmla="*/ 26 w 377"/>
                <a:gd name="T7" fmla="*/ 40 h 151"/>
                <a:gd name="T8" fmla="*/ 20 w 377"/>
                <a:gd name="T9" fmla="*/ 74 h 151"/>
                <a:gd name="T10" fmla="*/ 29 w 377"/>
                <a:gd name="T11" fmla="*/ 106 h 151"/>
                <a:gd name="T12" fmla="*/ 64 w 377"/>
                <a:gd name="T13" fmla="*/ 129 h 151"/>
                <a:gd name="T14" fmla="*/ 98 w 377"/>
                <a:gd name="T15" fmla="*/ 140 h 151"/>
                <a:gd name="T16" fmla="*/ 122 w 377"/>
                <a:gd name="T17" fmla="*/ 130 h 151"/>
                <a:gd name="T18" fmla="*/ 169 w 377"/>
                <a:gd name="T19" fmla="*/ 141 h 151"/>
                <a:gd name="T20" fmla="*/ 198 w 377"/>
                <a:gd name="T21" fmla="*/ 133 h 151"/>
                <a:gd name="T22" fmla="*/ 203 w 377"/>
                <a:gd name="T23" fmla="*/ 140 h 151"/>
                <a:gd name="T24" fmla="*/ 216 w 377"/>
                <a:gd name="T25" fmla="*/ 145 h 151"/>
                <a:gd name="T26" fmla="*/ 221 w 377"/>
                <a:gd name="T27" fmla="*/ 127 h 151"/>
                <a:gd name="T28" fmla="*/ 248 w 377"/>
                <a:gd name="T29" fmla="*/ 125 h 151"/>
                <a:gd name="T30" fmla="*/ 275 w 377"/>
                <a:gd name="T31" fmla="*/ 129 h 151"/>
                <a:gd name="T32" fmla="*/ 307 w 377"/>
                <a:gd name="T33" fmla="*/ 120 h 151"/>
                <a:gd name="T34" fmla="*/ 337 w 377"/>
                <a:gd name="T35" fmla="*/ 113 h 151"/>
                <a:gd name="T36" fmla="*/ 369 w 377"/>
                <a:gd name="T37" fmla="*/ 122 h 151"/>
                <a:gd name="T38" fmla="*/ 377 w 377"/>
                <a:gd name="T39" fmla="*/ 118 h 151"/>
                <a:gd name="T40" fmla="*/ 366 w 377"/>
                <a:gd name="T41" fmla="*/ 91 h 151"/>
                <a:gd name="T42" fmla="*/ 367 w 377"/>
                <a:gd name="T43" fmla="*/ 56 h 151"/>
                <a:gd name="T44" fmla="*/ 343 w 377"/>
                <a:gd name="T45" fmla="*/ 44 h 151"/>
                <a:gd name="T46" fmla="*/ 338 w 377"/>
                <a:gd name="T47" fmla="*/ 25 h 151"/>
                <a:gd name="T48" fmla="*/ 297 w 377"/>
                <a:gd name="T49" fmla="*/ 14 h 151"/>
                <a:gd name="T50" fmla="*/ 259 w 377"/>
                <a:gd name="T51" fmla="*/ 24 h 151"/>
                <a:gd name="T52" fmla="*/ 208 w 377"/>
                <a:gd name="T53" fmla="*/ 19 h 151"/>
                <a:gd name="T54" fmla="*/ 23 w 377"/>
                <a:gd name="T55" fmla="*/ 34 h 151"/>
                <a:gd name="T56" fmla="*/ 53 w 377"/>
                <a:gd name="T57" fmla="*/ 25 h 151"/>
                <a:gd name="T58" fmla="*/ 38 w 377"/>
                <a:gd name="T59" fmla="*/ 12 h 151"/>
                <a:gd name="T60" fmla="*/ 19 w 377"/>
                <a:gd name="T61" fmla="*/ 0 h 151"/>
                <a:gd name="T62" fmla="*/ 10 w 377"/>
                <a:gd name="T63" fmla="*/ 14 h 151"/>
                <a:gd name="T64" fmla="*/ 1 w 377"/>
                <a:gd name="T65" fmla="*/ 30 h 151"/>
                <a:gd name="T66" fmla="*/ 8 w 377"/>
                <a:gd name="T67" fmla="*/ 46 h 151"/>
                <a:gd name="T68" fmla="*/ 23 w 377"/>
                <a:gd name="T69" fmla="*/ 3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151">
                  <a:moveTo>
                    <a:pt x="208" y="19"/>
                  </a:moveTo>
                  <a:lnTo>
                    <a:pt x="173" y="2"/>
                  </a:lnTo>
                  <a:lnTo>
                    <a:pt x="141" y="3"/>
                  </a:lnTo>
                  <a:lnTo>
                    <a:pt x="119" y="10"/>
                  </a:lnTo>
                  <a:lnTo>
                    <a:pt x="98" y="25"/>
                  </a:lnTo>
                  <a:lnTo>
                    <a:pt x="62" y="21"/>
                  </a:lnTo>
                  <a:lnTo>
                    <a:pt x="55" y="40"/>
                  </a:lnTo>
                  <a:lnTo>
                    <a:pt x="26" y="40"/>
                  </a:lnTo>
                  <a:lnTo>
                    <a:pt x="6" y="63"/>
                  </a:lnTo>
                  <a:lnTo>
                    <a:pt x="20" y="74"/>
                  </a:lnTo>
                  <a:lnTo>
                    <a:pt x="13" y="93"/>
                  </a:lnTo>
                  <a:lnTo>
                    <a:pt x="29" y="106"/>
                  </a:lnTo>
                  <a:lnTo>
                    <a:pt x="42" y="130"/>
                  </a:lnTo>
                  <a:lnTo>
                    <a:pt x="64" y="129"/>
                  </a:lnTo>
                  <a:lnTo>
                    <a:pt x="84" y="142"/>
                  </a:lnTo>
                  <a:lnTo>
                    <a:pt x="98" y="140"/>
                  </a:lnTo>
                  <a:lnTo>
                    <a:pt x="101" y="129"/>
                  </a:lnTo>
                  <a:lnTo>
                    <a:pt x="122" y="130"/>
                  </a:lnTo>
                  <a:lnTo>
                    <a:pt x="139" y="143"/>
                  </a:lnTo>
                  <a:lnTo>
                    <a:pt x="169" y="141"/>
                  </a:lnTo>
                  <a:lnTo>
                    <a:pt x="181" y="127"/>
                  </a:lnTo>
                  <a:lnTo>
                    <a:pt x="198" y="133"/>
                  </a:lnTo>
                  <a:lnTo>
                    <a:pt x="210" y="130"/>
                  </a:lnTo>
                  <a:lnTo>
                    <a:pt x="203" y="140"/>
                  </a:lnTo>
                  <a:lnTo>
                    <a:pt x="212" y="151"/>
                  </a:lnTo>
                  <a:lnTo>
                    <a:pt x="216" y="145"/>
                  </a:lnTo>
                  <a:lnTo>
                    <a:pt x="221" y="140"/>
                  </a:lnTo>
                  <a:lnTo>
                    <a:pt x="221" y="127"/>
                  </a:lnTo>
                  <a:lnTo>
                    <a:pt x="228" y="131"/>
                  </a:lnTo>
                  <a:lnTo>
                    <a:pt x="248" y="125"/>
                  </a:lnTo>
                  <a:lnTo>
                    <a:pt x="259" y="129"/>
                  </a:lnTo>
                  <a:lnTo>
                    <a:pt x="275" y="129"/>
                  </a:lnTo>
                  <a:lnTo>
                    <a:pt x="297" y="120"/>
                  </a:lnTo>
                  <a:lnTo>
                    <a:pt x="307" y="120"/>
                  </a:lnTo>
                  <a:lnTo>
                    <a:pt x="329" y="116"/>
                  </a:lnTo>
                  <a:lnTo>
                    <a:pt x="337" y="113"/>
                  </a:lnTo>
                  <a:lnTo>
                    <a:pt x="360" y="116"/>
                  </a:lnTo>
                  <a:lnTo>
                    <a:pt x="369" y="122"/>
                  </a:lnTo>
                  <a:lnTo>
                    <a:pt x="377" y="118"/>
                  </a:lnTo>
                  <a:lnTo>
                    <a:pt x="377" y="118"/>
                  </a:lnTo>
                  <a:lnTo>
                    <a:pt x="363" y="98"/>
                  </a:lnTo>
                  <a:lnTo>
                    <a:pt x="366" y="91"/>
                  </a:lnTo>
                  <a:lnTo>
                    <a:pt x="355" y="64"/>
                  </a:lnTo>
                  <a:lnTo>
                    <a:pt x="367" y="56"/>
                  </a:lnTo>
                  <a:lnTo>
                    <a:pt x="358" y="50"/>
                  </a:lnTo>
                  <a:lnTo>
                    <a:pt x="343" y="44"/>
                  </a:lnTo>
                  <a:lnTo>
                    <a:pt x="343" y="32"/>
                  </a:lnTo>
                  <a:lnTo>
                    <a:pt x="338" y="25"/>
                  </a:lnTo>
                  <a:lnTo>
                    <a:pt x="316" y="14"/>
                  </a:lnTo>
                  <a:lnTo>
                    <a:pt x="297" y="14"/>
                  </a:lnTo>
                  <a:lnTo>
                    <a:pt x="276" y="27"/>
                  </a:lnTo>
                  <a:lnTo>
                    <a:pt x="259" y="24"/>
                  </a:lnTo>
                  <a:lnTo>
                    <a:pt x="238" y="28"/>
                  </a:lnTo>
                  <a:lnTo>
                    <a:pt x="208" y="19"/>
                  </a:lnTo>
                  <a:lnTo>
                    <a:pt x="208" y="19"/>
                  </a:lnTo>
                  <a:close/>
                  <a:moveTo>
                    <a:pt x="23" y="34"/>
                  </a:moveTo>
                  <a:lnTo>
                    <a:pt x="31" y="27"/>
                  </a:lnTo>
                  <a:lnTo>
                    <a:pt x="53" y="25"/>
                  </a:lnTo>
                  <a:lnTo>
                    <a:pt x="56" y="19"/>
                  </a:lnTo>
                  <a:lnTo>
                    <a:pt x="38" y="12"/>
                  </a:lnTo>
                  <a:lnTo>
                    <a:pt x="35" y="3"/>
                  </a:lnTo>
                  <a:lnTo>
                    <a:pt x="19" y="0"/>
                  </a:lnTo>
                  <a:lnTo>
                    <a:pt x="0" y="8"/>
                  </a:lnTo>
                  <a:lnTo>
                    <a:pt x="10" y="14"/>
                  </a:lnTo>
                  <a:lnTo>
                    <a:pt x="5" y="28"/>
                  </a:lnTo>
                  <a:lnTo>
                    <a:pt x="1" y="30"/>
                  </a:lnTo>
                  <a:lnTo>
                    <a:pt x="2" y="36"/>
                  </a:lnTo>
                  <a:lnTo>
                    <a:pt x="8" y="46"/>
                  </a:lnTo>
                  <a:lnTo>
                    <a:pt x="23" y="34"/>
                  </a:lnTo>
                  <a:lnTo>
                    <a:pt x="23" y="3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3" name="Taiwan">
              <a:extLst>
                <a:ext uri="{FF2B5EF4-FFF2-40B4-BE49-F238E27FC236}">
                  <a16:creationId xmlns:a16="http://schemas.microsoft.com/office/drawing/2014/main" id="{A2F946FA-28A9-4AA6-9191-6357D0547F26}"/>
                </a:ext>
              </a:extLst>
            </p:cNvPr>
            <p:cNvSpPr>
              <a:spLocks/>
            </p:cNvSpPr>
            <p:nvPr/>
          </p:nvSpPr>
          <p:spPr bwMode="auto">
            <a:xfrm>
              <a:off x="9902031" y="3108099"/>
              <a:ext cx="47625" cy="125413"/>
            </a:xfrm>
            <a:custGeom>
              <a:avLst/>
              <a:gdLst>
                <a:gd name="T0" fmla="*/ 25 w 30"/>
                <a:gd name="T1" fmla="*/ 60 h 79"/>
                <a:gd name="T2" fmla="*/ 30 w 30"/>
                <a:gd name="T3" fmla="*/ 21 h 79"/>
                <a:gd name="T4" fmla="*/ 30 w 30"/>
                <a:gd name="T5" fmla="*/ 7 h 79"/>
                <a:gd name="T6" fmla="*/ 19 w 30"/>
                <a:gd name="T7" fmla="*/ 0 h 79"/>
                <a:gd name="T8" fmla="*/ 7 w 30"/>
                <a:gd name="T9" fmla="*/ 18 h 79"/>
                <a:gd name="T10" fmla="*/ 0 w 30"/>
                <a:gd name="T11" fmla="*/ 41 h 79"/>
                <a:gd name="T12" fmla="*/ 5 w 30"/>
                <a:gd name="T13" fmla="*/ 59 h 79"/>
                <a:gd name="T14" fmla="*/ 20 w 30"/>
                <a:gd name="T15" fmla="*/ 79 h 79"/>
                <a:gd name="T16" fmla="*/ 25 w 30"/>
                <a:gd name="T17" fmla="*/ 60 h 79"/>
                <a:gd name="T18" fmla="*/ 25 w 30"/>
                <a:gd name="T19" fmla="*/ 60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 h="79">
                  <a:moveTo>
                    <a:pt x="25" y="60"/>
                  </a:moveTo>
                  <a:lnTo>
                    <a:pt x="30" y="21"/>
                  </a:lnTo>
                  <a:lnTo>
                    <a:pt x="30" y="7"/>
                  </a:lnTo>
                  <a:lnTo>
                    <a:pt x="19" y="0"/>
                  </a:lnTo>
                  <a:lnTo>
                    <a:pt x="7" y="18"/>
                  </a:lnTo>
                  <a:lnTo>
                    <a:pt x="0" y="41"/>
                  </a:lnTo>
                  <a:lnTo>
                    <a:pt x="5" y="59"/>
                  </a:lnTo>
                  <a:lnTo>
                    <a:pt x="20" y="79"/>
                  </a:lnTo>
                  <a:lnTo>
                    <a:pt x="25" y="60"/>
                  </a:lnTo>
                  <a:lnTo>
                    <a:pt x="25" y="6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4" name="Tanzania">
              <a:extLst>
                <a:ext uri="{FF2B5EF4-FFF2-40B4-BE49-F238E27FC236}">
                  <a16:creationId xmlns:a16="http://schemas.microsoft.com/office/drawing/2014/main" id="{D3891615-0975-433B-9DC6-16FCAFF615B6}"/>
                </a:ext>
              </a:extLst>
            </p:cNvPr>
            <p:cNvSpPr>
              <a:spLocks/>
            </p:cNvSpPr>
            <p:nvPr/>
          </p:nvSpPr>
          <p:spPr bwMode="auto">
            <a:xfrm>
              <a:off x="6979444" y="4100286"/>
              <a:ext cx="354012" cy="404813"/>
            </a:xfrm>
            <a:custGeom>
              <a:avLst/>
              <a:gdLst>
                <a:gd name="T0" fmla="*/ 18 w 223"/>
                <a:gd name="T1" fmla="*/ 3 h 255"/>
                <a:gd name="T2" fmla="*/ 26 w 223"/>
                <a:gd name="T3" fmla="*/ 30 h 255"/>
                <a:gd name="T4" fmla="*/ 20 w 223"/>
                <a:gd name="T5" fmla="*/ 33 h 255"/>
                <a:gd name="T6" fmla="*/ 26 w 223"/>
                <a:gd name="T7" fmla="*/ 48 h 255"/>
                <a:gd name="T8" fmla="*/ 20 w 223"/>
                <a:gd name="T9" fmla="*/ 61 h 255"/>
                <a:gd name="T10" fmla="*/ 4 w 223"/>
                <a:gd name="T11" fmla="*/ 82 h 255"/>
                <a:gd name="T12" fmla="*/ 0 w 223"/>
                <a:gd name="T13" fmla="*/ 92 h 255"/>
                <a:gd name="T14" fmla="*/ 4 w 223"/>
                <a:gd name="T15" fmla="*/ 106 h 255"/>
                <a:gd name="T16" fmla="*/ 3 w 223"/>
                <a:gd name="T17" fmla="*/ 125 h 255"/>
                <a:gd name="T18" fmla="*/ 21 w 223"/>
                <a:gd name="T19" fmla="*/ 155 h 255"/>
                <a:gd name="T20" fmla="*/ 31 w 223"/>
                <a:gd name="T21" fmla="*/ 179 h 255"/>
                <a:gd name="T22" fmla="*/ 41 w 223"/>
                <a:gd name="T23" fmla="*/ 185 h 255"/>
                <a:gd name="T24" fmla="*/ 65 w 223"/>
                <a:gd name="T25" fmla="*/ 196 h 255"/>
                <a:gd name="T26" fmla="*/ 89 w 223"/>
                <a:gd name="T27" fmla="*/ 206 h 255"/>
                <a:gd name="T28" fmla="*/ 91 w 223"/>
                <a:gd name="T29" fmla="*/ 201 h 255"/>
                <a:gd name="T30" fmla="*/ 102 w 223"/>
                <a:gd name="T31" fmla="*/ 240 h 255"/>
                <a:gd name="T32" fmla="*/ 110 w 223"/>
                <a:gd name="T33" fmla="*/ 249 h 255"/>
                <a:gd name="T34" fmla="*/ 142 w 223"/>
                <a:gd name="T35" fmla="*/ 255 h 255"/>
                <a:gd name="T36" fmla="*/ 162 w 223"/>
                <a:gd name="T37" fmla="*/ 251 h 255"/>
                <a:gd name="T38" fmla="*/ 182 w 223"/>
                <a:gd name="T39" fmla="*/ 244 h 255"/>
                <a:gd name="T40" fmla="*/ 223 w 223"/>
                <a:gd name="T41" fmla="*/ 221 h 255"/>
                <a:gd name="T42" fmla="*/ 215 w 223"/>
                <a:gd name="T43" fmla="*/ 216 h 255"/>
                <a:gd name="T44" fmla="*/ 200 w 223"/>
                <a:gd name="T45" fmla="*/ 178 h 255"/>
                <a:gd name="T46" fmla="*/ 200 w 223"/>
                <a:gd name="T47" fmla="*/ 159 h 255"/>
                <a:gd name="T48" fmla="*/ 206 w 223"/>
                <a:gd name="T49" fmla="*/ 139 h 255"/>
                <a:gd name="T50" fmla="*/ 192 w 223"/>
                <a:gd name="T51" fmla="*/ 116 h 255"/>
                <a:gd name="T52" fmla="*/ 172 w 223"/>
                <a:gd name="T53" fmla="*/ 63 h 255"/>
                <a:gd name="T54" fmla="*/ 96 w 223"/>
                <a:gd name="T55" fmla="*/ 2 h 255"/>
                <a:gd name="T56" fmla="*/ 85 w 223"/>
                <a:gd name="T57" fmla="*/ 12 h 255"/>
                <a:gd name="T58" fmla="*/ 86 w 223"/>
                <a:gd name="T59" fmla="*/ 30 h 255"/>
                <a:gd name="T60" fmla="*/ 71 w 223"/>
                <a:gd name="T61" fmla="*/ 33 h 255"/>
                <a:gd name="T62" fmla="*/ 50 w 223"/>
                <a:gd name="T63" fmla="*/ 41 h 255"/>
                <a:gd name="T64" fmla="*/ 48 w 223"/>
                <a:gd name="T65" fmla="*/ 15 h 255"/>
                <a:gd name="T66" fmla="*/ 49 w 223"/>
                <a:gd name="T67" fmla="*/ 1 h 255"/>
                <a:gd name="T68" fmla="*/ 26 w 223"/>
                <a:gd name="T69" fmla="*/ 0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23" h="255">
                  <a:moveTo>
                    <a:pt x="26" y="0"/>
                  </a:moveTo>
                  <a:lnTo>
                    <a:pt x="18" y="3"/>
                  </a:lnTo>
                  <a:lnTo>
                    <a:pt x="27" y="16"/>
                  </a:lnTo>
                  <a:lnTo>
                    <a:pt x="26" y="30"/>
                  </a:lnTo>
                  <a:lnTo>
                    <a:pt x="20" y="33"/>
                  </a:lnTo>
                  <a:lnTo>
                    <a:pt x="20" y="33"/>
                  </a:lnTo>
                  <a:lnTo>
                    <a:pt x="21" y="43"/>
                  </a:lnTo>
                  <a:lnTo>
                    <a:pt x="26" y="48"/>
                  </a:lnTo>
                  <a:lnTo>
                    <a:pt x="26" y="56"/>
                  </a:lnTo>
                  <a:lnTo>
                    <a:pt x="20" y="61"/>
                  </a:lnTo>
                  <a:lnTo>
                    <a:pt x="12" y="73"/>
                  </a:lnTo>
                  <a:lnTo>
                    <a:pt x="4" y="82"/>
                  </a:lnTo>
                  <a:lnTo>
                    <a:pt x="1" y="82"/>
                  </a:lnTo>
                  <a:lnTo>
                    <a:pt x="0" y="92"/>
                  </a:lnTo>
                  <a:lnTo>
                    <a:pt x="5" y="96"/>
                  </a:lnTo>
                  <a:lnTo>
                    <a:pt x="4" y="106"/>
                  </a:lnTo>
                  <a:lnTo>
                    <a:pt x="8" y="115"/>
                  </a:lnTo>
                  <a:lnTo>
                    <a:pt x="3" y="125"/>
                  </a:lnTo>
                  <a:lnTo>
                    <a:pt x="20" y="141"/>
                  </a:lnTo>
                  <a:lnTo>
                    <a:pt x="21" y="155"/>
                  </a:lnTo>
                  <a:lnTo>
                    <a:pt x="31" y="179"/>
                  </a:lnTo>
                  <a:lnTo>
                    <a:pt x="31" y="179"/>
                  </a:lnTo>
                  <a:lnTo>
                    <a:pt x="32" y="180"/>
                  </a:lnTo>
                  <a:lnTo>
                    <a:pt x="41" y="185"/>
                  </a:lnTo>
                  <a:lnTo>
                    <a:pt x="54" y="188"/>
                  </a:lnTo>
                  <a:lnTo>
                    <a:pt x="65" y="196"/>
                  </a:lnTo>
                  <a:lnTo>
                    <a:pt x="85" y="199"/>
                  </a:lnTo>
                  <a:lnTo>
                    <a:pt x="89" y="206"/>
                  </a:lnTo>
                  <a:lnTo>
                    <a:pt x="89" y="206"/>
                  </a:lnTo>
                  <a:lnTo>
                    <a:pt x="91" y="201"/>
                  </a:lnTo>
                  <a:lnTo>
                    <a:pt x="101" y="214"/>
                  </a:lnTo>
                  <a:lnTo>
                    <a:pt x="102" y="240"/>
                  </a:lnTo>
                  <a:lnTo>
                    <a:pt x="110" y="248"/>
                  </a:lnTo>
                  <a:lnTo>
                    <a:pt x="110" y="249"/>
                  </a:lnTo>
                  <a:lnTo>
                    <a:pt x="117" y="248"/>
                  </a:lnTo>
                  <a:lnTo>
                    <a:pt x="142" y="255"/>
                  </a:lnTo>
                  <a:lnTo>
                    <a:pt x="147" y="252"/>
                  </a:lnTo>
                  <a:lnTo>
                    <a:pt x="162" y="251"/>
                  </a:lnTo>
                  <a:lnTo>
                    <a:pt x="169" y="244"/>
                  </a:lnTo>
                  <a:lnTo>
                    <a:pt x="182" y="244"/>
                  </a:lnTo>
                  <a:lnTo>
                    <a:pt x="205" y="235"/>
                  </a:lnTo>
                  <a:lnTo>
                    <a:pt x="223" y="221"/>
                  </a:lnTo>
                  <a:lnTo>
                    <a:pt x="223" y="221"/>
                  </a:lnTo>
                  <a:lnTo>
                    <a:pt x="215" y="216"/>
                  </a:lnTo>
                  <a:lnTo>
                    <a:pt x="207" y="192"/>
                  </a:lnTo>
                  <a:lnTo>
                    <a:pt x="200" y="178"/>
                  </a:lnTo>
                  <a:lnTo>
                    <a:pt x="201" y="166"/>
                  </a:lnTo>
                  <a:lnTo>
                    <a:pt x="200" y="159"/>
                  </a:lnTo>
                  <a:lnTo>
                    <a:pt x="207" y="144"/>
                  </a:lnTo>
                  <a:lnTo>
                    <a:pt x="206" y="139"/>
                  </a:lnTo>
                  <a:lnTo>
                    <a:pt x="193" y="130"/>
                  </a:lnTo>
                  <a:lnTo>
                    <a:pt x="192" y="116"/>
                  </a:lnTo>
                  <a:lnTo>
                    <a:pt x="202" y="87"/>
                  </a:lnTo>
                  <a:lnTo>
                    <a:pt x="172" y="63"/>
                  </a:lnTo>
                  <a:lnTo>
                    <a:pt x="171" y="50"/>
                  </a:lnTo>
                  <a:lnTo>
                    <a:pt x="96" y="2"/>
                  </a:lnTo>
                  <a:lnTo>
                    <a:pt x="96" y="2"/>
                  </a:lnTo>
                  <a:lnTo>
                    <a:pt x="85" y="12"/>
                  </a:lnTo>
                  <a:lnTo>
                    <a:pt x="78" y="22"/>
                  </a:lnTo>
                  <a:lnTo>
                    <a:pt x="86" y="30"/>
                  </a:lnTo>
                  <a:lnTo>
                    <a:pt x="74" y="37"/>
                  </a:lnTo>
                  <a:lnTo>
                    <a:pt x="71" y="33"/>
                  </a:lnTo>
                  <a:lnTo>
                    <a:pt x="59" y="35"/>
                  </a:lnTo>
                  <a:lnTo>
                    <a:pt x="50" y="41"/>
                  </a:lnTo>
                  <a:lnTo>
                    <a:pt x="44" y="31"/>
                  </a:lnTo>
                  <a:lnTo>
                    <a:pt x="48" y="15"/>
                  </a:lnTo>
                  <a:lnTo>
                    <a:pt x="49" y="1"/>
                  </a:lnTo>
                  <a:lnTo>
                    <a:pt x="49" y="1"/>
                  </a:lnTo>
                  <a:lnTo>
                    <a:pt x="49" y="1"/>
                  </a:lnTo>
                  <a:lnTo>
                    <a:pt x="26" y="0"/>
                  </a:lnTo>
                  <a:lnTo>
                    <a:pt x="2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5" name="Uganda">
              <a:extLst>
                <a:ext uri="{FF2B5EF4-FFF2-40B4-BE49-F238E27FC236}">
                  <a16:creationId xmlns:a16="http://schemas.microsoft.com/office/drawing/2014/main" id="{0F9627CE-A9F8-40F0-A570-578E7ADDFF6F}"/>
                </a:ext>
              </a:extLst>
            </p:cNvPr>
            <p:cNvSpPr>
              <a:spLocks/>
            </p:cNvSpPr>
            <p:nvPr/>
          </p:nvSpPr>
          <p:spPr bwMode="auto">
            <a:xfrm>
              <a:off x="6981031" y="3901849"/>
              <a:ext cx="180975" cy="214313"/>
            </a:xfrm>
            <a:custGeom>
              <a:avLst/>
              <a:gdLst>
                <a:gd name="T0" fmla="*/ 92 w 114"/>
                <a:gd name="T1" fmla="*/ 0 h 135"/>
                <a:gd name="T2" fmla="*/ 80 w 114"/>
                <a:gd name="T3" fmla="*/ 11 h 135"/>
                <a:gd name="T4" fmla="*/ 65 w 114"/>
                <a:gd name="T5" fmla="*/ 11 h 135"/>
                <a:gd name="T6" fmla="*/ 48 w 114"/>
                <a:gd name="T7" fmla="*/ 16 h 135"/>
                <a:gd name="T8" fmla="*/ 35 w 114"/>
                <a:gd name="T9" fmla="*/ 11 h 135"/>
                <a:gd name="T10" fmla="*/ 26 w 114"/>
                <a:gd name="T11" fmla="*/ 17 h 135"/>
                <a:gd name="T12" fmla="*/ 26 w 114"/>
                <a:gd name="T13" fmla="*/ 17 h 135"/>
                <a:gd name="T14" fmla="*/ 25 w 114"/>
                <a:gd name="T15" fmla="*/ 45 h 135"/>
                <a:gd name="T16" fmla="*/ 34 w 114"/>
                <a:gd name="T17" fmla="*/ 48 h 135"/>
                <a:gd name="T18" fmla="*/ 26 w 114"/>
                <a:gd name="T19" fmla="*/ 57 h 135"/>
                <a:gd name="T20" fmla="*/ 19 w 114"/>
                <a:gd name="T21" fmla="*/ 63 h 135"/>
                <a:gd name="T22" fmla="*/ 11 w 114"/>
                <a:gd name="T23" fmla="*/ 76 h 135"/>
                <a:gd name="T24" fmla="*/ 6 w 114"/>
                <a:gd name="T25" fmla="*/ 87 h 135"/>
                <a:gd name="T26" fmla="*/ 5 w 114"/>
                <a:gd name="T27" fmla="*/ 106 h 135"/>
                <a:gd name="T28" fmla="*/ 0 w 114"/>
                <a:gd name="T29" fmla="*/ 115 h 135"/>
                <a:gd name="T30" fmla="*/ 0 w 114"/>
                <a:gd name="T31" fmla="*/ 133 h 135"/>
                <a:gd name="T32" fmla="*/ 5 w 114"/>
                <a:gd name="T33" fmla="*/ 135 h 135"/>
                <a:gd name="T34" fmla="*/ 17 w 114"/>
                <a:gd name="T35" fmla="*/ 128 h 135"/>
                <a:gd name="T36" fmla="*/ 25 w 114"/>
                <a:gd name="T37" fmla="*/ 125 h 135"/>
                <a:gd name="T38" fmla="*/ 48 w 114"/>
                <a:gd name="T39" fmla="*/ 126 h 135"/>
                <a:gd name="T40" fmla="*/ 48 w 114"/>
                <a:gd name="T41" fmla="*/ 126 h 135"/>
                <a:gd name="T42" fmla="*/ 47 w 114"/>
                <a:gd name="T43" fmla="*/ 116 h 135"/>
                <a:gd name="T44" fmla="*/ 56 w 114"/>
                <a:gd name="T45" fmla="*/ 102 h 135"/>
                <a:gd name="T46" fmla="*/ 69 w 114"/>
                <a:gd name="T47" fmla="*/ 98 h 135"/>
                <a:gd name="T48" fmla="*/ 79 w 114"/>
                <a:gd name="T49" fmla="*/ 93 h 135"/>
                <a:gd name="T50" fmla="*/ 90 w 114"/>
                <a:gd name="T51" fmla="*/ 98 h 135"/>
                <a:gd name="T52" fmla="*/ 91 w 114"/>
                <a:gd name="T53" fmla="*/ 99 h 135"/>
                <a:gd name="T54" fmla="*/ 91 w 114"/>
                <a:gd name="T55" fmla="*/ 98 h 135"/>
                <a:gd name="T56" fmla="*/ 96 w 114"/>
                <a:gd name="T57" fmla="*/ 89 h 135"/>
                <a:gd name="T58" fmla="*/ 107 w 114"/>
                <a:gd name="T59" fmla="*/ 73 h 135"/>
                <a:gd name="T60" fmla="*/ 114 w 114"/>
                <a:gd name="T61" fmla="*/ 56 h 135"/>
                <a:gd name="T62" fmla="*/ 105 w 114"/>
                <a:gd name="T63" fmla="*/ 28 h 135"/>
                <a:gd name="T64" fmla="*/ 102 w 114"/>
                <a:gd name="T65" fmla="*/ 16 h 135"/>
                <a:gd name="T66" fmla="*/ 92 w 114"/>
                <a:gd name="T67" fmla="*/ 0 h 135"/>
                <a:gd name="T68" fmla="*/ 92 w 114"/>
                <a:gd name="T69" fmla="*/ 0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14" h="135">
                  <a:moveTo>
                    <a:pt x="92" y="0"/>
                  </a:moveTo>
                  <a:lnTo>
                    <a:pt x="80" y="11"/>
                  </a:lnTo>
                  <a:lnTo>
                    <a:pt x="65" y="11"/>
                  </a:lnTo>
                  <a:lnTo>
                    <a:pt x="48" y="16"/>
                  </a:lnTo>
                  <a:lnTo>
                    <a:pt x="35" y="11"/>
                  </a:lnTo>
                  <a:lnTo>
                    <a:pt x="26" y="17"/>
                  </a:lnTo>
                  <a:lnTo>
                    <a:pt x="26" y="17"/>
                  </a:lnTo>
                  <a:lnTo>
                    <a:pt x="25" y="45"/>
                  </a:lnTo>
                  <a:lnTo>
                    <a:pt x="34" y="48"/>
                  </a:lnTo>
                  <a:lnTo>
                    <a:pt x="26" y="57"/>
                  </a:lnTo>
                  <a:lnTo>
                    <a:pt x="19" y="63"/>
                  </a:lnTo>
                  <a:lnTo>
                    <a:pt x="11" y="76"/>
                  </a:lnTo>
                  <a:lnTo>
                    <a:pt x="6" y="87"/>
                  </a:lnTo>
                  <a:lnTo>
                    <a:pt x="5" y="106"/>
                  </a:lnTo>
                  <a:lnTo>
                    <a:pt x="0" y="115"/>
                  </a:lnTo>
                  <a:lnTo>
                    <a:pt x="0" y="133"/>
                  </a:lnTo>
                  <a:lnTo>
                    <a:pt x="5" y="135"/>
                  </a:lnTo>
                  <a:lnTo>
                    <a:pt x="17" y="128"/>
                  </a:lnTo>
                  <a:lnTo>
                    <a:pt x="25" y="125"/>
                  </a:lnTo>
                  <a:lnTo>
                    <a:pt x="48" y="126"/>
                  </a:lnTo>
                  <a:lnTo>
                    <a:pt x="48" y="126"/>
                  </a:lnTo>
                  <a:lnTo>
                    <a:pt x="47" y="116"/>
                  </a:lnTo>
                  <a:lnTo>
                    <a:pt x="56" y="102"/>
                  </a:lnTo>
                  <a:lnTo>
                    <a:pt x="69" y="98"/>
                  </a:lnTo>
                  <a:lnTo>
                    <a:pt x="79" y="93"/>
                  </a:lnTo>
                  <a:lnTo>
                    <a:pt x="90" y="98"/>
                  </a:lnTo>
                  <a:lnTo>
                    <a:pt x="91" y="99"/>
                  </a:lnTo>
                  <a:lnTo>
                    <a:pt x="91" y="98"/>
                  </a:lnTo>
                  <a:lnTo>
                    <a:pt x="96" y="89"/>
                  </a:lnTo>
                  <a:lnTo>
                    <a:pt x="107" y="73"/>
                  </a:lnTo>
                  <a:lnTo>
                    <a:pt x="114" y="56"/>
                  </a:lnTo>
                  <a:lnTo>
                    <a:pt x="105" y="28"/>
                  </a:lnTo>
                  <a:lnTo>
                    <a:pt x="102" y="16"/>
                  </a:lnTo>
                  <a:lnTo>
                    <a:pt x="92" y="0"/>
                  </a:lnTo>
                  <a:lnTo>
                    <a:pt x="92"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6" name="Ukraine">
              <a:extLst>
                <a:ext uri="{FF2B5EF4-FFF2-40B4-BE49-F238E27FC236}">
                  <a16:creationId xmlns:a16="http://schemas.microsoft.com/office/drawing/2014/main" id="{FCA7E975-BC6B-4FC5-B0EB-840EC105D9A6}"/>
                </a:ext>
              </a:extLst>
            </p:cNvPr>
            <p:cNvSpPr>
              <a:spLocks/>
            </p:cNvSpPr>
            <p:nvPr/>
          </p:nvSpPr>
          <p:spPr bwMode="auto">
            <a:xfrm>
              <a:off x="6641306" y="2098449"/>
              <a:ext cx="520700" cy="292100"/>
            </a:xfrm>
            <a:custGeom>
              <a:avLst/>
              <a:gdLst>
                <a:gd name="T0" fmla="*/ 180 w 328"/>
                <a:gd name="T1" fmla="*/ 2 h 184"/>
                <a:gd name="T2" fmla="*/ 170 w 328"/>
                <a:gd name="T3" fmla="*/ 6 h 184"/>
                <a:gd name="T4" fmla="*/ 164 w 328"/>
                <a:gd name="T5" fmla="*/ 6 h 184"/>
                <a:gd name="T6" fmla="*/ 143 w 328"/>
                <a:gd name="T7" fmla="*/ 11 h 184"/>
                <a:gd name="T8" fmla="*/ 137 w 328"/>
                <a:gd name="T9" fmla="*/ 21 h 184"/>
                <a:gd name="T10" fmla="*/ 115 w 328"/>
                <a:gd name="T11" fmla="*/ 17 h 184"/>
                <a:gd name="T12" fmla="*/ 102 w 328"/>
                <a:gd name="T13" fmla="*/ 17 h 184"/>
                <a:gd name="T14" fmla="*/ 67 w 328"/>
                <a:gd name="T15" fmla="*/ 11 h 184"/>
                <a:gd name="T16" fmla="*/ 34 w 328"/>
                <a:gd name="T17" fmla="*/ 10 h 184"/>
                <a:gd name="T18" fmla="*/ 17 w 328"/>
                <a:gd name="T19" fmla="*/ 17 h 184"/>
                <a:gd name="T20" fmla="*/ 28 w 328"/>
                <a:gd name="T21" fmla="*/ 44 h 184"/>
                <a:gd name="T22" fmla="*/ 5 w 328"/>
                <a:gd name="T23" fmla="*/ 66 h 184"/>
                <a:gd name="T24" fmla="*/ 7 w 328"/>
                <a:gd name="T25" fmla="*/ 75 h 184"/>
                <a:gd name="T26" fmla="*/ 0 w 328"/>
                <a:gd name="T27" fmla="*/ 90 h 184"/>
                <a:gd name="T28" fmla="*/ 13 w 328"/>
                <a:gd name="T29" fmla="*/ 103 h 184"/>
                <a:gd name="T30" fmla="*/ 32 w 328"/>
                <a:gd name="T31" fmla="*/ 100 h 184"/>
                <a:gd name="T32" fmla="*/ 53 w 328"/>
                <a:gd name="T33" fmla="*/ 106 h 184"/>
                <a:gd name="T34" fmla="*/ 72 w 328"/>
                <a:gd name="T35" fmla="*/ 100 h 184"/>
                <a:gd name="T36" fmla="*/ 84 w 328"/>
                <a:gd name="T37" fmla="*/ 94 h 184"/>
                <a:gd name="T38" fmla="*/ 100 w 328"/>
                <a:gd name="T39" fmla="*/ 89 h 184"/>
                <a:gd name="T40" fmla="*/ 122 w 328"/>
                <a:gd name="T41" fmla="*/ 97 h 184"/>
                <a:gd name="T42" fmla="*/ 131 w 328"/>
                <a:gd name="T43" fmla="*/ 111 h 184"/>
                <a:gd name="T44" fmla="*/ 142 w 328"/>
                <a:gd name="T45" fmla="*/ 125 h 184"/>
                <a:gd name="T46" fmla="*/ 149 w 328"/>
                <a:gd name="T47" fmla="*/ 135 h 184"/>
                <a:gd name="T48" fmla="*/ 149 w 328"/>
                <a:gd name="T49" fmla="*/ 138 h 184"/>
                <a:gd name="T50" fmla="*/ 135 w 328"/>
                <a:gd name="T51" fmla="*/ 135 h 184"/>
                <a:gd name="T52" fmla="*/ 133 w 328"/>
                <a:gd name="T53" fmla="*/ 140 h 184"/>
                <a:gd name="T54" fmla="*/ 127 w 328"/>
                <a:gd name="T55" fmla="*/ 155 h 184"/>
                <a:gd name="T56" fmla="*/ 132 w 328"/>
                <a:gd name="T57" fmla="*/ 163 h 184"/>
                <a:gd name="T58" fmla="*/ 149 w 328"/>
                <a:gd name="T59" fmla="*/ 163 h 184"/>
                <a:gd name="T60" fmla="*/ 166 w 328"/>
                <a:gd name="T61" fmla="*/ 133 h 184"/>
                <a:gd name="T62" fmla="*/ 185 w 328"/>
                <a:gd name="T63" fmla="*/ 138 h 184"/>
                <a:gd name="T64" fmla="*/ 222 w 328"/>
                <a:gd name="T65" fmla="*/ 150 h 184"/>
                <a:gd name="T66" fmla="*/ 202 w 328"/>
                <a:gd name="T67" fmla="*/ 162 h 184"/>
                <a:gd name="T68" fmla="*/ 222 w 328"/>
                <a:gd name="T69" fmla="*/ 179 h 184"/>
                <a:gd name="T70" fmla="*/ 256 w 328"/>
                <a:gd name="T71" fmla="*/ 171 h 184"/>
                <a:gd name="T72" fmla="*/ 279 w 328"/>
                <a:gd name="T73" fmla="*/ 159 h 184"/>
                <a:gd name="T74" fmla="*/ 250 w 328"/>
                <a:gd name="T75" fmla="*/ 154 h 184"/>
                <a:gd name="T76" fmla="*/ 260 w 328"/>
                <a:gd name="T77" fmla="*/ 131 h 184"/>
                <a:gd name="T78" fmla="*/ 289 w 328"/>
                <a:gd name="T79" fmla="*/ 122 h 184"/>
                <a:gd name="T80" fmla="*/ 302 w 328"/>
                <a:gd name="T81" fmla="*/ 110 h 184"/>
                <a:gd name="T82" fmla="*/ 327 w 328"/>
                <a:gd name="T83" fmla="*/ 102 h 184"/>
                <a:gd name="T84" fmla="*/ 322 w 328"/>
                <a:gd name="T85" fmla="*/ 81 h 184"/>
                <a:gd name="T86" fmla="*/ 325 w 328"/>
                <a:gd name="T87" fmla="*/ 63 h 184"/>
                <a:gd name="T88" fmla="*/ 286 w 328"/>
                <a:gd name="T89" fmla="*/ 55 h 184"/>
                <a:gd name="T90" fmla="*/ 259 w 328"/>
                <a:gd name="T91" fmla="*/ 49 h 184"/>
                <a:gd name="T92" fmla="*/ 234 w 328"/>
                <a:gd name="T93" fmla="*/ 36 h 184"/>
                <a:gd name="T94" fmla="*/ 211 w 328"/>
                <a:gd name="T95" fmla="*/ 24 h 184"/>
                <a:gd name="T96" fmla="*/ 212 w 328"/>
                <a:gd name="T97" fmla="*/ 13 h 184"/>
                <a:gd name="T98" fmla="*/ 198 w 328"/>
                <a:gd name="T99" fmla="*/ 0 h 1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8" h="184">
                  <a:moveTo>
                    <a:pt x="198" y="0"/>
                  </a:moveTo>
                  <a:lnTo>
                    <a:pt x="180" y="2"/>
                  </a:lnTo>
                  <a:lnTo>
                    <a:pt x="174" y="1"/>
                  </a:lnTo>
                  <a:lnTo>
                    <a:pt x="170" y="6"/>
                  </a:lnTo>
                  <a:lnTo>
                    <a:pt x="164" y="6"/>
                  </a:lnTo>
                  <a:lnTo>
                    <a:pt x="164" y="6"/>
                  </a:lnTo>
                  <a:lnTo>
                    <a:pt x="148" y="7"/>
                  </a:lnTo>
                  <a:lnTo>
                    <a:pt x="143" y="11"/>
                  </a:lnTo>
                  <a:lnTo>
                    <a:pt x="144" y="24"/>
                  </a:lnTo>
                  <a:lnTo>
                    <a:pt x="137" y="21"/>
                  </a:lnTo>
                  <a:lnTo>
                    <a:pt x="121" y="23"/>
                  </a:lnTo>
                  <a:lnTo>
                    <a:pt x="115" y="17"/>
                  </a:lnTo>
                  <a:lnTo>
                    <a:pt x="110" y="21"/>
                  </a:lnTo>
                  <a:lnTo>
                    <a:pt x="102" y="17"/>
                  </a:lnTo>
                  <a:lnTo>
                    <a:pt x="87" y="17"/>
                  </a:lnTo>
                  <a:lnTo>
                    <a:pt x="67" y="11"/>
                  </a:lnTo>
                  <a:lnTo>
                    <a:pt x="48" y="10"/>
                  </a:lnTo>
                  <a:lnTo>
                    <a:pt x="34" y="10"/>
                  </a:lnTo>
                  <a:lnTo>
                    <a:pt x="26" y="16"/>
                  </a:lnTo>
                  <a:lnTo>
                    <a:pt x="17" y="17"/>
                  </a:lnTo>
                  <a:lnTo>
                    <a:pt x="29" y="38"/>
                  </a:lnTo>
                  <a:lnTo>
                    <a:pt x="28" y="44"/>
                  </a:lnTo>
                  <a:lnTo>
                    <a:pt x="19" y="47"/>
                  </a:lnTo>
                  <a:lnTo>
                    <a:pt x="5" y="66"/>
                  </a:lnTo>
                  <a:lnTo>
                    <a:pt x="11" y="76"/>
                  </a:lnTo>
                  <a:lnTo>
                    <a:pt x="7" y="75"/>
                  </a:lnTo>
                  <a:lnTo>
                    <a:pt x="2" y="80"/>
                  </a:lnTo>
                  <a:lnTo>
                    <a:pt x="0" y="90"/>
                  </a:lnTo>
                  <a:lnTo>
                    <a:pt x="11" y="96"/>
                  </a:lnTo>
                  <a:lnTo>
                    <a:pt x="13" y="103"/>
                  </a:lnTo>
                  <a:lnTo>
                    <a:pt x="20" y="97"/>
                  </a:lnTo>
                  <a:lnTo>
                    <a:pt x="32" y="100"/>
                  </a:lnTo>
                  <a:lnTo>
                    <a:pt x="44" y="100"/>
                  </a:lnTo>
                  <a:lnTo>
                    <a:pt x="53" y="106"/>
                  </a:lnTo>
                  <a:lnTo>
                    <a:pt x="59" y="103"/>
                  </a:lnTo>
                  <a:lnTo>
                    <a:pt x="72" y="100"/>
                  </a:lnTo>
                  <a:lnTo>
                    <a:pt x="76" y="94"/>
                  </a:lnTo>
                  <a:lnTo>
                    <a:pt x="84" y="94"/>
                  </a:lnTo>
                  <a:lnTo>
                    <a:pt x="88" y="92"/>
                  </a:lnTo>
                  <a:lnTo>
                    <a:pt x="100" y="89"/>
                  </a:lnTo>
                  <a:lnTo>
                    <a:pt x="114" y="96"/>
                  </a:lnTo>
                  <a:lnTo>
                    <a:pt x="122" y="97"/>
                  </a:lnTo>
                  <a:lnTo>
                    <a:pt x="131" y="103"/>
                  </a:lnTo>
                  <a:lnTo>
                    <a:pt x="131" y="111"/>
                  </a:lnTo>
                  <a:lnTo>
                    <a:pt x="139" y="115"/>
                  </a:lnTo>
                  <a:lnTo>
                    <a:pt x="142" y="125"/>
                  </a:lnTo>
                  <a:lnTo>
                    <a:pt x="150" y="131"/>
                  </a:lnTo>
                  <a:lnTo>
                    <a:pt x="149" y="135"/>
                  </a:lnTo>
                  <a:lnTo>
                    <a:pt x="153" y="136"/>
                  </a:lnTo>
                  <a:lnTo>
                    <a:pt x="149" y="138"/>
                  </a:lnTo>
                  <a:lnTo>
                    <a:pt x="138" y="137"/>
                  </a:lnTo>
                  <a:lnTo>
                    <a:pt x="135" y="135"/>
                  </a:lnTo>
                  <a:lnTo>
                    <a:pt x="131" y="136"/>
                  </a:lnTo>
                  <a:lnTo>
                    <a:pt x="133" y="140"/>
                  </a:lnTo>
                  <a:lnTo>
                    <a:pt x="129" y="148"/>
                  </a:lnTo>
                  <a:lnTo>
                    <a:pt x="127" y="155"/>
                  </a:lnTo>
                  <a:lnTo>
                    <a:pt x="123" y="158"/>
                  </a:lnTo>
                  <a:lnTo>
                    <a:pt x="132" y="163"/>
                  </a:lnTo>
                  <a:lnTo>
                    <a:pt x="140" y="159"/>
                  </a:lnTo>
                  <a:lnTo>
                    <a:pt x="149" y="163"/>
                  </a:lnTo>
                  <a:lnTo>
                    <a:pt x="161" y="146"/>
                  </a:lnTo>
                  <a:lnTo>
                    <a:pt x="166" y="133"/>
                  </a:lnTo>
                  <a:lnTo>
                    <a:pt x="183" y="130"/>
                  </a:lnTo>
                  <a:lnTo>
                    <a:pt x="185" y="138"/>
                  </a:lnTo>
                  <a:lnTo>
                    <a:pt x="215" y="144"/>
                  </a:lnTo>
                  <a:lnTo>
                    <a:pt x="222" y="150"/>
                  </a:lnTo>
                  <a:lnTo>
                    <a:pt x="205" y="157"/>
                  </a:lnTo>
                  <a:lnTo>
                    <a:pt x="202" y="162"/>
                  </a:lnTo>
                  <a:lnTo>
                    <a:pt x="224" y="168"/>
                  </a:lnTo>
                  <a:lnTo>
                    <a:pt x="222" y="179"/>
                  </a:lnTo>
                  <a:lnTo>
                    <a:pt x="233" y="184"/>
                  </a:lnTo>
                  <a:lnTo>
                    <a:pt x="256" y="171"/>
                  </a:lnTo>
                  <a:lnTo>
                    <a:pt x="276" y="166"/>
                  </a:lnTo>
                  <a:lnTo>
                    <a:pt x="279" y="159"/>
                  </a:lnTo>
                  <a:lnTo>
                    <a:pt x="259" y="160"/>
                  </a:lnTo>
                  <a:lnTo>
                    <a:pt x="250" y="154"/>
                  </a:lnTo>
                  <a:lnTo>
                    <a:pt x="246" y="140"/>
                  </a:lnTo>
                  <a:lnTo>
                    <a:pt x="260" y="131"/>
                  </a:lnTo>
                  <a:lnTo>
                    <a:pt x="278" y="130"/>
                  </a:lnTo>
                  <a:lnTo>
                    <a:pt x="289" y="122"/>
                  </a:lnTo>
                  <a:lnTo>
                    <a:pt x="303" y="121"/>
                  </a:lnTo>
                  <a:lnTo>
                    <a:pt x="302" y="110"/>
                  </a:lnTo>
                  <a:lnTo>
                    <a:pt x="310" y="104"/>
                  </a:lnTo>
                  <a:lnTo>
                    <a:pt x="327" y="102"/>
                  </a:lnTo>
                  <a:lnTo>
                    <a:pt x="328" y="94"/>
                  </a:lnTo>
                  <a:lnTo>
                    <a:pt x="322" y="81"/>
                  </a:lnTo>
                  <a:lnTo>
                    <a:pt x="326" y="69"/>
                  </a:lnTo>
                  <a:lnTo>
                    <a:pt x="325" y="63"/>
                  </a:lnTo>
                  <a:lnTo>
                    <a:pt x="296" y="55"/>
                  </a:lnTo>
                  <a:lnTo>
                    <a:pt x="286" y="55"/>
                  </a:lnTo>
                  <a:lnTo>
                    <a:pt x="272" y="45"/>
                  </a:lnTo>
                  <a:lnTo>
                    <a:pt x="259" y="49"/>
                  </a:lnTo>
                  <a:lnTo>
                    <a:pt x="235" y="40"/>
                  </a:lnTo>
                  <a:lnTo>
                    <a:pt x="234" y="36"/>
                  </a:lnTo>
                  <a:lnTo>
                    <a:pt x="226" y="25"/>
                  </a:lnTo>
                  <a:lnTo>
                    <a:pt x="211" y="24"/>
                  </a:lnTo>
                  <a:lnTo>
                    <a:pt x="209" y="18"/>
                  </a:lnTo>
                  <a:lnTo>
                    <a:pt x="212" y="13"/>
                  </a:lnTo>
                  <a:lnTo>
                    <a:pt x="198" y="0"/>
                  </a:lnTo>
                  <a:lnTo>
                    <a:pt x="198"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7" name="Uruguay">
              <a:extLst>
                <a:ext uri="{FF2B5EF4-FFF2-40B4-BE49-F238E27FC236}">
                  <a16:creationId xmlns:a16="http://schemas.microsoft.com/office/drawing/2014/main" id="{34760C45-04E8-4CAB-86A5-19EF70ECE912}"/>
                </a:ext>
              </a:extLst>
            </p:cNvPr>
            <p:cNvSpPr>
              <a:spLocks/>
            </p:cNvSpPr>
            <p:nvPr/>
          </p:nvSpPr>
          <p:spPr bwMode="auto">
            <a:xfrm>
              <a:off x="4148931" y="5197248"/>
              <a:ext cx="161925" cy="182563"/>
            </a:xfrm>
            <a:custGeom>
              <a:avLst/>
              <a:gdLst>
                <a:gd name="T0" fmla="*/ 102 w 102"/>
                <a:gd name="T1" fmla="*/ 87 h 115"/>
                <a:gd name="T2" fmla="*/ 94 w 102"/>
                <a:gd name="T3" fmla="*/ 73 h 115"/>
                <a:gd name="T4" fmla="*/ 101 w 102"/>
                <a:gd name="T5" fmla="*/ 62 h 115"/>
                <a:gd name="T6" fmla="*/ 87 w 102"/>
                <a:gd name="T7" fmla="*/ 46 h 115"/>
                <a:gd name="T8" fmla="*/ 69 w 102"/>
                <a:gd name="T9" fmla="*/ 33 h 115"/>
                <a:gd name="T10" fmla="*/ 46 w 102"/>
                <a:gd name="T11" fmla="*/ 18 h 115"/>
                <a:gd name="T12" fmla="*/ 38 w 102"/>
                <a:gd name="T13" fmla="*/ 18 h 115"/>
                <a:gd name="T14" fmla="*/ 16 w 102"/>
                <a:gd name="T15" fmla="*/ 0 h 115"/>
                <a:gd name="T16" fmla="*/ 3 w 102"/>
                <a:gd name="T17" fmla="*/ 3 h 115"/>
                <a:gd name="T18" fmla="*/ 1 w 102"/>
                <a:gd name="T19" fmla="*/ 22 h 115"/>
                <a:gd name="T20" fmla="*/ 0 w 102"/>
                <a:gd name="T21" fmla="*/ 46 h 115"/>
                <a:gd name="T22" fmla="*/ 4 w 102"/>
                <a:gd name="T23" fmla="*/ 70 h 115"/>
                <a:gd name="T24" fmla="*/ 1 w 102"/>
                <a:gd name="T25" fmla="*/ 75 h 115"/>
                <a:gd name="T26" fmla="*/ 2 w 102"/>
                <a:gd name="T27" fmla="*/ 91 h 115"/>
                <a:gd name="T28" fmla="*/ 17 w 102"/>
                <a:gd name="T29" fmla="*/ 104 h 115"/>
                <a:gd name="T30" fmla="*/ 30 w 102"/>
                <a:gd name="T31" fmla="*/ 103 h 115"/>
                <a:gd name="T32" fmla="*/ 51 w 102"/>
                <a:gd name="T33" fmla="*/ 113 h 115"/>
                <a:gd name="T34" fmla="*/ 61 w 102"/>
                <a:gd name="T35" fmla="*/ 111 h 115"/>
                <a:gd name="T36" fmla="*/ 76 w 102"/>
                <a:gd name="T37" fmla="*/ 115 h 115"/>
                <a:gd name="T38" fmla="*/ 96 w 102"/>
                <a:gd name="T39" fmla="*/ 102 h 115"/>
                <a:gd name="T40" fmla="*/ 102 w 102"/>
                <a:gd name="T41" fmla="*/ 87 h 115"/>
                <a:gd name="T42" fmla="*/ 102 w 102"/>
                <a:gd name="T43" fmla="*/ 87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2" h="115">
                  <a:moveTo>
                    <a:pt x="102" y="87"/>
                  </a:moveTo>
                  <a:lnTo>
                    <a:pt x="94" y="73"/>
                  </a:lnTo>
                  <a:lnTo>
                    <a:pt x="101" y="62"/>
                  </a:lnTo>
                  <a:lnTo>
                    <a:pt x="87" y="46"/>
                  </a:lnTo>
                  <a:lnTo>
                    <a:pt x="69" y="33"/>
                  </a:lnTo>
                  <a:lnTo>
                    <a:pt x="46" y="18"/>
                  </a:lnTo>
                  <a:lnTo>
                    <a:pt x="38" y="18"/>
                  </a:lnTo>
                  <a:lnTo>
                    <a:pt x="16" y="0"/>
                  </a:lnTo>
                  <a:lnTo>
                    <a:pt x="3" y="3"/>
                  </a:lnTo>
                  <a:lnTo>
                    <a:pt x="1" y="22"/>
                  </a:lnTo>
                  <a:lnTo>
                    <a:pt x="0" y="46"/>
                  </a:lnTo>
                  <a:lnTo>
                    <a:pt x="4" y="70"/>
                  </a:lnTo>
                  <a:lnTo>
                    <a:pt x="1" y="75"/>
                  </a:lnTo>
                  <a:lnTo>
                    <a:pt x="2" y="91"/>
                  </a:lnTo>
                  <a:lnTo>
                    <a:pt x="17" y="104"/>
                  </a:lnTo>
                  <a:lnTo>
                    <a:pt x="30" y="103"/>
                  </a:lnTo>
                  <a:lnTo>
                    <a:pt x="51" y="113"/>
                  </a:lnTo>
                  <a:lnTo>
                    <a:pt x="61" y="111"/>
                  </a:lnTo>
                  <a:lnTo>
                    <a:pt x="76" y="115"/>
                  </a:lnTo>
                  <a:lnTo>
                    <a:pt x="96" y="102"/>
                  </a:lnTo>
                  <a:lnTo>
                    <a:pt x="102" y="87"/>
                  </a:lnTo>
                  <a:lnTo>
                    <a:pt x="102" y="8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8" name="United States of America">
              <a:extLst>
                <a:ext uri="{FF2B5EF4-FFF2-40B4-BE49-F238E27FC236}">
                  <a16:creationId xmlns:a16="http://schemas.microsoft.com/office/drawing/2014/main" id="{FAFBC36A-7BE8-4309-B5D9-8AE26398102F}"/>
                </a:ext>
              </a:extLst>
            </p:cNvPr>
            <p:cNvSpPr>
              <a:spLocks noEditPoints="1"/>
            </p:cNvSpPr>
            <p:nvPr/>
          </p:nvSpPr>
          <p:spPr bwMode="auto">
            <a:xfrm>
              <a:off x="785019" y="1453924"/>
              <a:ext cx="3211512" cy="1893888"/>
            </a:xfrm>
            <a:custGeom>
              <a:avLst/>
              <a:gdLst>
                <a:gd name="T0" fmla="*/ 72 w 2023"/>
                <a:gd name="T1" fmla="*/ 1162 h 1193"/>
                <a:gd name="T2" fmla="*/ 67 w 2023"/>
                <a:gd name="T3" fmla="*/ 1193 h 1193"/>
                <a:gd name="T4" fmla="*/ 57 w 2023"/>
                <a:gd name="T5" fmla="*/ 1148 h 1193"/>
                <a:gd name="T6" fmla="*/ 56 w 2023"/>
                <a:gd name="T7" fmla="*/ 1142 h 1193"/>
                <a:gd name="T8" fmla="*/ 36 w 2023"/>
                <a:gd name="T9" fmla="*/ 1137 h 1193"/>
                <a:gd name="T10" fmla="*/ 0 w 2023"/>
                <a:gd name="T11" fmla="*/ 1119 h 1193"/>
                <a:gd name="T12" fmla="*/ 1374 w 2023"/>
                <a:gd name="T13" fmla="*/ 483 h 1193"/>
                <a:gd name="T14" fmla="*/ 1023 w 2023"/>
                <a:gd name="T15" fmla="*/ 501 h 1193"/>
                <a:gd name="T16" fmla="*/ 959 w 2023"/>
                <a:gd name="T17" fmla="*/ 563 h 1193"/>
                <a:gd name="T18" fmla="*/ 876 w 2023"/>
                <a:gd name="T19" fmla="*/ 716 h 1193"/>
                <a:gd name="T20" fmla="*/ 913 w 2023"/>
                <a:gd name="T21" fmla="*/ 827 h 1193"/>
                <a:gd name="T22" fmla="*/ 992 w 2023"/>
                <a:gd name="T23" fmla="*/ 866 h 1193"/>
                <a:gd name="T24" fmla="*/ 1154 w 2023"/>
                <a:gd name="T25" fmla="*/ 897 h 1193"/>
                <a:gd name="T26" fmla="*/ 1232 w 2023"/>
                <a:gd name="T27" fmla="*/ 936 h 1193"/>
                <a:gd name="T28" fmla="*/ 1295 w 2023"/>
                <a:gd name="T29" fmla="*/ 1029 h 1193"/>
                <a:gd name="T30" fmla="*/ 1371 w 2023"/>
                <a:gd name="T31" fmla="*/ 942 h 1193"/>
                <a:gd name="T32" fmla="*/ 1476 w 2023"/>
                <a:gd name="T33" fmla="*/ 950 h 1193"/>
                <a:gd name="T34" fmla="*/ 1543 w 2023"/>
                <a:gd name="T35" fmla="*/ 921 h 1193"/>
                <a:gd name="T36" fmla="*/ 1602 w 2023"/>
                <a:gd name="T37" fmla="*/ 980 h 1193"/>
                <a:gd name="T38" fmla="*/ 1649 w 2023"/>
                <a:gd name="T39" fmla="*/ 1030 h 1193"/>
                <a:gd name="T40" fmla="*/ 1651 w 2023"/>
                <a:gd name="T41" fmla="*/ 896 h 1193"/>
                <a:gd name="T42" fmla="*/ 1770 w 2023"/>
                <a:gd name="T43" fmla="*/ 816 h 1193"/>
                <a:gd name="T44" fmla="*/ 1792 w 2023"/>
                <a:gd name="T45" fmla="*/ 722 h 1193"/>
                <a:gd name="T46" fmla="*/ 1821 w 2023"/>
                <a:gd name="T47" fmla="*/ 720 h 1193"/>
                <a:gd name="T48" fmla="*/ 1849 w 2023"/>
                <a:gd name="T49" fmla="*/ 680 h 1193"/>
                <a:gd name="T50" fmla="*/ 1893 w 2023"/>
                <a:gd name="T51" fmla="*/ 661 h 1193"/>
                <a:gd name="T52" fmla="*/ 1931 w 2023"/>
                <a:gd name="T53" fmla="*/ 649 h 1193"/>
                <a:gd name="T54" fmla="*/ 2020 w 2023"/>
                <a:gd name="T55" fmla="*/ 572 h 1193"/>
                <a:gd name="T56" fmla="*/ 1957 w 2023"/>
                <a:gd name="T57" fmla="*/ 565 h 1193"/>
                <a:gd name="T58" fmla="*/ 1840 w 2023"/>
                <a:gd name="T59" fmla="*/ 599 h 1193"/>
                <a:gd name="T60" fmla="*/ 1779 w 2023"/>
                <a:gd name="T61" fmla="*/ 625 h 1193"/>
                <a:gd name="T62" fmla="*/ 1692 w 2023"/>
                <a:gd name="T63" fmla="*/ 642 h 1193"/>
                <a:gd name="T64" fmla="*/ 1712 w 2023"/>
                <a:gd name="T65" fmla="*/ 597 h 1193"/>
                <a:gd name="T66" fmla="*/ 1692 w 2023"/>
                <a:gd name="T67" fmla="*/ 557 h 1193"/>
                <a:gd name="T68" fmla="*/ 1642 w 2023"/>
                <a:gd name="T69" fmla="*/ 606 h 1193"/>
                <a:gd name="T70" fmla="*/ 1604 w 2023"/>
                <a:gd name="T71" fmla="*/ 639 h 1193"/>
                <a:gd name="T72" fmla="*/ 1626 w 2023"/>
                <a:gd name="T73" fmla="*/ 585 h 1193"/>
                <a:gd name="T74" fmla="*/ 1715 w 2023"/>
                <a:gd name="T75" fmla="*/ 552 h 1193"/>
                <a:gd name="T76" fmla="*/ 1679 w 2023"/>
                <a:gd name="T77" fmla="*/ 537 h 1193"/>
                <a:gd name="T78" fmla="*/ 1590 w 2023"/>
                <a:gd name="T79" fmla="*/ 531 h 1193"/>
                <a:gd name="T80" fmla="*/ 1608 w 2023"/>
                <a:gd name="T81" fmla="*/ 500 h 1193"/>
                <a:gd name="T82" fmla="*/ 649 w 2023"/>
                <a:gd name="T83" fmla="*/ 299 h 1193"/>
                <a:gd name="T84" fmla="*/ 649 w 2023"/>
                <a:gd name="T85" fmla="*/ 299 h 1193"/>
                <a:gd name="T86" fmla="*/ 505 w 2023"/>
                <a:gd name="T87" fmla="*/ 237 h 1193"/>
                <a:gd name="T88" fmla="*/ 545 w 2023"/>
                <a:gd name="T89" fmla="*/ 164 h 1193"/>
                <a:gd name="T90" fmla="*/ 921 w 2023"/>
                <a:gd name="T91" fmla="*/ 10 h 1193"/>
                <a:gd name="T92" fmla="*/ 719 w 2023"/>
                <a:gd name="T93" fmla="*/ 60 h 1193"/>
                <a:gd name="T94" fmla="*/ 704 w 2023"/>
                <a:gd name="T95" fmla="*/ 96 h 1193"/>
                <a:gd name="T96" fmla="*/ 680 w 2023"/>
                <a:gd name="T97" fmla="*/ 137 h 1193"/>
                <a:gd name="T98" fmla="*/ 630 w 2023"/>
                <a:gd name="T99" fmla="*/ 169 h 1193"/>
                <a:gd name="T100" fmla="*/ 529 w 2023"/>
                <a:gd name="T101" fmla="*/ 230 h 1193"/>
                <a:gd name="T102" fmla="*/ 565 w 2023"/>
                <a:gd name="T103" fmla="*/ 266 h 1193"/>
                <a:gd name="T104" fmla="*/ 557 w 2023"/>
                <a:gd name="T105" fmla="*/ 296 h 1193"/>
                <a:gd name="T106" fmla="*/ 380 w 2023"/>
                <a:gd name="T107" fmla="*/ 359 h 1193"/>
                <a:gd name="T108" fmla="*/ 585 w 2023"/>
                <a:gd name="T109" fmla="*/ 302 h 1193"/>
                <a:gd name="T110" fmla="*/ 789 w 2023"/>
                <a:gd name="T111" fmla="*/ 207 h 1193"/>
                <a:gd name="T112" fmla="*/ 801 w 2023"/>
                <a:gd name="T113" fmla="*/ 236 h 1193"/>
                <a:gd name="T114" fmla="*/ 940 w 2023"/>
                <a:gd name="T115" fmla="*/ 268 h 1193"/>
                <a:gd name="T116" fmla="*/ 990 w 2023"/>
                <a:gd name="T117" fmla="*/ 350 h 1193"/>
                <a:gd name="T118" fmla="*/ 1005 w 2023"/>
                <a:gd name="T119" fmla="*/ 251 h 1193"/>
                <a:gd name="T120" fmla="*/ 1058 w 2023"/>
                <a:gd name="T121" fmla="*/ 107 h 1193"/>
                <a:gd name="T122" fmla="*/ 1061 w 2023"/>
                <a:gd name="T123" fmla="*/ 22 h 1193"/>
                <a:gd name="T124" fmla="*/ 975 w 2023"/>
                <a:gd name="T125" fmla="*/ 4 h 1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023" h="1193">
                  <a:moveTo>
                    <a:pt x="71" y="1190"/>
                  </a:moveTo>
                  <a:lnTo>
                    <a:pt x="78" y="1186"/>
                  </a:lnTo>
                  <a:lnTo>
                    <a:pt x="87" y="1181"/>
                  </a:lnTo>
                  <a:lnTo>
                    <a:pt x="88" y="1179"/>
                  </a:lnTo>
                  <a:lnTo>
                    <a:pt x="85" y="1171"/>
                  </a:lnTo>
                  <a:lnTo>
                    <a:pt x="82" y="1168"/>
                  </a:lnTo>
                  <a:lnTo>
                    <a:pt x="79" y="1166"/>
                  </a:lnTo>
                  <a:lnTo>
                    <a:pt x="72" y="1162"/>
                  </a:lnTo>
                  <a:lnTo>
                    <a:pt x="71" y="1162"/>
                  </a:lnTo>
                  <a:lnTo>
                    <a:pt x="69" y="1163"/>
                  </a:lnTo>
                  <a:lnTo>
                    <a:pt x="69" y="1168"/>
                  </a:lnTo>
                  <a:lnTo>
                    <a:pt x="64" y="1172"/>
                  </a:lnTo>
                  <a:lnTo>
                    <a:pt x="63" y="1175"/>
                  </a:lnTo>
                  <a:lnTo>
                    <a:pt x="64" y="1183"/>
                  </a:lnTo>
                  <a:lnTo>
                    <a:pt x="62" y="1190"/>
                  </a:lnTo>
                  <a:lnTo>
                    <a:pt x="67" y="1193"/>
                  </a:lnTo>
                  <a:lnTo>
                    <a:pt x="71" y="1190"/>
                  </a:lnTo>
                  <a:lnTo>
                    <a:pt x="71" y="1190"/>
                  </a:lnTo>
                  <a:close/>
                  <a:moveTo>
                    <a:pt x="68" y="1152"/>
                  </a:moveTo>
                  <a:lnTo>
                    <a:pt x="71" y="1149"/>
                  </a:lnTo>
                  <a:lnTo>
                    <a:pt x="66" y="1146"/>
                  </a:lnTo>
                  <a:lnTo>
                    <a:pt x="59" y="1144"/>
                  </a:lnTo>
                  <a:lnTo>
                    <a:pt x="57" y="1146"/>
                  </a:lnTo>
                  <a:lnTo>
                    <a:pt x="57" y="1148"/>
                  </a:lnTo>
                  <a:lnTo>
                    <a:pt x="59" y="1149"/>
                  </a:lnTo>
                  <a:lnTo>
                    <a:pt x="60" y="1154"/>
                  </a:lnTo>
                  <a:lnTo>
                    <a:pt x="68" y="1152"/>
                  </a:lnTo>
                  <a:lnTo>
                    <a:pt x="68" y="1152"/>
                  </a:lnTo>
                  <a:close/>
                  <a:moveTo>
                    <a:pt x="57" y="1140"/>
                  </a:moveTo>
                  <a:lnTo>
                    <a:pt x="47" y="1139"/>
                  </a:lnTo>
                  <a:lnTo>
                    <a:pt x="45" y="1142"/>
                  </a:lnTo>
                  <a:lnTo>
                    <a:pt x="56" y="1142"/>
                  </a:lnTo>
                  <a:lnTo>
                    <a:pt x="57" y="1140"/>
                  </a:lnTo>
                  <a:close/>
                  <a:moveTo>
                    <a:pt x="40" y="1136"/>
                  </a:moveTo>
                  <a:lnTo>
                    <a:pt x="35" y="1129"/>
                  </a:lnTo>
                  <a:lnTo>
                    <a:pt x="34" y="1127"/>
                  </a:lnTo>
                  <a:lnTo>
                    <a:pt x="28" y="1131"/>
                  </a:lnTo>
                  <a:lnTo>
                    <a:pt x="29" y="1131"/>
                  </a:lnTo>
                  <a:lnTo>
                    <a:pt x="30" y="1136"/>
                  </a:lnTo>
                  <a:lnTo>
                    <a:pt x="36" y="1137"/>
                  </a:lnTo>
                  <a:lnTo>
                    <a:pt x="38" y="1138"/>
                  </a:lnTo>
                  <a:lnTo>
                    <a:pt x="40" y="1136"/>
                  </a:lnTo>
                  <a:lnTo>
                    <a:pt x="40" y="1136"/>
                  </a:lnTo>
                  <a:close/>
                  <a:moveTo>
                    <a:pt x="8" y="1120"/>
                  </a:moveTo>
                  <a:lnTo>
                    <a:pt x="10" y="1115"/>
                  </a:lnTo>
                  <a:lnTo>
                    <a:pt x="4" y="1115"/>
                  </a:lnTo>
                  <a:lnTo>
                    <a:pt x="1" y="1117"/>
                  </a:lnTo>
                  <a:lnTo>
                    <a:pt x="0" y="1119"/>
                  </a:lnTo>
                  <a:lnTo>
                    <a:pt x="5" y="1123"/>
                  </a:lnTo>
                  <a:lnTo>
                    <a:pt x="8" y="1120"/>
                  </a:lnTo>
                  <a:close/>
                  <a:moveTo>
                    <a:pt x="1548" y="473"/>
                  </a:moveTo>
                  <a:lnTo>
                    <a:pt x="1541" y="473"/>
                  </a:lnTo>
                  <a:lnTo>
                    <a:pt x="1536" y="483"/>
                  </a:lnTo>
                  <a:lnTo>
                    <a:pt x="1499" y="483"/>
                  </a:lnTo>
                  <a:lnTo>
                    <a:pt x="1437" y="483"/>
                  </a:lnTo>
                  <a:lnTo>
                    <a:pt x="1374" y="483"/>
                  </a:lnTo>
                  <a:lnTo>
                    <a:pt x="1319" y="483"/>
                  </a:lnTo>
                  <a:lnTo>
                    <a:pt x="1264" y="483"/>
                  </a:lnTo>
                  <a:lnTo>
                    <a:pt x="1210" y="483"/>
                  </a:lnTo>
                  <a:lnTo>
                    <a:pt x="1154" y="483"/>
                  </a:lnTo>
                  <a:lnTo>
                    <a:pt x="1136" y="483"/>
                  </a:lnTo>
                  <a:lnTo>
                    <a:pt x="1081" y="483"/>
                  </a:lnTo>
                  <a:lnTo>
                    <a:pt x="1030" y="483"/>
                  </a:lnTo>
                  <a:lnTo>
                    <a:pt x="1023" y="501"/>
                  </a:lnTo>
                  <a:lnTo>
                    <a:pt x="1015" y="521"/>
                  </a:lnTo>
                  <a:lnTo>
                    <a:pt x="1005" y="527"/>
                  </a:lnTo>
                  <a:lnTo>
                    <a:pt x="1010" y="505"/>
                  </a:lnTo>
                  <a:lnTo>
                    <a:pt x="988" y="497"/>
                  </a:lnTo>
                  <a:lnTo>
                    <a:pt x="983" y="501"/>
                  </a:lnTo>
                  <a:lnTo>
                    <a:pt x="981" y="513"/>
                  </a:lnTo>
                  <a:lnTo>
                    <a:pt x="974" y="532"/>
                  </a:lnTo>
                  <a:lnTo>
                    <a:pt x="959" y="563"/>
                  </a:lnTo>
                  <a:lnTo>
                    <a:pt x="944" y="585"/>
                  </a:lnTo>
                  <a:lnTo>
                    <a:pt x="929" y="605"/>
                  </a:lnTo>
                  <a:lnTo>
                    <a:pt x="909" y="627"/>
                  </a:lnTo>
                  <a:lnTo>
                    <a:pt x="904" y="644"/>
                  </a:lnTo>
                  <a:lnTo>
                    <a:pt x="894" y="664"/>
                  </a:lnTo>
                  <a:lnTo>
                    <a:pt x="880" y="683"/>
                  </a:lnTo>
                  <a:lnTo>
                    <a:pt x="884" y="697"/>
                  </a:lnTo>
                  <a:lnTo>
                    <a:pt x="876" y="716"/>
                  </a:lnTo>
                  <a:lnTo>
                    <a:pt x="882" y="736"/>
                  </a:lnTo>
                  <a:lnTo>
                    <a:pt x="887" y="744"/>
                  </a:lnTo>
                  <a:lnTo>
                    <a:pt x="884" y="750"/>
                  </a:lnTo>
                  <a:lnTo>
                    <a:pt x="886" y="783"/>
                  </a:lnTo>
                  <a:lnTo>
                    <a:pt x="895" y="808"/>
                  </a:lnTo>
                  <a:lnTo>
                    <a:pt x="891" y="821"/>
                  </a:lnTo>
                  <a:lnTo>
                    <a:pt x="895" y="824"/>
                  </a:lnTo>
                  <a:lnTo>
                    <a:pt x="913" y="827"/>
                  </a:lnTo>
                  <a:lnTo>
                    <a:pt x="917" y="834"/>
                  </a:lnTo>
                  <a:lnTo>
                    <a:pt x="928" y="835"/>
                  </a:lnTo>
                  <a:lnTo>
                    <a:pt x="928" y="841"/>
                  </a:lnTo>
                  <a:lnTo>
                    <a:pt x="936" y="844"/>
                  </a:lnTo>
                  <a:lnTo>
                    <a:pt x="944" y="858"/>
                  </a:lnTo>
                  <a:lnTo>
                    <a:pt x="943" y="870"/>
                  </a:lnTo>
                  <a:lnTo>
                    <a:pt x="966" y="868"/>
                  </a:lnTo>
                  <a:lnTo>
                    <a:pt x="992" y="866"/>
                  </a:lnTo>
                  <a:lnTo>
                    <a:pt x="988" y="870"/>
                  </a:lnTo>
                  <a:lnTo>
                    <a:pt x="1015" y="882"/>
                  </a:lnTo>
                  <a:lnTo>
                    <a:pt x="1055" y="898"/>
                  </a:lnTo>
                  <a:lnTo>
                    <a:pt x="1095" y="898"/>
                  </a:lnTo>
                  <a:lnTo>
                    <a:pt x="1111" y="898"/>
                  </a:lnTo>
                  <a:lnTo>
                    <a:pt x="1114" y="889"/>
                  </a:lnTo>
                  <a:lnTo>
                    <a:pt x="1149" y="889"/>
                  </a:lnTo>
                  <a:lnTo>
                    <a:pt x="1154" y="897"/>
                  </a:lnTo>
                  <a:lnTo>
                    <a:pt x="1161" y="905"/>
                  </a:lnTo>
                  <a:lnTo>
                    <a:pt x="1170" y="915"/>
                  </a:lnTo>
                  <a:lnTo>
                    <a:pt x="1173" y="927"/>
                  </a:lnTo>
                  <a:lnTo>
                    <a:pt x="1175" y="940"/>
                  </a:lnTo>
                  <a:lnTo>
                    <a:pt x="1183" y="948"/>
                  </a:lnTo>
                  <a:lnTo>
                    <a:pt x="1198" y="954"/>
                  </a:lnTo>
                  <a:lnTo>
                    <a:pt x="1216" y="936"/>
                  </a:lnTo>
                  <a:lnTo>
                    <a:pt x="1232" y="936"/>
                  </a:lnTo>
                  <a:lnTo>
                    <a:pt x="1244" y="945"/>
                  </a:lnTo>
                  <a:lnTo>
                    <a:pt x="1250" y="961"/>
                  </a:lnTo>
                  <a:lnTo>
                    <a:pt x="1254" y="975"/>
                  </a:lnTo>
                  <a:lnTo>
                    <a:pt x="1263" y="989"/>
                  </a:lnTo>
                  <a:lnTo>
                    <a:pt x="1263" y="1006"/>
                  </a:lnTo>
                  <a:lnTo>
                    <a:pt x="1267" y="1017"/>
                  </a:lnTo>
                  <a:lnTo>
                    <a:pt x="1281" y="1024"/>
                  </a:lnTo>
                  <a:lnTo>
                    <a:pt x="1295" y="1029"/>
                  </a:lnTo>
                  <a:lnTo>
                    <a:pt x="1302" y="1028"/>
                  </a:lnTo>
                  <a:lnTo>
                    <a:pt x="1300" y="1021"/>
                  </a:lnTo>
                  <a:lnTo>
                    <a:pt x="1301" y="1008"/>
                  </a:lnTo>
                  <a:lnTo>
                    <a:pt x="1305" y="993"/>
                  </a:lnTo>
                  <a:lnTo>
                    <a:pt x="1312" y="981"/>
                  </a:lnTo>
                  <a:lnTo>
                    <a:pt x="1326" y="970"/>
                  </a:lnTo>
                  <a:lnTo>
                    <a:pt x="1349" y="960"/>
                  </a:lnTo>
                  <a:lnTo>
                    <a:pt x="1371" y="942"/>
                  </a:lnTo>
                  <a:lnTo>
                    <a:pt x="1390" y="937"/>
                  </a:lnTo>
                  <a:lnTo>
                    <a:pt x="1403" y="936"/>
                  </a:lnTo>
                  <a:lnTo>
                    <a:pt x="1416" y="940"/>
                  </a:lnTo>
                  <a:lnTo>
                    <a:pt x="1434" y="937"/>
                  </a:lnTo>
                  <a:lnTo>
                    <a:pt x="1446" y="951"/>
                  </a:lnTo>
                  <a:lnTo>
                    <a:pt x="1461" y="951"/>
                  </a:lnTo>
                  <a:lnTo>
                    <a:pt x="1469" y="947"/>
                  </a:lnTo>
                  <a:lnTo>
                    <a:pt x="1476" y="950"/>
                  </a:lnTo>
                  <a:lnTo>
                    <a:pt x="1480" y="947"/>
                  </a:lnTo>
                  <a:lnTo>
                    <a:pt x="1478" y="942"/>
                  </a:lnTo>
                  <a:lnTo>
                    <a:pt x="1480" y="933"/>
                  </a:lnTo>
                  <a:lnTo>
                    <a:pt x="1478" y="926"/>
                  </a:lnTo>
                  <a:lnTo>
                    <a:pt x="1487" y="922"/>
                  </a:lnTo>
                  <a:lnTo>
                    <a:pt x="1503" y="922"/>
                  </a:lnTo>
                  <a:lnTo>
                    <a:pt x="1521" y="923"/>
                  </a:lnTo>
                  <a:lnTo>
                    <a:pt x="1543" y="921"/>
                  </a:lnTo>
                  <a:lnTo>
                    <a:pt x="1554" y="926"/>
                  </a:lnTo>
                  <a:lnTo>
                    <a:pt x="1562" y="937"/>
                  </a:lnTo>
                  <a:lnTo>
                    <a:pt x="1565" y="938"/>
                  </a:lnTo>
                  <a:lnTo>
                    <a:pt x="1588" y="928"/>
                  </a:lnTo>
                  <a:lnTo>
                    <a:pt x="1595" y="932"/>
                  </a:lnTo>
                  <a:lnTo>
                    <a:pt x="1607" y="951"/>
                  </a:lnTo>
                  <a:lnTo>
                    <a:pt x="1609" y="965"/>
                  </a:lnTo>
                  <a:lnTo>
                    <a:pt x="1602" y="980"/>
                  </a:lnTo>
                  <a:lnTo>
                    <a:pt x="1604" y="990"/>
                  </a:lnTo>
                  <a:lnTo>
                    <a:pt x="1609" y="1007"/>
                  </a:lnTo>
                  <a:lnTo>
                    <a:pt x="1617" y="1028"/>
                  </a:lnTo>
                  <a:lnTo>
                    <a:pt x="1623" y="1034"/>
                  </a:lnTo>
                  <a:lnTo>
                    <a:pt x="1625" y="1044"/>
                  </a:lnTo>
                  <a:lnTo>
                    <a:pt x="1635" y="1047"/>
                  </a:lnTo>
                  <a:lnTo>
                    <a:pt x="1641" y="1044"/>
                  </a:lnTo>
                  <a:lnTo>
                    <a:pt x="1649" y="1030"/>
                  </a:lnTo>
                  <a:lnTo>
                    <a:pt x="1651" y="1021"/>
                  </a:lnTo>
                  <a:lnTo>
                    <a:pt x="1655" y="1004"/>
                  </a:lnTo>
                  <a:lnTo>
                    <a:pt x="1650" y="977"/>
                  </a:lnTo>
                  <a:lnTo>
                    <a:pt x="1652" y="966"/>
                  </a:lnTo>
                  <a:lnTo>
                    <a:pt x="1647" y="950"/>
                  </a:lnTo>
                  <a:lnTo>
                    <a:pt x="1644" y="929"/>
                  </a:lnTo>
                  <a:lnTo>
                    <a:pt x="1644" y="913"/>
                  </a:lnTo>
                  <a:lnTo>
                    <a:pt x="1651" y="896"/>
                  </a:lnTo>
                  <a:lnTo>
                    <a:pt x="1664" y="882"/>
                  </a:lnTo>
                  <a:lnTo>
                    <a:pt x="1677" y="871"/>
                  </a:lnTo>
                  <a:lnTo>
                    <a:pt x="1704" y="855"/>
                  </a:lnTo>
                  <a:lnTo>
                    <a:pt x="1708" y="847"/>
                  </a:lnTo>
                  <a:lnTo>
                    <a:pt x="1720" y="838"/>
                  </a:lnTo>
                  <a:lnTo>
                    <a:pt x="1732" y="838"/>
                  </a:lnTo>
                  <a:lnTo>
                    <a:pt x="1747" y="823"/>
                  </a:lnTo>
                  <a:lnTo>
                    <a:pt x="1770" y="816"/>
                  </a:lnTo>
                  <a:lnTo>
                    <a:pt x="1788" y="798"/>
                  </a:lnTo>
                  <a:lnTo>
                    <a:pt x="1790" y="774"/>
                  </a:lnTo>
                  <a:lnTo>
                    <a:pt x="1791" y="766"/>
                  </a:lnTo>
                  <a:lnTo>
                    <a:pt x="1786" y="764"/>
                  </a:lnTo>
                  <a:lnTo>
                    <a:pt x="1791" y="740"/>
                  </a:lnTo>
                  <a:lnTo>
                    <a:pt x="1780" y="733"/>
                  </a:lnTo>
                  <a:lnTo>
                    <a:pt x="1792" y="737"/>
                  </a:lnTo>
                  <a:lnTo>
                    <a:pt x="1792" y="722"/>
                  </a:lnTo>
                  <a:lnTo>
                    <a:pt x="1799" y="711"/>
                  </a:lnTo>
                  <a:lnTo>
                    <a:pt x="1795" y="731"/>
                  </a:lnTo>
                  <a:lnTo>
                    <a:pt x="1803" y="740"/>
                  </a:lnTo>
                  <a:lnTo>
                    <a:pt x="1792" y="757"/>
                  </a:lnTo>
                  <a:lnTo>
                    <a:pt x="1793" y="757"/>
                  </a:lnTo>
                  <a:lnTo>
                    <a:pt x="1810" y="739"/>
                  </a:lnTo>
                  <a:lnTo>
                    <a:pt x="1819" y="729"/>
                  </a:lnTo>
                  <a:lnTo>
                    <a:pt x="1821" y="720"/>
                  </a:lnTo>
                  <a:lnTo>
                    <a:pt x="1818" y="716"/>
                  </a:lnTo>
                  <a:lnTo>
                    <a:pt x="1818" y="703"/>
                  </a:lnTo>
                  <a:lnTo>
                    <a:pt x="1822" y="709"/>
                  </a:lnTo>
                  <a:lnTo>
                    <a:pt x="1826" y="711"/>
                  </a:lnTo>
                  <a:lnTo>
                    <a:pt x="1826" y="716"/>
                  </a:lnTo>
                  <a:lnTo>
                    <a:pt x="1846" y="697"/>
                  </a:lnTo>
                  <a:lnTo>
                    <a:pt x="1855" y="681"/>
                  </a:lnTo>
                  <a:lnTo>
                    <a:pt x="1849" y="680"/>
                  </a:lnTo>
                  <a:lnTo>
                    <a:pt x="1857" y="673"/>
                  </a:lnTo>
                  <a:lnTo>
                    <a:pt x="1856" y="676"/>
                  </a:lnTo>
                  <a:lnTo>
                    <a:pt x="1868" y="676"/>
                  </a:lnTo>
                  <a:lnTo>
                    <a:pt x="1897" y="669"/>
                  </a:lnTo>
                  <a:lnTo>
                    <a:pt x="1893" y="665"/>
                  </a:lnTo>
                  <a:lnTo>
                    <a:pt x="1863" y="669"/>
                  </a:lnTo>
                  <a:lnTo>
                    <a:pt x="1881" y="662"/>
                  </a:lnTo>
                  <a:lnTo>
                    <a:pt x="1893" y="661"/>
                  </a:lnTo>
                  <a:lnTo>
                    <a:pt x="1902" y="660"/>
                  </a:lnTo>
                  <a:lnTo>
                    <a:pt x="1917" y="656"/>
                  </a:lnTo>
                  <a:lnTo>
                    <a:pt x="1926" y="656"/>
                  </a:lnTo>
                  <a:lnTo>
                    <a:pt x="1941" y="653"/>
                  </a:lnTo>
                  <a:lnTo>
                    <a:pt x="1945" y="646"/>
                  </a:lnTo>
                  <a:lnTo>
                    <a:pt x="1940" y="641"/>
                  </a:lnTo>
                  <a:lnTo>
                    <a:pt x="1939" y="649"/>
                  </a:lnTo>
                  <a:lnTo>
                    <a:pt x="1931" y="649"/>
                  </a:lnTo>
                  <a:lnTo>
                    <a:pt x="1930" y="637"/>
                  </a:lnTo>
                  <a:lnTo>
                    <a:pt x="1933" y="625"/>
                  </a:lnTo>
                  <a:lnTo>
                    <a:pt x="1939" y="619"/>
                  </a:lnTo>
                  <a:lnTo>
                    <a:pt x="1953" y="606"/>
                  </a:lnTo>
                  <a:lnTo>
                    <a:pt x="1975" y="599"/>
                  </a:lnTo>
                  <a:lnTo>
                    <a:pt x="1998" y="591"/>
                  </a:lnTo>
                  <a:lnTo>
                    <a:pt x="2021" y="580"/>
                  </a:lnTo>
                  <a:lnTo>
                    <a:pt x="2020" y="572"/>
                  </a:lnTo>
                  <a:lnTo>
                    <a:pt x="2013" y="559"/>
                  </a:lnTo>
                  <a:lnTo>
                    <a:pt x="2023" y="528"/>
                  </a:lnTo>
                  <a:lnTo>
                    <a:pt x="2017" y="521"/>
                  </a:lnTo>
                  <a:lnTo>
                    <a:pt x="2003" y="525"/>
                  </a:lnTo>
                  <a:lnTo>
                    <a:pt x="2000" y="518"/>
                  </a:lnTo>
                  <a:lnTo>
                    <a:pt x="1979" y="536"/>
                  </a:lnTo>
                  <a:lnTo>
                    <a:pt x="1967" y="555"/>
                  </a:lnTo>
                  <a:lnTo>
                    <a:pt x="1957" y="565"/>
                  </a:lnTo>
                  <a:lnTo>
                    <a:pt x="1947" y="569"/>
                  </a:lnTo>
                  <a:lnTo>
                    <a:pt x="1941" y="570"/>
                  </a:lnTo>
                  <a:lnTo>
                    <a:pt x="1937" y="575"/>
                  </a:lnTo>
                  <a:lnTo>
                    <a:pt x="1902" y="575"/>
                  </a:lnTo>
                  <a:lnTo>
                    <a:pt x="1874" y="575"/>
                  </a:lnTo>
                  <a:lnTo>
                    <a:pt x="1864" y="580"/>
                  </a:lnTo>
                  <a:lnTo>
                    <a:pt x="1839" y="596"/>
                  </a:lnTo>
                  <a:lnTo>
                    <a:pt x="1840" y="599"/>
                  </a:lnTo>
                  <a:lnTo>
                    <a:pt x="1837" y="608"/>
                  </a:lnTo>
                  <a:lnTo>
                    <a:pt x="1820" y="615"/>
                  </a:lnTo>
                  <a:lnTo>
                    <a:pt x="1805" y="613"/>
                  </a:lnTo>
                  <a:lnTo>
                    <a:pt x="1790" y="613"/>
                  </a:lnTo>
                  <a:lnTo>
                    <a:pt x="1781" y="615"/>
                  </a:lnTo>
                  <a:lnTo>
                    <a:pt x="1780" y="622"/>
                  </a:lnTo>
                  <a:lnTo>
                    <a:pt x="1780" y="622"/>
                  </a:lnTo>
                  <a:lnTo>
                    <a:pt x="1779" y="625"/>
                  </a:lnTo>
                  <a:lnTo>
                    <a:pt x="1758" y="638"/>
                  </a:lnTo>
                  <a:lnTo>
                    <a:pt x="1741" y="645"/>
                  </a:lnTo>
                  <a:lnTo>
                    <a:pt x="1730" y="648"/>
                  </a:lnTo>
                  <a:lnTo>
                    <a:pt x="1717" y="655"/>
                  </a:lnTo>
                  <a:lnTo>
                    <a:pt x="1702" y="657"/>
                  </a:lnTo>
                  <a:lnTo>
                    <a:pt x="1692" y="656"/>
                  </a:lnTo>
                  <a:lnTo>
                    <a:pt x="1682" y="652"/>
                  </a:lnTo>
                  <a:lnTo>
                    <a:pt x="1692" y="642"/>
                  </a:lnTo>
                  <a:lnTo>
                    <a:pt x="1692" y="642"/>
                  </a:lnTo>
                  <a:lnTo>
                    <a:pt x="1700" y="634"/>
                  </a:lnTo>
                  <a:lnTo>
                    <a:pt x="1713" y="622"/>
                  </a:lnTo>
                  <a:lnTo>
                    <a:pt x="1713" y="622"/>
                  </a:lnTo>
                  <a:lnTo>
                    <a:pt x="1713" y="622"/>
                  </a:lnTo>
                  <a:lnTo>
                    <a:pt x="1716" y="613"/>
                  </a:lnTo>
                  <a:lnTo>
                    <a:pt x="1718" y="599"/>
                  </a:lnTo>
                  <a:lnTo>
                    <a:pt x="1712" y="597"/>
                  </a:lnTo>
                  <a:lnTo>
                    <a:pt x="1696" y="607"/>
                  </a:lnTo>
                  <a:lnTo>
                    <a:pt x="1692" y="607"/>
                  </a:lnTo>
                  <a:lnTo>
                    <a:pt x="1693" y="601"/>
                  </a:lnTo>
                  <a:lnTo>
                    <a:pt x="1707" y="592"/>
                  </a:lnTo>
                  <a:lnTo>
                    <a:pt x="1714" y="582"/>
                  </a:lnTo>
                  <a:lnTo>
                    <a:pt x="1717" y="571"/>
                  </a:lnTo>
                  <a:lnTo>
                    <a:pt x="1706" y="562"/>
                  </a:lnTo>
                  <a:lnTo>
                    <a:pt x="1692" y="557"/>
                  </a:lnTo>
                  <a:lnTo>
                    <a:pt x="1686" y="566"/>
                  </a:lnTo>
                  <a:lnTo>
                    <a:pt x="1681" y="569"/>
                  </a:lnTo>
                  <a:lnTo>
                    <a:pt x="1673" y="580"/>
                  </a:lnTo>
                  <a:lnTo>
                    <a:pt x="1674" y="572"/>
                  </a:lnTo>
                  <a:lnTo>
                    <a:pt x="1664" y="578"/>
                  </a:lnTo>
                  <a:lnTo>
                    <a:pt x="1657" y="585"/>
                  </a:lnTo>
                  <a:lnTo>
                    <a:pt x="1647" y="597"/>
                  </a:lnTo>
                  <a:lnTo>
                    <a:pt x="1642" y="606"/>
                  </a:lnTo>
                  <a:lnTo>
                    <a:pt x="1642" y="621"/>
                  </a:lnTo>
                  <a:lnTo>
                    <a:pt x="1635" y="636"/>
                  </a:lnTo>
                  <a:lnTo>
                    <a:pt x="1623" y="647"/>
                  </a:lnTo>
                  <a:lnTo>
                    <a:pt x="1618" y="650"/>
                  </a:lnTo>
                  <a:lnTo>
                    <a:pt x="1612" y="653"/>
                  </a:lnTo>
                  <a:lnTo>
                    <a:pt x="1606" y="653"/>
                  </a:lnTo>
                  <a:lnTo>
                    <a:pt x="1605" y="651"/>
                  </a:lnTo>
                  <a:lnTo>
                    <a:pt x="1604" y="639"/>
                  </a:lnTo>
                  <a:lnTo>
                    <a:pt x="1607" y="633"/>
                  </a:lnTo>
                  <a:lnTo>
                    <a:pt x="1609" y="627"/>
                  </a:lnTo>
                  <a:lnTo>
                    <a:pt x="1611" y="616"/>
                  </a:lnTo>
                  <a:lnTo>
                    <a:pt x="1621" y="603"/>
                  </a:lnTo>
                  <a:lnTo>
                    <a:pt x="1632" y="587"/>
                  </a:lnTo>
                  <a:lnTo>
                    <a:pt x="1649" y="570"/>
                  </a:lnTo>
                  <a:lnTo>
                    <a:pt x="1646" y="570"/>
                  </a:lnTo>
                  <a:lnTo>
                    <a:pt x="1626" y="585"/>
                  </a:lnTo>
                  <a:lnTo>
                    <a:pt x="1624" y="582"/>
                  </a:lnTo>
                  <a:lnTo>
                    <a:pt x="1635" y="573"/>
                  </a:lnTo>
                  <a:lnTo>
                    <a:pt x="1653" y="558"/>
                  </a:lnTo>
                  <a:lnTo>
                    <a:pt x="1666" y="556"/>
                  </a:lnTo>
                  <a:lnTo>
                    <a:pt x="1683" y="552"/>
                  </a:lnTo>
                  <a:lnTo>
                    <a:pt x="1697" y="554"/>
                  </a:lnTo>
                  <a:lnTo>
                    <a:pt x="1697" y="554"/>
                  </a:lnTo>
                  <a:lnTo>
                    <a:pt x="1715" y="552"/>
                  </a:lnTo>
                  <a:lnTo>
                    <a:pt x="1709" y="542"/>
                  </a:lnTo>
                  <a:lnTo>
                    <a:pt x="1709" y="542"/>
                  </a:lnTo>
                  <a:lnTo>
                    <a:pt x="1705" y="542"/>
                  </a:lnTo>
                  <a:lnTo>
                    <a:pt x="1705" y="542"/>
                  </a:lnTo>
                  <a:lnTo>
                    <a:pt x="1705" y="542"/>
                  </a:lnTo>
                  <a:lnTo>
                    <a:pt x="1700" y="541"/>
                  </a:lnTo>
                  <a:lnTo>
                    <a:pt x="1698" y="535"/>
                  </a:lnTo>
                  <a:lnTo>
                    <a:pt x="1679" y="537"/>
                  </a:lnTo>
                  <a:lnTo>
                    <a:pt x="1661" y="542"/>
                  </a:lnTo>
                  <a:lnTo>
                    <a:pt x="1651" y="533"/>
                  </a:lnTo>
                  <a:lnTo>
                    <a:pt x="1642" y="530"/>
                  </a:lnTo>
                  <a:lnTo>
                    <a:pt x="1653" y="518"/>
                  </a:lnTo>
                  <a:lnTo>
                    <a:pt x="1634" y="526"/>
                  </a:lnTo>
                  <a:lnTo>
                    <a:pt x="1615" y="533"/>
                  </a:lnTo>
                  <a:lnTo>
                    <a:pt x="1598" y="539"/>
                  </a:lnTo>
                  <a:lnTo>
                    <a:pt x="1590" y="531"/>
                  </a:lnTo>
                  <a:lnTo>
                    <a:pt x="1569" y="536"/>
                  </a:lnTo>
                  <a:lnTo>
                    <a:pt x="1571" y="532"/>
                  </a:lnTo>
                  <a:lnTo>
                    <a:pt x="1588" y="523"/>
                  </a:lnTo>
                  <a:lnTo>
                    <a:pt x="1606" y="514"/>
                  </a:lnTo>
                  <a:lnTo>
                    <a:pt x="1628" y="505"/>
                  </a:lnTo>
                  <a:lnTo>
                    <a:pt x="1628" y="505"/>
                  </a:lnTo>
                  <a:lnTo>
                    <a:pt x="1628" y="505"/>
                  </a:lnTo>
                  <a:lnTo>
                    <a:pt x="1608" y="500"/>
                  </a:lnTo>
                  <a:lnTo>
                    <a:pt x="1592" y="502"/>
                  </a:lnTo>
                  <a:lnTo>
                    <a:pt x="1578" y="496"/>
                  </a:lnTo>
                  <a:lnTo>
                    <a:pt x="1560" y="492"/>
                  </a:lnTo>
                  <a:lnTo>
                    <a:pt x="1549" y="490"/>
                  </a:lnTo>
                  <a:lnTo>
                    <a:pt x="1545" y="486"/>
                  </a:lnTo>
                  <a:lnTo>
                    <a:pt x="1548" y="473"/>
                  </a:lnTo>
                  <a:lnTo>
                    <a:pt x="1548" y="473"/>
                  </a:lnTo>
                  <a:close/>
                  <a:moveTo>
                    <a:pt x="649" y="299"/>
                  </a:moveTo>
                  <a:lnTo>
                    <a:pt x="675" y="289"/>
                  </a:lnTo>
                  <a:lnTo>
                    <a:pt x="675" y="281"/>
                  </a:lnTo>
                  <a:lnTo>
                    <a:pt x="665" y="280"/>
                  </a:lnTo>
                  <a:lnTo>
                    <a:pt x="652" y="283"/>
                  </a:lnTo>
                  <a:lnTo>
                    <a:pt x="628" y="291"/>
                  </a:lnTo>
                  <a:lnTo>
                    <a:pt x="621" y="302"/>
                  </a:lnTo>
                  <a:lnTo>
                    <a:pt x="622" y="307"/>
                  </a:lnTo>
                  <a:lnTo>
                    <a:pt x="649" y="299"/>
                  </a:lnTo>
                  <a:close/>
                  <a:moveTo>
                    <a:pt x="505" y="237"/>
                  </a:moveTo>
                  <a:lnTo>
                    <a:pt x="513" y="229"/>
                  </a:lnTo>
                  <a:lnTo>
                    <a:pt x="502" y="227"/>
                  </a:lnTo>
                  <a:lnTo>
                    <a:pt x="481" y="231"/>
                  </a:lnTo>
                  <a:lnTo>
                    <a:pt x="484" y="236"/>
                  </a:lnTo>
                  <a:lnTo>
                    <a:pt x="490" y="241"/>
                  </a:lnTo>
                  <a:lnTo>
                    <a:pt x="505" y="237"/>
                  </a:lnTo>
                  <a:lnTo>
                    <a:pt x="505" y="237"/>
                  </a:lnTo>
                  <a:close/>
                  <a:moveTo>
                    <a:pt x="509" y="154"/>
                  </a:moveTo>
                  <a:lnTo>
                    <a:pt x="497" y="162"/>
                  </a:lnTo>
                  <a:lnTo>
                    <a:pt x="499" y="164"/>
                  </a:lnTo>
                  <a:lnTo>
                    <a:pt x="514" y="162"/>
                  </a:lnTo>
                  <a:lnTo>
                    <a:pt x="516" y="167"/>
                  </a:lnTo>
                  <a:lnTo>
                    <a:pt x="522" y="171"/>
                  </a:lnTo>
                  <a:lnTo>
                    <a:pt x="540" y="167"/>
                  </a:lnTo>
                  <a:lnTo>
                    <a:pt x="545" y="164"/>
                  </a:lnTo>
                  <a:lnTo>
                    <a:pt x="533" y="162"/>
                  </a:lnTo>
                  <a:lnTo>
                    <a:pt x="526" y="156"/>
                  </a:lnTo>
                  <a:lnTo>
                    <a:pt x="514" y="158"/>
                  </a:lnTo>
                  <a:lnTo>
                    <a:pt x="509" y="154"/>
                  </a:lnTo>
                  <a:lnTo>
                    <a:pt x="509" y="154"/>
                  </a:lnTo>
                  <a:close/>
                  <a:moveTo>
                    <a:pt x="975" y="4"/>
                  </a:moveTo>
                  <a:lnTo>
                    <a:pt x="959" y="0"/>
                  </a:lnTo>
                  <a:lnTo>
                    <a:pt x="921" y="10"/>
                  </a:lnTo>
                  <a:lnTo>
                    <a:pt x="909" y="9"/>
                  </a:lnTo>
                  <a:lnTo>
                    <a:pt x="868" y="18"/>
                  </a:lnTo>
                  <a:lnTo>
                    <a:pt x="850" y="20"/>
                  </a:lnTo>
                  <a:lnTo>
                    <a:pt x="820" y="29"/>
                  </a:lnTo>
                  <a:lnTo>
                    <a:pt x="803" y="39"/>
                  </a:lnTo>
                  <a:lnTo>
                    <a:pt x="771" y="49"/>
                  </a:lnTo>
                  <a:lnTo>
                    <a:pt x="742" y="49"/>
                  </a:lnTo>
                  <a:lnTo>
                    <a:pt x="719" y="60"/>
                  </a:lnTo>
                  <a:lnTo>
                    <a:pt x="731" y="66"/>
                  </a:lnTo>
                  <a:lnTo>
                    <a:pt x="734" y="75"/>
                  </a:lnTo>
                  <a:lnTo>
                    <a:pt x="731" y="85"/>
                  </a:lnTo>
                  <a:lnTo>
                    <a:pt x="739" y="92"/>
                  </a:lnTo>
                  <a:lnTo>
                    <a:pt x="734" y="106"/>
                  </a:lnTo>
                  <a:lnTo>
                    <a:pt x="700" y="106"/>
                  </a:lnTo>
                  <a:lnTo>
                    <a:pt x="716" y="96"/>
                  </a:lnTo>
                  <a:lnTo>
                    <a:pt x="704" y="96"/>
                  </a:lnTo>
                  <a:lnTo>
                    <a:pt x="654" y="106"/>
                  </a:lnTo>
                  <a:lnTo>
                    <a:pt x="621" y="115"/>
                  </a:lnTo>
                  <a:lnTo>
                    <a:pt x="624" y="127"/>
                  </a:lnTo>
                  <a:lnTo>
                    <a:pt x="620" y="135"/>
                  </a:lnTo>
                  <a:lnTo>
                    <a:pt x="636" y="140"/>
                  </a:lnTo>
                  <a:lnTo>
                    <a:pt x="663" y="137"/>
                  </a:lnTo>
                  <a:lnTo>
                    <a:pt x="669" y="143"/>
                  </a:lnTo>
                  <a:lnTo>
                    <a:pt x="680" y="137"/>
                  </a:lnTo>
                  <a:lnTo>
                    <a:pt x="703" y="134"/>
                  </a:lnTo>
                  <a:lnTo>
                    <a:pt x="713" y="134"/>
                  </a:lnTo>
                  <a:lnTo>
                    <a:pt x="691" y="141"/>
                  </a:lnTo>
                  <a:lnTo>
                    <a:pt x="695" y="145"/>
                  </a:lnTo>
                  <a:lnTo>
                    <a:pt x="686" y="154"/>
                  </a:lnTo>
                  <a:lnTo>
                    <a:pt x="665" y="162"/>
                  </a:lnTo>
                  <a:lnTo>
                    <a:pt x="656" y="160"/>
                  </a:lnTo>
                  <a:lnTo>
                    <a:pt x="630" y="169"/>
                  </a:lnTo>
                  <a:lnTo>
                    <a:pt x="622" y="166"/>
                  </a:lnTo>
                  <a:lnTo>
                    <a:pt x="607" y="167"/>
                  </a:lnTo>
                  <a:lnTo>
                    <a:pt x="588" y="178"/>
                  </a:lnTo>
                  <a:lnTo>
                    <a:pt x="559" y="190"/>
                  </a:lnTo>
                  <a:lnTo>
                    <a:pt x="537" y="203"/>
                  </a:lnTo>
                  <a:lnTo>
                    <a:pt x="538" y="212"/>
                  </a:lnTo>
                  <a:lnTo>
                    <a:pt x="523" y="224"/>
                  </a:lnTo>
                  <a:lnTo>
                    <a:pt x="529" y="230"/>
                  </a:lnTo>
                  <a:lnTo>
                    <a:pt x="531" y="240"/>
                  </a:lnTo>
                  <a:lnTo>
                    <a:pt x="558" y="235"/>
                  </a:lnTo>
                  <a:lnTo>
                    <a:pt x="559" y="244"/>
                  </a:lnTo>
                  <a:lnTo>
                    <a:pt x="547" y="251"/>
                  </a:lnTo>
                  <a:lnTo>
                    <a:pt x="534" y="264"/>
                  </a:lnTo>
                  <a:lnTo>
                    <a:pt x="544" y="264"/>
                  </a:lnTo>
                  <a:lnTo>
                    <a:pt x="571" y="256"/>
                  </a:lnTo>
                  <a:lnTo>
                    <a:pt x="565" y="266"/>
                  </a:lnTo>
                  <a:lnTo>
                    <a:pt x="579" y="259"/>
                  </a:lnTo>
                  <a:lnTo>
                    <a:pt x="577" y="270"/>
                  </a:lnTo>
                  <a:lnTo>
                    <a:pt x="594" y="261"/>
                  </a:lnTo>
                  <a:lnTo>
                    <a:pt x="596" y="266"/>
                  </a:lnTo>
                  <a:lnTo>
                    <a:pt x="623" y="259"/>
                  </a:lnTo>
                  <a:lnTo>
                    <a:pt x="600" y="272"/>
                  </a:lnTo>
                  <a:lnTo>
                    <a:pt x="579" y="289"/>
                  </a:lnTo>
                  <a:lnTo>
                    <a:pt x="557" y="296"/>
                  </a:lnTo>
                  <a:lnTo>
                    <a:pt x="549" y="301"/>
                  </a:lnTo>
                  <a:lnTo>
                    <a:pt x="510" y="315"/>
                  </a:lnTo>
                  <a:lnTo>
                    <a:pt x="492" y="323"/>
                  </a:lnTo>
                  <a:lnTo>
                    <a:pt x="467" y="326"/>
                  </a:lnTo>
                  <a:lnTo>
                    <a:pt x="436" y="338"/>
                  </a:lnTo>
                  <a:lnTo>
                    <a:pt x="411" y="345"/>
                  </a:lnTo>
                  <a:lnTo>
                    <a:pt x="382" y="356"/>
                  </a:lnTo>
                  <a:lnTo>
                    <a:pt x="380" y="359"/>
                  </a:lnTo>
                  <a:lnTo>
                    <a:pt x="417" y="353"/>
                  </a:lnTo>
                  <a:lnTo>
                    <a:pt x="439" y="345"/>
                  </a:lnTo>
                  <a:lnTo>
                    <a:pt x="466" y="338"/>
                  </a:lnTo>
                  <a:lnTo>
                    <a:pt x="488" y="331"/>
                  </a:lnTo>
                  <a:lnTo>
                    <a:pt x="498" y="333"/>
                  </a:lnTo>
                  <a:lnTo>
                    <a:pt x="529" y="324"/>
                  </a:lnTo>
                  <a:lnTo>
                    <a:pt x="546" y="313"/>
                  </a:lnTo>
                  <a:lnTo>
                    <a:pt x="585" y="302"/>
                  </a:lnTo>
                  <a:lnTo>
                    <a:pt x="599" y="292"/>
                  </a:lnTo>
                  <a:lnTo>
                    <a:pt x="624" y="285"/>
                  </a:lnTo>
                  <a:lnTo>
                    <a:pt x="652" y="275"/>
                  </a:lnTo>
                  <a:lnTo>
                    <a:pt x="686" y="261"/>
                  </a:lnTo>
                  <a:lnTo>
                    <a:pt x="685" y="249"/>
                  </a:lnTo>
                  <a:lnTo>
                    <a:pt x="726" y="234"/>
                  </a:lnTo>
                  <a:lnTo>
                    <a:pt x="754" y="219"/>
                  </a:lnTo>
                  <a:lnTo>
                    <a:pt x="789" y="207"/>
                  </a:lnTo>
                  <a:lnTo>
                    <a:pt x="787" y="213"/>
                  </a:lnTo>
                  <a:lnTo>
                    <a:pt x="762" y="219"/>
                  </a:lnTo>
                  <a:lnTo>
                    <a:pt x="731" y="241"/>
                  </a:lnTo>
                  <a:lnTo>
                    <a:pt x="719" y="254"/>
                  </a:lnTo>
                  <a:lnTo>
                    <a:pt x="743" y="249"/>
                  </a:lnTo>
                  <a:lnTo>
                    <a:pt x="765" y="242"/>
                  </a:lnTo>
                  <a:lnTo>
                    <a:pt x="790" y="237"/>
                  </a:lnTo>
                  <a:lnTo>
                    <a:pt x="801" y="236"/>
                  </a:lnTo>
                  <a:lnTo>
                    <a:pt x="814" y="220"/>
                  </a:lnTo>
                  <a:lnTo>
                    <a:pt x="837" y="216"/>
                  </a:lnTo>
                  <a:lnTo>
                    <a:pt x="847" y="225"/>
                  </a:lnTo>
                  <a:lnTo>
                    <a:pt x="869" y="235"/>
                  </a:lnTo>
                  <a:lnTo>
                    <a:pt x="894" y="233"/>
                  </a:lnTo>
                  <a:lnTo>
                    <a:pt x="916" y="241"/>
                  </a:lnTo>
                  <a:lnTo>
                    <a:pt x="928" y="246"/>
                  </a:lnTo>
                  <a:lnTo>
                    <a:pt x="940" y="268"/>
                  </a:lnTo>
                  <a:lnTo>
                    <a:pt x="954" y="275"/>
                  </a:lnTo>
                  <a:lnTo>
                    <a:pt x="980" y="275"/>
                  </a:lnTo>
                  <a:lnTo>
                    <a:pt x="996" y="276"/>
                  </a:lnTo>
                  <a:lnTo>
                    <a:pt x="986" y="297"/>
                  </a:lnTo>
                  <a:lnTo>
                    <a:pt x="991" y="316"/>
                  </a:lnTo>
                  <a:lnTo>
                    <a:pt x="979" y="335"/>
                  </a:lnTo>
                  <a:lnTo>
                    <a:pt x="988" y="342"/>
                  </a:lnTo>
                  <a:lnTo>
                    <a:pt x="990" y="350"/>
                  </a:lnTo>
                  <a:lnTo>
                    <a:pt x="990" y="350"/>
                  </a:lnTo>
                  <a:lnTo>
                    <a:pt x="1010" y="339"/>
                  </a:lnTo>
                  <a:lnTo>
                    <a:pt x="1021" y="326"/>
                  </a:lnTo>
                  <a:lnTo>
                    <a:pt x="1004" y="311"/>
                  </a:lnTo>
                  <a:lnTo>
                    <a:pt x="1010" y="286"/>
                  </a:lnTo>
                  <a:lnTo>
                    <a:pt x="1014" y="270"/>
                  </a:lnTo>
                  <a:lnTo>
                    <a:pt x="1007" y="261"/>
                  </a:lnTo>
                  <a:lnTo>
                    <a:pt x="1005" y="251"/>
                  </a:lnTo>
                  <a:lnTo>
                    <a:pt x="1007" y="240"/>
                  </a:lnTo>
                  <a:lnTo>
                    <a:pt x="983" y="247"/>
                  </a:lnTo>
                  <a:lnTo>
                    <a:pt x="955" y="260"/>
                  </a:lnTo>
                  <a:lnTo>
                    <a:pt x="954" y="245"/>
                  </a:lnTo>
                  <a:lnTo>
                    <a:pt x="951" y="235"/>
                  </a:lnTo>
                  <a:lnTo>
                    <a:pt x="942" y="229"/>
                  </a:lnTo>
                  <a:lnTo>
                    <a:pt x="926" y="229"/>
                  </a:lnTo>
                  <a:lnTo>
                    <a:pt x="1058" y="107"/>
                  </a:lnTo>
                  <a:lnTo>
                    <a:pt x="1149" y="33"/>
                  </a:lnTo>
                  <a:lnTo>
                    <a:pt x="1149" y="33"/>
                  </a:lnTo>
                  <a:lnTo>
                    <a:pt x="1149" y="33"/>
                  </a:lnTo>
                  <a:lnTo>
                    <a:pt x="1136" y="30"/>
                  </a:lnTo>
                  <a:lnTo>
                    <a:pt x="1120" y="23"/>
                  </a:lnTo>
                  <a:lnTo>
                    <a:pt x="1096" y="27"/>
                  </a:lnTo>
                  <a:lnTo>
                    <a:pt x="1087" y="24"/>
                  </a:lnTo>
                  <a:lnTo>
                    <a:pt x="1061" y="22"/>
                  </a:lnTo>
                  <a:lnTo>
                    <a:pt x="1038" y="16"/>
                  </a:lnTo>
                  <a:lnTo>
                    <a:pt x="1020" y="18"/>
                  </a:lnTo>
                  <a:lnTo>
                    <a:pt x="1002" y="15"/>
                  </a:lnTo>
                  <a:lnTo>
                    <a:pt x="1009" y="10"/>
                  </a:lnTo>
                  <a:lnTo>
                    <a:pt x="986" y="9"/>
                  </a:lnTo>
                  <a:lnTo>
                    <a:pt x="973" y="13"/>
                  </a:lnTo>
                  <a:lnTo>
                    <a:pt x="975" y="4"/>
                  </a:lnTo>
                  <a:lnTo>
                    <a:pt x="97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59" name="Uzbekistan">
              <a:extLst>
                <a:ext uri="{FF2B5EF4-FFF2-40B4-BE49-F238E27FC236}">
                  <a16:creationId xmlns:a16="http://schemas.microsoft.com/office/drawing/2014/main" id="{6AC933DA-3084-403D-9FD9-C3CC866E5ACF}"/>
                </a:ext>
              </a:extLst>
            </p:cNvPr>
            <p:cNvSpPr>
              <a:spLocks/>
            </p:cNvSpPr>
            <p:nvPr/>
          </p:nvSpPr>
          <p:spPr bwMode="auto">
            <a:xfrm>
              <a:off x="7666831" y="2346099"/>
              <a:ext cx="561975" cy="312738"/>
            </a:xfrm>
            <a:custGeom>
              <a:avLst/>
              <a:gdLst>
                <a:gd name="T0" fmla="*/ 303 w 354"/>
                <a:gd name="T1" fmla="*/ 76 h 197"/>
                <a:gd name="T2" fmla="*/ 294 w 354"/>
                <a:gd name="T3" fmla="*/ 80 h 197"/>
                <a:gd name="T4" fmla="*/ 274 w 354"/>
                <a:gd name="T5" fmla="*/ 96 h 197"/>
                <a:gd name="T6" fmla="*/ 270 w 354"/>
                <a:gd name="T7" fmla="*/ 113 h 197"/>
                <a:gd name="T8" fmla="*/ 263 w 354"/>
                <a:gd name="T9" fmla="*/ 113 h 197"/>
                <a:gd name="T10" fmla="*/ 255 w 354"/>
                <a:gd name="T11" fmla="*/ 102 h 197"/>
                <a:gd name="T12" fmla="*/ 230 w 354"/>
                <a:gd name="T13" fmla="*/ 102 h 197"/>
                <a:gd name="T14" fmla="*/ 220 w 354"/>
                <a:gd name="T15" fmla="*/ 83 h 197"/>
                <a:gd name="T16" fmla="*/ 211 w 354"/>
                <a:gd name="T17" fmla="*/ 82 h 197"/>
                <a:gd name="T18" fmla="*/ 205 w 354"/>
                <a:gd name="T19" fmla="*/ 59 h 197"/>
                <a:gd name="T20" fmla="*/ 177 w 354"/>
                <a:gd name="T21" fmla="*/ 42 h 197"/>
                <a:gd name="T22" fmla="*/ 145 w 354"/>
                <a:gd name="T23" fmla="*/ 44 h 197"/>
                <a:gd name="T24" fmla="*/ 124 w 354"/>
                <a:gd name="T25" fmla="*/ 48 h 197"/>
                <a:gd name="T26" fmla="*/ 100 w 354"/>
                <a:gd name="T27" fmla="*/ 27 h 197"/>
                <a:gd name="T28" fmla="*/ 82 w 354"/>
                <a:gd name="T29" fmla="*/ 19 h 197"/>
                <a:gd name="T30" fmla="*/ 48 w 354"/>
                <a:gd name="T31" fmla="*/ 2 h 197"/>
                <a:gd name="T32" fmla="*/ 44 w 354"/>
                <a:gd name="T33" fmla="*/ 0 h 197"/>
                <a:gd name="T34" fmla="*/ 0 w 354"/>
                <a:gd name="T35" fmla="*/ 13 h 197"/>
                <a:gd name="T36" fmla="*/ 22 w 354"/>
                <a:gd name="T37" fmla="*/ 98 h 197"/>
                <a:gd name="T38" fmla="*/ 44 w 354"/>
                <a:gd name="T39" fmla="*/ 98 h 197"/>
                <a:gd name="T40" fmla="*/ 38 w 354"/>
                <a:gd name="T41" fmla="*/ 87 h 197"/>
                <a:gd name="T42" fmla="*/ 52 w 354"/>
                <a:gd name="T43" fmla="*/ 79 h 197"/>
                <a:gd name="T44" fmla="*/ 65 w 354"/>
                <a:gd name="T45" fmla="*/ 65 h 197"/>
                <a:gd name="T46" fmla="*/ 94 w 354"/>
                <a:gd name="T47" fmla="*/ 78 h 197"/>
                <a:gd name="T48" fmla="*/ 101 w 354"/>
                <a:gd name="T49" fmla="*/ 95 h 197"/>
                <a:gd name="T50" fmla="*/ 110 w 354"/>
                <a:gd name="T51" fmla="*/ 100 h 197"/>
                <a:gd name="T52" fmla="*/ 130 w 354"/>
                <a:gd name="T53" fmla="*/ 99 h 197"/>
                <a:gd name="T54" fmla="*/ 138 w 354"/>
                <a:gd name="T55" fmla="*/ 104 h 197"/>
                <a:gd name="T56" fmla="*/ 154 w 354"/>
                <a:gd name="T57" fmla="*/ 128 h 197"/>
                <a:gd name="T58" fmla="*/ 180 w 354"/>
                <a:gd name="T59" fmla="*/ 144 h 197"/>
                <a:gd name="T60" fmla="*/ 196 w 354"/>
                <a:gd name="T61" fmla="*/ 155 h 197"/>
                <a:gd name="T62" fmla="*/ 218 w 354"/>
                <a:gd name="T63" fmla="*/ 167 h 197"/>
                <a:gd name="T64" fmla="*/ 247 w 354"/>
                <a:gd name="T65" fmla="*/ 177 h 197"/>
                <a:gd name="T66" fmla="*/ 250 w 354"/>
                <a:gd name="T67" fmla="*/ 192 h 197"/>
                <a:gd name="T68" fmla="*/ 261 w 354"/>
                <a:gd name="T69" fmla="*/ 192 h 197"/>
                <a:gd name="T70" fmla="*/ 277 w 354"/>
                <a:gd name="T71" fmla="*/ 197 h 197"/>
                <a:gd name="T72" fmla="*/ 282 w 354"/>
                <a:gd name="T73" fmla="*/ 173 h 197"/>
                <a:gd name="T74" fmla="*/ 273 w 354"/>
                <a:gd name="T75" fmla="*/ 155 h 197"/>
                <a:gd name="T76" fmla="*/ 257 w 354"/>
                <a:gd name="T77" fmla="*/ 149 h 197"/>
                <a:gd name="T78" fmla="*/ 259 w 354"/>
                <a:gd name="T79" fmla="*/ 139 h 197"/>
                <a:gd name="T80" fmla="*/ 276 w 354"/>
                <a:gd name="T81" fmla="*/ 140 h 197"/>
                <a:gd name="T82" fmla="*/ 282 w 354"/>
                <a:gd name="T83" fmla="*/ 127 h 197"/>
                <a:gd name="T84" fmla="*/ 284 w 354"/>
                <a:gd name="T85" fmla="*/ 112 h 197"/>
                <a:gd name="T86" fmla="*/ 308 w 354"/>
                <a:gd name="T87" fmla="*/ 107 h 197"/>
                <a:gd name="T88" fmla="*/ 307 w 354"/>
                <a:gd name="T89" fmla="*/ 117 h 197"/>
                <a:gd name="T90" fmla="*/ 312 w 354"/>
                <a:gd name="T91" fmla="*/ 124 h 197"/>
                <a:gd name="T92" fmla="*/ 319 w 354"/>
                <a:gd name="T93" fmla="*/ 123 h 197"/>
                <a:gd name="T94" fmla="*/ 335 w 354"/>
                <a:gd name="T95" fmla="*/ 125 h 197"/>
                <a:gd name="T96" fmla="*/ 354 w 354"/>
                <a:gd name="T97" fmla="*/ 108 h 197"/>
                <a:gd name="T98" fmla="*/ 327 w 354"/>
                <a:gd name="T99" fmla="*/ 96 h 197"/>
                <a:gd name="T100" fmla="*/ 315 w 354"/>
                <a:gd name="T101" fmla="*/ 102 h 197"/>
                <a:gd name="T102" fmla="*/ 298 w 354"/>
                <a:gd name="T103" fmla="*/ 93 h 197"/>
                <a:gd name="T104" fmla="*/ 310 w 354"/>
                <a:gd name="T105" fmla="*/ 79 h 197"/>
                <a:gd name="T106" fmla="*/ 303 w 354"/>
                <a:gd name="T107" fmla="*/ 76 h 197"/>
                <a:gd name="T108" fmla="*/ 303 w 354"/>
                <a:gd name="T109" fmla="*/ 76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54" h="197">
                  <a:moveTo>
                    <a:pt x="303" y="76"/>
                  </a:moveTo>
                  <a:lnTo>
                    <a:pt x="294" y="80"/>
                  </a:lnTo>
                  <a:lnTo>
                    <a:pt x="274" y="96"/>
                  </a:lnTo>
                  <a:lnTo>
                    <a:pt x="270" y="113"/>
                  </a:lnTo>
                  <a:lnTo>
                    <a:pt x="263" y="113"/>
                  </a:lnTo>
                  <a:lnTo>
                    <a:pt x="255" y="102"/>
                  </a:lnTo>
                  <a:lnTo>
                    <a:pt x="230" y="102"/>
                  </a:lnTo>
                  <a:lnTo>
                    <a:pt x="220" y="83"/>
                  </a:lnTo>
                  <a:lnTo>
                    <a:pt x="211" y="82"/>
                  </a:lnTo>
                  <a:lnTo>
                    <a:pt x="205" y="59"/>
                  </a:lnTo>
                  <a:lnTo>
                    <a:pt x="177" y="42"/>
                  </a:lnTo>
                  <a:lnTo>
                    <a:pt x="145" y="44"/>
                  </a:lnTo>
                  <a:lnTo>
                    <a:pt x="124" y="48"/>
                  </a:lnTo>
                  <a:lnTo>
                    <a:pt x="100" y="27"/>
                  </a:lnTo>
                  <a:lnTo>
                    <a:pt x="82" y="19"/>
                  </a:lnTo>
                  <a:lnTo>
                    <a:pt x="48" y="2"/>
                  </a:lnTo>
                  <a:lnTo>
                    <a:pt x="44" y="0"/>
                  </a:lnTo>
                  <a:lnTo>
                    <a:pt x="0" y="13"/>
                  </a:lnTo>
                  <a:lnTo>
                    <a:pt x="22" y="98"/>
                  </a:lnTo>
                  <a:lnTo>
                    <a:pt x="44" y="98"/>
                  </a:lnTo>
                  <a:lnTo>
                    <a:pt x="38" y="87"/>
                  </a:lnTo>
                  <a:lnTo>
                    <a:pt x="52" y="79"/>
                  </a:lnTo>
                  <a:lnTo>
                    <a:pt x="65" y="65"/>
                  </a:lnTo>
                  <a:lnTo>
                    <a:pt x="94" y="78"/>
                  </a:lnTo>
                  <a:lnTo>
                    <a:pt x="101" y="95"/>
                  </a:lnTo>
                  <a:lnTo>
                    <a:pt x="110" y="100"/>
                  </a:lnTo>
                  <a:lnTo>
                    <a:pt x="130" y="99"/>
                  </a:lnTo>
                  <a:lnTo>
                    <a:pt x="138" y="104"/>
                  </a:lnTo>
                  <a:lnTo>
                    <a:pt x="154" y="128"/>
                  </a:lnTo>
                  <a:lnTo>
                    <a:pt x="180" y="144"/>
                  </a:lnTo>
                  <a:lnTo>
                    <a:pt x="196" y="155"/>
                  </a:lnTo>
                  <a:lnTo>
                    <a:pt x="218" y="167"/>
                  </a:lnTo>
                  <a:lnTo>
                    <a:pt x="247" y="177"/>
                  </a:lnTo>
                  <a:lnTo>
                    <a:pt x="250" y="192"/>
                  </a:lnTo>
                  <a:lnTo>
                    <a:pt x="261" y="192"/>
                  </a:lnTo>
                  <a:lnTo>
                    <a:pt x="277" y="197"/>
                  </a:lnTo>
                  <a:lnTo>
                    <a:pt x="282" y="173"/>
                  </a:lnTo>
                  <a:lnTo>
                    <a:pt x="273" y="155"/>
                  </a:lnTo>
                  <a:lnTo>
                    <a:pt x="257" y="149"/>
                  </a:lnTo>
                  <a:lnTo>
                    <a:pt x="259" y="139"/>
                  </a:lnTo>
                  <a:lnTo>
                    <a:pt x="276" y="140"/>
                  </a:lnTo>
                  <a:lnTo>
                    <a:pt x="282" y="127"/>
                  </a:lnTo>
                  <a:lnTo>
                    <a:pt x="284" y="112"/>
                  </a:lnTo>
                  <a:lnTo>
                    <a:pt x="308" y="107"/>
                  </a:lnTo>
                  <a:lnTo>
                    <a:pt x="307" y="117"/>
                  </a:lnTo>
                  <a:lnTo>
                    <a:pt x="312" y="124"/>
                  </a:lnTo>
                  <a:lnTo>
                    <a:pt x="319" y="123"/>
                  </a:lnTo>
                  <a:lnTo>
                    <a:pt x="335" y="125"/>
                  </a:lnTo>
                  <a:lnTo>
                    <a:pt x="354" y="108"/>
                  </a:lnTo>
                  <a:lnTo>
                    <a:pt x="327" y="96"/>
                  </a:lnTo>
                  <a:lnTo>
                    <a:pt x="315" y="102"/>
                  </a:lnTo>
                  <a:lnTo>
                    <a:pt x="298" y="93"/>
                  </a:lnTo>
                  <a:lnTo>
                    <a:pt x="310" y="79"/>
                  </a:lnTo>
                  <a:lnTo>
                    <a:pt x="303" y="76"/>
                  </a:lnTo>
                  <a:lnTo>
                    <a:pt x="303" y="7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1" name="Vietnam">
              <a:extLst>
                <a:ext uri="{FF2B5EF4-FFF2-40B4-BE49-F238E27FC236}">
                  <a16:creationId xmlns:a16="http://schemas.microsoft.com/office/drawing/2014/main" id="{227CF67C-D611-4CF5-B39E-82A30B49D838}"/>
                </a:ext>
              </a:extLst>
            </p:cNvPr>
            <p:cNvSpPr>
              <a:spLocks/>
            </p:cNvSpPr>
            <p:nvPr/>
          </p:nvSpPr>
          <p:spPr bwMode="auto">
            <a:xfrm>
              <a:off x="9324181" y="3181124"/>
              <a:ext cx="288925" cy="557212"/>
            </a:xfrm>
            <a:custGeom>
              <a:avLst/>
              <a:gdLst>
                <a:gd name="T0" fmla="*/ 125 w 182"/>
                <a:gd name="T1" fmla="*/ 43 h 351"/>
                <a:gd name="T2" fmla="*/ 103 w 182"/>
                <a:gd name="T3" fmla="*/ 37 h 351"/>
                <a:gd name="T4" fmla="*/ 92 w 182"/>
                <a:gd name="T5" fmla="*/ 27 h 351"/>
                <a:gd name="T6" fmla="*/ 93 w 182"/>
                <a:gd name="T7" fmla="*/ 13 h 351"/>
                <a:gd name="T8" fmla="*/ 73 w 182"/>
                <a:gd name="T9" fmla="*/ 9 h 351"/>
                <a:gd name="T10" fmla="*/ 62 w 182"/>
                <a:gd name="T11" fmla="*/ 0 h 351"/>
                <a:gd name="T12" fmla="*/ 46 w 182"/>
                <a:gd name="T13" fmla="*/ 13 h 351"/>
                <a:gd name="T14" fmla="*/ 27 w 182"/>
                <a:gd name="T15" fmla="*/ 16 h 351"/>
                <a:gd name="T16" fmla="*/ 11 w 182"/>
                <a:gd name="T17" fmla="*/ 16 h 351"/>
                <a:gd name="T18" fmla="*/ 0 w 182"/>
                <a:gd name="T19" fmla="*/ 21 h 351"/>
                <a:gd name="T20" fmla="*/ 15 w 182"/>
                <a:gd name="T21" fmla="*/ 40 h 351"/>
                <a:gd name="T22" fmla="*/ 28 w 182"/>
                <a:gd name="T23" fmla="*/ 61 h 351"/>
                <a:gd name="T24" fmla="*/ 54 w 182"/>
                <a:gd name="T25" fmla="*/ 61 h 351"/>
                <a:gd name="T26" fmla="*/ 65 w 182"/>
                <a:gd name="T27" fmla="*/ 82 h 351"/>
                <a:gd name="T28" fmla="*/ 53 w 182"/>
                <a:gd name="T29" fmla="*/ 88 h 351"/>
                <a:gd name="T30" fmla="*/ 48 w 182"/>
                <a:gd name="T31" fmla="*/ 97 h 351"/>
                <a:gd name="T32" fmla="*/ 75 w 182"/>
                <a:gd name="T33" fmla="*/ 112 h 351"/>
                <a:gd name="T34" fmla="*/ 97 w 182"/>
                <a:gd name="T35" fmla="*/ 140 h 351"/>
                <a:gd name="T36" fmla="*/ 112 w 182"/>
                <a:gd name="T37" fmla="*/ 160 h 351"/>
                <a:gd name="T38" fmla="*/ 130 w 182"/>
                <a:gd name="T39" fmla="*/ 177 h 351"/>
                <a:gd name="T40" fmla="*/ 138 w 182"/>
                <a:gd name="T41" fmla="*/ 194 h 351"/>
                <a:gd name="T42" fmla="*/ 137 w 182"/>
                <a:gd name="T43" fmla="*/ 217 h 351"/>
                <a:gd name="T44" fmla="*/ 143 w 182"/>
                <a:gd name="T45" fmla="*/ 233 h 351"/>
                <a:gd name="T46" fmla="*/ 144 w 182"/>
                <a:gd name="T47" fmla="*/ 262 h 351"/>
                <a:gd name="T48" fmla="*/ 111 w 182"/>
                <a:gd name="T49" fmla="*/ 280 h 351"/>
                <a:gd name="T50" fmla="*/ 121 w 182"/>
                <a:gd name="T51" fmla="*/ 295 h 351"/>
                <a:gd name="T52" fmla="*/ 99 w 182"/>
                <a:gd name="T53" fmla="*/ 297 h 351"/>
                <a:gd name="T54" fmla="*/ 82 w 182"/>
                <a:gd name="T55" fmla="*/ 306 h 351"/>
                <a:gd name="T56" fmla="*/ 98 w 182"/>
                <a:gd name="T57" fmla="*/ 319 h 351"/>
                <a:gd name="T58" fmla="*/ 94 w 182"/>
                <a:gd name="T59" fmla="*/ 336 h 351"/>
                <a:gd name="T60" fmla="*/ 102 w 182"/>
                <a:gd name="T61" fmla="*/ 351 h 351"/>
                <a:gd name="T62" fmla="*/ 127 w 182"/>
                <a:gd name="T63" fmla="*/ 328 h 351"/>
                <a:gd name="T64" fmla="*/ 142 w 182"/>
                <a:gd name="T65" fmla="*/ 309 h 351"/>
                <a:gd name="T66" fmla="*/ 166 w 182"/>
                <a:gd name="T67" fmla="*/ 293 h 351"/>
                <a:gd name="T68" fmla="*/ 182 w 182"/>
                <a:gd name="T69" fmla="*/ 278 h 351"/>
                <a:gd name="T70" fmla="*/ 180 w 182"/>
                <a:gd name="T71" fmla="*/ 236 h 351"/>
                <a:gd name="T72" fmla="*/ 165 w 182"/>
                <a:gd name="T73" fmla="*/ 192 h 351"/>
                <a:gd name="T74" fmla="*/ 150 w 182"/>
                <a:gd name="T75" fmla="*/ 173 h 351"/>
                <a:gd name="T76" fmla="*/ 128 w 182"/>
                <a:gd name="T77" fmla="*/ 158 h 351"/>
                <a:gd name="T78" fmla="*/ 105 w 182"/>
                <a:gd name="T79" fmla="*/ 127 h 351"/>
                <a:gd name="T80" fmla="*/ 85 w 182"/>
                <a:gd name="T81" fmla="*/ 102 h 351"/>
                <a:gd name="T82" fmla="*/ 87 w 182"/>
                <a:gd name="T83" fmla="*/ 86 h 351"/>
                <a:gd name="T84" fmla="*/ 100 w 182"/>
                <a:gd name="T85" fmla="*/ 63 h 351"/>
                <a:gd name="T86" fmla="*/ 125 w 182"/>
                <a:gd name="T87" fmla="*/ 43 h 3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2" h="351">
                  <a:moveTo>
                    <a:pt x="125" y="43"/>
                  </a:moveTo>
                  <a:lnTo>
                    <a:pt x="103" y="37"/>
                  </a:lnTo>
                  <a:lnTo>
                    <a:pt x="92" y="27"/>
                  </a:lnTo>
                  <a:lnTo>
                    <a:pt x="93" y="13"/>
                  </a:lnTo>
                  <a:lnTo>
                    <a:pt x="73" y="9"/>
                  </a:lnTo>
                  <a:lnTo>
                    <a:pt x="62" y="0"/>
                  </a:lnTo>
                  <a:lnTo>
                    <a:pt x="46" y="13"/>
                  </a:lnTo>
                  <a:lnTo>
                    <a:pt x="27" y="16"/>
                  </a:lnTo>
                  <a:lnTo>
                    <a:pt x="11" y="16"/>
                  </a:lnTo>
                  <a:lnTo>
                    <a:pt x="0" y="21"/>
                  </a:lnTo>
                  <a:lnTo>
                    <a:pt x="15" y="40"/>
                  </a:lnTo>
                  <a:lnTo>
                    <a:pt x="28" y="61"/>
                  </a:lnTo>
                  <a:lnTo>
                    <a:pt x="54" y="61"/>
                  </a:lnTo>
                  <a:lnTo>
                    <a:pt x="65" y="82"/>
                  </a:lnTo>
                  <a:lnTo>
                    <a:pt x="53" y="88"/>
                  </a:lnTo>
                  <a:lnTo>
                    <a:pt x="48" y="97"/>
                  </a:lnTo>
                  <a:lnTo>
                    <a:pt x="75" y="112"/>
                  </a:lnTo>
                  <a:lnTo>
                    <a:pt x="97" y="140"/>
                  </a:lnTo>
                  <a:lnTo>
                    <a:pt x="112" y="160"/>
                  </a:lnTo>
                  <a:lnTo>
                    <a:pt x="130" y="177"/>
                  </a:lnTo>
                  <a:lnTo>
                    <a:pt x="138" y="194"/>
                  </a:lnTo>
                  <a:lnTo>
                    <a:pt x="137" y="217"/>
                  </a:lnTo>
                  <a:lnTo>
                    <a:pt x="143" y="233"/>
                  </a:lnTo>
                  <a:lnTo>
                    <a:pt x="144" y="262"/>
                  </a:lnTo>
                  <a:lnTo>
                    <a:pt x="111" y="280"/>
                  </a:lnTo>
                  <a:lnTo>
                    <a:pt x="121" y="295"/>
                  </a:lnTo>
                  <a:lnTo>
                    <a:pt x="99" y="297"/>
                  </a:lnTo>
                  <a:lnTo>
                    <a:pt x="82" y="306"/>
                  </a:lnTo>
                  <a:lnTo>
                    <a:pt x="98" y="319"/>
                  </a:lnTo>
                  <a:lnTo>
                    <a:pt x="94" y="336"/>
                  </a:lnTo>
                  <a:lnTo>
                    <a:pt x="102" y="351"/>
                  </a:lnTo>
                  <a:lnTo>
                    <a:pt x="127" y="328"/>
                  </a:lnTo>
                  <a:lnTo>
                    <a:pt x="142" y="309"/>
                  </a:lnTo>
                  <a:lnTo>
                    <a:pt x="166" y="293"/>
                  </a:lnTo>
                  <a:lnTo>
                    <a:pt x="182" y="278"/>
                  </a:lnTo>
                  <a:lnTo>
                    <a:pt x="180" y="236"/>
                  </a:lnTo>
                  <a:lnTo>
                    <a:pt x="165" y="192"/>
                  </a:lnTo>
                  <a:lnTo>
                    <a:pt x="150" y="173"/>
                  </a:lnTo>
                  <a:lnTo>
                    <a:pt x="128" y="158"/>
                  </a:lnTo>
                  <a:lnTo>
                    <a:pt x="105" y="127"/>
                  </a:lnTo>
                  <a:lnTo>
                    <a:pt x="85" y="102"/>
                  </a:lnTo>
                  <a:lnTo>
                    <a:pt x="87" y="86"/>
                  </a:lnTo>
                  <a:lnTo>
                    <a:pt x="100" y="63"/>
                  </a:lnTo>
                  <a:lnTo>
                    <a:pt x="125" y="4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2" name="Vanuatu">
              <a:extLst>
                <a:ext uri="{FF2B5EF4-FFF2-40B4-BE49-F238E27FC236}">
                  <a16:creationId xmlns:a16="http://schemas.microsoft.com/office/drawing/2014/main" id="{DF76DA39-2E87-4F8B-9DAC-B5BEE0C96E91}"/>
                </a:ext>
              </a:extLst>
            </p:cNvPr>
            <p:cNvSpPr>
              <a:spLocks noEditPoints="1"/>
            </p:cNvSpPr>
            <p:nvPr/>
          </p:nvSpPr>
          <p:spPr bwMode="auto">
            <a:xfrm>
              <a:off x="11491119" y="4614637"/>
              <a:ext cx="28575" cy="73025"/>
            </a:xfrm>
            <a:custGeom>
              <a:avLst/>
              <a:gdLst>
                <a:gd name="T0" fmla="*/ 18 w 18"/>
                <a:gd name="T1" fmla="*/ 44 h 46"/>
                <a:gd name="T2" fmla="*/ 9 w 18"/>
                <a:gd name="T3" fmla="*/ 30 h 46"/>
                <a:gd name="T4" fmla="*/ 6 w 18"/>
                <a:gd name="T5" fmla="*/ 36 h 46"/>
                <a:gd name="T6" fmla="*/ 11 w 18"/>
                <a:gd name="T7" fmla="*/ 46 h 46"/>
                <a:gd name="T8" fmla="*/ 18 w 18"/>
                <a:gd name="T9" fmla="*/ 44 h 46"/>
                <a:gd name="T10" fmla="*/ 18 w 18"/>
                <a:gd name="T11" fmla="*/ 44 h 46"/>
                <a:gd name="T12" fmla="*/ 11 w 18"/>
                <a:gd name="T13" fmla="*/ 7 h 46"/>
                <a:gd name="T14" fmla="*/ 2 w 18"/>
                <a:gd name="T15" fmla="*/ 0 h 46"/>
                <a:gd name="T16" fmla="*/ 0 w 18"/>
                <a:gd name="T17" fmla="*/ 17 h 46"/>
                <a:gd name="T18" fmla="*/ 1 w 18"/>
                <a:gd name="T19" fmla="*/ 25 h 46"/>
                <a:gd name="T20" fmla="*/ 5 w 18"/>
                <a:gd name="T21" fmla="*/ 23 h 46"/>
                <a:gd name="T22" fmla="*/ 11 w 18"/>
                <a:gd name="T23" fmla="*/ 26 h 46"/>
                <a:gd name="T24" fmla="*/ 11 w 18"/>
                <a:gd name="T25" fmla="*/ 7 h 46"/>
                <a:gd name="T26" fmla="*/ 11 w 18"/>
                <a:gd name="T27" fmla="*/ 7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8" h="46">
                  <a:moveTo>
                    <a:pt x="18" y="44"/>
                  </a:moveTo>
                  <a:lnTo>
                    <a:pt x="9" y="30"/>
                  </a:lnTo>
                  <a:lnTo>
                    <a:pt x="6" y="36"/>
                  </a:lnTo>
                  <a:lnTo>
                    <a:pt x="11" y="46"/>
                  </a:lnTo>
                  <a:lnTo>
                    <a:pt x="18" y="44"/>
                  </a:lnTo>
                  <a:lnTo>
                    <a:pt x="18" y="44"/>
                  </a:lnTo>
                  <a:close/>
                  <a:moveTo>
                    <a:pt x="11" y="7"/>
                  </a:moveTo>
                  <a:lnTo>
                    <a:pt x="2" y="0"/>
                  </a:lnTo>
                  <a:lnTo>
                    <a:pt x="0" y="17"/>
                  </a:lnTo>
                  <a:lnTo>
                    <a:pt x="1" y="25"/>
                  </a:lnTo>
                  <a:lnTo>
                    <a:pt x="5" y="23"/>
                  </a:lnTo>
                  <a:lnTo>
                    <a:pt x="11" y="26"/>
                  </a:lnTo>
                  <a:lnTo>
                    <a:pt x="11" y="7"/>
                  </a:lnTo>
                  <a:lnTo>
                    <a:pt x="11"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3" name="Yemen">
              <a:extLst>
                <a:ext uri="{FF2B5EF4-FFF2-40B4-BE49-F238E27FC236}">
                  <a16:creationId xmlns:a16="http://schemas.microsoft.com/office/drawing/2014/main" id="{05966A5D-7545-40DC-87F4-A3B14A849783}"/>
                </a:ext>
              </a:extLst>
            </p:cNvPr>
            <p:cNvSpPr>
              <a:spLocks/>
            </p:cNvSpPr>
            <p:nvPr/>
          </p:nvSpPr>
          <p:spPr bwMode="auto">
            <a:xfrm>
              <a:off x="7401719" y="3344637"/>
              <a:ext cx="341312" cy="242888"/>
            </a:xfrm>
            <a:custGeom>
              <a:avLst/>
              <a:gdLst>
                <a:gd name="T0" fmla="*/ 215 w 215"/>
                <a:gd name="T1" fmla="*/ 56 h 153"/>
                <a:gd name="T2" fmla="*/ 208 w 215"/>
                <a:gd name="T3" fmla="*/ 40 h 153"/>
                <a:gd name="T4" fmla="*/ 188 w 215"/>
                <a:gd name="T5" fmla="*/ 0 h 153"/>
                <a:gd name="T6" fmla="*/ 129 w 215"/>
                <a:gd name="T7" fmla="*/ 10 h 153"/>
                <a:gd name="T8" fmla="*/ 111 w 215"/>
                <a:gd name="T9" fmla="*/ 20 h 153"/>
                <a:gd name="T10" fmla="*/ 98 w 215"/>
                <a:gd name="T11" fmla="*/ 45 h 153"/>
                <a:gd name="T12" fmla="*/ 88 w 215"/>
                <a:gd name="T13" fmla="*/ 49 h 153"/>
                <a:gd name="T14" fmla="*/ 83 w 215"/>
                <a:gd name="T15" fmla="*/ 41 h 153"/>
                <a:gd name="T16" fmla="*/ 74 w 215"/>
                <a:gd name="T17" fmla="*/ 42 h 153"/>
                <a:gd name="T18" fmla="*/ 55 w 215"/>
                <a:gd name="T19" fmla="*/ 41 h 153"/>
                <a:gd name="T20" fmla="*/ 51 w 215"/>
                <a:gd name="T21" fmla="*/ 38 h 153"/>
                <a:gd name="T22" fmla="*/ 27 w 215"/>
                <a:gd name="T23" fmla="*/ 39 h 153"/>
                <a:gd name="T24" fmla="*/ 21 w 215"/>
                <a:gd name="T25" fmla="*/ 41 h 153"/>
                <a:gd name="T26" fmla="*/ 12 w 215"/>
                <a:gd name="T27" fmla="*/ 34 h 153"/>
                <a:gd name="T28" fmla="*/ 8 w 215"/>
                <a:gd name="T29" fmla="*/ 46 h 153"/>
                <a:gd name="T30" fmla="*/ 10 w 215"/>
                <a:gd name="T31" fmla="*/ 55 h 153"/>
                <a:gd name="T32" fmla="*/ 1 w 215"/>
                <a:gd name="T33" fmla="*/ 64 h 153"/>
                <a:gd name="T34" fmla="*/ 3 w 215"/>
                <a:gd name="T35" fmla="*/ 74 h 153"/>
                <a:gd name="T36" fmla="*/ 0 w 215"/>
                <a:gd name="T37" fmla="*/ 79 h 153"/>
                <a:gd name="T38" fmla="*/ 3 w 215"/>
                <a:gd name="T39" fmla="*/ 89 h 153"/>
                <a:gd name="T40" fmla="*/ 0 w 215"/>
                <a:gd name="T41" fmla="*/ 91 h 153"/>
                <a:gd name="T42" fmla="*/ 6 w 215"/>
                <a:gd name="T43" fmla="*/ 100 h 153"/>
                <a:gd name="T44" fmla="*/ 11 w 215"/>
                <a:gd name="T45" fmla="*/ 118 h 153"/>
                <a:gd name="T46" fmla="*/ 14 w 215"/>
                <a:gd name="T47" fmla="*/ 125 h 153"/>
                <a:gd name="T48" fmla="*/ 14 w 215"/>
                <a:gd name="T49" fmla="*/ 138 h 153"/>
                <a:gd name="T50" fmla="*/ 20 w 215"/>
                <a:gd name="T51" fmla="*/ 152 h 153"/>
                <a:gd name="T52" fmla="*/ 35 w 215"/>
                <a:gd name="T53" fmla="*/ 153 h 153"/>
                <a:gd name="T54" fmla="*/ 42 w 215"/>
                <a:gd name="T55" fmla="*/ 150 h 153"/>
                <a:gd name="T56" fmla="*/ 52 w 215"/>
                <a:gd name="T57" fmla="*/ 151 h 153"/>
                <a:gd name="T58" fmla="*/ 55 w 215"/>
                <a:gd name="T59" fmla="*/ 144 h 153"/>
                <a:gd name="T60" fmla="*/ 60 w 215"/>
                <a:gd name="T61" fmla="*/ 142 h 153"/>
                <a:gd name="T62" fmla="*/ 64 w 215"/>
                <a:gd name="T63" fmla="*/ 136 h 153"/>
                <a:gd name="T64" fmla="*/ 70 w 215"/>
                <a:gd name="T65" fmla="*/ 135 h 153"/>
                <a:gd name="T66" fmla="*/ 87 w 215"/>
                <a:gd name="T67" fmla="*/ 134 h 153"/>
                <a:gd name="T68" fmla="*/ 100 w 215"/>
                <a:gd name="T69" fmla="*/ 129 h 153"/>
                <a:gd name="T70" fmla="*/ 112 w 215"/>
                <a:gd name="T71" fmla="*/ 119 h 153"/>
                <a:gd name="T72" fmla="*/ 118 w 215"/>
                <a:gd name="T73" fmla="*/ 121 h 153"/>
                <a:gd name="T74" fmla="*/ 127 w 215"/>
                <a:gd name="T75" fmla="*/ 119 h 153"/>
                <a:gd name="T76" fmla="*/ 144 w 215"/>
                <a:gd name="T77" fmla="*/ 102 h 153"/>
                <a:gd name="T78" fmla="*/ 178 w 215"/>
                <a:gd name="T79" fmla="*/ 91 h 153"/>
                <a:gd name="T80" fmla="*/ 197 w 215"/>
                <a:gd name="T81" fmla="*/ 82 h 153"/>
                <a:gd name="T82" fmla="*/ 197 w 215"/>
                <a:gd name="T83" fmla="*/ 73 h 153"/>
                <a:gd name="T84" fmla="*/ 200 w 215"/>
                <a:gd name="T85" fmla="*/ 63 h 153"/>
                <a:gd name="T86" fmla="*/ 215 w 215"/>
                <a:gd name="T87" fmla="*/ 56 h 153"/>
                <a:gd name="T88" fmla="*/ 215 w 215"/>
                <a:gd name="T89" fmla="*/ 56 h 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15" h="153">
                  <a:moveTo>
                    <a:pt x="215" y="56"/>
                  </a:moveTo>
                  <a:lnTo>
                    <a:pt x="208" y="40"/>
                  </a:lnTo>
                  <a:lnTo>
                    <a:pt x="188" y="0"/>
                  </a:lnTo>
                  <a:lnTo>
                    <a:pt x="129" y="10"/>
                  </a:lnTo>
                  <a:lnTo>
                    <a:pt x="111" y="20"/>
                  </a:lnTo>
                  <a:lnTo>
                    <a:pt x="98" y="45"/>
                  </a:lnTo>
                  <a:lnTo>
                    <a:pt x="88" y="49"/>
                  </a:lnTo>
                  <a:lnTo>
                    <a:pt x="83" y="41"/>
                  </a:lnTo>
                  <a:lnTo>
                    <a:pt x="74" y="42"/>
                  </a:lnTo>
                  <a:lnTo>
                    <a:pt x="55" y="41"/>
                  </a:lnTo>
                  <a:lnTo>
                    <a:pt x="51" y="38"/>
                  </a:lnTo>
                  <a:lnTo>
                    <a:pt x="27" y="39"/>
                  </a:lnTo>
                  <a:lnTo>
                    <a:pt x="21" y="41"/>
                  </a:lnTo>
                  <a:lnTo>
                    <a:pt x="12" y="34"/>
                  </a:lnTo>
                  <a:lnTo>
                    <a:pt x="8" y="46"/>
                  </a:lnTo>
                  <a:lnTo>
                    <a:pt x="10" y="55"/>
                  </a:lnTo>
                  <a:lnTo>
                    <a:pt x="1" y="64"/>
                  </a:lnTo>
                  <a:lnTo>
                    <a:pt x="3" y="74"/>
                  </a:lnTo>
                  <a:lnTo>
                    <a:pt x="0" y="79"/>
                  </a:lnTo>
                  <a:lnTo>
                    <a:pt x="3" y="89"/>
                  </a:lnTo>
                  <a:lnTo>
                    <a:pt x="0" y="91"/>
                  </a:lnTo>
                  <a:lnTo>
                    <a:pt x="6" y="100"/>
                  </a:lnTo>
                  <a:lnTo>
                    <a:pt x="11" y="118"/>
                  </a:lnTo>
                  <a:lnTo>
                    <a:pt x="14" y="125"/>
                  </a:lnTo>
                  <a:lnTo>
                    <a:pt x="14" y="138"/>
                  </a:lnTo>
                  <a:lnTo>
                    <a:pt x="20" y="152"/>
                  </a:lnTo>
                  <a:lnTo>
                    <a:pt x="35" y="153"/>
                  </a:lnTo>
                  <a:lnTo>
                    <a:pt x="42" y="150"/>
                  </a:lnTo>
                  <a:lnTo>
                    <a:pt x="52" y="151"/>
                  </a:lnTo>
                  <a:lnTo>
                    <a:pt x="55" y="144"/>
                  </a:lnTo>
                  <a:lnTo>
                    <a:pt x="60" y="142"/>
                  </a:lnTo>
                  <a:lnTo>
                    <a:pt x="64" y="136"/>
                  </a:lnTo>
                  <a:lnTo>
                    <a:pt x="70" y="135"/>
                  </a:lnTo>
                  <a:lnTo>
                    <a:pt x="87" y="134"/>
                  </a:lnTo>
                  <a:lnTo>
                    <a:pt x="100" y="129"/>
                  </a:lnTo>
                  <a:lnTo>
                    <a:pt x="112" y="119"/>
                  </a:lnTo>
                  <a:lnTo>
                    <a:pt x="118" y="121"/>
                  </a:lnTo>
                  <a:lnTo>
                    <a:pt x="127" y="119"/>
                  </a:lnTo>
                  <a:lnTo>
                    <a:pt x="144" y="102"/>
                  </a:lnTo>
                  <a:lnTo>
                    <a:pt x="178" y="91"/>
                  </a:lnTo>
                  <a:lnTo>
                    <a:pt x="197" y="82"/>
                  </a:lnTo>
                  <a:lnTo>
                    <a:pt x="197" y="73"/>
                  </a:lnTo>
                  <a:lnTo>
                    <a:pt x="200" y="63"/>
                  </a:lnTo>
                  <a:lnTo>
                    <a:pt x="215" y="56"/>
                  </a:lnTo>
                  <a:lnTo>
                    <a:pt x="215" y="5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4" name="South Africa">
              <a:extLst>
                <a:ext uri="{FF2B5EF4-FFF2-40B4-BE49-F238E27FC236}">
                  <a16:creationId xmlns:a16="http://schemas.microsoft.com/office/drawing/2014/main" id="{583DE929-3327-4773-AEA4-2748B0F9A7A4}"/>
                </a:ext>
              </a:extLst>
            </p:cNvPr>
            <p:cNvSpPr>
              <a:spLocks noEditPoints="1"/>
            </p:cNvSpPr>
            <p:nvPr/>
          </p:nvSpPr>
          <p:spPr bwMode="auto">
            <a:xfrm>
              <a:off x="6520656" y="4895624"/>
              <a:ext cx="534987" cy="481013"/>
            </a:xfrm>
            <a:custGeom>
              <a:avLst/>
              <a:gdLst>
                <a:gd name="T0" fmla="*/ 299 w 337"/>
                <a:gd name="T1" fmla="*/ 1 h 303"/>
                <a:gd name="T2" fmla="*/ 282 w 337"/>
                <a:gd name="T3" fmla="*/ 0 h 303"/>
                <a:gd name="T4" fmla="*/ 244 w 337"/>
                <a:gd name="T5" fmla="*/ 18 h 303"/>
                <a:gd name="T6" fmla="*/ 217 w 337"/>
                <a:gd name="T7" fmla="*/ 51 h 303"/>
                <a:gd name="T8" fmla="*/ 200 w 337"/>
                <a:gd name="T9" fmla="*/ 62 h 303"/>
                <a:gd name="T10" fmla="*/ 193 w 337"/>
                <a:gd name="T11" fmla="*/ 80 h 303"/>
                <a:gd name="T12" fmla="*/ 163 w 337"/>
                <a:gd name="T13" fmla="*/ 85 h 303"/>
                <a:gd name="T14" fmla="*/ 145 w 337"/>
                <a:gd name="T15" fmla="*/ 76 h 303"/>
                <a:gd name="T16" fmla="*/ 130 w 337"/>
                <a:gd name="T17" fmla="*/ 92 h 303"/>
                <a:gd name="T18" fmla="*/ 109 w 337"/>
                <a:gd name="T19" fmla="*/ 110 h 303"/>
                <a:gd name="T20" fmla="*/ 90 w 337"/>
                <a:gd name="T21" fmla="*/ 104 h 303"/>
                <a:gd name="T22" fmla="*/ 81 w 337"/>
                <a:gd name="T23" fmla="*/ 67 h 303"/>
                <a:gd name="T24" fmla="*/ 72 w 337"/>
                <a:gd name="T25" fmla="*/ 151 h 303"/>
                <a:gd name="T26" fmla="*/ 42 w 337"/>
                <a:gd name="T27" fmla="*/ 165 h 303"/>
                <a:gd name="T28" fmla="*/ 21 w 337"/>
                <a:gd name="T29" fmla="*/ 159 h 303"/>
                <a:gd name="T30" fmla="*/ 10 w 337"/>
                <a:gd name="T31" fmla="*/ 142 h 303"/>
                <a:gd name="T32" fmla="*/ 13 w 337"/>
                <a:gd name="T33" fmla="*/ 185 h 303"/>
                <a:gd name="T34" fmla="*/ 22 w 337"/>
                <a:gd name="T35" fmla="*/ 205 h 303"/>
                <a:gd name="T36" fmla="*/ 34 w 337"/>
                <a:gd name="T37" fmla="*/ 246 h 303"/>
                <a:gd name="T38" fmla="*/ 33 w 337"/>
                <a:gd name="T39" fmla="*/ 265 h 303"/>
                <a:gd name="T40" fmla="*/ 34 w 337"/>
                <a:gd name="T41" fmla="*/ 286 h 303"/>
                <a:gd name="T42" fmla="*/ 43 w 337"/>
                <a:gd name="T43" fmla="*/ 293 h 303"/>
                <a:gd name="T44" fmla="*/ 58 w 337"/>
                <a:gd name="T45" fmla="*/ 303 h 303"/>
                <a:gd name="T46" fmla="*/ 79 w 337"/>
                <a:gd name="T47" fmla="*/ 292 h 303"/>
                <a:gd name="T48" fmla="*/ 118 w 337"/>
                <a:gd name="T49" fmla="*/ 279 h 303"/>
                <a:gd name="T50" fmla="*/ 138 w 337"/>
                <a:gd name="T51" fmla="*/ 277 h 303"/>
                <a:gd name="T52" fmla="*/ 170 w 337"/>
                <a:gd name="T53" fmla="*/ 277 h 303"/>
                <a:gd name="T54" fmla="*/ 185 w 337"/>
                <a:gd name="T55" fmla="*/ 275 h 303"/>
                <a:gd name="T56" fmla="*/ 217 w 337"/>
                <a:gd name="T57" fmla="*/ 264 h 303"/>
                <a:gd name="T58" fmla="*/ 247 w 337"/>
                <a:gd name="T59" fmla="*/ 239 h 303"/>
                <a:gd name="T60" fmla="*/ 286 w 337"/>
                <a:gd name="T61" fmla="*/ 198 h 303"/>
                <a:gd name="T62" fmla="*/ 302 w 337"/>
                <a:gd name="T63" fmla="*/ 174 h 303"/>
                <a:gd name="T64" fmla="*/ 320 w 337"/>
                <a:gd name="T65" fmla="*/ 158 h 303"/>
                <a:gd name="T66" fmla="*/ 330 w 337"/>
                <a:gd name="T67" fmla="*/ 128 h 303"/>
                <a:gd name="T68" fmla="*/ 322 w 337"/>
                <a:gd name="T69" fmla="*/ 110 h 303"/>
                <a:gd name="T70" fmla="*/ 304 w 337"/>
                <a:gd name="T71" fmla="*/ 123 h 303"/>
                <a:gd name="T72" fmla="*/ 294 w 337"/>
                <a:gd name="T73" fmla="*/ 102 h 303"/>
                <a:gd name="T74" fmla="*/ 302 w 337"/>
                <a:gd name="T75" fmla="*/ 87 h 303"/>
                <a:gd name="T76" fmla="*/ 318 w 337"/>
                <a:gd name="T77" fmla="*/ 89 h 303"/>
                <a:gd name="T78" fmla="*/ 322 w 337"/>
                <a:gd name="T79" fmla="*/ 54 h 303"/>
                <a:gd name="T80" fmla="*/ 310 w 337"/>
                <a:gd name="T81" fmla="*/ 4 h 303"/>
                <a:gd name="T82" fmla="*/ 234 w 337"/>
                <a:gd name="T83" fmla="*/ 201 h 303"/>
                <a:gd name="T84" fmla="*/ 214 w 337"/>
                <a:gd name="T85" fmla="*/ 185 h 303"/>
                <a:gd name="T86" fmla="*/ 237 w 337"/>
                <a:gd name="T87" fmla="*/ 161 h 303"/>
                <a:gd name="T88" fmla="*/ 255 w 337"/>
                <a:gd name="T89" fmla="*/ 163 h 303"/>
                <a:gd name="T90" fmla="*/ 255 w 337"/>
                <a:gd name="T91" fmla="*/ 182 h 303"/>
                <a:gd name="T92" fmla="*/ 239 w 337"/>
                <a:gd name="T93" fmla="*/ 193 h 303"/>
                <a:gd name="T94" fmla="*/ 234 w 337"/>
                <a:gd name="T95" fmla="*/ 20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37" h="303">
                  <a:moveTo>
                    <a:pt x="310" y="4"/>
                  </a:moveTo>
                  <a:lnTo>
                    <a:pt x="299" y="1"/>
                  </a:lnTo>
                  <a:lnTo>
                    <a:pt x="292" y="5"/>
                  </a:lnTo>
                  <a:lnTo>
                    <a:pt x="282" y="0"/>
                  </a:lnTo>
                  <a:lnTo>
                    <a:pt x="274" y="0"/>
                  </a:lnTo>
                  <a:lnTo>
                    <a:pt x="244" y="18"/>
                  </a:lnTo>
                  <a:lnTo>
                    <a:pt x="225" y="35"/>
                  </a:lnTo>
                  <a:lnTo>
                    <a:pt x="217" y="51"/>
                  </a:lnTo>
                  <a:lnTo>
                    <a:pt x="211" y="60"/>
                  </a:lnTo>
                  <a:lnTo>
                    <a:pt x="200" y="62"/>
                  </a:lnTo>
                  <a:lnTo>
                    <a:pt x="195" y="73"/>
                  </a:lnTo>
                  <a:lnTo>
                    <a:pt x="193" y="80"/>
                  </a:lnTo>
                  <a:lnTo>
                    <a:pt x="179" y="86"/>
                  </a:lnTo>
                  <a:lnTo>
                    <a:pt x="163" y="85"/>
                  </a:lnTo>
                  <a:lnTo>
                    <a:pt x="154" y="78"/>
                  </a:lnTo>
                  <a:lnTo>
                    <a:pt x="145" y="76"/>
                  </a:lnTo>
                  <a:lnTo>
                    <a:pt x="135" y="81"/>
                  </a:lnTo>
                  <a:lnTo>
                    <a:pt x="130" y="92"/>
                  </a:lnTo>
                  <a:lnTo>
                    <a:pt x="119" y="100"/>
                  </a:lnTo>
                  <a:lnTo>
                    <a:pt x="109" y="110"/>
                  </a:lnTo>
                  <a:lnTo>
                    <a:pt x="94" y="113"/>
                  </a:lnTo>
                  <a:lnTo>
                    <a:pt x="90" y="104"/>
                  </a:lnTo>
                  <a:lnTo>
                    <a:pt x="92" y="90"/>
                  </a:lnTo>
                  <a:lnTo>
                    <a:pt x="81" y="67"/>
                  </a:lnTo>
                  <a:lnTo>
                    <a:pt x="76" y="64"/>
                  </a:lnTo>
                  <a:lnTo>
                    <a:pt x="72" y="151"/>
                  </a:lnTo>
                  <a:lnTo>
                    <a:pt x="53" y="163"/>
                  </a:lnTo>
                  <a:lnTo>
                    <a:pt x="42" y="165"/>
                  </a:lnTo>
                  <a:lnTo>
                    <a:pt x="30" y="161"/>
                  </a:lnTo>
                  <a:lnTo>
                    <a:pt x="21" y="159"/>
                  </a:lnTo>
                  <a:lnTo>
                    <a:pt x="18" y="148"/>
                  </a:lnTo>
                  <a:lnTo>
                    <a:pt x="10" y="142"/>
                  </a:lnTo>
                  <a:lnTo>
                    <a:pt x="0" y="154"/>
                  </a:lnTo>
                  <a:lnTo>
                    <a:pt x="13" y="185"/>
                  </a:lnTo>
                  <a:lnTo>
                    <a:pt x="13" y="185"/>
                  </a:lnTo>
                  <a:lnTo>
                    <a:pt x="22" y="205"/>
                  </a:lnTo>
                  <a:lnTo>
                    <a:pt x="34" y="227"/>
                  </a:lnTo>
                  <a:lnTo>
                    <a:pt x="34" y="246"/>
                  </a:lnTo>
                  <a:lnTo>
                    <a:pt x="27" y="249"/>
                  </a:lnTo>
                  <a:lnTo>
                    <a:pt x="33" y="265"/>
                  </a:lnTo>
                  <a:lnTo>
                    <a:pt x="32" y="279"/>
                  </a:lnTo>
                  <a:lnTo>
                    <a:pt x="34" y="286"/>
                  </a:lnTo>
                  <a:lnTo>
                    <a:pt x="35" y="283"/>
                  </a:lnTo>
                  <a:lnTo>
                    <a:pt x="43" y="293"/>
                  </a:lnTo>
                  <a:lnTo>
                    <a:pt x="49" y="294"/>
                  </a:lnTo>
                  <a:lnTo>
                    <a:pt x="58" y="303"/>
                  </a:lnTo>
                  <a:lnTo>
                    <a:pt x="66" y="302"/>
                  </a:lnTo>
                  <a:lnTo>
                    <a:pt x="79" y="292"/>
                  </a:lnTo>
                  <a:lnTo>
                    <a:pt x="97" y="289"/>
                  </a:lnTo>
                  <a:lnTo>
                    <a:pt x="118" y="279"/>
                  </a:lnTo>
                  <a:lnTo>
                    <a:pt x="126" y="281"/>
                  </a:lnTo>
                  <a:lnTo>
                    <a:pt x="138" y="277"/>
                  </a:lnTo>
                  <a:lnTo>
                    <a:pt x="160" y="282"/>
                  </a:lnTo>
                  <a:lnTo>
                    <a:pt x="170" y="277"/>
                  </a:lnTo>
                  <a:lnTo>
                    <a:pt x="182" y="281"/>
                  </a:lnTo>
                  <a:lnTo>
                    <a:pt x="185" y="275"/>
                  </a:lnTo>
                  <a:lnTo>
                    <a:pt x="195" y="274"/>
                  </a:lnTo>
                  <a:lnTo>
                    <a:pt x="217" y="264"/>
                  </a:lnTo>
                  <a:lnTo>
                    <a:pt x="232" y="253"/>
                  </a:lnTo>
                  <a:lnTo>
                    <a:pt x="247" y="239"/>
                  </a:lnTo>
                  <a:lnTo>
                    <a:pt x="273" y="215"/>
                  </a:lnTo>
                  <a:lnTo>
                    <a:pt x="286" y="198"/>
                  </a:lnTo>
                  <a:lnTo>
                    <a:pt x="292" y="186"/>
                  </a:lnTo>
                  <a:lnTo>
                    <a:pt x="302" y="174"/>
                  </a:lnTo>
                  <a:lnTo>
                    <a:pt x="306" y="170"/>
                  </a:lnTo>
                  <a:lnTo>
                    <a:pt x="320" y="158"/>
                  </a:lnTo>
                  <a:lnTo>
                    <a:pt x="327" y="148"/>
                  </a:lnTo>
                  <a:lnTo>
                    <a:pt x="330" y="128"/>
                  </a:lnTo>
                  <a:lnTo>
                    <a:pt x="337" y="110"/>
                  </a:lnTo>
                  <a:lnTo>
                    <a:pt x="322" y="110"/>
                  </a:lnTo>
                  <a:lnTo>
                    <a:pt x="316" y="120"/>
                  </a:lnTo>
                  <a:lnTo>
                    <a:pt x="304" y="123"/>
                  </a:lnTo>
                  <a:lnTo>
                    <a:pt x="293" y="110"/>
                  </a:lnTo>
                  <a:lnTo>
                    <a:pt x="294" y="102"/>
                  </a:lnTo>
                  <a:lnTo>
                    <a:pt x="300" y="93"/>
                  </a:lnTo>
                  <a:lnTo>
                    <a:pt x="302" y="87"/>
                  </a:lnTo>
                  <a:lnTo>
                    <a:pt x="308" y="85"/>
                  </a:lnTo>
                  <a:lnTo>
                    <a:pt x="318" y="89"/>
                  </a:lnTo>
                  <a:lnTo>
                    <a:pt x="316" y="80"/>
                  </a:lnTo>
                  <a:lnTo>
                    <a:pt x="322" y="54"/>
                  </a:lnTo>
                  <a:lnTo>
                    <a:pt x="318" y="37"/>
                  </a:lnTo>
                  <a:lnTo>
                    <a:pt x="310" y="4"/>
                  </a:lnTo>
                  <a:lnTo>
                    <a:pt x="310" y="4"/>
                  </a:lnTo>
                  <a:close/>
                  <a:moveTo>
                    <a:pt x="234" y="201"/>
                  </a:moveTo>
                  <a:lnTo>
                    <a:pt x="227" y="203"/>
                  </a:lnTo>
                  <a:lnTo>
                    <a:pt x="214" y="185"/>
                  </a:lnTo>
                  <a:lnTo>
                    <a:pt x="225" y="170"/>
                  </a:lnTo>
                  <a:lnTo>
                    <a:pt x="237" y="161"/>
                  </a:lnTo>
                  <a:lnTo>
                    <a:pt x="246" y="156"/>
                  </a:lnTo>
                  <a:lnTo>
                    <a:pt x="255" y="163"/>
                  </a:lnTo>
                  <a:lnTo>
                    <a:pt x="261" y="170"/>
                  </a:lnTo>
                  <a:lnTo>
                    <a:pt x="255" y="182"/>
                  </a:lnTo>
                  <a:lnTo>
                    <a:pt x="250" y="190"/>
                  </a:lnTo>
                  <a:lnTo>
                    <a:pt x="239" y="193"/>
                  </a:lnTo>
                  <a:lnTo>
                    <a:pt x="234" y="201"/>
                  </a:lnTo>
                  <a:lnTo>
                    <a:pt x="234" y="20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5" name="Zambia">
              <a:extLst>
                <a:ext uri="{FF2B5EF4-FFF2-40B4-BE49-F238E27FC236}">
                  <a16:creationId xmlns:a16="http://schemas.microsoft.com/office/drawing/2014/main" id="{6FB29043-A304-4D9E-BE1A-E06B3A766CFD}"/>
                </a:ext>
              </a:extLst>
            </p:cNvPr>
            <p:cNvSpPr>
              <a:spLocks/>
            </p:cNvSpPr>
            <p:nvPr/>
          </p:nvSpPr>
          <p:spPr bwMode="auto">
            <a:xfrm>
              <a:off x="6715919" y="4371748"/>
              <a:ext cx="390525" cy="368300"/>
            </a:xfrm>
            <a:custGeom>
              <a:avLst/>
              <a:gdLst>
                <a:gd name="T0" fmla="*/ 183 w 246"/>
                <a:gd name="T1" fmla="*/ 7 h 232"/>
                <a:gd name="T2" fmla="*/ 181 w 246"/>
                <a:gd name="T3" fmla="*/ 0 h 232"/>
                <a:gd name="T4" fmla="*/ 147 w 246"/>
                <a:gd name="T5" fmla="*/ 8 h 232"/>
                <a:gd name="T6" fmla="*/ 146 w 246"/>
                <a:gd name="T7" fmla="*/ 33 h 232"/>
                <a:gd name="T8" fmla="*/ 138 w 246"/>
                <a:gd name="T9" fmla="*/ 85 h 232"/>
                <a:gd name="T10" fmla="*/ 158 w 246"/>
                <a:gd name="T11" fmla="*/ 98 h 232"/>
                <a:gd name="T12" fmla="*/ 165 w 246"/>
                <a:gd name="T13" fmla="*/ 120 h 232"/>
                <a:gd name="T14" fmla="*/ 141 w 246"/>
                <a:gd name="T15" fmla="*/ 107 h 232"/>
                <a:gd name="T16" fmla="*/ 117 w 246"/>
                <a:gd name="T17" fmla="*/ 94 h 232"/>
                <a:gd name="T18" fmla="*/ 100 w 246"/>
                <a:gd name="T19" fmla="*/ 88 h 232"/>
                <a:gd name="T20" fmla="*/ 77 w 246"/>
                <a:gd name="T21" fmla="*/ 74 h 232"/>
                <a:gd name="T22" fmla="*/ 53 w 246"/>
                <a:gd name="T23" fmla="*/ 72 h 232"/>
                <a:gd name="T24" fmla="*/ 46 w 246"/>
                <a:gd name="T25" fmla="*/ 65 h 232"/>
                <a:gd name="T26" fmla="*/ 45 w 246"/>
                <a:gd name="T27" fmla="*/ 84 h 232"/>
                <a:gd name="T28" fmla="*/ 45 w 246"/>
                <a:gd name="T29" fmla="*/ 103 h 232"/>
                <a:gd name="T30" fmla="*/ 3 w 246"/>
                <a:gd name="T31" fmla="*/ 112 h 232"/>
                <a:gd name="T32" fmla="*/ 14 w 246"/>
                <a:gd name="T33" fmla="*/ 207 h 232"/>
                <a:gd name="T34" fmla="*/ 44 w 246"/>
                <a:gd name="T35" fmla="*/ 216 h 232"/>
                <a:gd name="T36" fmla="*/ 66 w 246"/>
                <a:gd name="T37" fmla="*/ 223 h 232"/>
                <a:gd name="T38" fmla="*/ 69 w 246"/>
                <a:gd name="T39" fmla="*/ 226 h 232"/>
                <a:gd name="T40" fmla="*/ 98 w 246"/>
                <a:gd name="T41" fmla="*/ 232 h 232"/>
                <a:gd name="T42" fmla="*/ 118 w 246"/>
                <a:gd name="T43" fmla="*/ 216 h 232"/>
                <a:gd name="T44" fmla="*/ 144 w 246"/>
                <a:gd name="T45" fmla="*/ 195 h 232"/>
                <a:gd name="T46" fmla="*/ 159 w 246"/>
                <a:gd name="T47" fmla="*/ 177 h 232"/>
                <a:gd name="T48" fmla="*/ 174 w 246"/>
                <a:gd name="T49" fmla="*/ 156 h 232"/>
                <a:gd name="T50" fmla="*/ 227 w 246"/>
                <a:gd name="T51" fmla="*/ 131 h 232"/>
                <a:gd name="T52" fmla="*/ 240 w 246"/>
                <a:gd name="T53" fmla="*/ 100 h 232"/>
                <a:gd name="T54" fmla="*/ 242 w 246"/>
                <a:gd name="T55" fmla="*/ 62 h 232"/>
                <a:gd name="T56" fmla="*/ 241 w 246"/>
                <a:gd name="T57" fmla="*/ 35 h 232"/>
                <a:gd name="T58" fmla="*/ 220 w 246"/>
                <a:gd name="T59" fmla="*/ 17 h 232"/>
                <a:gd name="T60" fmla="*/ 198 w 246"/>
                <a:gd name="T61" fmla="*/ 9 h 232"/>
                <a:gd name="T62" fmla="*/ 197 w 246"/>
                <a:gd name="T63" fmla="*/ 8 h 232"/>
                <a:gd name="T64" fmla="*/ 195 w 246"/>
                <a:gd name="T65" fmla="*/ 14 h 232"/>
                <a:gd name="T66" fmla="*/ 191 w 246"/>
                <a:gd name="T67" fmla="*/ 9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246" h="232">
                  <a:moveTo>
                    <a:pt x="191" y="9"/>
                  </a:moveTo>
                  <a:lnTo>
                    <a:pt x="183" y="7"/>
                  </a:lnTo>
                  <a:lnTo>
                    <a:pt x="185" y="2"/>
                  </a:lnTo>
                  <a:lnTo>
                    <a:pt x="181" y="0"/>
                  </a:lnTo>
                  <a:lnTo>
                    <a:pt x="153" y="5"/>
                  </a:lnTo>
                  <a:lnTo>
                    <a:pt x="147" y="8"/>
                  </a:lnTo>
                  <a:lnTo>
                    <a:pt x="141" y="23"/>
                  </a:lnTo>
                  <a:lnTo>
                    <a:pt x="146" y="33"/>
                  </a:lnTo>
                  <a:lnTo>
                    <a:pt x="141" y="61"/>
                  </a:lnTo>
                  <a:lnTo>
                    <a:pt x="138" y="85"/>
                  </a:lnTo>
                  <a:lnTo>
                    <a:pt x="143" y="89"/>
                  </a:lnTo>
                  <a:lnTo>
                    <a:pt x="158" y="98"/>
                  </a:lnTo>
                  <a:lnTo>
                    <a:pt x="164" y="94"/>
                  </a:lnTo>
                  <a:lnTo>
                    <a:pt x="165" y="120"/>
                  </a:lnTo>
                  <a:lnTo>
                    <a:pt x="149" y="120"/>
                  </a:lnTo>
                  <a:lnTo>
                    <a:pt x="141" y="107"/>
                  </a:lnTo>
                  <a:lnTo>
                    <a:pt x="134" y="97"/>
                  </a:lnTo>
                  <a:lnTo>
                    <a:pt x="117" y="94"/>
                  </a:lnTo>
                  <a:lnTo>
                    <a:pt x="113" y="81"/>
                  </a:lnTo>
                  <a:lnTo>
                    <a:pt x="100" y="88"/>
                  </a:lnTo>
                  <a:lnTo>
                    <a:pt x="83" y="84"/>
                  </a:lnTo>
                  <a:lnTo>
                    <a:pt x="77" y="74"/>
                  </a:lnTo>
                  <a:lnTo>
                    <a:pt x="64" y="72"/>
                  </a:lnTo>
                  <a:lnTo>
                    <a:pt x="53" y="72"/>
                  </a:lnTo>
                  <a:lnTo>
                    <a:pt x="52" y="65"/>
                  </a:lnTo>
                  <a:lnTo>
                    <a:pt x="46" y="65"/>
                  </a:lnTo>
                  <a:lnTo>
                    <a:pt x="48" y="72"/>
                  </a:lnTo>
                  <a:lnTo>
                    <a:pt x="45" y="84"/>
                  </a:lnTo>
                  <a:lnTo>
                    <a:pt x="48" y="95"/>
                  </a:lnTo>
                  <a:lnTo>
                    <a:pt x="45" y="103"/>
                  </a:lnTo>
                  <a:lnTo>
                    <a:pt x="47" y="112"/>
                  </a:lnTo>
                  <a:lnTo>
                    <a:pt x="3" y="112"/>
                  </a:lnTo>
                  <a:lnTo>
                    <a:pt x="0" y="187"/>
                  </a:lnTo>
                  <a:lnTo>
                    <a:pt x="14" y="207"/>
                  </a:lnTo>
                  <a:lnTo>
                    <a:pt x="27" y="222"/>
                  </a:lnTo>
                  <a:lnTo>
                    <a:pt x="44" y="216"/>
                  </a:lnTo>
                  <a:lnTo>
                    <a:pt x="57" y="217"/>
                  </a:lnTo>
                  <a:lnTo>
                    <a:pt x="66" y="223"/>
                  </a:lnTo>
                  <a:lnTo>
                    <a:pt x="66" y="225"/>
                  </a:lnTo>
                  <a:lnTo>
                    <a:pt x="69" y="226"/>
                  </a:lnTo>
                  <a:lnTo>
                    <a:pt x="93" y="229"/>
                  </a:lnTo>
                  <a:lnTo>
                    <a:pt x="98" y="232"/>
                  </a:lnTo>
                  <a:lnTo>
                    <a:pt x="106" y="231"/>
                  </a:lnTo>
                  <a:lnTo>
                    <a:pt x="118" y="216"/>
                  </a:lnTo>
                  <a:lnTo>
                    <a:pt x="137" y="197"/>
                  </a:lnTo>
                  <a:lnTo>
                    <a:pt x="144" y="195"/>
                  </a:lnTo>
                  <a:lnTo>
                    <a:pt x="147" y="186"/>
                  </a:lnTo>
                  <a:lnTo>
                    <a:pt x="159" y="177"/>
                  </a:lnTo>
                  <a:lnTo>
                    <a:pt x="175" y="173"/>
                  </a:lnTo>
                  <a:lnTo>
                    <a:pt x="174" y="156"/>
                  </a:lnTo>
                  <a:lnTo>
                    <a:pt x="237" y="137"/>
                  </a:lnTo>
                  <a:lnTo>
                    <a:pt x="227" y="131"/>
                  </a:lnTo>
                  <a:lnTo>
                    <a:pt x="234" y="109"/>
                  </a:lnTo>
                  <a:lnTo>
                    <a:pt x="240" y="100"/>
                  </a:lnTo>
                  <a:lnTo>
                    <a:pt x="237" y="81"/>
                  </a:lnTo>
                  <a:lnTo>
                    <a:pt x="242" y="62"/>
                  </a:lnTo>
                  <a:lnTo>
                    <a:pt x="246" y="55"/>
                  </a:lnTo>
                  <a:lnTo>
                    <a:pt x="241" y="35"/>
                  </a:lnTo>
                  <a:lnTo>
                    <a:pt x="231" y="25"/>
                  </a:lnTo>
                  <a:lnTo>
                    <a:pt x="220" y="17"/>
                  </a:lnTo>
                  <a:lnTo>
                    <a:pt x="207" y="14"/>
                  </a:lnTo>
                  <a:lnTo>
                    <a:pt x="198" y="9"/>
                  </a:lnTo>
                  <a:lnTo>
                    <a:pt x="197" y="8"/>
                  </a:lnTo>
                  <a:lnTo>
                    <a:pt x="197" y="8"/>
                  </a:lnTo>
                  <a:lnTo>
                    <a:pt x="199" y="13"/>
                  </a:lnTo>
                  <a:lnTo>
                    <a:pt x="195" y="14"/>
                  </a:lnTo>
                  <a:lnTo>
                    <a:pt x="191" y="9"/>
                  </a:lnTo>
                  <a:lnTo>
                    <a:pt x="191" y="9"/>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6" name="Zimbabwe">
              <a:extLst>
                <a:ext uri="{FF2B5EF4-FFF2-40B4-BE49-F238E27FC236}">
                  <a16:creationId xmlns:a16="http://schemas.microsoft.com/office/drawing/2014/main" id="{F6D7F303-9D66-4521-9A94-1A979AA345BF}"/>
                </a:ext>
              </a:extLst>
            </p:cNvPr>
            <p:cNvSpPr>
              <a:spLocks/>
            </p:cNvSpPr>
            <p:nvPr/>
          </p:nvSpPr>
          <p:spPr bwMode="auto">
            <a:xfrm>
              <a:off x="6825456" y="4646386"/>
              <a:ext cx="250825" cy="257175"/>
            </a:xfrm>
            <a:custGeom>
              <a:avLst/>
              <a:gdLst>
                <a:gd name="T0" fmla="*/ 118 w 158"/>
                <a:gd name="T1" fmla="*/ 161 h 162"/>
                <a:gd name="T2" fmla="*/ 141 w 158"/>
                <a:gd name="T3" fmla="*/ 134 h 162"/>
                <a:gd name="T4" fmla="*/ 147 w 158"/>
                <a:gd name="T5" fmla="*/ 117 h 162"/>
                <a:gd name="T6" fmla="*/ 151 w 158"/>
                <a:gd name="T7" fmla="*/ 114 h 162"/>
                <a:gd name="T8" fmla="*/ 153 w 158"/>
                <a:gd name="T9" fmla="*/ 100 h 162"/>
                <a:gd name="T10" fmla="*/ 151 w 158"/>
                <a:gd name="T11" fmla="*/ 94 h 162"/>
                <a:gd name="T12" fmla="*/ 152 w 158"/>
                <a:gd name="T13" fmla="*/ 76 h 162"/>
                <a:gd name="T14" fmla="*/ 157 w 158"/>
                <a:gd name="T15" fmla="*/ 59 h 162"/>
                <a:gd name="T16" fmla="*/ 158 w 158"/>
                <a:gd name="T17" fmla="*/ 29 h 162"/>
                <a:gd name="T18" fmla="*/ 148 w 158"/>
                <a:gd name="T19" fmla="*/ 22 h 162"/>
                <a:gd name="T20" fmla="*/ 138 w 158"/>
                <a:gd name="T21" fmla="*/ 20 h 162"/>
                <a:gd name="T22" fmla="*/ 134 w 158"/>
                <a:gd name="T23" fmla="*/ 14 h 162"/>
                <a:gd name="T24" fmla="*/ 124 w 158"/>
                <a:gd name="T25" fmla="*/ 9 h 162"/>
                <a:gd name="T26" fmla="*/ 107 w 158"/>
                <a:gd name="T27" fmla="*/ 10 h 162"/>
                <a:gd name="T28" fmla="*/ 106 w 158"/>
                <a:gd name="T29" fmla="*/ 0 h 162"/>
                <a:gd name="T30" fmla="*/ 90 w 158"/>
                <a:gd name="T31" fmla="*/ 4 h 162"/>
                <a:gd name="T32" fmla="*/ 78 w 158"/>
                <a:gd name="T33" fmla="*/ 13 h 162"/>
                <a:gd name="T34" fmla="*/ 75 w 158"/>
                <a:gd name="T35" fmla="*/ 22 h 162"/>
                <a:gd name="T36" fmla="*/ 68 w 158"/>
                <a:gd name="T37" fmla="*/ 24 h 162"/>
                <a:gd name="T38" fmla="*/ 49 w 158"/>
                <a:gd name="T39" fmla="*/ 43 h 162"/>
                <a:gd name="T40" fmla="*/ 37 w 158"/>
                <a:gd name="T41" fmla="*/ 58 h 162"/>
                <a:gd name="T42" fmla="*/ 29 w 158"/>
                <a:gd name="T43" fmla="*/ 59 h 162"/>
                <a:gd name="T44" fmla="*/ 24 w 158"/>
                <a:gd name="T45" fmla="*/ 56 h 162"/>
                <a:gd name="T46" fmla="*/ 0 w 158"/>
                <a:gd name="T47" fmla="*/ 53 h 162"/>
                <a:gd name="T48" fmla="*/ 7 w 158"/>
                <a:gd name="T49" fmla="*/ 72 h 162"/>
                <a:gd name="T50" fmla="*/ 11 w 158"/>
                <a:gd name="T51" fmla="*/ 77 h 162"/>
                <a:gd name="T52" fmla="*/ 17 w 158"/>
                <a:gd name="T53" fmla="*/ 91 h 162"/>
                <a:gd name="T54" fmla="*/ 40 w 158"/>
                <a:gd name="T55" fmla="*/ 117 h 162"/>
                <a:gd name="T56" fmla="*/ 48 w 158"/>
                <a:gd name="T57" fmla="*/ 119 h 162"/>
                <a:gd name="T58" fmla="*/ 48 w 158"/>
                <a:gd name="T59" fmla="*/ 127 h 162"/>
                <a:gd name="T60" fmla="*/ 54 w 158"/>
                <a:gd name="T61" fmla="*/ 143 h 162"/>
                <a:gd name="T62" fmla="*/ 69 w 158"/>
                <a:gd name="T63" fmla="*/ 146 h 162"/>
                <a:gd name="T64" fmla="*/ 82 w 158"/>
                <a:gd name="T65" fmla="*/ 157 h 162"/>
                <a:gd name="T66" fmla="*/ 90 w 158"/>
                <a:gd name="T67" fmla="*/ 157 h 162"/>
                <a:gd name="T68" fmla="*/ 100 w 158"/>
                <a:gd name="T69" fmla="*/ 162 h 162"/>
                <a:gd name="T70" fmla="*/ 107 w 158"/>
                <a:gd name="T71" fmla="*/ 158 h 162"/>
                <a:gd name="T72" fmla="*/ 118 w 158"/>
                <a:gd name="T73" fmla="*/ 161 h 162"/>
                <a:gd name="T74" fmla="*/ 118 w 158"/>
                <a:gd name="T75" fmla="*/ 161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58" h="162">
                  <a:moveTo>
                    <a:pt x="118" y="161"/>
                  </a:moveTo>
                  <a:lnTo>
                    <a:pt x="141" y="134"/>
                  </a:lnTo>
                  <a:lnTo>
                    <a:pt x="147" y="117"/>
                  </a:lnTo>
                  <a:lnTo>
                    <a:pt x="151" y="114"/>
                  </a:lnTo>
                  <a:lnTo>
                    <a:pt x="153" y="100"/>
                  </a:lnTo>
                  <a:lnTo>
                    <a:pt x="151" y="94"/>
                  </a:lnTo>
                  <a:lnTo>
                    <a:pt x="152" y="76"/>
                  </a:lnTo>
                  <a:lnTo>
                    <a:pt x="157" y="59"/>
                  </a:lnTo>
                  <a:lnTo>
                    <a:pt x="158" y="29"/>
                  </a:lnTo>
                  <a:lnTo>
                    <a:pt x="148" y="22"/>
                  </a:lnTo>
                  <a:lnTo>
                    <a:pt x="138" y="20"/>
                  </a:lnTo>
                  <a:lnTo>
                    <a:pt x="134" y="14"/>
                  </a:lnTo>
                  <a:lnTo>
                    <a:pt x="124" y="9"/>
                  </a:lnTo>
                  <a:lnTo>
                    <a:pt x="107" y="10"/>
                  </a:lnTo>
                  <a:lnTo>
                    <a:pt x="106" y="0"/>
                  </a:lnTo>
                  <a:lnTo>
                    <a:pt x="90" y="4"/>
                  </a:lnTo>
                  <a:lnTo>
                    <a:pt x="78" y="13"/>
                  </a:lnTo>
                  <a:lnTo>
                    <a:pt x="75" y="22"/>
                  </a:lnTo>
                  <a:lnTo>
                    <a:pt x="68" y="24"/>
                  </a:lnTo>
                  <a:lnTo>
                    <a:pt x="49" y="43"/>
                  </a:lnTo>
                  <a:lnTo>
                    <a:pt x="37" y="58"/>
                  </a:lnTo>
                  <a:lnTo>
                    <a:pt x="29" y="59"/>
                  </a:lnTo>
                  <a:lnTo>
                    <a:pt x="24" y="56"/>
                  </a:lnTo>
                  <a:lnTo>
                    <a:pt x="0" y="53"/>
                  </a:lnTo>
                  <a:lnTo>
                    <a:pt x="7" y="72"/>
                  </a:lnTo>
                  <a:lnTo>
                    <a:pt x="11" y="77"/>
                  </a:lnTo>
                  <a:lnTo>
                    <a:pt x="17" y="91"/>
                  </a:lnTo>
                  <a:lnTo>
                    <a:pt x="40" y="117"/>
                  </a:lnTo>
                  <a:lnTo>
                    <a:pt x="48" y="119"/>
                  </a:lnTo>
                  <a:lnTo>
                    <a:pt x="48" y="127"/>
                  </a:lnTo>
                  <a:lnTo>
                    <a:pt x="54" y="143"/>
                  </a:lnTo>
                  <a:lnTo>
                    <a:pt x="69" y="146"/>
                  </a:lnTo>
                  <a:lnTo>
                    <a:pt x="82" y="157"/>
                  </a:lnTo>
                  <a:lnTo>
                    <a:pt x="90" y="157"/>
                  </a:lnTo>
                  <a:lnTo>
                    <a:pt x="100" y="162"/>
                  </a:lnTo>
                  <a:lnTo>
                    <a:pt x="107" y="158"/>
                  </a:lnTo>
                  <a:lnTo>
                    <a:pt x="118" y="161"/>
                  </a:lnTo>
                  <a:lnTo>
                    <a:pt x="118" y="16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7" name="Somalia">
              <a:extLst>
                <a:ext uri="{FF2B5EF4-FFF2-40B4-BE49-F238E27FC236}">
                  <a16:creationId xmlns:a16="http://schemas.microsoft.com/office/drawing/2014/main" id="{6E8B86D2-D547-475E-B9BC-53A1B49ED1A2}"/>
                </a:ext>
              </a:extLst>
            </p:cNvPr>
            <p:cNvSpPr>
              <a:spLocks/>
            </p:cNvSpPr>
            <p:nvPr/>
          </p:nvSpPr>
          <p:spPr bwMode="auto">
            <a:xfrm>
              <a:off x="7360444" y="3609749"/>
              <a:ext cx="328612" cy="515938"/>
            </a:xfrm>
            <a:custGeom>
              <a:avLst/>
              <a:gdLst>
                <a:gd name="T0" fmla="*/ 62 w 207"/>
                <a:gd name="T1" fmla="*/ 37 h 325"/>
                <a:gd name="T2" fmla="*/ 52 w 207"/>
                <a:gd name="T3" fmla="*/ 27 h 325"/>
                <a:gd name="T4" fmla="*/ 47 w 207"/>
                <a:gd name="T5" fmla="*/ 17 h 325"/>
                <a:gd name="T6" fmla="*/ 40 w 207"/>
                <a:gd name="T7" fmla="*/ 13 h 325"/>
                <a:gd name="T8" fmla="*/ 33 w 207"/>
                <a:gd name="T9" fmla="*/ 25 h 325"/>
                <a:gd name="T10" fmla="*/ 29 w 207"/>
                <a:gd name="T11" fmla="*/ 34 h 325"/>
                <a:gd name="T12" fmla="*/ 38 w 207"/>
                <a:gd name="T13" fmla="*/ 47 h 325"/>
                <a:gd name="T14" fmla="*/ 45 w 207"/>
                <a:gd name="T15" fmla="*/ 58 h 325"/>
                <a:gd name="T16" fmla="*/ 54 w 207"/>
                <a:gd name="T17" fmla="*/ 67 h 325"/>
                <a:gd name="T18" fmla="*/ 123 w 207"/>
                <a:gd name="T19" fmla="*/ 95 h 325"/>
                <a:gd name="T20" fmla="*/ 140 w 207"/>
                <a:gd name="T21" fmla="*/ 95 h 325"/>
                <a:gd name="T22" fmla="*/ 83 w 207"/>
                <a:gd name="T23" fmla="*/ 166 h 325"/>
                <a:gd name="T24" fmla="*/ 55 w 207"/>
                <a:gd name="T25" fmla="*/ 167 h 325"/>
                <a:gd name="T26" fmla="*/ 37 w 207"/>
                <a:gd name="T27" fmla="*/ 184 h 325"/>
                <a:gd name="T28" fmla="*/ 24 w 207"/>
                <a:gd name="T29" fmla="*/ 184 h 325"/>
                <a:gd name="T30" fmla="*/ 18 w 207"/>
                <a:gd name="T31" fmla="*/ 192 h 325"/>
                <a:gd name="T32" fmla="*/ 0 w 207"/>
                <a:gd name="T33" fmla="*/ 219 h 325"/>
                <a:gd name="T34" fmla="*/ 0 w 207"/>
                <a:gd name="T35" fmla="*/ 305 h 325"/>
                <a:gd name="T36" fmla="*/ 13 w 207"/>
                <a:gd name="T37" fmla="*/ 325 h 325"/>
                <a:gd name="T38" fmla="*/ 18 w 207"/>
                <a:gd name="T39" fmla="*/ 320 h 325"/>
                <a:gd name="T40" fmla="*/ 23 w 207"/>
                <a:gd name="T41" fmla="*/ 307 h 325"/>
                <a:gd name="T42" fmla="*/ 45 w 207"/>
                <a:gd name="T43" fmla="*/ 278 h 325"/>
                <a:gd name="T44" fmla="*/ 66 w 207"/>
                <a:gd name="T45" fmla="*/ 260 h 325"/>
                <a:gd name="T46" fmla="*/ 97 w 207"/>
                <a:gd name="T47" fmla="*/ 236 h 325"/>
                <a:gd name="T48" fmla="*/ 117 w 207"/>
                <a:gd name="T49" fmla="*/ 217 h 325"/>
                <a:gd name="T50" fmla="*/ 141 w 207"/>
                <a:gd name="T51" fmla="*/ 184 h 325"/>
                <a:gd name="T52" fmla="*/ 159 w 207"/>
                <a:gd name="T53" fmla="*/ 158 h 325"/>
                <a:gd name="T54" fmla="*/ 176 w 207"/>
                <a:gd name="T55" fmla="*/ 124 h 325"/>
                <a:gd name="T56" fmla="*/ 188 w 207"/>
                <a:gd name="T57" fmla="*/ 93 h 325"/>
                <a:gd name="T58" fmla="*/ 197 w 207"/>
                <a:gd name="T59" fmla="*/ 66 h 325"/>
                <a:gd name="T60" fmla="*/ 202 w 207"/>
                <a:gd name="T61" fmla="*/ 41 h 325"/>
                <a:gd name="T62" fmla="*/ 206 w 207"/>
                <a:gd name="T63" fmla="*/ 32 h 325"/>
                <a:gd name="T64" fmla="*/ 206 w 207"/>
                <a:gd name="T65" fmla="*/ 19 h 325"/>
                <a:gd name="T66" fmla="*/ 207 w 207"/>
                <a:gd name="T67" fmla="*/ 6 h 325"/>
                <a:gd name="T68" fmla="*/ 206 w 207"/>
                <a:gd name="T69" fmla="*/ 0 h 325"/>
                <a:gd name="T70" fmla="*/ 198 w 207"/>
                <a:gd name="T71" fmla="*/ 0 h 325"/>
                <a:gd name="T72" fmla="*/ 189 w 207"/>
                <a:gd name="T73" fmla="*/ 8 h 325"/>
                <a:gd name="T74" fmla="*/ 178 w 207"/>
                <a:gd name="T75" fmla="*/ 10 h 325"/>
                <a:gd name="T76" fmla="*/ 168 w 207"/>
                <a:gd name="T77" fmla="*/ 14 h 325"/>
                <a:gd name="T78" fmla="*/ 162 w 207"/>
                <a:gd name="T79" fmla="*/ 14 h 325"/>
                <a:gd name="T80" fmla="*/ 162 w 207"/>
                <a:gd name="T81" fmla="*/ 14 h 325"/>
                <a:gd name="T82" fmla="*/ 150 w 207"/>
                <a:gd name="T83" fmla="*/ 15 h 325"/>
                <a:gd name="T84" fmla="*/ 142 w 207"/>
                <a:gd name="T85" fmla="*/ 19 h 325"/>
                <a:gd name="T86" fmla="*/ 132 w 207"/>
                <a:gd name="T87" fmla="*/ 21 h 325"/>
                <a:gd name="T88" fmla="*/ 114 w 207"/>
                <a:gd name="T89" fmla="*/ 28 h 325"/>
                <a:gd name="T90" fmla="*/ 92 w 207"/>
                <a:gd name="T91" fmla="*/ 30 h 325"/>
                <a:gd name="T92" fmla="*/ 72 w 207"/>
                <a:gd name="T93" fmla="*/ 37 h 325"/>
                <a:gd name="T94" fmla="*/ 62 w 207"/>
                <a:gd name="T95" fmla="*/ 37 h 325"/>
                <a:gd name="T96" fmla="*/ 62 w 207"/>
                <a:gd name="T97" fmla="*/ 37 h 3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07" h="325">
                  <a:moveTo>
                    <a:pt x="62" y="37"/>
                  </a:moveTo>
                  <a:lnTo>
                    <a:pt x="52" y="27"/>
                  </a:lnTo>
                  <a:lnTo>
                    <a:pt x="47" y="17"/>
                  </a:lnTo>
                  <a:lnTo>
                    <a:pt x="40" y="13"/>
                  </a:lnTo>
                  <a:lnTo>
                    <a:pt x="33" y="25"/>
                  </a:lnTo>
                  <a:lnTo>
                    <a:pt x="29" y="34"/>
                  </a:lnTo>
                  <a:lnTo>
                    <a:pt x="38" y="47"/>
                  </a:lnTo>
                  <a:lnTo>
                    <a:pt x="45" y="58"/>
                  </a:lnTo>
                  <a:lnTo>
                    <a:pt x="54" y="67"/>
                  </a:lnTo>
                  <a:lnTo>
                    <a:pt x="123" y="95"/>
                  </a:lnTo>
                  <a:lnTo>
                    <a:pt x="140" y="95"/>
                  </a:lnTo>
                  <a:lnTo>
                    <a:pt x="83" y="166"/>
                  </a:lnTo>
                  <a:lnTo>
                    <a:pt x="55" y="167"/>
                  </a:lnTo>
                  <a:lnTo>
                    <a:pt x="37" y="184"/>
                  </a:lnTo>
                  <a:lnTo>
                    <a:pt x="24" y="184"/>
                  </a:lnTo>
                  <a:lnTo>
                    <a:pt x="18" y="192"/>
                  </a:lnTo>
                  <a:lnTo>
                    <a:pt x="0" y="219"/>
                  </a:lnTo>
                  <a:lnTo>
                    <a:pt x="0" y="305"/>
                  </a:lnTo>
                  <a:lnTo>
                    <a:pt x="13" y="325"/>
                  </a:lnTo>
                  <a:lnTo>
                    <a:pt x="18" y="320"/>
                  </a:lnTo>
                  <a:lnTo>
                    <a:pt x="23" y="307"/>
                  </a:lnTo>
                  <a:lnTo>
                    <a:pt x="45" y="278"/>
                  </a:lnTo>
                  <a:lnTo>
                    <a:pt x="66" y="260"/>
                  </a:lnTo>
                  <a:lnTo>
                    <a:pt x="97" y="236"/>
                  </a:lnTo>
                  <a:lnTo>
                    <a:pt x="117" y="217"/>
                  </a:lnTo>
                  <a:lnTo>
                    <a:pt x="141" y="184"/>
                  </a:lnTo>
                  <a:lnTo>
                    <a:pt x="159" y="158"/>
                  </a:lnTo>
                  <a:lnTo>
                    <a:pt x="176" y="124"/>
                  </a:lnTo>
                  <a:lnTo>
                    <a:pt x="188" y="93"/>
                  </a:lnTo>
                  <a:lnTo>
                    <a:pt x="197" y="66"/>
                  </a:lnTo>
                  <a:lnTo>
                    <a:pt x="202" y="41"/>
                  </a:lnTo>
                  <a:lnTo>
                    <a:pt x="206" y="32"/>
                  </a:lnTo>
                  <a:lnTo>
                    <a:pt x="206" y="19"/>
                  </a:lnTo>
                  <a:lnTo>
                    <a:pt x="207" y="6"/>
                  </a:lnTo>
                  <a:lnTo>
                    <a:pt x="206" y="0"/>
                  </a:lnTo>
                  <a:lnTo>
                    <a:pt x="198" y="0"/>
                  </a:lnTo>
                  <a:lnTo>
                    <a:pt x="189" y="8"/>
                  </a:lnTo>
                  <a:lnTo>
                    <a:pt x="178" y="10"/>
                  </a:lnTo>
                  <a:lnTo>
                    <a:pt x="168" y="14"/>
                  </a:lnTo>
                  <a:lnTo>
                    <a:pt x="162" y="14"/>
                  </a:lnTo>
                  <a:lnTo>
                    <a:pt x="162" y="14"/>
                  </a:lnTo>
                  <a:lnTo>
                    <a:pt x="150" y="15"/>
                  </a:lnTo>
                  <a:lnTo>
                    <a:pt x="142" y="19"/>
                  </a:lnTo>
                  <a:lnTo>
                    <a:pt x="132" y="21"/>
                  </a:lnTo>
                  <a:lnTo>
                    <a:pt x="114" y="28"/>
                  </a:lnTo>
                  <a:lnTo>
                    <a:pt x="92" y="30"/>
                  </a:lnTo>
                  <a:lnTo>
                    <a:pt x="72" y="37"/>
                  </a:lnTo>
                  <a:lnTo>
                    <a:pt x="62" y="37"/>
                  </a:lnTo>
                  <a:lnTo>
                    <a:pt x="62" y="3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8" name="Spain">
              <a:extLst>
                <a:ext uri="{FF2B5EF4-FFF2-40B4-BE49-F238E27FC236}">
                  <a16:creationId xmlns:a16="http://schemas.microsoft.com/office/drawing/2014/main" id="{4E2F1FDA-E11A-4471-9467-CB75749B2991}"/>
                </a:ext>
              </a:extLst>
            </p:cNvPr>
            <p:cNvSpPr>
              <a:spLocks noEditPoints="1"/>
            </p:cNvSpPr>
            <p:nvPr/>
          </p:nvSpPr>
          <p:spPr bwMode="auto">
            <a:xfrm>
              <a:off x="5711031" y="2412774"/>
              <a:ext cx="417512" cy="293688"/>
            </a:xfrm>
            <a:custGeom>
              <a:avLst/>
              <a:gdLst>
                <a:gd name="T0" fmla="*/ 210 w 263"/>
                <a:gd name="T1" fmla="*/ 118 h 185"/>
                <a:gd name="T2" fmla="*/ 207 w 263"/>
                <a:gd name="T3" fmla="*/ 116 h 185"/>
                <a:gd name="T4" fmla="*/ 207 w 263"/>
                <a:gd name="T5" fmla="*/ 118 h 185"/>
                <a:gd name="T6" fmla="*/ 208 w 263"/>
                <a:gd name="T7" fmla="*/ 119 h 185"/>
                <a:gd name="T8" fmla="*/ 210 w 263"/>
                <a:gd name="T9" fmla="*/ 119 h 185"/>
                <a:gd name="T10" fmla="*/ 207 w 263"/>
                <a:gd name="T11" fmla="*/ 112 h 185"/>
                <a:gd name="T12" fmla="*/ 210 w 263"/>
                <a:gd name="T13" fmla="*/ 110 h 185"/>
                <a:gd name="T14" fmla="*/ 209 w 263"/>
                <a:gd name="T15" fmla="*/ 108 h 185"/>
                <a:gd name="T16" fmla="*/ 205 w 263"/>
                <a:gd name="T17" fmla="*/ 110 h 185"/>
                <a:gd name="T18" fmla="*/ 204 w 263"/>
                <a:gd name="T19" fmla="*/ 111 h 185"/>
                <a:gd name="T20" fmla="*/ 204 w 263"/>
                <a:gd name="T21" fmla="*/ 114 h 185"/>
                <a:gd name="T22" fmla="*/ 207 w 263"/>
                <a:gd name="T23" fmla="*/ 112 h 185"/>
                <a:gd name="T24" fmla="*/ 112 w 263"/>
                <a:gd name="T25" fmla="*/ 7 h 185"/>
                <a:gd name="T26" fmla="*/ 77 w 263"/>
                <a:gd name="T27" fmla="*/ 4 h 185"/>
                <a:gd name="T28" fmla="*/ 28 w 263"/>
                <a:gd name="T29" fmla="*/ 0 h 185"/>
                <a:gd name="T30" fmla="*/ 8 w 263"/>
                <a:gd name="T31" fmla="*/ 26 h 185"/>
                <a:gd name="T32" fmla="*/ 13 w 263"/>
                <a:gd name="T33" fmla="*/ 37 h 185"/>
                <a:gd name="T34" fmla="*/ 25 w 263"/>
                <a:gd name="T35" fmla="*/ 45 h 185"/>
                <a:gd name="T36" fmla="*/ 40 w 263"/>
                <a:gd name="T37" fmla="*/ 42 h 185"/>
                <a:gd name="T38" fmla="*/ 56 w 263"/>
                <a:gd name="T39" fmla="*/ 54 h 185"/>
                <a:gd name="T40" fmla="*/ 47 w 263"/>
                <a:gd name="T41" fmla="*/ 79 h 185"/>
                <a:gd name="T42" fmla="*/ 42 w 263"/>
                <a:gd name="T43" fmla="*/ 93 h 185"/>
                <a:gd name="T44" fmla="*/ 41 w 263"/>
                <a:gd name="T45" fmla="*/ 110 h 185"/>
                <a:gd name="T46" fmla="*/ 42 w 263"/>
                <a:gd name="T47" fmla="*/ 133 h 185"/>
                <a:gd name="T48" fmla="*/ 32 w 263"/>
                <a:gd name="T49" fmla="*/ 149 h 185"/>
                <a:gd name="T50" fmla="*/ 52 w 263"/>
                <a:gd name="T51" fmla="*/ 161 h 185"/>
                <a:gd name="T52" fmla="*/ 64 w 263"/>
                <a:gd name="T53" fmla="*/ 182 h 185"/>
                <a:gd name="T54" fmla="*/ 81 w 263"/>
                <a:gd name="T55" fmla="*/ 176 h 185"/>
                <a:gd name="T56" fmla="*/ 112 w 263"/>
                <a:gd name="T57" fmla="*/ 167 h 185"/>
                <a:gd name="T58" fmla="*/ 151 w 263"/>
                <a:gd name="T59" fmla="*/ 149 h 185"/>
                <a:gd name="T60" fmla="*/ 170 w 263"/>
                <a:gd name="T61" fmla="*/ 128 h 185"/>
                <a:gd name="T62" fmla="*/ 174 w 263"/>
                <a:gd name="T63" fmla="*/ 103 h 185"/>
                <a:gd name="T64" fmla="*/ 193 w 263"/>
                <a:gd name="T65" fmla="*/ 71 h 185"/>
                <a:gd name="T66" fmla="*/ 220 w 263"/>
                <a:gd name="T67" fmla="*/ 58 h 185"/>
                <a:gd name="T68" fmla="*/ 236 w 263"/>
                <a:gd name="T69" fmla="*/ 30 h 185"/>
                <a:gd name="T70" fmla="*/ 193 w 263"/>
                <a:gd name="T71" fmla="*/ 23 h 185"/>
                <a:gd name="T72" fmla="*/ 150 w 263"/>
                <a:gd name="T73" fmla="*/ 17 h 185"/>
                <a:gd name="T74" fmla="*/ 143 w 263"/>
                <a:gd name="T75" fmla="*/ 8 h 185"/>
                <a:gd name="T76" fmla="*/ 240 w 263"/>
                <a:gd name="T77" fmla="*/ 91 h 185"/>
                <a:gd name="T78" fmla="*/ 241 w 263"/>
                <a:gd name="T79" fmla="*/ 90 h 185"/>
                <a:gd name="T80" fmla="*/ 240 w 263"/>
                <a:gd name="T81" fmla="*/ 89 h 185"/>
                <a:gd name="T82" fmla="*/ 240 w 263"/>
                <a:gd name="T83" fmla="*/ 88 h 185"/>
                <a:gd name="T84" fmla="*/ 233 w 263"/>
                <a:gd name="T85" fmla="*/ 91 h 185"/>
                <a:gd name="T86" fmla="*/ 225 w 263"/>
                <a:gd name="T87" fmla="*/ 97 h 185"/>
                <a:gd name="T88" fmla="*/ 227 w 263"/>
                <a:gd name="T89" fmla="*/ 98 h 185"/>
                <a:gd name="T90" fmla="*/ 229 w 263"/>
                <a:gd name="T91" fmla="*/ 98 h 185"/>
                <a:gd name="T92" fmla="*/ 232 w 263"/>
                <a:gd name="T93" fmla="*/ 98 h 185"/>
                <a:gd name="T94" fmla="*/ 233 w 263"/>
                <a:gd name="T95" fmla="*/ 101 h 185"/>
                <a:gd name="T96" fmla="*/ 235 w 263"/>
                <a:gd name="T97" fmla="*/ 102 h 185"/>
                <a:gd name="T98" fmla="*/ 240 w 263"/>
                <a:gd name="T99" fmla="*/ 103 h 185"/>
                <a:gd name="T100" fmla="*/ 243 w 263"/>
                <a:gd name="T101" fmla="*/ 99 h 185"/>
                <a:gd name="T102" fmla="*/ 246 w 263"/>
                <a:gd name="T103" fmla="*/ 95 h 185"/>
                <a:gd name="T104" fmla="*/ 246 w 263"/>
                <a:gd name="T105" fmla="*/ 93 h 185"/>
                <a:gd name="T106" fmla="*/ 244 w 263"/>
                <a:gd name="T107" fmla="*/ 92 h 185"/>
                <a:gd name="T108" fmla="*/ 240 w 263"/>
                <a:gd name="T109" fmla="*/ 92 h 185"/>
                <a:gd name="T110" fmla="*/ 263 w 263"/>
                <a:gd name="T111" fmla="*/ 91 h 185"/>
                <a:gd name="T112" fmla="*/ 263 w 263"/>
                <a:gd name="T113" fmla="*/ 89 h 185"/>
                <a:gd name="T114" fmla="*/ 258 w 263"/>
                <a:gd name="T115" fmla="*/ 85 h 185"/>
                <a:gd name="T116" fmla="*/ 253 w 263"/>
                <a:gd name="T117" fmla="*/ 86 h 185"/>
                <a:gd name="T118" fmla="*/ 254 w 263"/>
                <a:gd name="T119" fmla="*/ 88 h 185"/>
                <a:gd name="T120" fmla="*/ 263 w 263"/>
                <a:gd name="T121" fmla="*/ 91 h 185"/>
                <a:gd name="T122" fmla="*/ 263 w 263"/>
                <a:gd name="T123" fmla="*/ 91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63" h="185">
                  <a:moveTo>
                    <a:pt x="210" y="119"/>
                  </a:moveTo>
                  <a:lnTo>
                    <a:pt x="210" y="118"/>
                  </a:lnTo>
                  <a:lnTo>
                    <a:pt x="208" y="118"/>
                  </a:lnTo>
                  <a:lnTo>
                    <a:pt x="207" y="116"/>
                  </a:lnTo>
                  <a:lnTo>
                    <a:pt x="207" y="117"/>
                  </a:lnTo>
                  <a:lnTo>
                    <a:pt x="207" y="118"/>
                  </a:lnTo>
                  <a:lnTo>
                    <a:pt x="207" y="119"/>
                  </a:lnTo>
                  <a:lnTo>
                    <a:pt x="208" y="119"/>
                  </a:lnTo>
                  <a:lnTo>
                    <a:pt x="210" y="119"/>
                  </a:lnTo>
                  <a:lnTo>
                    <a:pt x="210" y="119"/>
                  </a:lnTo>
                  <a:lnTo>
                    <a:pt x="210" y="119"/>
                  </a:lnTo>
                  <a:close/>
                  <a:moveTo>
                    <a:pt x="207" y="112"/>
                  </a:moveTo>
                  <a:lnTo>
                    <a:pt x="208" y="112"/>
                  </a:lnTo>
                  <a:lnTo>
                    <a:pt x="210" y="110"/>
                  </a:lnTo>
                  <a:lnTo>
                    <a:pt x="210" y="108"/>
                  </a:lnTo>
                  <a:lnTo>
                    <a:pt x="209" y="108"/>
                  </a:lnTo>
                  <a:lnTo>
                    <a:pt x="206" y="108"/>
                  </a:lnTo>
                  <a:lnTo>
                    <a:pt x="205" y="110"/>
                  </a:lnTo>
                  <a:lnTo>
                    <a:pt x="205" y="111"/>
                  </a:lnTo>
                  <a:lnTo>
                    <a:pt x="204" y="111"/>
                  </a:lnTo>
                  <a:lnTo>
                    <a:pt x="203" y="113"/>
                  </a:lnTo>
                  <a:lnTo>
                    <a:pt x="204" y="114"/>
                  </a:lnTo>
                  <a:lnTo>
                    <a:pt x="207" y="114"/>
                  </a:lnTo>
                  <a:lnTo>
                    <a:pt x="207" y="112"/>
                  </a:lnTo>
                  <a:close/>
                  <a:moveTo>
                    <a:pt x="143" y="8"/>
                  </a:moveTo>
                  <a:lnTo>
                    <a:pt x="112" y="7"/>
                  </a:lnTo>
                  <a:lnTo>
                    <a:pt x="96" y="8"/>
                  </a:lnTo>
                  <a:lnTo>
                    <a:pt x="77" y="4"/>
                  </a:lnTo>
                  <a:lnTo>
                    <a:pt x="52" y="4"/>
                  </a:lnTo>
                  <a:lnTo>
                    <a:pt x="28" y="0"/>
                  </a:lnTo>
                  <a:lnTo>
                    <a:pt x="0" y="17"/>
                  </a:lnTo>
                  <a:lnTo>
                    <a:pt x="8" y="26"/>
                  </a:lnTo>
                  <a:lnTo>
                    <a:pt x="7" y="43"/>
                  </a:lnTo>
                  <a:lnTo>
                    <a:pt x="13" y="37"/>
                  </a:lnTo>
                  <a:lnTo>
                    <a:pt x="22" y="34"/>
                  </a:lnTo>
                  <a:lnTo>
                    <a:pt x="25" y="45"/>
                  </a:lnTo>
                  <a:lnTo>
                    <a:pt x="37" y="45"/>
                  </a:lnTo>
                  <a:lnTo>
                    <a:pt x="40" y="42"/>
                  </a:lnTo>
                  <a:lnTo>
                    <a:pt x="52" y="43"/>
                  </a:lnTo>
                  <a:lnTo>
                    <a:pt x="56" y="54"/>
                  </a:lnTo>
                  <a:lnTo>
                    <a:pt x="48" y="61"/>
                  </a:lnTo>
                  <a:lnTo>
                    <a:pt x="47" y="79"/>
                  </a:lnTo>
                  <a:lnTo>
                    <a:pt x="43" y="82"/>
                  </a:lnTo>
                  <a:lnTo>
                    <a:pt x="42" y="93"/>
                  </a:lnTo>
                  <a:lnTo>
                    <a:pt x="34" y="95"/>
                  </a:lnTo>
                  <a:lnTo>
                    <a:pt x="41" y="110"/>
                  </a:lnTo>
                  <a:lnTo>
                    <a:pt x="36" y="126"/>
                  </a:lnTo>
                  <a:lnTo>
                    <a:pt x="42" y="133"/>
                  </a:lnTo>
                  <a:lnTo>
                    <a:pt x="39" y="139"/>
                  </a:lnTo>
                  <a:lnTo>
                    <a:pt x="32" y="149"/>
                  </a:lnTo>
                  <a:lnTo>
                    <a:pt x="33" y="157"/>
                  </a:lnTo>
                  <a:lnTo>
                    <a:pt x="52" y="161"/>
                  </a:lnTo>
                  <a:lnTo>
                    <a:pt x="56" y="174"/>
                  </a:lnTo>
                  <a:lnTo>
                    <a:pt x="64" y="182"/>
                  </a:lnTo>
                  <a:lnTo>
                    <a:pt x="73" y="185"/>
                  </a:lnTo>
                  <a:lnTo>
                    <a:pt x="81" y="176"/>
                  </a:lnTo>
                  <a:lnTo>
                    <a:pt x="94" y="166"/>
                  </a:lnTo>
                  <a:lnTo>
                    <a:pt x="112" y="167"/>
                  </a:lnTo>
                  <a:lnTo>
                    <a:pt x="137" y="167"/>
                  </a:lnTo>
                  <a:lnTo>
                    <a:pt x="151" y="149"/>
                  </a:lnTo>
                  <a:lnTo>
                    <a:pt x="165" y="144"/>
                  </a:lnTo>
                  <a:lnTo>
                    <a:pt x="170" y="128"/>
                  </a:lnTo>
                  <a:lnTo>
                    <a:pt x="181" y="117"/>
                  </a:lnTo>
                  <a:lnTo>
                    <a:pt x="174" y="103"/>
                  </a:lnTo>
                  <a:lnTo>
                    <a:pt x="181" y="84"/>
                  </a:lnTo>
                  <a:lnTo>
                    <a:pt x="193" y="71"/>
                  </a:lnTo>
                  <a:lnTo>
                    <a:pt x="195" y="64"/>
                  </a:lnTo>
                  <a:lnTo>
                    <a:pt x="220" y="58"/>
                  </a:lnTo>
                  <a:lnTo>
                    <a:pt x="237" y="43"/>
                  </a:lnTo>
                  <a:lnTo>
                    <a:pt x="236" y="30"/>
                  </a:lnTo>
                  <a:lnTo>
                    <a:pt x="214" y="33"/>
                  </a:lnTo>
                  <a:lnTo>
                    <a:pt x="193" y="23"/>
                  </a:lnTo>
                  <a:lnTo>
                    <a:pt x="186" y="27"/>
                  </a:lnTo>
                  <a:lnTo>
                    <a:pt x="150" y="17"/>
                  </a:lnTo>
                  <a:lnTo>
                    <a:pt x="143" y="8"/>
                  </a:lnTo>
                  <a:lnTo>
                    <a:pt x="143" y="8"/>
                  </a:lnTo>
                  <a:close/>
                  <a:moveTo>
                    <a:pt x="240" y="92"/>
                  </a:moveTo>
                  <a:lnTo>
                    <a:pt x="240" y="91"/>
                  </a:lnTo>
                  <a:lnTo>
                    <a:pt x="241" y="90"/>
                  </a:lnTo>
                  <a:lnTo>
                    <a:pt x="241" y="90"/>
                  </a:lnTo>
                  <a:lnTo>
                    <a:pt x="240" y="89"/>
                  </a:lnTo>
                  <a:lnTo>
                    <a:pt x="240" y="89"/>
                  </a:lnTo>
                  <a:lnTo>
                    <a:pt x="241" y="88"/>
                  </a:lnTo>
                  <a:lnTo>
                    <a:pt x="240" y="88"/>
                  </a:lnTo>
                  <a:lnTo>
                    <a:pt x="235" y="89"/>
                  </a:lnTo>
                  <a:lnTo>
                    <a:pt x="233" y="91"/>
                  </a:lnTo>
                  <a:lnTo>
                    <a:pt x="225" y="96"/>
                  </a:lnTo>
                  <a:lnTo>
                    <a:pt x="225" y="97"/>
                  </a:lnTo>
                  <a:lnTo>
                    <a:pt x="225" y="98"/>
                  </a:lnTo>
                  <a:lnTo>
                    <a:pt x="227" y="98"/>
                  </a:lnTo>
                  <a:lnTo>
                    <a:pt x="228" y="99"/>
                  </a:lnTo>
                  <a:lnTo>
                    <a:pt x="229" y="98"/>
                  </a:lnTo>
                  <a:lnTo>
                    <a:pt x="231" y="97"/>
                  </a:lnTo>
                  <a:lnTo>
                    <a:pt x="232" y="98"/>
                  </a:lnTo>
                  <a:lnTo>
                    <a:pt x="233" y="99"/>
                  </a:lnTo>
                  <a:lnTo>
                    <a:pt x="233" y="101"/>
                  </a:lnTo>
                  <a:lnTo>
                    <a:pt x="234" y="102"/>
                  </a:lnTo>
                  <a:lnTo>
                    <a:pt x="235" y="102"/>
                  </a:lnTo>
                  <a:lnTo>
                    <a:pt x="239" y="104"/>
                  </a:lnTo>
                  <a:lnTo>
                    <a:pt x="240" y="103"/>
                  </a:lnTo>
                  <a:lnTo>
                    <a:pt x="242" y="102"/>
                  </a:lnTo>
                  <a:lnTo>
                    <a:pt x="243" y="99"/>
                  </a:lnTo>
                  <a:lnTo>
                    <a:pt x="244" y="97"/>
                  </a:lnTo>
                  <a:lnTo>
                    <a:pt x="246" y="95"/>
                  </a:lnTo>
                  <a:lnTo>
                    <a:pt x="247" y="94"/>
                  </a:lnTo>
                  <a:lnTo>
                    <a:pt x="246" y="93"/>
                  </a:lnTo>
                  <a:lnTo>
                    <a:pt x="245" y="93"/>
                  </a:lnTo>
                  <a:lnTo>
                    <a:pt x="244" y="92"/>
                  </a:lnTo>
                  <a:lnTo>
                    <a:pt x="242" y="93"/>
                  </a:lnTo>
                  <a:lnTo>
                    <a:pt x="240" y="92"/>
                  </a:lnTo>
                  <a:lnTo>
                    <a:pt x="240" y="92"/>
                  </a:lnTo>
                  <a:close/>
                  <a:moveTo>
                    <a:pt x="263" y="91"/>
                  </a:moveTo>
                  <a:lnTo>
                    <a:pt x="263" y="90"/>
                  </a:lnTo>
                  <a:lnTo>
                    <a:pt x="263" y="89"/>
                  </a:lnTo>
                  <a:lnTo>
                    <a:pt x="261" y="86"/>
                  </a:lnTo>
                  <a:lnTo>
                    <a:pt x="258" y="85"/>
                  </a:lnTo>
                  <a:lnTo>
                    <a:pt x="254" y="86"/>
                  </a:lnTo>
                  <a:lnTo>
                    <a:pt x="253" y="86"/>
                  </a:lnTo>
                  <a:lnTo>
                    <a:pt x="253" y="88"/>
                  </a:lnTo>
                  <a:lnTo>
                    <a:pt x="254" y="88"/>
                  </a:lnTo>
                  <a:lnTo>
                    <a:pt x="256" y="88"/>
                  </a:lnTo>
                  <a:lnTo>
                    <a:pt x="263" y="91"/>
                  </a:lnTo>
                  <a:lnTo>
                    <a:pt x="263" y="91"/>
                  </a:lnTo>
                  <a:lnTo>
                    <a:pt x="263" y="9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69" name="Aruba">
              <a:extLst>
                <a:ext uri="{FF2B5EF4-FFF2-40B4-BE49-F238E27FC236}">
                  <a16:creationId xmlns:a16="http://schemas.microsoft.com/office/drawing/2014/main" id="{83785FB5-0FB4-4EF3-9CD4-D72FA1FD7B92}"/>
                </a:ext>
              </a:extLst>
            </p:cNvPr>
            <p:cNvSpPr>
              <a:spLocks/>
            </p:cNvSpPr>
            <p:nvPr/>
          </p:nvSpPr>
          <p:spPr bwMode="auto">
            <a:xfrm>
              <a:off x="3677444" y="3587524"/>
              <a:ext cx="4762" cy="4763"/>
            </a:xfrm>
            <a:custGeom>
              <a:avLst/>
              <a:gdLst>
                <a:gd name="T0" fmla="*/ 3 w 3"/>
                <a:gd name="T1" fmla="*/ 3 h 3"/>
                <a:gd name="T2" fmla="*/ 3 w 3"/>
                <a:gd name="T3" fmla="*/ 2 h 3"/>
                <a:gd name="T4" fmla="*/ 2 w 3"/>
                <a:gd name="T5" fmla="*/ 1 h 3"/>
                <a:gd name="T6" fmla="*/ 1 w 3"/>
                <a:gd name="T7" fmla="*/ 0 h 3"/>
                <a:gd name="T8" fmla="*/ 0 w 3"/>
                <a:gd name="T9" fmla="*/ 0 h 3"/>
                <a:gd name="T10" fmla="*/ 0 w 3"/>
                <a:gd name="T11" fmla="*/ 1 h 3"/>
                <a:gd name="T12" fmla="*/ 1 w 3"/>
                <a:gd name="T13" fmla="*/ 1 h 3"/>
                <a:gd name="T14" fmla="*/ 2 w 3"/>
                <a:gd name="T15" fmla="*/ 3 h 3"/>
                <a:gd name="T16" fmla="*/ 3 w 3"/>
                <a:gd name="T17" fmla="*/ 3 h 3"/>
                <a:gd name="T18" fmla="*/ 3 w 3"/>
                <a:gd name="T19" fmla="*/ 3 h 3"/>
                <a:gd name="T20" fmla="*/ 3 w 3"/>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3">
                  <a:moveTo>
                    <a:pt x="3" y="3"/>
                  </a:moveTo>
                  <a:lnTo>
                    <a:pt x="3" y="2"/>
                  </a:lnTo>
                  <a:lnTo>
                    <a:pt x="2" y="1"/>
                  </a:lnTo>
                  <a:lnTo>
                    <a:pt x="1" y="0"/>
                  </a:lnTo>
                  <a:lnTo>
                    <a:pt x="0" y="0"/>
                  </a:lnTo>
                  <a:lnTo>
                    <a:pt x="0" y="1"/>
                  </a:lnTo>
                  <a:lnTo>
                    <a:pt x="1" y="1"/>
                  </a:lnTo>
                  <a:lnTo>
                    <a:pt x="2" y="3"/>
                  </a:lnTo>
                  <a:lnTo>
                    <a:pt x="3" y="3"/>
                  </a:lnTo>
                  <a:lnTo>
                    <a:pt x="3" y="3"/>
                  </a:lnTo>
                  <a:lnTo>
                    <a:pt x="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0" name="Andorra">
              <a:extLst>
                <a:ext uri="{FF2B5EF4-FFF2-40B4-BE49-F238E27FC236}">
                  <a16:creationId xmlns:a16="http://schemas.microsoft.com/office/drawing/2014/main" id="{501A2193-A811-4D9F-AF3F-9EBC6EBBCE75}"/>
                </a:ext>
              </a:extLst>
            </p:cNvPr>
            <p:cNvSpPr>
              <a:spLocks/>
            </p:cNvSpPr>
            <p:nvPr/>
          </p:nvSpPr>
          <p:spPr bwMode="auto">
            <a:xfrm>
              <a:off x="6039644" y="2452462"/>
              <a:ext cx="7937" cy="7938"/>
            </a:xfrm>
            <a:custGeom>
              <a:avLst/>
              <a:gdLst>
                <a:gd name="T0" fmla="*/ 5 w 5"/>
                <a:gd name="T1" fmla="*/ 4 h 5"/>
                <a:gd name="T2" fmla="*/ 5 w 5"/>
                <a:gd name="T3" fmla="*/ 3 h 5"/>
                <a:gd name="T4" fmla="*/ 5 w 5"/>
                <a:gd name="T5" fmla="*/ 2 h 5"/>
                <a:gd name="T6" fmla="*/ 5 w 5"/>
                <a:gd name="T7" fmla="*/ 2 h 5"/>
                <a:gd name="T8" fmla="*/ 5 w 5"/>
                <a:gd name="T9" fmla="*/ 1 h 5"/>
                <a:gd name="T10" fmla="*/ 2 w 5"/>
                <a:gd name="T11" fmla="*/ 1 h 5"/>
                <a:gd name="T12" fmla="*/ 1 w 5"/>
                <a:gd name="T13" fmla="*/ 0 h 5"/>
                <a:gd name="T14" fmla="*/ 0 w 5"/>
                <a:gd name="T15" fmla="*/ 1 h 5"/>
                <a:gd name="T16" fmla="*/ 0 w 5"/>
                <a:gd name="T17" fmla="*/ 1 h 5"/>
                <a:gd name="T18" fmla="*/ 0 w 5"/>
                <a:gd name="T19" fmla="*/ 3 h 5"/>
                <a:gd name="T20" fmla="*/ 0 w 5"/>
                <a:gd name="T21" fmla="*/ 3 h 5"/>
                <a:gd name="T22" fmla="*/ 0 w 5"/>
                <a:gd name="T23" fmla="*/ 4 h 5"/>
                <a:gd name="T24" fmla="*/ 0 w 5"/>
                <a:gd name="T25" fmla="*/ 5 h 5"/>
                <a:gd name="T26" fmla="*/ 0 w 5"/>
                <a:gd name="T27" fmla="*/ 5 h 5"/>
                <a:gd name="T28" fmla="*/ 0 w 5"/>
                <a:gd name="T29" fmla="*/ 5 h 5"/>
                <a:gd name="T30" fmla="*/ 1 w 5"/>
                <a:gd name="T31" fmla="*/ 5 h 5"/>
                <a:gd name="T32" fmla="*/ 2 w 5"/>
                <a:gd name="T33" fmla="*/ 5 h 5"/>
                <a:gd name="T34" fmla="*/ 4 w 5"/>
                <a:gd name="T35" fmla="*/ 4 h 5"/>
                <a:gd name="T36" fmla="*/ 5 w 5"/>
                <a:gd name="T37" fmla="*/ 4 h 5"/>
                <a:gd name="T38" fmla="*/ 5 w 5"/>
                <a:gd name="T39"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5" h="5">
                  <a:moveTo>
                    <a:pt x="5" y="4"/>
                  </a:moveTo>
                  <a:lnTo>
                    <a:pt x="5" y="3"/>
                  </a:lnTo>
                  <a:lnTo>
                    <a:pt x="5" y="2"/>
                  </a:lnTo>
                  <a:lnTo>
                    <a:pt x="5" y="2"/>
                  </a:lnTo>
                  <a:lnTo>
                    <a:pt x="5" y="1"/>
                  </a:lnTo>
                  <a:lnTo>
                    <a:pt x="2" y="1"/>
                  </a:lnTo>
                  <a:lnTo>
                    <a:pt x="1" y="0"/>
                  </a:lnTo>
                  <a:lnTo>
                    <a:pt x="0" y="1"/>
                  </a:lnTo>
                  <a:lnTo>
                    <a:pt x="0" y="1"/>
                  </a:lnTo>
                  <a:lnTo>
                    <a:pt x="0" y="3"/>
                  </a:lnTo>
                  <a:lnTo>
                    <a:pt x="0" y="3"/>
                  </a:lnTo>
                  <a:lnTo>
                    <a:pt x="0" y="4"/>
                  </a:lnTo>
                  <a:lnTo>
                    <a:pt x="0" y="5"/>
                  </a:lnTo>
                  <a:lnTo>
                    <a:pt x="0" y="5"/>
                  </a:lnTo>
                  <a:lnTo>
                    <a:pt x="0" y="5"/>
                  </a:lnTo>
                  <a:lnTo>
                    <a:pt x="1" y="5"/>
                  </a:lnTo>
                  <a:lnTo>
                    <a:pt x="2" y="5"/>
                  </a:lnTo>
                  <a:lnTo>
                    <a:pt x="4" y="4"/>
                  </a:lnTo>
                  <a:lnTo>
                    <a:pt x="5" y="4"/>
                  </a:lnTo>
                  <a:lnTo>
                    <a:pt x="5"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1" name="Antigua and Barbuda">
              <a:extLst>
                <a:ext uri="{FF2B5EF4-FFF2-40B4-BE49-F238E27FC236}">
                  <a16:creationId xmlns:a16="http://schemas.microsoft.com/office/drawing/2014/main" id="{C663625E-BF5C-4EC7-8F9D-A3A774DB0F63}"/>
                </a:ext>
              </a:extLst>
            </p:cNvPr>
            <p:cNvSpPr>
              <a:spLocks noEditPoints="1"/>
            </p:cNvSpPr>
            <p:nvPr/>
          </p:nvSpPr>
          <p:spPr bwMode="auto">
            <a:xfrm>
              <a:off x="3961606" y="3393848"/>
              <a:ext cx="4762" cy="26988"/>
            </a:xfrm>
            <a:custGeom>
              <a:avLst/>
              <a:gdLst>
                <a:gd name="T0" fmla="*/ 2 w 3"/>
                <a:gd name="T1" fmla="*/ 16 h 17"/>
                <a:gd name="T2" fmla="*/ 3 w 3"/>
                <a:gd name="T3" fmla="*/ 16 h 17"/>
                <a:gd name="T4" fmla="*/ 3 w 3"/>
                <a:gd name="T5" fmla="*/ 15 h 17"/>
                <a:gd name="T6" fmla="*/ 3 w 3"/>
                <a:gd name="T7" fmla="*/ 15 h 17"/>
                <a:gd name="T8" fmla="*/ 3 w 3"/>
                <a:gd name="T9" fmla="*/ 14 h 17"/>
                <a:gd name="T10" fmla="*/ 2 w 3"/>
                <a:gd name="T11" fmla="*/ 13 h 17"/>
                <a:gd name="T12" fmla="*/ 1 w 3"/>
                <a:gd name="T13" fmla="*/ 13 h 17"/>
                <a:gd name="T14" fmla="*/ 0 w 3"/>
                <a:gd name="T15" fmla="*/ 15 h 17"/>
                <a:gd name="T16" fmla="*/ 0 w 3"/>
                <a:gd name="T17" fmla="*/ 15 h 17"/>
                <a:gd name="T18" fmla="*/ 0 w 3"/>
                <a:gd name="T19" fmla="*/ 17 h 17"/>
                <a:gd name="T20" fmla="*/ 1 w 3"/>
                <a:gd name="T21" fmla="*/ 17 h 17"/>
                <a:gd name="T22" fmla="*/ 2 w 3"/>
                <a:gd name="T23" fmla="*/ 16 h 17"/>
                <a:gd name="T24" fmla="*/ 2 w 3"/>
                <a:gd name="T25" fmla="*/ 16 h 17"/>
                <a:gd name="T26" fmla="*/ 3 w 3"/>
                <a:gd name="T27" fmla="*/ 3 h 17"/>
                <a:gd name="T28" fmla="*/ 3 w 3"/>
                <a:gd name="T29" fmla="*/ 1 h 17"/>
                <a:gd name="T30" fmla="*/ 3 w 3"/>
                <a:gd name="T31" fmla="*/ 0 h 17"/>
                <a:gd name="T32" fmla="*/ 1 w 3"/>
                <a:gd name="T33" fmla="*/ 0 h 17"/>
                <a:gd name="T34" fmla="*/ 1 w 3"/>
                <a:gd name="T35" fmla="*/ 0 h 17"/>
                <a:gd name="T36" fmla="*/ 1 w 3"/>
                <a:gd name="T37" fmla="*/ 0 h 17"/>
                <a:gd name="T38" fmla="*/ 0 w 3"/>
                <a:gd name="T39" fmla="*/ 0 h 17"/>
                <a:gd name="T40" fmla="*/ 1 w 3"/>
                <a:gd name="T41" fmla="*/ 3 h 17"/>
                <a:gd name="T42" fmla="*/ 3 w 3"/>
                <a:gd name="T43" fmla="*/ 4 h 17"/>
                <a:gd name="T44" fmla="*/ 3 w 3"/>
                <a:gd name="T45" fmla="*/ 3 h 17"/>
                <a:gd name="T46" fmla="*/ 3 w 3"/>
                <a:gd name="T47" fmla="*/ 3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 h="17">
                  <a:moveTo>
                    <a:pt x="2" y="16"/>
                  </a:moveTo>
                  <a:lnTo>
                    <a:pt x="3" y="16"/>
                  </a:lnTo>
                  <a:lnTo>
                    <a:pt x="3" y="15"/>
                  </a:lnTo>
                  <a:lnTo>
                    <a:pt x="3" y="15"/>
                  </a:lnTo>
                  <a:lnTo>
                    <a:pt x="3" y="14"/>
                  </a:lnTo>
                  <a:lnTo>
                    <a:pt x="2" y="13"/>
                  </a:lnTo>
                  <a:lnTo>
                    <a:pt x="1" y="13"/>
                  </a:lnTo>
                  <a:lnTo>
                    <a:pt x="0" y="15"/>
                  </a:lnTo>
                  <a:lnTo>
                    <a:pt x="0" y="15"/>
                  </a:lnTo>
                  <a:lnTo>
                    <a:pt x="0" y="17"/>
                  </a:lnTo>
                  <a:lnTo>
                    <a:pt x="1" y="17"/>
                  </a:lnTo>
                  <a:lnTo>
                    <a:pt x="2" y="16"/>
                  </a:lnTo>
                  <a:lnTo>
                    <a:pt x="2" y="16"/>
                  </a:lnTo>
                  <a:close/>
                  <a:moveTo>
                    <a:pt x="3" y="3"/>
                  </a:moveTo>
                  <a:lnTo>
                    <a:pt x="3" y="1"/>
                  </a:lnTo>
                  <a:lnTo>
                    <a:pt x="3" y="0"/>
                  </a:lnTo>
                  <a:lnTo>
                    <a:pt x="1" y="0"/>
                  </a:lnTo>
                  <a:lnTo>
                    <a:pt x="1" y="0"/>
                  </a:lnTo>
                  <a:lnTo>
                    <a:pt x="1" y="0"/>
                  </a:lnTo>
                  <a:lnTo>
                    <a:pt x="0" y="0"/>
                  </a:lnTo>
                  <a:lnTo>
                    <a:pt x="1" y="3"/>
                  </a:lnTo>
                  <a:lnTo>
                    <a:pt x="3" y="4"/>
                  </a:lnTo>
                  <a:lnTo>
                    <a:pt x="3" y="3"/>
                  </a:lnTo>
                  <a:lnTo>
                    <a:pt x="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2" name="The Bahamas">
              <a:extLst>
                <a:ext uri="{FF2B5EF4-FFF2-40B4-BE49-F238E27FC236}">
                  <a16:creationId xmlns:a16="http://schemas.microsoft.com/office/drawing/2014/main" id="{2543D9E8-8F16-4029-90DE-5AD03DC39D14}"/>
                </a:ext>
              </a:extLst>
            </p:cNvPr>
            <p:cNvSpPr>
              <a:spLocks noEditPoints="1"/>
            </p:cNvSpPr>
            <p:nvPr/>
          </p:nvSpPr>
          <p:spPr bwMode="auto">
            <a:xfrm>
              <a:off x="3445669" y="3046186"/>
              <a:ext cx="179387" cy="227013"/>
            </a:xfrm>
            <a:custGeom>
              <a:avLst/>
              <a:gdLst>
                <a:gd name="T0" fmla="*/ 100 w 113"/>
                <a:gd name="T1" fmla="*/ 137 h 143"/>
                <a:gd name="T2" fmla="*/ 90 w 113"/>
                <a:gd name="T3" fmla="*/ 139 h 143"/>
                <a:gd name="T4" fmla="*/ 90 w 113"/>
                <a:gd name="T5" fmla="*/ 143 h 143"/>
                <a:gd name="T6" fmla="*/ 107 w 113"/>
                <a:gd name="T7" fmla="*/ 129 h 143"/>
                <a:gd name="T8" fmla="*/ 107 w 113"/>
                <a:gd name="T9" fmla="*/ 129 h 143"/>
                <a:gd name="T10" fmla="*/ 108 w 113"/>
                <a:gd name="T11" fmla="*/ 108 h 143"/>
                <a:gd name="T12" fmla="*/ 111 w 113"/>
                <a:gd name="T13" fmla="*/ 108 h 143"/>
                <a:gd name="T14" fmla="*/ 82 w 113"/>
                <a:gd name="T15" fmla="*/ 112 h 143"/>
                <a:gd name="T16" fmla="*/ 91 w 113"/>
                <a:gd name="T17" fmla="*/ 100 h 143"/>
                <a:gd name="T18" fmla="*/ 89 w 113"/>
                <a:gd name="T19" fmla="*/ 104 h 143"/>
                <a:gd name="T20" fmla="*/ 85 w 113"/>
                <a:gd name="T21" fmla="*/ 109 h 143"/>
                <a:gd name="T22" fmla="*/ 86 w 113"/>
                <a:gd name="T23" fmla="*/ 100 h 143"/>
                <a:gd name="T24" fmla="*/ 82 w 113"/>
                <a:gd name="T25" fmla="*/ 99 h 143"/>
                <a:gd name="T26" fmla="*/ 86 w 113"/>
                <a:gd name="T27" fmla="*/ 100 h 143"/>
                <a:gd name="T28" fmla="*/ 67 w 113"/>
                <a:gd name="T29" fmla="*/ 86 h 143"/>
                <a:gd name="T30" fmla="*/ 64 w 113"/>
                <a:gd name="T31" fmla="*/ 80 h 143"/>
                <a:gd name="T32" fmla="*/ 65 w 113"/>
                <a:gd name="T33" fmla="*/ 88 h 143"/>
                <a:gd name="T34" fmla="*/ 71 w 113"/>
                <a:gd name="T35" fmla="*/ 96 h 143"/>
                <a:gd name="T36" fmla="*/ 51 w 113"/>
                <a:gd name="T37" fmla="*/ 78 h 143"/>
                <a:gd name="T38" fmla="*/ 56 w 113"/>
                <a:gd name="T39" fmla="*/ 83 h 143"/>
                <a:gd name="T40" fmla="*/ 83 w 113"/>
                <a:gd name="T41" fmla="*/ 67 h 143"/>
                <a:gd name="T42" fmla="*/ 84 w 113"/>
                <a:gd name="T43" fmla="*/ 68 h 143"/>
                <a:gd name="T44" fmla="*/ 13 w 113"/>
                <a:gd name="T45" fmla="*/ 64 h 143"/>
                <a:gd name="T46" fmla="*/ 14 w 113"/>
                <a:gd name="T47" fmla="*/ 73 h 143"/>
                <a:gd name="T48" fmla="*/ 19 w 113"/>
                <a:gd name="T49" fmla="*/ 72 h 143"/>
                <a:gd name="T50" fmla="*/ 18 w 113"/>
                <a:gd name="T51" fmla="*/ 64 h 143"/>
                <a:gd name="T52" fmla="*/ 17 w 113"/>
                <a:gd name="T53" fmla="*/ 64 h 143"/>
                <a:gd name="T54" fmla="*/ 59 w 113"/>
                <a:gd name="T55" fmla="*/ 53 h 143"/>
                <a:gd name="T56" fmla="*/ 61 w 113"/>
                <a:gd name="T57" fmla="*/ 58 h 143"/>
                <a:gd name="T58" fmla="*/ 61 w 113"/>
                <a:gd name="T59" fmla="*/ 66 h 143"/>
                <a:gd name="T60" fmla="*/ 66 w 113"/>
                <a:gd name="T61" fmla="*/ 65 h 143"/>
                <a:gd name="T62" fmla="*/ 25 w 113"/>
                <a:gd name="T63" fmla="*/ 44 h 143"/>
                <a:gd name="T64" fmla="*/ 27 w 113"/>
                <a:gd name="T65" fmla="*/ 46 h 143"/>
                <a:gd name="T66" fmla="*/ 14 w 113"/>
                <a:gd name="T67" fmla="*/ 46 h 143"/>
                <a:gd name="T68" fmla="*/ 10 w 113"/>
                <a:gd name="T69" fmla="*/ 46 h 143"/>
                <a:gd name="T70" fmla="*/ 7 w 113"/>
                <a:gd name="T71" fmla="*/ 54 h 143"/>
                <a:gd name="T72" fmla="*/ 6 w 113"/>
                <a:gd name="T73" fmla="*/ 59 h 143"/>
                <a:gd name="T74" fmla="*/ 10 w 113"/>
                <a:gd name="T75" fmla="*/ 62 h 143"/>
                <a:gd name="T76" fmla="*/ 16 w 113"/>
                <a:gd name="T77" fmla="*/ 58 h 143"/>
                <a:gd name="T78" fmla="*/ 42 w 113"/>
                <a:gd name="T79" fmla="*/ 32 h 143"/>
                <a:gd name="T80" fmla="*/ 43 w 113"/>
                <a:gd name="T81" fmla="*/ 36 h 143"/>
                <a:gd name="T82" fmla="*/ 51 w 113"/>
                <a:gd name="T83" fmla="*/ 46 h 143"/>
                <a:gd name="T84" fmla="*/ 48 w 113"/>
                <a:gd name="T85" fmla="*/ 52 h 143"/>
                <a:gd name="T86" fmla="*/ 52 w 113"/>
                <a:gd name="T87" fmla="*/ 44 h 143"/>
                <a:gd name="T88" fmla="*/ 43 w 113"/>
                <a:gd name="T89" fmla="*/ 34 h 143"/>
                <a:gd name="T90" fmla="*/ 7 w 113"/>
                <a:gd name="T91" fmla="*/ 5 h 143"/>
                <a:gd name="T92" fmla="*/ 0 w 113"/>
                <a:gd name="T93" fmla="*/ 5 h 143"/>
                <a:gd name="T94" fmla="*/ 15 w 113"/>
                <a:gd name="T95" fmla="*/ 7 h 143"/>
                <a:gd name="T96" fmla="*/ 15 w 113"/>
                <a:gd name="T97" fmla="*/ 4 h 143"/>
                <a:gd name="T98" fmla="*/ 33 w 113"/>
                <a:gd name="T99" fmla="*/ 23 h 143"/>
                <a:gd name="T100" fmla="*/ 35 w 113"/>
                <a:gd name="T101" fmla="*/ 7 h 143"/>
                <a:gd name="T102" fmla="*/ 31 w 113"/>
                <a:gd name="T103" fmla="*/ 3 h 143"/>
                <a:gd name="T104" fmla="*/ 22 w 113"/>
                <a:gd name="T105" fmla="*/ 1 h 143"/>
                <a:gd name="T106" fmla="*/ 35 w 113"/>
                <a:gd name="T107" fmla="*/ 10 h 143"/>
                <a:gd name="T108" fmla="*/ 31 w 113"/>
                <a:gd name="T109" fmla="*/ 19 h 143"/>
                <a:gd name="T110" fmla="*/ 32 w 113"/>
                <a:gd name="T111" fmla="*/ 24 h 1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143">
                  <a:moveTo>
                    <a:pt x="104" y="136"/>
                  </a:moveTo>
                  <a:lnTo>
                    <a:pt x="104" y="134"/>
                  </a:lnTo>
                  <a:lnTo>
                    <a:pt x="103" y="133"/>
                  </a:lnTo>
                  <a:lnTo>
                    <a:pt x="101" y="136"/>
                  </a:lnTo>
                  <a:lnTo>
                    <a:pt x="100" y="137"/>
                  </a:lnTo>
                  <a:lnTo>
                    <a:pt x="99" y="137"/>
                  </a:lnTo>
                  <a:lnTo>
                    <a:pt x="96" y="136"/>
                  </a:lnTo>
                  <a:lnTo>
                    <a:pt x="94" y="136"/>
                  </a:lnTo>
                  <a:lnTo>
                    <a:pt x="92" y="138"/>
                  </a:lnTo>
                  <a:lnTo>
                    <a:pt x="90" y="139"/>
                  </a:lnTo>
                  <a:lnTo>
                    <a:pt x="90" y="139"/>
                  </a:lnTo>
                  <a:lnTo>
                    <a:pt x="90" y="140"/>
                  </a:lnTo>
                  <a:lnTo>
                    <a:pt x="89" y="141"/>
                  </a:lnTo>
                  <a:lnTo>
                    <a:pt x="89" y="142"/>
                  </a:lnTo>
                  <a:lnTo>
                    <a:pt x="90" y="143"/>
                  </a:lnTo>
                  <a:lnTo>
                    <a:pt x="96" y="143"/>
                  </a:lnTo>
                  <a:lnTo>
                    <a:pt x="100" y="142"/>
                  </a:lnTo>
                  <a:lnTo>
                    <a:pt x="103" y="138"/>
                  </a:lnTo>
                  <a:lnTo>
                    <a:pt x="104" y="136"/>
                  </a:lnTo>
                  <a:close/>
                  <a:moveTo>
                    <a:pt x="107" y="129"/>
                  </a:moveTo>
                  <a:lnTo>
                    <a:pt x="105" y="128"/>
                  </a:lnTo>
                  <a:lnTo>
                    <a:pt x="104" y="129"/>
                  </a:lnTo>
                  <a:lnTo>
                    <a:pt x="104" y="130"/>
                  </a:lnTo>
                  <a:lnTo>
                    <a:pt x="107" y="129"/>
                  </a:lnTo>
                  <a:lnTo>
                    <a:pt x="107" y="129"/>
                  </a:lnTo>
                  <a:close/>
                  <a:moveTo>
                    <a:pt x="107" y="107"/>
                  </a:moveTo>
                  <a:lnTo>
                    <a:pt x="105" y="106"/>
                  </a:lnTo>
                  <a:lnTo>
                    <a:pt x="104" y="108"/>
                  </a:lnTo>
                  <a:lnTo>
                    <a:pt x="105" y="109"/>
                  </a:lnTo>
                  <a:lnTo>
                    <a:pt x="108" y="108"/>
                  </a:lnTo>
                  <a:lnTo>
                    <a:pt x="110" y="109"/>
                  </a:lnTo>
                  <a:lnTo>
                    <a:pt x="112" y="110"/>
                  </a:lnTo>
                  <a:lnTo>
                    <a:pt x="113" y="109"/>
                  </a:lnTo>
                  <a:lnTo>
                    <a:pt x="113" y="109"/>
                  </a:lnTo>
                  <a:lnTo>
                    <a:pt x="111" y="108"/>
                  </a:lnTo>
                  <a:lnTo>
                    <a:pt x="109" y="107"/>
                  </a:lnTo>
                  <a:lnTo>
                    <a:pt x="108" y="107"/>
                  </a:lnTo>
                  <a:lnTo>
                    <a:pt x="107" y="107"/>
                  </a:lnTo>
                  <a:lnTo>
                    <a:pt x="107" y="107"/>
                  </a:lnTo>
                  <a:close/>
                  <a:moveTo>
                    <a:pt x="82" y="112"/>
                  </a:moveTo>
                  <a:lnTo>
                    <a:pt x="85" y="110"/>
                  </a:lnTo>
                  <a:lnTo>
                    <a:pt x="87" y="109"/>
                  </a:lnTo>
                  <a:lnTo>
                    <a:pt x="91" y="104"/>
                  </a:lnTo>
                  <a:lnTo>
                    <a:pt x="90" y="102"/>
                  </a:lnTo>
                  <a:lnTo>
                    <a:pt x="91" y="100"/>
                  </a:lnTo>
                  <a:lnTo>
                    <a:pt x="89" y="100"/>
                  </a:lnTo>
                  <a:lnTo>
                    <a:pt x="88" y="102"/>
                  </a:lnTo>
                  <a:lnTo>
                    <a:pt x="88" y="103"/>
                  </a:lnTo>
                  <a:lnTo>
                    <a:pt x="89" y="103"/>
                  </a:lnTo>
                  <a:lnTo>
                    <a:pt x="89" y="104"/>
                  </a:lnTo>
                  <a:lnTo>
                    <a:pt x="88" y="106"/>
                  </a:lnTo>
                  <a:lnTo>
                    <a:pt x="87" y="106"/>
                  </a:lnTo>
                  <a:lnTo>
                    <a:pt x="87" y="107"/>
                  </a:lnTo>
                  <a:lnTo>
                    <a:pt x="86" y="107"/>
                  </a:lnTo>
                  <a:lnTo>
                    <a:pt x="85" y="109"/>
                  </a:lnTo>
                  <a:lnTo>
                    <a:pt x="82" y="112"/>
                  </a:lnTo>
                  <a:lnTo>
                    <a:pt x="81" y="113"/>
                  </a:lnTo>
                  <a:lnTo>
                    <a:pt x="82" y="112"/>
                  </a:lnTo>
                  <a:lnTo>
                    <a:pt x="82" y="112"/>
                  </a:lnTo>
                  <a:close/>
                  <a:moveTo>
                    <a:pt x="86" y="100"/>
                  </a:moveTo>
                  <a:lnTo>
                    <a:pt x="85" y="100"/>
                  </a:lnTo>
                  <a:lnTo>
                    <a:pt x="84" y="98"/>
                  </a:lnTo>
                  <a:lnTo>
                    <a:pt x="82" y="98"/>
                  </a:lnTo>
                  <a:lnTo>
                    <a:pt x="82" y="98"/>
                  </a:lnTo>
                  <a:lnTo>
                    <a:pt x="82" y="99"/>
                  </a:lnTo>
                  <a:lnTo>
                    <a:pt x="82" y="101"/>
                  </a:lnTo>
                  <a:lnTo>
                    <a:pt x="83" y="100"/>
                  </a:lnTo>
                  <a:lnTo>
                    <a:pt x="86" y="102"/>
                  </a:lnTo>
                  <a:lnTo>
                    <a:pt x="87" y="101"/>
                  </a:lnTo>
                  <a:lnTo>
                    <a:pt x="86" y="100"/>
                  </a:lnTo>
                  <a:close/>
                  <a:moveTo>
                    <a:pt x="71" y="96"/>
                  </a:moveTo>
                  <a:lnTo>
                    <a:pt x="71" y="93"/>
                  </a:lnTo>
                  <a:lnTo>
                    <a:pt x="70" y="91"/>
                  </a:lnTo>
                  <a:lnTo>
                    <a:pt x="68" y="90"/>
                  </a:lnTo>
                  <a:lnTo>
                    <a:pt x="67" y="86"/>
                  </a:lnTo>
                  <a:lnTo>
                    <a:pt x="66" y="83"/>
                  </a:lnTo>
                  <a:lnTo>
                    <a:pt x="65" y="81"/>
                  </a:lnTo>
                  <a:lnTo>
                    <a:pt x="64" y="77"/>
                  </a:lnTo>
                  <a:lnTo>
                    <a:pt x="64" y="79"/>
                  </a:lnTo>
                  <a:lnTo>
                    <a:pt x="64" y="80"/>
                  </a:lnTo>
                  <a:lnTo>
                    <a:pt x="65" y="82"/>
                  </a:lnTo>
                  <a:lnTo>
                    <a:pt x="66" y="86"/>
                  </a:lnTo>
                  <a:lnTo>
                    <a:pt x="67" y="87"/>
                  </a:lnTo>
                  <a:lnTo>
                    <a:pt x="66" y="88"/>
                  </a:lnTo>
                  <a:lnTo>
                    <a:pt x="65" y="88"/>
                  </a:lnTo>
                  <a:lnTo>
                    <a:pt x="64" y="89"/>
                  </a:lnTo>
                  <a:lnTo>
                    <a:pt x="66" y="90"/>
                  </a:lnTo>
                  <a:lnTo>
                    <a:pt x="69" y="92"/>
                  </a:lnTo>
                  <a:lnTo>
                    <a:pt x="71" y="97"/>
                  </a:lnTo>
                  <a:lnTo>
                    <a:pt x="71" y="96"/>
                  </a:lnTo>
                  <a:lnTo>
                    <a:pt x="71" y="96"/>
                  </a:lnTo>
                  <a:close/>
                  <a:moveTo>
                    <a:pt x="56" y="83"/>
                  </a:moveTo>
                  <a:lnTo>
                    <a:pt x="54" y="82"/>
                  </a:lnTo>
                  <a:lnTo>
                    <a:pt x="54" y="81"/>
                  </a:lnTo>
                  <a:lnTo>
                    <a:pt x="51" y="78"/>
                  </a:lnTo>
                  <a:lnTo>
                    <a:pt x="50" y="77"/>
                  </a:lnTo>
                  <a:lnTo>
                    <a:pt x="49" y="79"/>
                  </a:lnTo>
                  <a:lnTo>
                    <a:pt x="50" y="79"/>
                  </a:lnTo>
                  <a:lnTo>
                    <a:pt x="54" y="82"/>
                  </a:lnTo>
                  <a:lnTo>
                    <a:pt x="56" y="83"/>
                  </a:lnTo>
                  <a:lnTo>
                    <a:pt x="56" y="83"/>
                  </a:lnTo>
                  <a:lnTo>
                    <a:pt x="56" y="83"/>
                  </a:lnTo>
                  <a:close/>
                  <a:moveTo>
                    <a:pt x="84" y="68"/>
                  </a:moveTo>
                  <a:lnTo>
                    <a:pt x="83" y="67"/>
                  </a:lnTo>
                  <a:lnTo>
                    <a:pt x="83" y="67"/>
                  </a:lnTo>
                  <a:lnTo>
                    <a:pt x="82" y="67"/>
                  </a:lnTo>
                  <a:lnTo>
                    <a:pt x="80" y="71"/>
                  </a:lnTo>
                  <a:lnTo>
                    <a:pt x="82" y="71"/>
                  </a:lnTo>
                  <a:lnTo>
                    <a:pt x="84" y="68"/>
                  </a:lnTo>
                  <a:lnTo>
                    <a:pt x="84" y="68"/>
                  </a:lnTo>
                  <a:close/>
                  <a:moveTo>
                    <a:pt x="17" y="64"/>
                  </a:moveTo>
                  <a:lnTo>
                    <a:pt x="16" y="62"/>
                  </a:lnTo>
                  <a:lnTo>
                    <a:pt x="15" y="63"/>
                  </a:lnTo>
                  <a:lnTo>
                    <a:pt x="14" y="63"/>
                  </a:lnTo>
                  <a:lnTo>
                    <a:pt x="13" y="64"/>
                  </a:lnTo>
                  <a:lnTo>
                    <a:pt x="12" y="64"/>
                  </a:lnTo>
                  <a:lnTo>
                    <a:pt x="11" y="64"/>
                  </a:lnTo>
                  <a:lnTo>
                    <a:pt x="12" y="68"/>
                  </a:lnTo>
                  <a:lnTo>
                    <a:pt x="13" y="69"/>
                  </a:lnTo>
                  <a:lnTo>
                    <a:pt x="14" y="73"/>
                  </a:lnTo>
                  <a:lnTo>
                    <a:pt x="15" y="73"/>
                  </a:lnTo>
                  <a:lnTo>
                    <a:pt x="14" y="75"/>
                  </a:lnTo>
                  <a:lnTo>
                    <a:pt x="18" y="75"/>
                  </a:lnTo>
                  <a:lnTo>
                    <a:pt x="19" y="73"/>
                  </a:lnTo>
                  <a:lnTo>
                    <a:pt x="19" y="72"/>
                  </a:lnTo>
                  <a:lnTo>
                    <a:pt x="19" y="72"/>
                  </a:lnTo>
                  <a:lnTo>
                    <a:pt x="19" y="71"/>
                  </a:lnTo>
                  <a:lnTo>
                    <a:pt x="19" y="70"/>
                  </a:lnTo>
                  <a:lnTo>
                    <a:pt x="19" y="66"/>
                  </a:lnTo>
                  <a:lnTo>
                    <a:pt x="18" y="64"/>
                  </a:lnTo>
                  <a:lnTo>
                    <a:pt x="16" y="67"/>
                  </a:lnTo>
                  <a:lnTo>
                    <a:pt x="15" y="66"/>
                  </a:lnTo>
                  <a:lnTo>
                    <a:pt x="17" y="64"/>
                  </a:lnTo>
                  <a:lnTo>
                    <a:pt x="17" y="64"/>
                  </a:lnTo>
                  <a:lnTo>
                    <a:pt x="17" y="64"/>
                  </a:lnTo>
                  <a:close/>
                  <a:moveTo>
                    <a:pt x="66" y="65"/>
                  </a:moveTo>
                  <a:lnTo>
                    <a:pt x="62" y="60"/>
                  </a:lnTo>
                  <a:lnTo>
                    <a:pt x="62" y="59"/>
                  </a:lnTo>
                  <a:lnTo>
                    <a:pt x="60" y="53"/>
                  </a:lnTo>
                  <a:lnTo>
                    <a:pt x="59" y="53"/>
                  </a:lnTo>
                  <a:lnTo>
                    <a:pt x="58" y="53"/>
                  </a:lnTo>
                  <a:lnTo>
                    <a:pt x="58" y="54"/>
                  </a:lnTo>
                  <a:lnTo>
                    <a:pt x="59" y="56"/>
                  </a:lnTo>
                  <a:lnTo>
                    <a:pt x="59" y="57"/>
                  </a:lnTo>
                  <a:lnTo>
                    <a:pt x="61" y="58"/>
                  </a:lnTo>
                  <a:lnTo>
                    <a:pt x="62" y="62"/>
                  </a:lnTo>
                  <a:lnTo>
                    <a:pt x="64" y="63"/>
                  </a:lnTo>
                  <a:lnTo>
                    <a:pt x="63" y="64"/>
                  </a:lnTo>
                  <a:lnTo>
                    <a:pt x="62" y="66"/>
                  </a:lnTo>
                  <a:lnTo>
                    <a:pt x="61" y="66"/>
                  </a:lnTo>
                  <a:lnTo>
                    <a:pt x="62" y="66"/>
                  </a:lnTo>
                  <a:lnTo>
                    <a:pt x="64" y="66"/>
                  </a:lnTo>
                  <a:lnTo>
                    <a:pt x="66" y="66"/>
                  </a:lnTo>
                  <a:lnTo>
                    <a:pt x="66" y="65"/>
                  </a:lnTo>
                  <a:lnTo>
                    <a:pt x="66" y="65"/>
                  </a:lnTo>
                  <a:close/>
                  <a:moveTo>
                    <a:pt x="27" y="46"/>
                  </a:moveTo>
                  <a:lnTo>
                    <a:pt x="29" y="45"/>
                  </a:lnTo>
                  <a:lnTo>
                    <a:pt x="29" y="45"/>
                  </a:lnTo>
                  <a:lnTo>
                    <a:pt x="28" y="44"/>
                  </a:lnTo>
                  <a:lnTo>
                    <a:pt x="25" y="44"/>
                  </a:lnTo>
                  <a:lnTo>
                    <a:pt x="23" y="45"/>
                  </a:lnTo>
                  <a:lnTo>
                    <a:pt x="22" y="46"/>
                  </a:lnTo>
                  <a:lnTo>
                    <a:pt x="23" y="46"/>
                  </a:lnTo>
                  <a:lnTo>
                    <a:pt x="24" y="46"/>
                  </a:lnTo>
                  <a:lnTo>
                    <a:pt x="27" y="46"/>
                  </a:lnTo>
                  <a:lnTo>
                    <a:pt x="27" y="46"/>
                  </a:lnTo>
                  <a:close/>
                  <a:moveTo>
                    <a:pt x="17" y="53"/>
                  </a:moveTo>
                  <a:lnTo>
                    <a:pt x="15" y="51"/>
                  </a:lnTo>
                  <a:lnTo>
                    <a:pt x="15" y="47"/>
                  </a:lnTo>
                  <a:lnTo>
                    <a:pt x="14" y="46"/>
                  </a:lnTo>
                  <a:lnTo>
                    <a:pt x="15" y="44"/>
                  </a:lnTo>
                  <a:lnTo>
                    <a:pt x="13" y="43"/>
                  </a:lnTo>
                  <a:lnTo>
                    <a:pt x="11" y="41"/>
                  </a:lnTo>
                  <a:lnTo>
                    <a:pt x="10" y="42"/>
                  </a:lnTo>
                  <a:lnTo>
                    <a:pt x="10" y="46"/>
                  </a:lnTo>
                  <a:lnTo>
                    <a:pt x="9" y="47"/>
                  </a:lnTo>
                  <a:lnTo>
                    <a:pt x="6" y="52"/>
                  </a:lnTo>
                  <a:lnTo>
                    <a:pt x="7" y="53"/>
                  </a:lnTo>
                  <a:lnTo>
                    <a:pt x="7" y="53"/>
                  </a:lnTo>
                  <a:lnTo>
                    <a:pt x="7" y="54"/>
                  </a:lnTo>
                  <a:lnTo>
                    <a:pt x="5" y="56"/>
                  </a:lnTo>
                  <a:lnTo>
                    <a:pt x="5" y="55"/>
                  </a:lnTo>
                  <a:lnTo>
                    <a:pt x="3" y="55"/>
                  </a:lnTo>
                  <a:lnTo>
                    <a:pt x="4" y="57"/>
                  </a:lnTo>
                  <a:lnTo>
                    <a:pt x="6" y="59"/>
                  </a:lnTo>
                  <a:lnTo>
                    <a:pt x="7" y="59"/>
                  </a:lnTo>
                  <a:lnTo>
                    <a:pt x="9" y="58"/>
                  </a:lnTo>
                  <a:lnTo>
                    <a:pt x="9" y="60"/>
                  </a:lnTo>
                  <a:lnTo>
                    <a:pt x="10" y="61"/>
                  </a:lnTo>
                  <a:lnTo>
                    <a:pt x="10" y="62"/>
                  </a:lnTo>
                  <a:lnTo>
                    <a:pt x="11" y="61"/>
                  </a:lnTo>
                  <a:lnTo>
                    <a:pt x="14" y="60"/>
                  </a:lnTo>
                  <a:lnTo>
                    <a:pt x="15" y="60"/>
                  </a:lnTo>
                  <a:lnTo>
                    <a:pt x="16" y="59"/>
                  </a:lnTo>
                  <a:lnTo>
                    <a:pt x="16" y="58"/>
                  </a:lnTo>
                  <a:lnTo>
                    <a:pt x="17" y="56"/>
                  </a:lnTo>
                  <a:lnTo>
                    <a:pt x="17" y="53"/>
                  </a:lnTo>
                  <a:lnTo>
                    <a:pt x="17" y="53"/>
                  </a:lnTo>
                  <a:close/>
                  <a:moveTo>
                    <a:pt x="43" y="34"/>
                  </a:moveTo>
                  <a:lnTo>
                    <a:pt x="42" y="32"/>
                  </a:lnTo>
                  <a:lnTo>
                    <a:pt x="41" y="32"/>
                  </a:lnTo>
                  <a:lnTo>
                    <a:pt x="41" y="34"/>
                  </a:lnTo>
                  <a:lnTo>
                    <a:pt x="40" y="36"/>
                  </a:lnTo>
                  <a:lnTo>
                    <a:pt x="42" y="35"/>
                  </a:lnTo>
                  <a:lnTo>
                    <a:pt x="43" y="36"/>
                  </a:lnTo>
                  <a:lnTo>
                    <a:pt x="45" y="38"/>
                  </a:lnTo>
                  <a:lnTo>
                    <a:pt x="48" y="38"/>
                  </a:lnTo>
                  <a:lnTo>
                    <a:pt x="49" y="41"/>
                  </a:lnTo>
                  <a:lnTo>
                    <a:pt x="51" y="43"/>
                  </a:lnTo>
                  <a:lnTo>
                    <a:pt x="51" y="46"/>
                  </a:lnTo>
                  <a:lnTo>
                    <a:pt x="50" y="47"/>
                  </a:lnTo>
                  <a:lnTo>
                    <a:pt x="49" y="50"/>
                  </a:lnTo>
                  <a:lnTo>
                    <a:pt x="47" y="50"/>
                  </a:lnTo>
                  <a:lnTo>
                    <a:pt x="47" y="51"/>
                  </a:lnTo>
                  <a:lnTo>
                    <a:pt x="48" y="52"/>
                  </a:lnTo>
                  <a:lnTo>
                    <a:pt x="49" y="53"/>
                  </a:lnTo>
                  <a:lnTo>
                    <a:pt x="50" y="54"/>
                  </a:lnTo>
                  <a:lnTo>
                    <a:pt x="50" y="51"/>
                  </a:lnTo>
                  <a:lnTo>
                    <a:pt x="51" y="48"/>
                  </a:lnTo>
                  <a:lnTo>
                    <a:pt x="52" y="44"/>
                  </a:lnTo>
                  <a:lnTo>
                    <a:pt x="52" y="43"/>
                  </a:lnTo>
                  <a:lnTo>
                    <a:pt x="51" y="42"/>
                  </a:lnTo>
                  <a:lnTo>
                    <a:pt x="48" y="38"/>
                  </a:lnTo>
                  <a:lnTo>
                    <a:pt x="45" y="37"/>
                  </a:lnTo>
                  <a:lnTo>
                    <a:pt x="43" y="34"/>
                  </a:lnTo>
                  <a:lnTo>
                    <a:pt x="43" y="34"/>
                  </a:lnTo>
                  <a:close/>
                  <a:moveTo>
                    <a:pt x="10" y="4"/>
                  </a:moveTo>
                  <a:lnTo>
                    <a:pt x="8" y="4"/>
                  </a:lnTo>
                  <a:lnTo>
                    <a:pt x="7" y="4"/>
                  </a:lnTo>
                  <a:lnTo>
                    <a:pt x="7" y="5"/>
                  </a:lnTo>
                  <a:lnTo>
                    <a:pt x="7" y="6"/>
                  </a:lnTo>
                  <a:lnTo>
                    <a:pt x="5" y="8"/>
                  </a:lnTo>
                  <a:lnTo>
                    <a:pt x="3" y="8"/>
                  </a:lnTo>
                  <a:lnTo>
                    <a:pt x="1" y="6"/>
                  </a:lnTo>
                  <a:lnTo>
                    <a:pt x="0" y="5"/>
                  </a:lnTo>
                  <a:lnTo>
                    <a:pt x="2" y="10"/>
                  </a:lnTo>
                  <a:lnTo>
                    <a:pt x="3" y="10"/>
                  </a:lnTo>
                  <a:lnTo>
                    <a:pt x="5" y="10"/>
                  </a:lnTo>
                  <a:lnTo>
                    <a:pt x="9" y="9"/>
                  </a:lnTo>
                  <a:lnTo>
                    <a:pt x="15" y="7"/>
                  </a:lnTo>
                  <a:lnTo>
                    <a:pt x="21" y="6"/>
                  </a:lnTo>
                  <a:lnTo>
                    <a:pt x="21" y="5"/>
                  </a:lnTo>
                  <a:lnTo>
                    <a:pt x="21" y="4"/>
                  </a:lnTo>
                  <a:lnTo>
                    <a:pt x="18" y="5"/>
                  </a:lnTo>
                  <a:lnTo>
                    <a:pt x="15" y="4"/>
                  </a:lnTo>
                  <a:lnTo>
                    <a:pt x="14" y="5"/>
                  </a:lnTo>
                  <a:lnTo>
                    <a:pt x="12" y="5"/>
                  </a:lnTo>
                  <a:lnTo>
                    <a:pt x="10" y="4"/>
                  </a:lnTo>
                  <a:close/>
                  <a:moveTo>
                    <a:pt x="32" y="24"/>
                  </a:moveTo>
                  <a:lnTo>
                    <a:pt x="33" y="23"/>
                  </a:lnTo>
                  <a:lnTo>
                    <a:pt x="35" y="17"/>
                  </a:lnTo>
                  <a:lnTo>
                    <a:pt x="38" y="14"/>
                  </a:lnTo>
                  <a:lnTo>
                    <a:pt x="38" y="10"/>
                  </a:lnTo>
                  <a:lnTo>
                    <a:pt x="36" y="8"/>
                  </a:lnTo>
                  <a:lnTo>
                    <a:pt x="35" y="7"/>
                  </a:lnTo>
                  <a:lnTo>
                    <a:pt x="34" y="6"/>
                  </a:lnTo>
                  <a:lnTo>
                    <a:pt x="35" y="5"/>
                  </a:lnTo>
                  <a:lnTo>
                    <a:pt x="34" y="5"/>
                  </a:lnTo>
                  <a:lnTo>
                    <a:pt x="33" y="4"/>
                  </a:lnTo>
                  <a:lnTo>
                    <a:pt x="31" y="3"/>
                  </a:lnTo>
                  <a:lnTo>
                    <a:pt x="29" y="1"/>
                  </a:lnTo>
                  <a:lnTo>
                    <a:pt x="28" y="1"/>
                  </a:lnTo>
                  <a:lnTo>
                    <a:pt x="25" y="0"/>
                  </a:lnTo>
                  <a:lnTo>
                    <a:pt x="24" y="0"/>
                  </a:lnTo>
                  <a:lnTo>
                    <a:pt x="22" y="1"/>
                  </a:lnTo>
                  <a:lnTo>
                    <a:pt x="25" y="1"/>
                  </a:lnTo>
                  <a:lnTo>
                    <a:pt x="30" y="2"/>
                  </a:lnTo>
                  <a:lnTo>
                    <a:pt x="33" y="7"/>
                  </a:lnTo>
                  <a:lnTo>
                    <a:pt x="35" y="9"/>
                  </a:lnTo>
                  <a:lnTo>
                    <a:pt x="35" y="10"/>
                  </a:lnTo>
                  <a:lnTo>
                    <a:pt x="34" y="12"/>
                  </a:lnTo>
                  <a:lnTo>
                    <a:pt x="34" y="14"/>
                  </a:lnTo>
                  <a:lnTo>
                    <a:pt x="33" y="16"/>
                  </a:lnTo>
                  <a:lnTo>
                    <a:pt x="33" y="18"/>
                  </a:lnTo>
                  <a:lnTo>
                    <a:pt x="31" y="19"/>
                  </a:lnTo>
                  <a:lnTo>
                    <a:pt x="29" y="21"/>
                  </a:lnTo>
                  <a:lnTo>
                    <a:pt x="30" y="22"/>
                  </a:lnTo>
                  <a:lnTo>
                    <a:pt x="31" y="25"/>
                  </a:lnTo>
                  <a:lnTo>
                    <a:pt x="32" y="24"/>
                  </a:lnTo>
                  <a:lnTo>
                    <a:pt x="32" y="2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3" name="Bermuda">
              <a:extLst>
                <a:ext uri="{FF2B5EF4-FFF2-40B4-BE49-F238E27FC236}">
                  <a16:creationId xmlns:a16="http://schemas.microsoft.com/office/drawing/2014/main" id="{A5811FD5-2302-4833-89DF-5EC5823862AB}"/>
                </a:ext>
              </a:extLst>
            </p:cNvPr>
            <p:cNvSpPr>
              <a:spLocks/>
            </p:cNvSpPr>
            <p:nvPr/>
          </p:nvSpPr>
          <p:spPr bwMode="auto">
            <a:xfrm>
              <a:off x="3937794" y="2841399"/>
              <a:ext cx="4762" cy="4763"/>
            </a:xfrm>
            <a:custGeom>
              <a:avLst/>
              <a:gdLst>
                <a:gd name="T0" fmla="*/ 2 w 3"/>
                <a:gd name="T1" fmla="*/ 2 h 3"/>
                <a:gd name="T2" fmla="*/ 3 w 3"/>
                <a:gd name="T3" fmla="*/ 0 h 3"/>
                <a:gd name="T4" fmla="*/ 3 w 3"/>
                <a:gd name="T5" fmla="*/ 0 h 3"/>
                <a:gd name="T6" fmla="*/ 1 w 3"/>
                <a:gd name="T7" fmla="*/ 2 h 3"/>
                <a:gd name="T8" fmla="*/ 0 w 3"/>
                <a:gd name="T9" fmla="*/ 3 h 3"/>
                <a:gd name="T10" fmla="*/ 0 w 3"/>
                <a:gd name="T11" fmla="*/ 3 h 3"/>
                <a:gd name="T12" fmla="*/ 0 w 3"/>
                <a:gd name="T13" fmla="*/ 3 h 3"/>
                <a:gd name="T14" fmla="*/ 2 w 3"/>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 h="3">
                  <a:moveTo>
                    <a:pt x="2" y="2"/>
                  </a:moveTo>
                  <a:lnTo>
                    <a:pt x="3" y="0"/>
                  </a:lnTo>
                  <a:lnTo>
                    <a:pt x="3" y="0"/>
                  </a:lnTo>
                  <a:lnTo>
                    <a:pt x="1" y="2"/>
                  </a:lnTo>
                  <a:lnTo>
                    <a:pt x="0" y="3"/>
                  </a:lnTo>
                  <a:lnTo>
                    <a:pt x="0" y="3"/>
                  </a:lnTo>
                  <a:lnTo>
                    <a:pt x="0" y="3"/>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4" name="Barbados">
              <a:extLst>
                <a:ext uri="{FF2B5EF4-FFF2-40B4-BE49-F238E27FC236}">
                  <a16:creationId xmlns:a16="http://schemas.microsoft.com/office/drawing/2014/main" id="{A7BC0502-A8FF-4EBB-982D-E5FC2AF41E25}"/>
                </a:ext>
              </a:extLst>
            </p:cNvPr>
            <p:cNvSpPr>
              <a:spLocks/>
            </p:cNvSpPr>
            <p:nvPr/>
          </p:nvSpPr>
          <p:spPr bwMode="auto">
            <a:xfrm>
              <a:off x="4023519" y="3560537"/>
              <a:ext cx="6350" cy="7938"/>
            </a:xfrm>
            <a:custGeom>
              <a:avLst/>
              <a:gdLst>
                <a:gd name="T0" fmla="*/ 3 w 4"/>
                <a:gd name="T1" fmla="*/ 5 h 5"/>
                <a:gd name="T2" fmla="*/ 4 w 4"/>
                <a:gd name="T3" fmla="*/ 4 h 5"/>
                <a:gd name="T4" fmla="*/ 3 w 4"/>
                <a:gd name="T5" fmla="*/ 3 h 5"/>
                <a:gd name="T6" fmla="*/ 2 w 4"/>
                <a:gd name="T7" fmla="*/ 0 h 5"/>
                <a:gd name="T8" fmla="*/ 0 w 4"/>
                <a:gd name="T9" fmla="*/ 0 h 5"/>
                <a:gd name="T10" fmla="*/ 0 w 4"/>
                <a:gd name="T11" fmla="*/ 4 h 5"/>
                <a:gd name="T12" fmla="*/ 1 w 4"/>
                <a:gd name="T13" fmla="*/ 4 h 5"/>
                <a:gd name="T14" fmla="*/ 3 w 4"/>
                <a:gd name="T15" fmla="*/ 5 h 5"/>
                <a:gd name="T16" fmla="*/ 3 w 4"/>
                <a:gd name="T17" fmla="*/ 5 h 5"/>
                <a:gd name="T18" fmla="*/ 3 w 4"/>
                <a:gd name="T1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5">
                  <a:moveTo>
                    <a:pt x="3" y="5"/>
                  </a:moveTo>
                  <a:lnTo>
                    <a:pt x="4" y="4"/>
                  </a:lnTo>
                  <a:lnTo>
                    <a:pt x="3" y="3"/>
                  </a:lnTo>
                  <a:lnTo>
                    <a:pt x="2" y="0"/>
                  </a:lnTo>
                  <a:lnTo>
                    <a:pt x="0" y="0"/>
                  </a:lnTo>
                  <a:lnTo>
                    <a:pt x="0" y="4"/>
                  </a:lnTo>
                  <a:lnTo>
                    <a:pt x="1" y="4"/>
                  </a:lnTo>
                  <a:lnTo>
                    <a:pt x="3" y="5"/>
                  </a:lnTo>
                  <a:lnTo>
                    <a:pt x="3" y="5"/>
                  </a:lnTo>
                  <a:lnTo>
                    <a:pt x="3"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5" name="Comoros">
              <a:extLst>
                <a:ext uri="{FF2B5EF4-FFF2-40B4-BE49-F238E27FC236}">
                  <a16:creationId xmlns:a16="http://schemas.microsoft.com/office/drawing/2014/main" id="{B692901B-9D46-47C2-9DA7-AE905566F175}"/>
                </a:ext>
              </a:extLst>
            </p:cNvPr>
            <p:cNvSpPr>
              <a:spLocks noEditPoints="1"/>
            </p:cNvSpPr>
            <p:nvPr/>
          </p:nvSpPr>
          <p:spPr bwMode="auto">
            <a:xfrm>
              <a:off x="7425531" y="4490812"/>
              <a:ext cx="42862" cy="38100"/>
            </a:xfrm>
            <a:custGeom>
              <a:avLst/>
              <a:gdLst>
                <a:gd name="T0" fmla="*/ 12 w 27"/>
                <a:gd name="T1" fmla="*/ 23 h 24"/>
                <a:gd name="T2" fmla="*/ 11 w 27"/>
                <a:gd name="T3" fmla="*/ 21 h 24"/>
                <a:gd name="T4" fmla="*/ 9 w 27"/>
                <a:gd name="T5" fmla="*/ 21 h 24"/>
                <a:gd name="T6" fmla="*/ 9 w 27"/>
                <a:gd name="T7" fmla="*/ 22 h 24"/>
                <a:gd name="T8" fmla="*/ 10 w 27"/>
                <a:gd name="T9" fmla="*/ 23 h 24"/>
                <a:gd name="T10" fmla="*/ 13 w 27"/>
                <a:gd name="T11" fmla="*/ 24 h 24"/>
                <a:gd name="T12" fmla="*/ 12 w 27"/>
                <a:gd name="T13" fmla="*/ 23 h 24"/>
                <a:gd name="T14" fmla="*/ 12 w 27"/>
                <a:gd name="T15" fmla="*/ 23 h 24"/>
                <a:gd name="T16" fmla="*/ 27 w 27"/>
                <a:gd name="T17" fmla="*/ 17 h 24"/>
                <a:gd name="T18" fmla="*/ 27 w 27"/>
                <a:gd name="T19" fmla="*/ 17 h 24"/>
                <a:gd name="T20" fmla="*/ 26 w 27"/>
                <a:gd name="T21" fmla="*/ 17 h 24"/>
                <a:gd name="T22" fmla="*/ 25 w 27"/>
                <a:gd name="T23" fmla="*/ 18 h 24"/>
                <a:gd name="T24" fmla="*/ 25 w 27"/>
                <a:gd name="T25" fmla="*/ 19 h 24"/>
                <a:gd name="T26" fmla="*/ 24 w 27"/>
                <a:gd name="T27" fmla="*/ 19 h 24"/>
                <a:gd name="T28" fmla="*/ 23 w 27"/>
                <a:gd name="T29" fmla="*/ 19 h 24"/>
                <a:gd name="T30" fmla="*/ 21 w 27"/>
                <a:gd name="T31" fmla="*/ 19 h 24"/>
                <a:gd name="T32" fmla="*/ 25 w 27"/>
                <a:gd name="T33" fmla="*/ 21 h 24"/>
                <a:gd name="T34" fmla="*/ 27 w 27"/>
                <a:gd name="T35" fmla="*/ 23 h 24"/>
                <a:gd name="T36" fmla="*/ 27 w 27"/>
                <a:gd name="T37" fmla="*/ 23 h 24"/>
                <a:gd name="T38" fmla="*/ 27 w 27"/>
                <a:gd name="T39" fmla="*/ 23 h 24"/>
                <a:gd name="T40" fmla="*/ 27 w 27"/>
                <a:gd name="T41" fmla="*/ 21 h 24"/>
                <a:gd name="T42" fmla="*/ 27 w 27"/>
                <a:gd name="T43" fmla="*/ 17 h 24"/>
                <a:gd name="T44" fmla="*/ 27 w 27"/>
                <a:gd name="T45" fmla="*/ 17 h 24"/>
                <a:gd name="T46" fmla="*/ 6 w 27"/>
                <a:gd name="T47" fmla="*/ 13 h 24"/>
                <a:gd name="T48" fmla="*/ 6 w 27"/>
                <a:gd name="T49" fmla="*/ 11 h 24"/>
                <a:gd name="T50" fmla="*/ 6 w 27"/>
                <a:gd name="T51" fmla="*/ 9 h 24"/>
                <a:gd name="T52" fmla="*/ 4 w 27"/>
                <a:gd name="T53" fmla="*/ 6 h 24"/>
                <a:gd name="T54" fmla="*/ 4 w 27"/>
                <a:gd name="T55" fmla="*/ 1 h 24"/>
                <a:gd name="T56" fmla="*/ 4 w 27"/>
                <a:gd name="T57" fmla="*/ 0 h 24"/>
                <a:gd name="T58" fmla="*/ 2 w 27"/>
                <a:gd name="T59" fmla="*/ 0 h 24"/>
                <a:gd name="T60" fmla="*/ 2 w 27"/>
                <a:gd name="T61" fmla="*/ 0 h 24"/>
                <a:gd name="T62" fmla="*/ 2 w 27"/>
                <a:gd name="T63" fmla="*/ 2 h 24"/>
                <a:gd name="T64" fmla="*/ 0 w 27"/>
                <a:gd name="T65" fmla="*/ 9 h 24"/>
                <a:gd name="T66" fmla="*/ 2 w 27"/>
                <a:gd name="T67" fmla="*/ 11 h 24"/>
                <a:gd name="T68" fmla="*/ 3 w 27"/>
                <a:gd name="T69" fmla="*/ 11 h 24"/>
                <a:gd name="T70" fmla="*/ 5 w 27"/>
                <a:gd name="T71" fmla="*/ 13 h 24"/>
                <a:gd name="T72" fmla="*/ 6 w 27"/>
                <a:gd name="T73" fmla="*/ 13 h 24"/>
                <a:gd name="T74" fmla="*/ 6 w 27"/>
                <a:gd name="T75" fmla="*/ 1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7" h="24">
                  <a:moveTo>
                    <a:pt x="12" y="23"/>
                  </a:moveTo>
                  <a:lnTo>
                    <a:pt x="11" y="21"/>
                  </a:lnTo>
                  <a:lnTo>
                    <a:pt x="9" y="21"/>
                  </a:lnTo>
                  <a:lnTo>
                    <a:pt x="9" y="22"/>
                  </a:lnTo>
                  <a:lnTo>
                    <a:pt x="10" y="23"/>
                  </a:lnTo>
                  <a:lnTo>
                    <a:pt x="13" y="24"/>
                  </a:lnTo>
                  <a:lnTo>
                    <a:pt x="12" y="23"/>
                  </a:lnTo>
                  <a:lnTo>
                    <a:pt x="12" y="23"/>
                  </a:lnTo>
                  <a:close/>
                  <a:moveTo>
                    <a:pt x="27" y="17"/>
                  </a:moveTo>
                  <a:lnTo>
                    <a:pt x="27" y="17"/>
                  </a:lnTo>
                  <a:lnTo>
                    <a:pt x="26" y="17"/>
                  </a:lnTo>
                  <a:lnTo>
                    <a:pt x="25" y="18"/>
                  </a:lnTo>
                  <a:lnTo>
                    <a:pt x="25" y="19"/>
                  </a:lnTo>
                  <a:lnTo>
                    <a:pt x="24" y="19"/>
                  </a:lnTo>
                  <a:lnTo>
                    <a:pt x="23" y="19"/>
                  </a:lnTo>
                  <a:lnTo>
                    <a:pt x="21" y="19"/>
                  </a:lnTo>
                  <a:lnTo>
                    <a:pt x="25" y="21"/>
                  </a:lnTo>
                  <a:lnTo>
                    <a:pt x="27" y="23"/>
                  </a:lnTo>
                  <a:lnTo>
                    <a:pt x="27" y="23"/>
                  </a:lnTo>
                  <a:lnTo>
                    <a:pt x="27" y="23"/>
                  </a:lnTo>
                  <a:lnTo>
                    <a:pt x="27" y="21"/>
                  </a:lnTo>
                  <a:lnTo>
                    <a:pt x="27" y="17"/>
                  </a:lnTo>
                  <a:lnTo>
                    <a:pt x="27" y="17"/>
                  </a:lnTo>
                  <a:close/>
                  <a:moveTo>
                    <a:pt x="6" y="13"/>
                  </a:moveTo>
                  <a:lnTo>
                    <a:pt x="6" y="11"/>
                  </a:lnTo>
                  <a:lnTo>
                    <a:pt x="6" y="9"/>
                  </a:lnTo>
                  <a:lnTo>
                    <a:pt x="4" y="6"/>
                  </a:lnTo>
                  <a:lnTo>
                    <a:pt x="4" y="1"/>
                  </a:lnTo>
                  <a:lnTo>
                    <a:pt x="4" y="0"/>
                  </a:lnTo>
                  <a:lnTo>
                    <a:pt x="2" y="0"/>
                  </a:lnTo>
                  <a:lnTo>
                    <a:pt x="2" y="0"/>
                  </a:lnTo>
                  <a:lnTo>
                    <a:pt x="2" y="2"/>
                  </a:lnTo>
                  <a:lnTo>
                    <a:pt x="0" y="9"/>
                  </a:lnTo>
                  <a:lnTo>
                    <a:pt x="2" y="11"/>
                  </a:lnTo>
                  <a:lnTo>
                    <a:pt x="3" y="11"/>
                  </a:lnTo>
                  <a:lnTo>
                    <a:pt x="5" y="13"/>
                  </a:lnTo>
                  <a:lnTo>
                    <a:pt x="6" y="13"/>
                  </a:lnTo>
                  <a:lnTo>
                    <a:pt x="6" y="1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6" name="Cape Verde">
              <a:extLst>
                <a:ext uri="{FF2B5EF4-FFF2-40B4-BE49-F238E27FC236}">
                  <a16:creationId xmlns:a16="http://schemas.microsoft.com/office/drawing/2014/main" id="{375699C2-FB2B-414D-9265-B9A74F625DEF}"/>
                </a:ext>
              </a:extLst>
            </p:cNvPr>
            <p:cNvSpPr>
              <a:spLocks noEditPoints="1"/>
            </p:cNvSpPr>
            <p:nvPr/>
          </p:nvSpPr>
          <p:spPr bwMode="auto">
            <a:xfrm>
              <a:off x="5161756" y="3412899"/>
              <a:ext cx="87312" cy="90488"/>
            </a:xfrm>
            <a:custGeom>
              <a:avLst/>
              <a:gdLst>
                <a:gd name="T0" fmla="*/ 20 w 55"/>
                <a:gd name="T1" fmla="*/ 55 h 57"/>
                <a:gd name="T2" fmla="*/ 18 w 55"/>
                <a:gd name="T3" fmla="*/ 52 h 57"/>
                <a:gd name="T4" fmla="*/ 16 w 55"/>
                <a:gd name="T5" fmla="*/ 55 h 57"/>
                <a:gd name="T6" fmla="*/ 18 w 55"/>
                <a:gd name="T7" fmla="*/ 56 h 57"/>
                <a:gd name="T8" fmla="*/ 20 w 55"/>
                <a:gd name="T9" fmla="*/ 55 h 57"/>
                <a:gd name="T10" fmla="*/ 44 w 55"/>
                <a:gd name="T11" fmla="*/ 50 h 57"/>
                <a:gd name="T12" fmla="*/ 45 w 55"/>
                <a:gd name="T13" fmla="*/ 46 h 57"/>
                <a:gd name="T14" fmla="*/ 43 w 55"/>
                <a:gd name="T15" fmla="*/ 45 h 57"/>
                <a:gd name="T16" fmla="*/ 43 w 55"/>
                <a:gd name="T17" fmla="*/ 47 h 57"/>
                <a:gd name="T18" fmla="*/ 43 w 55"/>
                <a:gd name="T19" fmla="*/ 50 h 57"/>
                <a:gd name="T20" fmla="*/ 44 w 55"/>
                <a:gd name="T21" fmla="*/ 50 h 57"/>
                <a:gd name="T22" fmla="*/ 36 w 55"/>
                <a:gd name="T23" fmla="*/ 49 h 57"/>
                <a:gd name="T24" fmla="*/ 33 w 55"/>
                <a:gd name="T25" fmla="*/ 46 h 57"/>
                <a:gd name="T26" fmla="*/ 32 w 55"/>
                <a:gd name="T27" fmla="*/ 44 h 57"/>
                <a:gd name="T28" fmla="*/ 32 w 55"/>
                <a:gd name="T29" fmla="*/ 47 h 57"/>
                <a:gd name="T30" fmla="*/ 32 w 55"/>
                <a:gd name="T31" fmla="*/ 51 h 57"/>
                <a:gd name="T32" fmla="*/ 34 w 55"/>
                <a:gd name="T33" fmla="*/ 55 h 57"/>
                <a:gd name="T34" fmla="*/ 38 w 55"/>
                <a:gd name="T35" fmla="*/ 53 h 57"/>
                <a:gd name="T36" fmla="*/ 50 w 55"/>
                <a:gd name="T37" fmla="*/ 24 h 57"/>
                <a:gd name="T38" fmla="*/ 48 w 55"/>
                <a:gd name="T39" fmla="*/ 27 h 57"/>
                <a:gd name="T40" fmla="*/ 52 w 55"/>
                <a:gd name="T41" fmla="*/ 29 h 57"/>
                <a:gd name="T42" fmla="*/ 55 w 55"/>
                <a:gd name="T43" fmla="*/ 26 h 57"/>
                <a:gd name="T44" fmla="*/ 53 w 55"/>
                <a:gd name="T45" fmla="*/ 24 h 57"/>
                <a:gd name="T46" fmla="*/ 52 w 55"/>
                <a:gd name="T47" fmla="*/ 24 h 57"/>
                <a:gd name="T48" fmla="*/ 50 w 55"/>
                <a:gd name="T49" fmla="*/ 24 h 57"/>
                <a:gd name="T50" fmla="*/ 22 w 55"/>
                <a:gd name="T51" fmla="*/ 13 h 57"/>
                <a:gd name="T52" fmla="*/ 19 w 55"/>
                <a:gd name="T53" fmla="*/ 12 h 57"/>
                <a:gd name="T54" fmla="*/ 21 w 55"/>
                <a:gd name="T55" fmla="*/ 17 h 57"/>
                <a:gd name="T56" fmla="*/ 22 w 55"/>
                <a:gd name="T57" fmla="*/ 14 h 57"/>
                <a:gd name="T58" fmla="*/ 27 w 55"/>
                <a:gd name="T59" fmla="*/ 15 h 57"/>
                <a:gd name="T60" fmla="*/ 26 w 55"/>
                <a:gd name="T61" fmla="*/ 14 h 57"/>
                <a:gd name="T62" fmla="*/ 51 w 55"/>
                <a:gd name="T63" fmla="*/ 13 h 57"/>
                <a:gd name="T64" fmla="*/ 50 w 55"/>
                <a:gd name="T65" fmla="*/ 9 h 57"/>
                <a:gd name="T66" fmla="*/ 48 w 55"/>
                <a:gd name="T67" fmla="*/ 10 h 57"/>
                <a:gd name="T68" fmla="*/ 49 w 55"/>
                <a:gd name="T69" fmla="*/ 12 h 57"/>
                <a:gd name="T70" fmla="*/ 51 w 55"/>
                <a:gd name="T71" fmla="*/ 13 h 57"/>
                <a:gd name="T72" fmla="*/ 9 w 55"/>
                <a:gd name="T73" fmla="*/ 10 h 57"/>
                <a:gd name="T74" fmla="*/ 8 w 55"/>
                <a:gd name="T75" fmla="*/ 7 h 57"/>
                <a:gd name="T76" fmla="*/ 5 w 55"/>
                <a:gd name="T77" fmla="*/ 8 h 57"/>
                <a:gd name="T78" fmla="*/ 7 w 55"/>
                <a:gd name="T79" fmla="*/ 10 h 57"/>
                <a:gd name="T80" fmla="*/ 9 w 55"/>
                <a:gd name="T81" fmla="*/ 10 h 57"/>
                <a:gd name="T82" fmla="*/ 4 w 55"/>
                <a:gd name="T83" fmla="*/ 6 h 57"/>
                <a:gd name="T84" fmla="*/ 7 w 55"/>
                <a:gd name="T85" fmla="*/ 3 h 57"/>
                <a:gd name="T86" fmla="*/ 5 w 55"/>
                <a:gd name="T87" fmla="*/ 0 h 57"/>
                <a:gd name="T88" fmla="*/ 0 w 55"/>
                <a:gd name="T89" fmla="*/ 3 h 57"/>
                <a:gd name="T90" fmla="*/ 1 w 55"/>
                <a:gd name="T91" fmla="*/ 7 h 57"/>
                <a:gd name="T92" fmla="*/ 4 w 55"/>
                <a:gd name="T93" fmla="*/ 6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55" h="57">
                  <a:moveTo>
                    <a:pt x="20" y="55"/>
                  </a:moveTo>
                  <a:lnTo>
                    <a:pt x="20" y="55"/>
                  </a:lnTo>
                  <a:lnTo>
                    <a:pt x="19" y="52"/>
                  </a:lnTo>
                  <a:lnTo>
                    <a:pt x="18" y="52"/>
                  </a:lnTo>
                  <a:lnTo>
                    <a:pt x="17" y="54"/>
                  </a:lnTo>
                  <a:lnTo>
                    <a:pt x="16" y="55"/>
                  </a:lnTo>
                  <a:lnTo>
                    <a:pt x="17" y="55"/>
                  </a:lnTo>
                  <a:lnTo>
                    <a:pt x="18" y="56"/>
                  </a:lnTo>
                  <a:lnTo>
                    <a:pt x="18" y="57"/>
                  </a:lnTo>
                  <a:lnTo>
                    <a:pt x="20" y="55"/>
                  </a:lnTo>
                  <a:lnTo>
                    <a:pt x="20" y="55"/>
                  </a:lnTo>
                  <a:close/>
                  <a:moveTo>
                    <a:pt x="44" y="50"/>
                  </a:moveTo>
                  <a:lnTo>
                    <a:pt x="45" y="49"/>
                  </a:lnTo>
                  <a:lnTo>
                    <a:pt x="45" y="46"/>
                  </a:lnTo>
                  <a:lnTo>
                    <a:pt x="45" y="45"/>
                  </a:lnTo>
                  <a:lnTo>
                    <a:pt x="43" y="45"/>
                  </a:lnTo>
                  <a:lnTo>
                    <a:pt x="43" y="46"/>
                  </a:lnTo>
                  <a:lnTo>
                    <a:pt x="43" y="47"/>
                  </a:lnTo>
                  <a:lnTo>
                    <a:pt x="43" y="48"/>
                  </a:lnTo>
                  <a:lnTo>
                    <a:pt x="43" y="50"/>
                  </a:lnTo>
                  <a:lnTo>
                    <a:pt x="44" y="50"/>
                  </a:lnTo>
                  <a:lnTo>
                    <a:pt x="44" y="50"/>
                  </a:lnTo>
                  <a:close/>
                  <a:moveTo>
                    <a:pt x="38" y="53"/>
                  </a:moveTo>
                  <a:lnTo>
                    <a:pt x="36" y="49"/>
                  </a:lnTo>
                  <a:lnTo>
                    <a:pt x="35" y="49"/>
                  </a:lnTo>
                  <a:lnTo>
                    <a:pt x="33" y="46"/>
                  </a:lnTo>
                  <a:lnTo>
                    <a:pt x="33" y="45"/>
                  </a:lnTo>
                  <a:lnTo>
                    <a:pt x="32" y="44"/>
                  </a:lnTo>
                  <a:lnTo>
                    <a:pt x="32" y="45"/>
                  </a:lnTo>
                  <a:lnTo>
                    <a:pt x="32" y="47"/>
                  </a:lnTo>
                  <a:lnTo>
                    <a:pt x="32" y="49"/>
                  </a:lnTo>
                  <a:lnTo>
                    <a:pt x="32" y="51"/>
                  </a:lnTo>
                  <a:lnTo>
                    <a:pt x="32" y="54"/>
                  </a:lnTo>
                  <a:lnTo>
                    <a:pt x="34" y="55"/>
                  </a:lnTo>
                  <a:lnTo>
                    <a:pt x="37" y="55"/>
                  </a:lnTo>
                  <a:lnTo>
                    <a:pt x="38" y="53"/>
                  </a:lnTo>
                  <a:lnTo>
                    <a:pt x="38" y="53"/>
                  </a:lnTo>
                  <a:close/>
                  <a:moveTo>
                    <a:pt x="50" y="24"/>
                  </a:moveTo>
                  <a:lnTo>
                    <a:pt x="50" y="26"/>
                  </a:lnTo>
                  <a:lnTo>
                    <a:pt x="48" y="27"/>
                  </a:lnTo>
                  <a:lnTo>
                    <a:pt x="50" y="29"/>
                  </a:lnTo>
                  <a:lnTo>
                    <a:pt x="52" y="29"/>
                  </a:lnTo>
                  <a:lnTo>
                    <a:pt x="54" y="27"/>
                  </a:lnTo>
                  <a:lnTo>
                    <a:pt x="55" y="26"/>
                  </a:lnTo>
                  <a:lnTo>
                    <a:pt x="54" y="25"/>
                  </a:lnTo>
                  <a:lnTo>
                    <a:pt x="53" y="24"/>
                  </a:lnTo>
                  <a:lnTo>
                    <a:pt x="52" y="24"/>
                  </a:lnTo>
                  <a:lnTo>
                    <a:pt x="52" y="24"/>
                  </a:lnTo>
                  <a:lnTo>
                    <a:pt x="50" y="24"/>
                  </a:lnTo>
                  <a:lnTo>
                    <a:pt x="50" y="24"/>
                  </a:lnTo>
                  <a:close/>
                  <a:moveTo>
                    <a:pt x="26" y="14"/>
                  </a:moveTo>
                  <a:lnTo>
                    <a:pt x="22" y="13"/>
                  </a:lnTo>
                  <a:lnTo>
                    <a:pt x="20" y="12"/>
                  </a:lnTo>
                  <a:lnTo>
                    <a:pt x="19" y="12"/>
                  </a:lnTo>
                  <a:lnTo>
                    <a:pt x="19" y="14"/>
                  </a:lnTo>
                  <a:lnTo>
                    <a:pt x="21" y="17"/>
                  </a:lnTo>
                  <a:lnTo>
                    <a:pt x="22" y="15"/>
                  </a:lnTo>
                  <a:lnTo>
                    <a:pt x="22" y="14"/>
                  </a:lnTo>
                  <a:lnTo>
                    <a:pt x="26" y="15"/>
                  </a:lnTo>
                  <a:lnTo>
                    <a:pt x="27" y="15"/>
                  </a:lnTo>
                  <a:lnTo>
                    <a:pt x="27" y="14"/>
                  </a:lnTo>
                  <a:lnTo>
                    <a:pt x="26" y="14"/>
                  </a:lnTo>
                  <a:lnTo>
                    <a:pt x="26" y="14"/>
                  </a:lnTo>
                  <a:close/>
                  <a:moveTo>
                    <a:pt x="51" y="13"/>
                  </a:moveTo>
                  <a:lnTo>
                    <a:pt x="50" y="12"/>
                  </a:lnTo>
                  <a:lnTo>
                    <a:pt x="50" y="9"/>
                  </a:lnTo>
                  <a:lnTo>
                    <a:pt x="50" y="9"/>
                  </a:lnTo>
                  <a:lnTo>
                    <a:pt x="48" y="10"/>
                  </a:lnTo>
                  <a:lnTo>
                    <a:pt x="49" y="12"/>
                  </a:lnTo>
                  <a:lnTo>
                    <a:pt x="49" y="12"/>
                  </a:lnTo>
                  <a:lnTo>
                    <a:pt x="50" y="14"/>
                  </a:lnTo>
                  <a:lnTo>
                    <a:pt x="51" y="13"/>
                  </a:lnTo>
                  <a:lnTo>
                    <a:pt x="51" y="13"/>
                  </a:lnTo>
                  <a:close/>
                  <a:moveTo>
                    <a:pt x="9" y="10"/>
                  </a:moveTo>
                  <a:lnTo>
                    <a:pt x="9" y="9"/>
                  </a:lnTo>
                  <a:lnTo>
                    <a:pt x="8" y="7"/>
                  </a:lnTo>
                  <a:lnTo>
                    <a:pt x="7" y="7"/>
                  </a:lnTo>
                  <a:lnTo>
                    <a:pt x="5" y="8"/>
                  </a:lnTo>
                  <a:lnTo>
                    <a:pt x="5" y="9"/>
                  </a:lnTo>
                  <a:lnTo>
                    <a:pt x="7" y="10"/>
                  </a:lnTo>
                  <a:lnTo>
                    <a:pt x="7" y="10"/>
                  </a:lnTo>
                  <a:lnTo>
                    <a:pt x="9" y="10"/>
                  </a:lnTo>
                  <a:lnTo>
                    <a:pt x="9" y="10"/>
                  </a:lnTo>
                  <a:close/>
                  <a:moveTo>
                    <a:pt x="4" y="6"/>
                  </a:moveTo>
                  <a:lnTo>
                    <a:pt x="7" y="4"/>
                  </a:lnTo>
                  <a:lnTo>
                    <a:pt x="7" y="3"/>
                  </a:lnTo>
                  <a:lnTo>
                    <a:pt x="7" y="1"/>
                  </a:lnTo>
                  <a:lnTo>
                    <a:pt x="5" y="0"/>
                  </a:lnTo>
                  <a:lnTo>
                    <a:pt x="1" y="3"/>
                  </a:lnTo>
                  <a:lnTo>
                    <a:pt x="0" y="3"/>
                  </a:lnTo>
                  <a:lnTo>
                    <a:pt x="1" y="5"/>
                  </a:lnTo>
                  <a:lnTo>
                    <a:pt x="1" y="7"/>
                  </a:lnTo>
                  <a:lnTo>
                    <a:pt x="2" y="7"/>
                  </a:lnTo>
                  <a:lnTo>
                    <a:pt x="4" y="6"/>
                  </a:lnTo>
                  <a:lnTo>
                    <a:pt x="4"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7" name="Cayman Islands">
              <a:extLst>
                <a:ext uri="{FF2B5EF4-FFF2-40B4-BE49-F238E27FC236}">
                  <a16:creationId xmlns:a16="http://schemas.microsoft.com/office/drawing/2014/main" id="{9519199E-8563-4E4B-AD44-58EEE5E5F133}"/>
                </a:ext>
              </a:extLst>
            </p:cNvPr>
            <p:cNvSpPr>
              <a:spLocks noEditPoints="1"/>
            </p:cNvSpPr>
            <p:nvPr/>
          </p:nvSpPr>
          <p:spPr bwMode="auto">
            <a:xfrm>
              <a:off x="3328194" y="3317648"/>
              <a:ext cx="55562" cy="17463"/>
            </a:xfrm>
            <a:custGeom>
              <a:avLst/>
              <a:gdLst>
                <a:gd name="T0" fmla="*/ 1 w 35"/>
                <a:gd name="T1" fmla="*/ 9 h 11"/>
                <a:gd name="T2" fmla="*/ 1 w 35"/>
                <a:gd name="T3" fmla="*/ 8 h 11"/>
                <a:gd name="T4" fmla="*/ 0 w 35"/>
                <a:gd name="T5" fmla="*/ 9 h 11"/>
                <a:gd name="T6" fmla="*/ 0 w 35"/>
                <a:gd name="T7" fmla="*/ 11 h 11"/>
                <a:gd name="T8" fmla="*/ 2 w 35"/>
                <a:gd name="T9" fmla="*/ 11 h 11"/>
                <a:gd name="T10" fmla="*/ 3 w 35"/>
                <a:gd name="T11" fmla="*/ 11 h 11"/>
                <a:gd name="T12" fmla="*/ 4 w 35"/>
                <a:gd name="T13" fmla="*/ 10 h 11"/>
                <a:gd name="T14" fmla="*/ 6 w 35"/>
                <a:gd name="T15" fmla="*/ 10 h 11"/>
                <a:gd name="T16" fmla="*/ 5 w 35"/>
                <a:gd name="T17" fmla="*/ 9 h 11"/>
                <a:gd name="T18" fmla="*/ 3 w 35"/>
                <a:gd name="T19" fmla="*/ 9 h 11"/>
                <a:gd name="T20" fmla="*/ 3 w 35"/>
                <a:gd name="T21" fmla="*/ 9 h 11"/>
                <a:gd name="T22" fmla="*/ 2 w 35"/>
                <a:gd name="T23" fmla="*/ 10 h 11"/>
                <a:gd name="T24" fmla="*/ 1 w 35"/>
                <a:gd name="T25" fmla="*/ 9 h 11"/>
                <a:gd name="T26" fmla="*/ 1 w 35"/>
                <a:gd name="T27" fmla="*/ 9 h 11"/>
                <a:gd name="T28" fmla="*/ 31 w 35"/>
                <a:gd name="T29" fmla="*/ 1 h 11"/>
                <a:gd name="T30" fmla="*/ 31 w 35"/>
                <a:gd name="T31" fmla="*/ 1 h 11"/>
                <a:gd name="T32" fmla="*/ 31 w 35"/>
                <a:gd name="T33" fmla="*/ 1 h 11"/>
                <a:gd name="T34" fmla="*/ 30 w 35"/>
                <a:gd name="T35" fmla="*/ 1 h 11"/>
                <a:gd name="T36" fmla="*/ 29 w 35"/>
                <a:gd name="T37" fmla="*/ 1 h 11"/>
                <a:gd name="T38" fmla="*/ 29 w 35"/>
                <a:gd name="T39" fmla="*/ 1 h 11"/>
                <a:gd name="T40" fmla="*/ 28 w 35"/>
                <a:gd name="T41" fmla="*/ 1 h 11"/>
                <a:gd name="T42" fmla="*/ 28 w 35"/>
                <a:gd name="T43" fmla="*/ 2 h 11"/>
                <a:gd name="T44" fmla="*/ 27 w 35"/>
                <a:gd name="T45" fmla="*/ 2 h 11"/>
                <a:gd name="T46" fmla="*/ 28 w 35"/>
                <a:gd name="T47" fmla="*/ 2 h 11"/>
                <a:gd name="T48" fmla="*/ 30 w 35"/>
                <a:gd name="T49" fmla="*/ 1 h 11"/>
                <a:gd name="T50" fmla="*/ 31 w 35"/>
                <a:gd name="T51" fmla="*/ 1 h 11"/>
                <a:gd name="T52" fmla="*/ 31 w 35"/>
                <a:gd name="T53" fmla="*/ 1 h 11"/>
                <a:gd name="T54" fmla="*/ 31 w 35"/>
                <a:gd name="T55" fmla="*/ 1 h 11"/>
                <a:gd name="T56" fmla="*/ 33 w 35"/>
                <a:gd name="T57" fmla="*/ 1 h 11"/>
                <a:gd name="T58" fmla="*/ 35 w 35"/>
                <a:gd name="T59" fmla="*/ 0 h 11"/>
                <a:gd name="T60" fmla="*/ 35 w 35"/>
                <a:gd name="T61" fmla="*/ 0 h 11"/>
                <a:gd name="T62" fmla="*/ 35 w 35"/>
                <a:gd name="T63" fmla="*/ 0 h 11"/>
                <a:gd name="T64" fmla="*/ 34 w 35"/>
                <a:gd name="T65" fmla="*/ 0 h 11"/>
                <a:gd name="T66" fmla="*/ 34 w 35"/>
                <a:gd name="T67" fmla="*/ 0 h 11"/>
                <a:gd name="T68" fmla="*/ 34 w 35"/>
                <a:gd name="T69" fmla="*/ 0 h 11"/>
                <a:gd name="T70" fmla="*/ 33 w 35"/>
                <a:gd name="T71" fmla="*/ 1 h 11"/>
                <a:gd name="T72" fmla="*/ 33 w 35"/>
                <a:gd name="T73" fmla="*/ 1 h 11"/>
                <a:gd name="T74" fmla="*/ 33 w 35"/>
                <a:gd name="T75" fmla="*/ 1 h 11"/>
                <a:gd name="T76" fmla="*/ 33 w 35"/>
                <a:gd name="T77" fmla="*/ 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5" h="11">
                  <a:moveTo>
                    <a:pt x="1" y="9"/>
                  </a:moveTo>
                  <a:lnTo>
                    <a:pt x="1" y="8"/>
                  </a:lnTo>
                  <a:lnTo>
                    <a:pt x="0" y="9"/>
                  </a:lnTo>
                  <a:lnTo>
                    <a:pt x="0" y="11"/>
                  </a:lnTo>
                  <a:lnTo>
                    <a:pt x="2" y="11"/>
                  </a:lnTo>
                  <a:lnTo>
                    <a:pt x="3" y="11"/>
                  </a:lnTo>
                  <a:lnTo>
                    <a:pt x="4" y="10"/>
                  </a:lnTo>
                  <a:lnTo>
                    <a:pt x="6" y="10"/>
                  </a:lnTo>
                  <a:lnTo>
                    <a:pt x="5" y="9"/>
                  </a:lnTo>
                  <a:lnTo>
                    <a:pt x="3" y="9"/>
                  </a:lnTo>
                  <a:lnTo>
                    <a:pt x="3" y="9"/>
                  </a:lnTo>
                  <a:lnTo>
                    <a:pt x="2" y="10"/>
                  </a:lnTo>
                  <a:lnTo>
                    <a:pt x="1" y="9"/>
                  </a:lnTo>
                  <a:lnTo>
                    <a:pt x="1" y="9"/>
                  </a:lnTo>
                  <a:close/>
                  <a:moveTo>
                    <a:pt x="31" y="1"/>
                  </a:moveTo>
                  <a:lnTo>
                    <a:pt x="31" y="1"/>
                  </a:lnTo>
                  <a:lnTo>
                    <a:pt x="31" y="1"/>
                  </a:lnTo>
                  <a:lnTo>
                    <a:pt x="30" y="1"/>
                  </a:lnTo>
                  <a:lnTo>
                    <a:pt x="29" y="1"/>
                  </a:lnTo>
                  <a:lnTo>
                    <a:pt x="29" y="1"/>
                  </a:lnTo>
                  <a:lnTo>
                    <a:pt x="28" y="1"/>
                  </a:lnTo>
                  <a:lnTo>
                    <a:pt x="28" y="2"/>
                  </a:lnTo>
                  <a:lnTo>
                    <a:pt x="27" y="2"/>
                  </a:lnTo>
                  <a:lnTo>
                    <a:pt x="28" y="2"/>
                  </a:lnTo>
                  <a:lnTo>
                    <a:pt x="30" y="1"/>
                  </a:lnTo>
                  <a:lnTo>
                    <a:pt x="31" y="1"/>
                  </a:lnTo>
                  <a:lnTo>
                    <a:pt x="31" y="1"/>
                  </a:lnTo>
                  <a:lnTo>
                    <a:pt x="31" y="1"/>
                  </a:lnTo>
                  <a:close/>
                  <a:moveTo>
                    <a:pt x="33" y="1"/>
                  </a:moveTo>
                  <a:lnTo>
                    <a:pt x="35" y="0"/>
                  </a:lnTo>
                  <a:lnTo>
                    <a:pt x="35" y="0"/>
                  </a:lnTo>
                  <a:lnTo>
                    <a:pt x="35" y="0"/>
                  </a:lnTo>
                  <a:lnTo>
                    <a:pt x="34" y="0"/>
                  </a:lnTo>
                  <a:lnTo>
                    <a:pt x="34" y="0"/>
                  </a:lnTo>
                  <a:lnTo>
                    <a:pt x="34" y="0"/>
                  </a:lnTo>
                  <a:lnTo>
                    <a:pt x="33" y="1"/>
                  </a:lnTo>
                  <a:lnTo>
                    <a:pt x="33" y="1"/>
                  </a:lnTo>
                  <a:lnTo>
                    <a:pt x="33" y="1"/>
                  </a:lnTo>
                  <a:lnTo>
                    <a:pt x="33"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8" name="Dominica">
              <a:extLst>
                <a:ext uri="{FF2B5EF4-FFF2-40B4-BE49-F238E27FC236}">
                  <a16:creationId xmlns:a16="http://schemas.microsoft.com/office/drawing/2014/main" id="{0C891C4E-DA3E-4849-B730-269285E846BE}"/>
                </a:ext>
              </a:extLst>
            </p:cNvPr>
            <p:cNvSpPr>
              <a:spLocks/>
            </p:cNvSpPr>
            <p:nvPr/>
          </p:nvSpPr>
          <p:spPr bwMode="auto">
            <a:xfrm>
              <a:off x="3969544" y="3473224"/>
              <a:ext cx="6350" cy="14288"/>
            </a:xfrm>
            <a:custGeom>
              <a:avLst/>
              <a:gdLst>
                <a:gd name="T0" fmla="*/ 3 w 4"/>
                <a:gd name="T1" fmla="*/ 8 h 9"/>
                <a:gd name="T2" fmla="*/ 4 w 4"/>
                <a:gd name="T3" fmla="*/ 6 h 9"/>
                <a:gd name="T4" fmla="*/ 4 w 4"/>
                <a:gd name="T5" fmla="*/ 2 h 9"/>
                <a:gd name="T6" fmla="*/ 3 w 4"/>
                <a:gd name="T7" fmla="*/ 1 h 9"/>
                <a:gd name="T8" fmla="*/ 0 w 4"/>
                <a:gd name="T9" fmla="*/ 0 h 9"/>
                <a:gd name="T10" fmla="*/ 0 w 4"/>
                <a:gd name="T11" fmla="*/ 1 h 9"/>
                <a:gd name="T12" fmla="*/ 0 w 4"/>
                <a:gd name="T13" fmla="*/ 2 h 9"/>
                <a:gd name="T14" fmla="*/ 1 w 4"/>
                <a:gd name="T15" fmla="*/ 5 h 9"/>
                <a:gd name="T16" fmla="*/ 1 w 4"/>
                <a:gd name="T17" fmla="*/ 9 h 9"/>
                <a:gd name="T18" fmla="*/ 3 w 4"/>
                <a:gd name="T19" fmla="*/ 8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9">
                  <a:moveTo>
                    <a:pt x="3" y="8"/>
                  </a:moveTo>
                  <a:lnTo>
                    <a:pt x="4" y="6"/>
                  </a:lnTo>
                  <a:lnTo>
                    <a:pt x="4" y="2"/>
                  </a:lnTo>
                  <a:lnTo>
                    <a:pt x="3" y="1"/>
                  </a:lnTo>
                  <a:lnTo>
                    <a:pt x="0" y="0"/>
                  </a:lnTo>
                  <a:lnTo>
                    <a:pt x="0" y="1"/>
                  </a:lnTo>
                  <a:lnTo>
                    <a:pt x="0" y="2"/>
                  </a:lnTo>
                  <a:lnTo>
                    <a:pt x="1" y="5"/>
                  </a:lnTo>
                  <a:lnTo>
                    <a:pt x="1" y="9"/>
                  </a:lnTo>
                  <a:lnTo>
                    <a:pt x="3"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79" name="Falkland Islands">
              <a:extLst>
                <a:ext uri="{FF2B5EF4-FFF2-40B4-BE49-F238E27FC236}">
                  <a16:creationId xmlns:a16="http://schemas.microsoft.com/office/drawing/2014/main" id="{C45A9535-41FA-4563-A897-FEB2E7AD31F7}"/>
                </a:ext>
              </a:extLst>
            </p:cNvPr>
            <p:cNvSpPr>
              <a:spLocks noEditPoints="1"/>
            </p:cNvSpPr>
            <p:nvPr/>
          </p:nvSpPr>
          <p:spPr bwMode="auto">
            <a:xfrm>
              <a:off x="4252119" y="5987823"/>
              <a:ext cx="90487" cy="36513"/>
            </a:xfrm>
            <a:custGeom>
              <a:avLst/>
              <a:gdLst>
                <a:gd name="T0" fmla="*/ 27 w 57"/>
                <a:gd name="T1" fmla="*/ 20 h 23"/>
                <a:gd name="T2" fmla="*/ 27 w 57"/>
                <a:gd name="T3" fmla="*/ 21 h 23"/>
                <a:gd name="T4" fmla="*/ 28 w 57"/>
                <a:gd name="T5" fmla="*/ 22 h 23"/>
                <a:gd name="T6" fmla="*/ 49 w 57"/>
                <a:gd name="T7" fmla="*/ 16 h 23"/>
                <a:gd name="T8" fmla="*/ 48 w 57"/>
                <a:gd name="T9" fmla="*/ 18 h 23"/>
                <a:gd name="T10" fmla="*/ 49 w 57"/>
                <a:gd name="T11" fmla="*/ 17 h 23"/>
                <a:gd name="T12" fmla="*/ 0 w 57"/>
                <a:gd name="T13" fmla="*/ 12 h 23"/>
                <a:gd name="T14" fmla="*/ 3 w 57"/>
                <a:gd name="T15" fmla="*/ 15 h 23"/>
                <a:gd name="T16" fmla="*/ 2 w 57"/>
                <a:gd name="T17" fmla="*/ 11 h 23"/>
                <a:gd name="T18" fmla="*/ 12 w 57"/>
                <a:gd name="T19" fmla="*/ 4 h 23"/>
                <a:gd name="T20" fmla="*/ 5 w 57"/>
                <a:gd name="T21" fmla="*/ 2 h 23"/>
                <a:gd name="T22" fmla="*/ 8 w 57"/>
                <a:gd name="T23" fmla="*/ 5 h 23"/>
                <a:gd name="T24" fmla="*/ 14 w 57"/>
                <a:gd name="T25" fmla="*/ 8 h 23"/>
                <a:gd name="T26" fmla="*/ 9 w 57"/>
                <a:gd name="T27" fmla="*/ 9 h 23"/>
                <a:gd name="T28" fmla="*/ 13 w 57"/>
                <a:gd name="T29" fmla="*/ 10 h 23"/>
                <a:gd name="T30" fmla="*/ 14 w 57"/>
                <a:gd name="T31" fmla="*/ 10 h 23"/>
                <a:gd name="T32" fmla="*/ 14 w 57"/>
                <a:gd name="T33" fmla="*/ 12 h 23"/>
                <a:gd name="T34" fmla="*/ 7 w 57"/>
                <a:gd name="T35" fmla="*/ 15 h 23"/>
                <a:gd name="T36" fmla="*/ 11 w 57"/>
                <a:gd name="T37" fmla="*/ 21 h 23"/>
                <a:gd name="T38" fmla="*/ 14 w 57"/>
                <a:gd name="T39" fmla="*/ 20 h 23"/>
                <a:gd name="T40" fmla="*/ 16 w 57"/>
                <a:gd name="T41" fmla="*/ 18 h 23"/>
                <a:gd name="T42" fmla="*/ 18 w 57"/>
                <a:gd name="T43" fmla="*/ 16 h 23"/>
                <a:gd name="T44" fmla="*/ 25 w 57"/>
                <a:gd name="T45" fmla="*/ 12 h 23"/>
                <a:gd name="T46" fmla="*/ 28 w 57"/>
                <a:gd name="T47" fmla="*/ 7 h 23"/>
                <a:gd name="T48" fmla="*/ 29 w 57"/>
                <a:gd name="T49" fmla="*/ 4 h 23"/>
                <a:gd name="T50" fmla="*/ 28 w 57"/>
                <a:gd name="T51" fmla="*/ 2 h 23"/>
                <a:gd name="T52" fmla="*/ 22 w 57"/>
                <a:gd name="T53" fmla="*/ 4 h 23"/>
                <a:gd name="T54" fmla="*/ 18 w 57"/>
                <a:gd name="T55" fmla="*/ 2 h 23"/>
                <a:gd name="T56" fmla="*/ 12 w 57"/>
                <a:gd name="T57" fmla="*/ 4 h 23"/>
                <a:gd name="T58" fmla="*/ 14 w 57"/>
                <a:gd name="T59" fmla="*/ 1 h 23"/>
                <a:gd name="T60" fmla="*/ 11 w 57"/>
                <a:gd name="T61" fmla="*/ 0 h 23"/>
                <a:gd name="T62" fmla="*/ 14 w 57"/>
                <a:gd name="T63" fmla="*/ 2 h 23"/>
                <a:gd name="T64" fmla="*/ 36 w 57"/>
                <a:gd name="T65" fmla="*/ 2 h 23"/>
                <a:gd name="T66" fmla="*/ 35 w 57"/>
                <a:gd name="T67" fmla="*/ 9 h 23"/>
                <a:gd name="T68" fmla="*/ 33 w 57"/>
                <a:gd name="T69" fmla="*/ 9 h 23"/>
                <a:gd name="T70" fmla="*/ 28 w 57"/>
                <a:gd name="T71" fmla="*/ 15 h 23"/>
                <a:gd name="T72" fmla="*/ 28 w 57"/>
                <a:gd name="T73" fmla="*/ 19 h 23"/>
                <a:gd name="T74" fmla="*/ 35 w 57"/>
                <a:gd name="T75" fmla="*/ 21 h 23"/>
                <a:gd name="T76" fmla="*/ 39 w 57"/>
                <a:gd name="T77" fmla="*/ 21 h 23"/>
                <a:gd name="T78" fmla="*/ 46 w 57"/>
                <a:gd name="T79" fmla="*/ 19 h 23"/>
                <a:gd name="T80" fmla="*/ 44 w 57"/>
                <a:gd name="T81" fmla="*/ 15 h 23"/>
                <a:gd name="T82" fmla="*/ 53 w 57"/>
                <a:gd name="T83" fmla="*/ 11 h 23"/>
                <a:gd name="T84" fmla="*/ 57 w 57"/>
                <a:gd name="T85" fmla="*/ 9 h 23"/>
                <a:gd name="T86" fmla="*/ 55 w 57"/>
                <a:gd name="T87" fmla="*/ 7 h 23"/>
                <a:gd name="T88" fmla="*/ 54 w 57"/>
                <a:gd name="T89" fmla="*/ 3 h 23"/>
                <a:gd name="T90" fmla="*/ 48 w 57"/>
                <a:gd name="T91" fmla="*/ 3 h 23"/>
                <a:gd name="T92" fmla="*/ 49 w 57"/>
                <a:gd name="T93" fmla="*/ 6 h 23"/>
                <a:gd name="T94" fmla="*/ 44 w 57"/>
                <a:gd name="T95" fmla="*/ 5 h 23"/>
                <a:gd name="T96" fmla="*/ 44 w 57"/>
                <a:gd name="T97" fmla="*/ 3 h 23"/>
                <a:gd name="T98" fmla="*/ 44 w 57"/>
                <a:gd name="T99" fmla="*/ 1 h 23"/>
                <a:gd name="T100" fmla="*/ 36 w 57"/>
                <a:gd name="T101" fmla="*/ 0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57" h="23">
                  <a:moveTo>
                    <a:pt x="28" y="22"/>
                  </a:moveTo>
                  <a:lnTo>
                    <a:pt x="28" y="21"/>
                  </a:lnTo>
                  <a:lnTo>
                    <a:pt x="27" y="20"/>
                  </a:lnTo>
                  <a:lnTo>
                    <a:pt x="26" y="19"/>
                  </a:lnTo>
                  <a:lnTo>
                    <a:pt x="27" y="20"/>
                  </a:lnTo>
                  <a:lnTo>
                    <a:pt x="27" y="21"/>
                  </a:lnTo>
                  <a:lnTo>
                    <a:pt x="28" y="22"/>
                  </a:lnTo>
                  <a:lnTo>
                    <a:pt x="28" y="23"/>
                  </a:lnTo>
                  <a:lnTo>
                    <a:pt x="28" y="22"/>
                  </a:lnTo>
                  <a:lnTo>
                    <a:pt x="28" y="22"/>
                  </a:lnTo>
                  <a:close/>
                  <a:moveTo>
                    <a:pt x="49" y="17"/>
                  </a:moveTo>
                  <a:lnTo>
                    <a:pt x="49" y="16"/>
                  </a:lnTo>
                  <a:lnTo>
                    <a:pt x="48" y="16"/>
                  </a:lnTo>
                  <a:lnTo>
                    <a:pt x="48" y="17"/>
                  </a:lnTo>
                  <a:lnTo>
                    <a:pt x="48" y="18"/>
                  </a:lnTo>
                  <a:lnTo>
                    <a:pt x="50" y="19"/>
                  </a:lnTo>
                  <a:lnTo>
                    <a:pt x="49" y="17"/>
                  </a:lnTo>
                  <a:lnTo>
                    <a:pt x="49" y="17"/>
                  </a:lnTo>
                  <a:close/>
                  <a:moveTo>
                    <a:pt x="1" y="11"/>
                  </a:moveTo>
                  <a:lnTo>
                    <a:pt x="0" y="12"/>
                  </a:lnTo>
                  <a:lnTo>
                    <a:pt x="0" y="12"/>
                  </a:lnTo>
                  <a:lnTo>
                    <a:pt x="0" y="13"/>
                  </a:lnTo>
                  <a:lnTo>
                    <a:pt x="2" y="15"/>
                  </a:lnTo>
                  <a:lnTo>
                    <a:pt x="3" y="15"/>
                  </a:lnTo>
                  <a:lnTo>
                    <a:pt x="4" y="14"/>
                  </a:lnTo>
                  <a:lnTo>
                    <a:pt x="3" y="11"/>
                  </a:lnTo>
                  <a:lnTo>
                    <a:pt x="2" y="11"/>
                  </a:lnTo>
                  <a:lnTo>
                    <a:pt x="1" y="11"/>
                  </a:lnTo>
                  <a:lnTo>
                    <a:pt x="1" y="11"/>
                  </a:lnTo>
                  <a:close/>
                  <a:moveTo>
                    <a:pt x="12" y="4"/>
                  </a:moveTo>
                  <a:lnTo>
                    <a:pt x="8" y="3"/>
                  </a:lnTo>
                  <a:lnTo>
                    <a:pt x="7" y="2"/>
                  </a:lnTo>
                  <a:lnTo>
                    <a:pt x="5" y="2"/>
                  </a:lnTo>
                  <a:lnTo>
                    <a:pt x="7" y="3"/>
                  </a:lnTo>
                  <a:lnTo>
                    <a:pt x="7" y="4"/>
                  </a:lnTo>
                  <a:lnTo>
                    <a:pt x="8" y="5"/>
                  </a:lnTo>
                  <a:lnTo>
                    <a:pt x="10" y="6"/>
                  </a:lnTo>
                  <a:lnTo>
                    <a:pt x="13" y="7"/>
                  </a:lnTo>
                  <a:lnTo>
                    <a:pt x="14" y="8"/>
                  </a:lnTo>
                  <a:lnTo>
                    <a:pt x="14" y="9"/>
                  </a:lnTo>
                  <a:lnTo>
                    <a:pt x="11" y="9"/>
                  </a:lnTo>
                  <a:lnTo>
                    <a:pt x="9" y="9"/>
                  </a:lnTo>
                  <a:lnTo>
                    <a:pt x="9" y="9"/>
                  </a:lnTo>
                  <a:lnTo>
                    <a:pt x="10" y="10"/>
                  </a:lnTo>
                  <a:lnTo>
                    <a:pt x="13" y="10"/>
                  </a:lnTo>
                  <a:lnTo>
                    <a:pt x="13" y="9"/>
                  </a:lnTo>
                  <a:lnTo>
                    <a:pt x="14" y="9"/>
                  </a:lnTo>
                  <a:lnTo>
                    <a:pt x="14" y="10"/>
                  </a:lnTo>
                  <a:lnTo>
                    <a:pt x="14" y="11"/>
                  </a:lnTo>
                  <a:lnTo>
                    <a:pt x="14" y="11"/>
                  </a:lnTo>
                  <a:lnTo>
                    <a:pt x="14" y="12"/>
                  </a:lnTo>
                  <a:lnTo>
                    <a:pt x="13" y="13"/>
                  </a:lnTo>
                  <a:lnTo>
                    <a:pt x="10" y="15"/>
                  </a:lnTo>
                  <a:lnTo>
                    <a:pt x="7" y="15"/>
                  </a:lnTo>
                  <a:lnTo>
                    <a:pt x="4" y="18"/>
                  </a:lnTo>
                  <a:lnTo>
                    <a:pt x="8" y="20"/>
                  </a:lnTo>
                  <a:lnTo>
                    <a:pt x="11" y="21"/>
                  </a:lnTo>
                  <a:lnTo>
                    <a:pt x="14" y="21"/>
                  </a:lnTo>
                  <a:lnTo>
                    <a:pt x="14" y="21"/>
                  </a:lnTo>
                  <a:lnTo>
                    <a:pt x="14" y="20"/>
                  </a:lnTo>
                  <a:lnTo>
                    <a:pt x="15" y="20"/>
                  </a:lnTo>
                  <a:lnTo>
                    <a:pt x="16" y="20"/>
                  </a:lnTo>
                  <a:lnTo>
                    <a:pt x="16" y="18"/>
                  </a:lnTo>
                  <a:lnTo>
                    <a:pt x="16" y="16"/>
                  </a:lnTo>
                  <a:lnTo>
                    <a:pt x="17" y="16"/>
                  </a:lnTo>
                  <a:lnTo>
                    <a:pt x="18" y="16"/>
                  </a:lnTo>
                  <a:lnTo>
                    <a:pt x="21" y="16"/>
                  </a:lnTo>
                  <a:lnTo>
                    <a:pt x="22" y="15"/>
                  </a:lnTo>
                  <a:lnTo>
                    <a:pt x="25" y="12"/>
                  </a:lnTo>
                  <a:lnTo>
                    <a:pt x="26" y="9"/>
                  </a:lnTo>
                  <a:lnTo>
                    <a:pt x="27" y="8"/>
                  </a:lnTo>
                  <a:lnTo>
                    <a:pt x="28" y="7"/>
                  </a:lnTo>
                  <a:lnTo>
                    <a:pt x="28" y="6"/>
                  </a:lnTo>
                  <a:lnTo>
                    <a:pt x="28" y="5"/>
                  </a:lnTo>
                  <a:lnTo>
                    <a:pt x="29" y="4"/>
                  </a:lnTo>
                  <a:lnTo>
                    <a:pt x="29" y="3"/>
                  </a:lnTo>
                  <a:lnTo>
                    <a:pt x="28" y="2"/>
                  </a:lnTo>
                  <a:lnTo>
                    <a:pt x="28" y="2"/>
                  </a:lnTo>
                  <a:lnTo>
                    <a:pt x="26" y="3"/>
                  </a:lnTo>
                  <a:lnTo>
                    <a:pt x="26" y="2"/>
                  </a:lnTo>
                  <a:lnTo>
                    <a:pt x="22" y="4"/>
                  </a:lnTo>
                  <a:lnTo>
                    <a:pt x="20" y="4"/>
                  </a:lnTo>
                  <a:lnTo>
                    <a:pt x="19" y="3"/>
                  </a:lnTo>
                  <a:lnTo>
                    <a:pt x="18" y="2"/>
                  </a:lnTo>
                  <a:lnTo>
                    <a:pt x="16" y="3"/>
                  </a:lnTo>
                  <a:lnTo>
                    <a:pt x="14" y="5"/>
                  </a:lnTo>
                  <a:lnTo>
                    <a:pt x="12" y="4"/>
                  </a:lnTo>
                  <a:lnTo>
                    <a:pt x="12" y="4"/>
                  </a:lnTo>
                  <a:close/>
                  <a:moveTo>
                    <a:pt x="14" y="2"/>
                  </a:moveTo>
                  <a:lnTo>
                    <a:pt x="14" y="1"/>
                  </a:lnTo>
                  <a:lnTo>
                    <a:pt x="14" y="0"/>
                  </a:lnTo>
                  <a:lnTo>
                    <a:pt x="13" y="0"/>
                  </a:lnTo>
                  <a:lnTo>
                    <a:pt x="11" y="0"/>
                  </a:lnTo>
                  <a:lnTo>
                    <a:pt x="11" y="2"/>
                  </a:lnTo>
                  <a:lnTo>
                    <a:pt x="12" y="2"/>
                  </a:lnTo>
                  <a:lnTo>
                    <a:pt x="14" y="2"/>
                  </a:lnTo>
                  <a:close/>
                  <a:moveTo>
                    <a:pt x="36" y="0"/>
                  </a:moveTo>
                  <a:lnTo>
                    <a:pt x="35" y="0"/>
                  </a:lnTo>
                  <a:lnTo>
                    <a:pt x="36" y="2"/>
                  </a:lnTo>
                  <a:lnTo>
                    <a:pt x="33" y="5"/>
                  </a:lnTo>
                  <a:lnTo>
                    <a:pt x="34" y="7"/>
                  </a:lnTo>
                  <a:lnTo>
                    <a:pt x="35" y="9"/>
                  </a:lnTo>
                  <a:lnTo>
                    <a:pt x="35" y="9"/>
                  </a:lnTo>
                  <a:lnTo>
                    <a:pt x="35" y="9"/>
                  </a:lnTo>
                  <a:lnTo>
                    <a:pt x="33" y="9"/>
                  </a:lnTo>
                  <a:lnTo>
                    <a:pt x="32" y="10"/>
                  </a:lnTo>
                  <a:lnTo>
                    <a:pt x="31" y="11"/>
                  </a:lnTo>
                  <a:lnTo>
                    <a:pt x="28" y="15"/>
                  </a:lnTo>
                  <a:lnTo>
                    <a:pt x="29" y="15"/>
                  </a:lnTo>
                  <a:lnTo>
                    <a:pt x="28" y="18"/>
                  </a:lnTo>
                  <a:lnTo>
                    <a:pt x="28" y="19"/>
                  </a:lnTo>
                  <a:lnTo>
                    <a:pt x="31" y="22"/>
                  </a:lnTo>
                  <a:lnTo>
                    <a:pt x="35" y="23"/>
                  </a:lnTo>
                  <a:lnTo>
                    <a:pt x="35" y="21"/>
                  </a:lnTo>
                  <a:lnTo>
                    <a:pt x="36" y="21"/>
                  </a:lnTo>
                  <a:lnTo>
                    <a:pt x="38" y="21"/>
                  </a:lnTo>
                  <a:lnTo>
                    <a:pt x="39" y="21"/>
                  </a:lnTo>
                  <a:lnTo>
                    <a:pt x="36" y="17"/>
                  </a:lnTo>
                  <a:lnTo>
                    <a:pt x="37" y="17"/>
                  </a:lnTo>
                  <a:lnTo>
                    <a:pt x="46" y="19"/>
                  </a:lnTo>
                  <a:lnTo>
                    <a:pt x="46" y="17"/>
                  </a:lnTo>
                  <a:lnTo>
                    <a:pt x="45" y="16"/>
                  </a:lnTo>
                  <a:lnTo>
                    <a:pt x="44" y="15"/>
                  </a:lnTo>
                  <a:lnTo>
                    <a:pt x="50" y="13"/>
                  </a:lnTo>
                  <a:lnTo>
                    <a:pt x="52" y="12"/>
                  </a:lnTo>
                  <a:lnTo>
                    <a:pt x="53" y="11"/>
                  </a:lnTo>
                  <a:lnTo>
                    <a:pt x="55" y="10"/>
                  </a:lnTo>
                  <a:lnTo>
                    <a:pt x="57" y="9"/>
                  </a:lnTo>
                  <a:lnTo>
                    <a:pt x="57" y="9"/>
                  </a:lnTo>
                  <a:lnTo>
                    <a:pt x="57" y="8"/>
                  </a:lnTo>
                  <a:lnTo>
                    <a:pt x="56" y="8"/>
                  </a:lnTo>
                  <a:lnTo>
                    <a:pt x="55" y="7"/>
                  </a:lnTo>
                  <a:lnTo>
                    <a:pt x="55" y="6"/>
                  </a:lnTo>
                  <a:lnTo>
                    <a:pt x="56" y="6"/>
                  </a:lnTo>
                  <a:lnTo>
                    <a:pt x="54" y="3"/>
                  </a:lnTo>
                  <a:lnTo>
                    <a:pt x="53" y="2"/>
                  </a:lnTo>
                  <a:lnTo>
                    <a:pt x="49" y="3"/>
                  </a:lnTo>
                  <a:lnTo>
                    <a:pt x="48" y="3"/>
                  </a:lnTo>
                  <a:lnTo>
                    <a:pt x="48" y="4"/>
                  </a:lnTo>
                  <a:lnTo>
                    <a:pt x="48" y="5"/>
                  </a:lnTo>
                  <a:lnTo>
                    <a:pt x="49" y="6"/>
                  </a:lnTo>
                  <a:lnTo>
                    <a:pt x="50" y="7"/>
                  </a:lnTo>
                  <a:lnTo>
                    <a:pt x="49" y="7"/>
                  </a:lnTo>
                  <a:lnTo>
                    <a:pt x="44" y="5"/>
                  </a:lnTo>
                  <a:lnTo>
                    <a:pt x="44" y="5"/>
                  </a:lnTo>
                  <a:lnTo>
                    <a:pt x="43" y="3"/>
                  </a:lnTo>
                  <a:lnTo>
                    <a:pt x="44" y="3"/>
                  </a:lnTo>
                  <a:lnTo>
                    <a:pt x="45" y="3"/>
                  </a:lnTo>
                  <a:lnTo>
                    <a:pt x="45" y="2"/>
                  </a:lnTo>
                  <a:lnTo>
                    <a:pt x="44" y="1"/>
                  </a:lnTo>
                  <a:lnTo>
                    <a:pt x="42" y="0"/>
                  </a:lnTo>
                  <a:lnTo>
                    <a:pt x="39" y="1"/>
                  </a:lnTo>
                  <a:lnTo>
                    <a:pt x="36" y="0"/>
                  </a:lnTo>
                  <a:lnTo>
                    <a:pt x="36"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0" name="Faroe Islands">
              <a:extLst>
                <a:ext uri="{FF2B5EF4-FFF2-40B4-BE49-F238E27FC236}">
                  <a16:creationId xmlns:a16="http://schemas.microsoft.com/office/drawing/2014/main" id="{24F5DD01-BFB6-4946-8A99-E34D047A6001}"/>
                </a:ext>
              </a:extLst>
            </p:cNvPr>
            <p:cNvSpPr>
              <a:spLocks noEditPoints="1"/>
            </p:cNvSpPr>
            <p:nvPr/>
          </p:nvSpPr>
          <p:spPr bwMode="auto">
            <a:xfrm>
              <a:off x="5801519" y="1746024"/>
              <a:ext cx="26987" cy="31750"/>
            </a:xfrm>
            <a:custGeom>
              <a:avLst/>
              <a:gdLst>
                <a:gd name="T0" fmla="*/ 11 w 17"/>
                <a:gd name="T1" fmla="*/ 19 h 20"/>
                <a:gd name="T2" fmla="*/ 11 w 17"/>
                <a:gd name="T3" fmla="*/ 17 h 20"/>
                <a:gd name="T4" fmla="*/ 9 w 17"/>
                <a:gd name="T5" fmla="*/ 17 h 20"/>
                <a:gd name="T6" fmla="*/ 8 w 17"/>
                <a:gd name="T7" fmla="*/ 16 h 20"/>
                <a:gd name="T8" fmla="*/ 9 w 17"/>
                <a:gd name="T9" fmla="*/ 19 h 20"/>
                <a:gd name="T10" fmla="*/ 11 w 17"/>
                <a:gd name="T11" fmla="*/ 20 h 20"/>
                <a:gd name="T12" fmla="*/ 11 w 17"/>
                <a:gd name="T13" fmla="*/ 20 h 20"/>
                <a:gd name="T14" fmla="*/ 13 w 17"/>
                <a:gd name="T15" fmla="*/ 12 h 20"/>
                <a:gd name="T16" fmla="*/ 12 w 17"/>
                <a:gd name="T17" fmla="*/ 11 h 20"/>
                <a:gd name="T18" fmla="*/ 9 w 17"/>
                <a:gd name="T19" fmla="*/ 10 h 20"/>
                <a:gd name="T20" fmla="*/ 9 w 17"/>
                <a:gd name="T21" fmla="*/ 11 h 20"/>
                <a:gd name="T22" fmla="*/ 11 w 17"/>
                <a:gd name="T23" fmla="*/ 12 h 20"/>
                <a:gd name="T24" fmla="*/ 13 w 17"/>
                <a:gd name="T25" fmla="*/ 13 h 20"/>
                <a:gd name="T26" fmla="*/ 13 w 17"/>
                <a:gd name="T27" fmla="*/ 12 h 20"/>
                <a:gd name="T28" fmla="*/ 4 w 17"/>
                <a:gd name="T29" fmla="*/ 5 h 20"/>
                <a:gd name="T30" fmla="*/ 0 w 17"/>
                <a:gd name="T31" fmla="*/ 6 h 20"/>
                <a:gd name="T32" fmla="*/ 3 w 17"/>
                <a:gd name="T33" fmla="*/ 7 h 20"/>
                <a:gd name="T34" fmla="*/ 6 w 17"/>
                <a:gd name="T35" fmla="*/ 7 h 20"/>
                <a:gd name="T36" fmla="*/ 6 w 17"/>
                <a:gd name="T37" fmla="*/ 6 h 20"/>
                <a:gd name="T38" fmla="*/ 4 w 17"/>
                <a:gd name="T39" fmla="*/ 6 h 20"/>
                <a:gd name="T40" fmla="*/ 10 w 17"/>
                <a:gd name="T41" fmla="*/ 3 h 20"/>
                <a:gd name="T42" fmla="*/ 5 w 17"/>
                <a:gd name="T43" fmla="*/ 2 h 20"/>
                <a:gd name="T44" fmla="*/ 10 w 17"/>
                <a:gd name="T45" fmla="*/ 8 h 20"/>
                <a:gd name="T46" fmla="*/ 11 w 17"/>
                <a:gd name="T47" fmla="*/ 9 h 20"/>
                <a:gd name="T48" fmla="*/ 10 w 17"/>
                <a:gd name="T49" fmla="*/ 6 h 20"/>
                <a:gd name="T50" fmla="*/ 9 w 17"/>
                <a:gd name="T51" fmla="*/ 6 h 20"/>
                <a:gd name="T52" fmla="*/ 11 w 17"/>
                <a:gd name="T53" fmla="*/ 6 h 20"/>
                <a:gd name="T54" fmla="*/ 13 w 17"/>
                <a:gd name="T55" fmla="*/ 6 h 20"/>
                <a:gd name="T56" fmla="*/ 13 w 17"/>
                <a:gd name="T57" fmla="*/ 4 h 20"/>
                <a:gd name="T58" fmla="*/ 16 w 17"/>
                <a:gd name="T59" fmla="*/ 2 h 20"/>
                <a:gd name="T60" fmla="*/ 15 w 17"/>
                <a:gd name="T61" fmla="*/ 2 h 20"/>
                <a:gd name="T62" fmla="*/ 15 w 17"/>
                <a:gd name="T63" fmla="*/ 4 h 20"/>
                <a:gd name="T64" fmla="*/ 16 w 17"/>
                <a:gd name="T65" fmla="*/ 4 h 20"/>
                <a:gd name="T66" fmla="*/ 17 w 17"/>
                <a:gd name="T67" fmla="*/ 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7" h="20">
                  <a:moveTo>
                    <a:pt x="11" y="20"/>
                  </a:moveTo>
                  <a:lnTo>
                    <a:pt x="11" y="19"/>
                  </a:lnTo>
                  <a:lnTo>
                    <a:pt x="11" y="18"/>
                  </a:lnTo>
                  <a:lnTo>
                    <a:pt x="11" y="17"/>
                  </a:lnTo>
                  <a:lnTo>
                    <a:pt x="10" y="17"/>
                  </a:lnTo>
                  <a:lnTo>
                    <a:pt x="9" y="17"/>
                  </a:lnTo>
                  <a:lnTo>
                    <a:pt x="9" y="16"/>
                  </a:lnTo>
                  <a:lnTo>
                    <a:pt x="8" y="16"/>
                  </a:lnTo>
                  <a:lnTo>
                    <a:pt x="8" y="17"/>
                  </a:lnTo>
                  <a:lnTo>
                    <a:pt x="9" y="19"/>
                  </a:lnTo>
                  <a:lnTo>
                    <a:pt x="10" y="20"/>
                  </a:lnTo>
                  <a:lnTo>
                    <a:pt x="11" y="20"/>
                  </a:lnTo>
                  <a:lnTo>
                    <a:pt x="11" y="20"/>
                  </a:lnTo>
                  <a:lnTo>
                    <a:pt x="11" y="20"/>
                  </a:lnTo>
                  <a:lnTo>
                    <a:pt x="11" y="20"/>
                  </a:lnTo>
                  <a:close/>
                  <a:moveTo>
                    <a:pt x="13" y="12"/>
                  </a:moveTo>
                  <a:lnTo>
                    <a:pt x="13" y="12"/>
                  </a:lnTo>
                  <a:lnTo>
                    <a:pt x="12" y="11"/>
                  </a:lnTo>
                  <a:lnTo>
                    <a:pt x="10" y="10"/>
                  </a:lnTo>
                  <a:lnTo>
                    <a:pt x="9" y="10"/>
                  </a:lnTo>
                  <a:lnTo>
                    <a:pt x="9" y="10"/>
                  </a:lnTo>
                  <a:lnTo>
                    <a:pt x="9" y="11"/>
                  </a:lnTo>
                  <a:lnTo>
                    <a:pt x="9" y="11"/>
                  </a:lnTo>
                  <a:lnTo>
                    <a:pt x="11" y="12"/>
                  </a:lnTo>
                  <a:lnTo>
                    <a:pt x="12" y="13"/>
                  </a:lnTo>
                  <a:lnTo>
                    <a:pt x="13" y="13"/>
                  </a:lnTo>
                  <a:lnTo>
                    <a:pt x="13" y="12"/>
                  </a:lnTo>
                  <a:lnTo>
                    <a:pt x="13" y="12"/>
                  </a:lnTo>
                  <a:close/>
                  <a:moveTo>
                    <a:pt x="4" y="6"/>
                  </a:moveTo>
                  <a:lnTo>
                    <a:pt x="4" y="5"/>
                  </a:lnTo>
                  <a:lnTo>
                    <a:pt x="2" y="6"/>
                  </a:lnTo>
                  <a:lnTo>
                    <a:pt x="0" y="6"/>
                  </a:lnTo>
                  <a:lnTo>
                    <a:pt x="1" y="6"/>
                  </a:lnTo>
                  <a:lnTo>
                    <a:pt x="3" y="7"/>
                  </a:lnTo>
                  <a:lnTo>
                    <a:pt x="4" y="7"/>
                  </a:lnTo>
                  <a:lnTo>
                    <a:pt x="6" y="7"/>
                  </a:lnTo>
                  <a:lnTo>
                    <a:pt x="6" y="6"/>
                  </a:lnTo>
                  <a:lnTo>
                    <a:pt x="6" y="6"/>
                  </a:lnTo>
                  <a:lnTo>
                    <a:pt x="4" y="6"/>
                  </a:lnTo>
                  <a:lnTo>
                    <a:pt x="4" y="6"/>
                  </a:lnTo>
                  <a:close/>
                  <a:moveTo>
                    <a:pt x="13" y="4"/>
                  </a:moveTo>
                  <a:lnTo>
                    <a:pt x="10" y="3"/>
                  </a:lnTo>
                  <a:lnTo>
                    <a:pt x="9" y="2"/>
                  </a:lnTo>
                  <a:lnTo>
                    <a:pt x="5" y="2"/>
                  </a:lnTo>
                  <a:lnTo>
                    <a:pt x="8" y="6"/>
                  </a:lnTo>
                  <a:lnTo>
                    <a:pt x="10" y="8"/>
                  </a:lnTo>
                  <a:lnTo>
                    <a:pt x="11" y="9"/>
                  </a:lnTo>
                  <a:lnTo>
                    <a:pt x="11" y="9"/>
                  </a:lnTo>
                  <a:lnTo>
                    <a:pt x="11" y="8"/>
                  </a:lnTo>
                  <a:lnTo>
                    <a:pt x="10" y="6"/>
                  </a:lnTo>
                  <a:lnTo>
                    <a:pt x="9" y="6"/>
                  </a:lnTo>
                  <a:lnTo>
                    <a:pt x="9" y="6"/>
                  </a:lnTo>
                  <a:lnTo>
                    <a:pt x="10" y="6"/>
                  </a:lnTo>
                  <a:lnTo>
                    <a:pt x="11" y="6"/>
                  </a:lnTo>
                  <a:lnTo>
                    <a:pt x="12" y="6"/>
                  </a:lnTo>
                  <a:lnTo>
                    <a:pt x="13" y="6"/>
                  </a:lnTo>
                  <a:lnTo>
                    <a:pt x="13" y="4"/>
                  </a:lnTo>
                  <a:lnTo>
                    <a:pt x="13" y="4"/>
                  </a:lnTo>
                  <a:close/>
                  <a:moveTo>
                    <a:pt x="17" y="3"/>
                  </a:moveTo>
                  <a:lnTo>
                    <a:pt x="16" y="2"/>
                  </a:lnTo>
                  <a:lnTo>
                    <a:pt x="15" y="0"/>
                  </a:lnTo>
                  <a:lnTo>
                    <a:pt x="15" y="2"/>
                  </a:lnTo>
                  <a:lnTo>
                    <a:pt x="15" y="4"/>
                  </a:lnTo>
                  <a:lnTo>
                    <a:pt x="15" y="4"/>
                  </a:lnTo>
                  <a:lnTo>
                    <a:pt x="15" y="4"/>
                  </a:lnTo>
                  <a:lnTo>
                    <a:pt x="16" y="4"/>
                  </a:lnTo>
                  <a:lnTo>
                    <a:pt x="17" y="3"/>
                  </a:lnTo>
                  <a:lnTo>
                    <a:pt x="17"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1" name="Grenada">
              <a:extLst>
                <a:ext uri="{FF2B5EF4-FFF2-40B4-BE49-F238E27FC236}">
                  <a16:creationId xmlns:a16="http://schemas.microsoft.com/office/drawing/2014/main" id="{0DAF9DE3-2522-4538-B4B9-21143C2B0BC9}"/>
                </a:ext>
              </a:extLst>
            </p:cNvPr>
            <p:cNvSpPr>
              <a:spLocks/>
            </p:cNvSpPr>
            <p:nvPr/>
          </p:nvSpPr>
          <p:spPr bwMode="auto">
            <a:xfrm>
              <a:off x="3950494" y="3600224"/>
              <a:ext cx="6350" cy="9525"/>
            </a:xfrm>
            <a:custGeom>
              <a:avLst/>
              <a:gdLst>
                <a:gd name="T0" fmla="*/ 1 w 4"/>
                <a:gd name="T1" fmla="*/ 6 h 6"/>
                <a:gd name="T2" fmla="*/ 3 w 4"/>
                <a:gd name="T3" fmla="*/ 5 h 6"/>
                <a:gd name="T4" fmla="*/ 4 w 4"/>
                <a:gd name="T5" fmla="*/ 1 h 6"/>
                <a:gd name="T6" fmla="*/ 3 w 4"/>
                <a:gd name="T7" fmla="*/ 0 h 6"/>
                <a:gd name="T8" fmla="*/ 2 w 4"/>
                <a:gd name="T9" fmla="*/ 1 h 6"/>
                <a:gd name="T10" fmla="*/ 1 w 4"/>
                <a:gd name="T11" fmla="*/ 3 h 6"/>
                <a:gd name="T12" fmla="*/ 1 w 4"/>
                <a:gd name="T13" fmla="*/ 5 h 6"/>
                <a:gd name="T14" fmla="*/ 0 w 4"/>
                <a:gd name="T15" fmla="*/ 6 h 6"/>
                <a:gd name="T16" fmla="*/ 1 w 4"/>
                <a:gd name="T17" fmla="*/ 6 h 6"/>
                <a:gd name="T18" fmla="*/ 1 w 4"/>
                <a:gd name="T19"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6">
                  <a:moveTo>
                    <a:pt x="1" y="6"/>
                  </a:moveTo>
                  <a:lnTo>
                    <a:pt x="3" y="5"/>
                  </a:lnTo>
                  <a:lnTo>
                    <a:pt x="4" y="1"/>
                  </a:lnTo>
                  <a:lnTo>
                    <a:pt x="3" y="0"/>
                  </a:lnTo>
                  <a:lnTo>
                    <a:pt x="2" y="1"/>
                  </a:lnTo>
                  <a:lnTo>
                    <a:pt x="1" y="3"/>
                  </a:lnTo>
                  <a:lnTo>
                    <a:pt x="1" y="5"/>
                  </a:lnTo>
                  <a:lnTo>
                    <a:pt x="0" y="6"/>
                  </a:lnTo>
                  <a:lnTo>
                    <a:pt x="1" y="6"/>
                  </a:lnTo>
                  <a:lnTo>
                    <a:pt x="1" y="6"/>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2" name="Hong-Kong">
              <a:extLst>
                <a:ext uri="{FF2B5EF4-FFF2-40B4-BE49-F238E27FC236}">
                  <a16:creationId xmlns:a16="http://schemas.microsoft.com/office/drawing/2014/main" id="{11BF69CE-3057-4118-907A-865E6D79A684}"/>
                </a:ext>
              </a:extLst>
            </p:cNvPr>
            <p:cNvSpPr>
              <a:spLocks noEditPoints="1"/>
            </p:cNvSpPr>
            <p:nvPr/>
          </p:nvSpPr>
          <p:spPr bwMode="auto">
            <a:xfrm>
              <a:off x="9706769" y="3209698"/>
              <a:ext cx="15875" cy="15875"/>
            </a:xfrm>
            <a:custGeom>
              <a:avLst/>
              <a:gdLst>
                <a:gd name="T0" fmla="*/ 9 w 10"/>
                <a:gd name="T1" fmla="*/ 10 h 10"/>
                <a:gd name="T2" fmla="*/ 9 w 10"/>
                <a:gd name="T3" fmla="*/ 9 h 10"/>
                <a:gd name="T4" fmla="*/ 9 w 10"/>
                <a:gd name="T5" fmla="*/ 8 h 10"/>
                <a:gd name="T6" fmla="*/ 7 w 10"/>
                <a:gd name="T7" fmla="*/ 7 h 10"/>
                <a:gd name="T8" fmla="*/ 6 w 10"/>
                <a:gd name="T9" fmla="*/ 7 h 10"/>
                <a:gd name="T10" fmla="*/ 6 w 10"/>
                <a:gd name="T11" fmla="*/ 8 h 10"/>
                <a:gd name="T12" fmla="*/ 8 w 10"/>
                <a:gd name="T13" fmla="*/ 10 h 10"/>
                <a:gd name="T14" fmla="*/ 9 w 10"/>
                <a:gd name="T15" fmla="*/ 10 h 10"/>
                <a:gd name="T16" fmla="*/ 9 w 10"/>
                <a:gd name="T17" fmla="*/ 10 h 10"/>
                <a:gd name="T18" fmla="*/ 3 w 10"/>
                <a:gd name="T19" fmla="*/ 10 h 10"/>
                <a:gd name="T20" fmla="*/ 3 w 10"/>
                <a:gd name="T21" fmla="*/ 8 h 10"/>
                <a:gd name="T22" fmla="*/ 4 w 10"/>
                <a:gd name="T23" fmla="*/ 6 h 10"/>
                <a:gd name="T24" fmla="*/ 0 w 10"/>
                <a:gd name="T25" fmla="*/ 8 h 10"/>
                <a:gd name="T26" fmla="*/ 0 w 10"/>
                <a:gd name="T27" fmla="*/ 9 h 10"/>
                <a:gd name="T28" fmla="*/ 0 w 10"/>
                <a:gd name="T29" fmla="*/ 9 h 10"/>
                <a:gd name="T30" fmla="*/ 1 w 10"/>
                <a:gd name="T31" fmla="*/ 10 h 10"/>
                <a:gd name="T32" fmla="*/ 3 w 10"/>
                <a:gd name="T33" fmla="*/ 10 h 10"/>
                <a:gd name="T34" fmla="*/ 3 w 10"/>
                <a:gd name="T35" fmla="*/ 10 h 10"/>
                <a:gd name="T36" fmla="*/ 10 w 10"/>
                <a:gd name="T37" fmla="*/ 5 h 10"/>
                <a:gd name="T38" fmla="*/ 9 w 10"/>
                <a:gd name="T39" fmla="*/ 4 h 10"/>
                <a:gd name="T40" fmla="*/ 9 w 10"/>
                <a:gd name="T41" fmla="*/ 3 h 10"/>
                <a:gd name="T42" fmla="*/ 8 w 10"/>
                <a:gd name="T43" fmla="*/ 2 h 10"/>
                <a:gd name="T44" fmla="*/ 8 w 10"/>
                <a:gd name="T45" fmla="*/ 1 h 10"/>
                <a:gd name="T46" fmla="*/ 8 w 10"/>
                <a:gd name="T47" fmla="*/ 1 h 10"/>
                <a:gd name="T48" fmla="*/ 7 w 10"/>
                <a:gd name="T49" fmla="*/ 1 h 10"/>
                <a:gd name="T50" fmla="*/ 6 w 10"/>
                <a:gd name="T51" fmla="*/ 0 h 10"/>
                <a:gd name="T52" fmla="*/ 4 w 10"/>
                <a:gd name="T53" fmla="*/ 0 h 10"/>
                <a:gd name="T54" fmla="*/ 4 w 10"/>
                <a:gd name="T55" fmla="*/ 1 h 10"/>
                <a:gd name="T56" fmla="*/ 3 w 10"/>
                <a:gd name="T57" fmla="*/ 1 h 10"/>
                <a:gd name="T58" fmla="*/ 2 w 10"/>
                <a:gd name="T59" fmla="*/ 2 h 10"/>
                <a:gd name="T60" fmla="*/ 2 w 10"/>
                <a:gd name="T61" fmla="*/ 2 h 10"/>
                <a:gd name="T62" fmla="*/ 2 w 10"/>
                <a:gd name="T63" fmla="*/ 2 h 10"/>
                <a:gd name="T64" fmla="*/ 0 w 10"/>
                <a:gd name="T65" fmla="*/ 4 h 10"/>
                <a:gd name="T66" fmla="*/ 0 w 10"/>
                <a:gd name="T67" fmla="*/ 5 h 10"/>
                <a:gd name="T68" fmla="*/ 1 w 10"/>
                <a:gd name="T69" fmla="*/ 6 h 10"/>
                <a:gd name="T70" fmla="*/ 3 w 10"/>
                <a:gd name="T71" fmla="*/ 5 h 10"/>
                <a:gd name="T72" fmla="*/ 6 w 10"/>
                <a:gd name="T73" fmla="*/ 6 h 10"/>
                <a:gd name="T74" fmla="*/ 9 w 10"/>
                <a:gd name="T75" fmla="*/ 7 h 10"/>
                <a:gd name="T76" fmla="*/ 9 w 10"/>
                <a:gd name="T77" fmla="*/ 6 h 10"/>
                <a:gd name="T78" fmla="*/ 9 w 10"/>
                <a:gd name="T79" fmla="*/ 5 h 10"/>
                <a:gd name="T80" fmla="*/ 10 w 10"/>
                <a:gd name="T81" fmla="*/ 5 h 10"/>
                <a:gd name="T82" fmla="*/ 10 w 10"/>
                <a:gd name="T83" fmla="*/ 5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0" h="10">
                  <a:moveTo>
                    <a:pt x="9" y="10"/>
                  </a:moveTo>
                  <a:lnTo>
                    <a:pt x="9" y="9"/>
                  </a:lnTo>
                  <a:lnTo>
                    <a:pt x="9" y="8"/>
                  </a:lnTo>
                  <a:lnTo>
                    <a:pt x="7" y="7"/>
                  </a:lnTo>
                  <a:lnTo>
                    <a:pt x="6" y="7"/>
                  </a:lnTo>
                  <a:lnTo>
                    <a:pt x="6" y="8"/>
                  </a:lnTo>
                  <a:lnTo>
                    <a:pt x="8" y="10"/>
                  </a:lnTo>
                  <a:lnTo>
                    <a:pt x="9" y="10"/>
                  </a:lnTo>
                  <a:lnTo>
                    <a:pt x="9" y="10"/>
                  </a:lnTo>
                  <a:close/>
                  <a:moveTo>
                    <a:pt x="3" y="10"/>
                  </a:moveTo>
                  <a:lnTo>
                    <a:pt x="3" y="8"/>
                  </a:lnTo>
                  <a:lnTo>
                    <a:pt x="4" y="6"/>
                  </a:lnTo>
                  <a:lnTo>
                    <a:pt x="0" y="8"/>
                  </a:lnTo>
                  <a:lnTo>
                    <a:pt x="0" y="9"/>
                  </a:lnTo>
                  <a:lnTo>
                    <a:pt x="0" y="9"/>
                  </a:lnTo>
                  <a:lnTo>
                    <a:pt x="1" y="10"/>
                  </a:lnTo>
                  <a:lnTo>
                    <a:pt x="3" y="10"/>
                  </a:lnTo>
                  <a:lnTo>
                    <a:pt x="3" y="10"/>
                  </a:lnTo>
                  <a:close/>
                  <a:moveTo>
                    <a:pt x="10" y="5"/>
                  </a:moveTo>
                  <a:lnTo>
                    <a:pt x="9" y="4"/>
                  </a:lnTo>
                  <a:lnTo>
                    <a:pt x="9" y="3"/>
                  </a:lnTo>
                  <a:lnTo>
                    <a:pt x="8" y="2"/>
                  </a:lnTo>
                  <a:lnTo>
                    <a:pt x="8" y="1"/>
                  </a:lnTo>
                  <a:lnTo>
                    <a:pt x="8" y="1"/>
                  </a:lnTo>
                  <a:lnTo>
                    <a:pt x="7" y="1"/>
                  </a:lnTo>
                  <a:lnTo>
                    <a:pt x="6" y="0"/>
                  </a:lnTo>
                  <a:lnTo>
                    <a:pt x="4" y="0"/>
                  </a:lnTo>
                  <a:lnTo>
                    <a:pt x="4" y="1"/>
                  </a:lnTo>
                  <a:lnTo>
                    <a:pt x="3" y="1"/>
                  </a:lnTo>
                  <a:lnTo>
                    <a:pt x="2" y="2"/>
                  </a:lnTo>
                  <a:lnTo>
                    <a:pt x="2" y="2"/>
                  </a:lnTo>
                  <a:lnTo>
                    <a:pt x="2" y="2"/>
                  </a:lnTo>
                  <a:lnTo>
                    <a:pt x="0" y="4"/>
                  </a:lnTo>
                  <a:lnTo>
                    <a:pt x="0" y="5"/>
                  </a:lnTo>
                  <a:lnTo>
                    <a:pt x="1" y="6"/>
                  </a:lnTo>
                  <a:lnTo>
                    <a:pt x="3" y="5"/>
                  </a:lnTo>
                  <a:lnTo>
                    <a:pt x="6" y="6"/>
                  </a:lnTo>
                  <a:lnTo>
                    <a:pt x="9" y="7"/>
                  </a:lnTo>
                  <a:lnTo>
                    <a:pt x="9" y="6"/>
                  </a:lnTo>
                  <a:lnTo>
                    <a:pt x="9" y="5"/>
                  </a:lnTo>
                  <a:lnTo>
                    <a:pt x="10" y="5"/>
                  </a:lnTo>
                  <a:lnTo>
                    <a:pt x="10"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3" name="Saint Kitts and Nevis">
              <a:extLst>
                <a:ext uri="{FF2B5EF4-FFF2-40B4-BE49-F238E27FC236}">
                  <a16:creationId xmlns:a16="http://schemas.microsoft.com/office/drawing/2014/main" id="{253ADBB3-2187-4CE3-9C94-948F8A6F2661}"/>
                </a:ext>
              </a:extLst>
            </p:cNvPr>
            <p:cNvSpPr>
              <a:spLocks noEditPoints="1"/>
            </p:cNvSpPr>
            <p:nvPr/>
          </p:nvSpPr>
          <p:spPr bwMode="auto">
            <a:xfrm>
              <a:off x="3929856" y="3406549"/>
              <a:ext cx="9525" cy="11113"/>
            </a:xfrm>
            <a:custGeom>
              <a:avLst/>
              <a:gdLst>
                <a:gd name="T0" fmla="*/ 6 w 6"/>
                <a:gd name="T1" fmla="*/ 6 h 7"/>
                <a:gd name="T2" fmla="*/ 6 w 6"/>
                <a:gd name="T3" fmla="*/ 5 h 7"/>
                <a:gd name="T4" fmla="*/ 6 w 6"/>
                <a:gd name="T5" fmla="*/ 4 h 7"/>
                <a:gd name="T6" fmla="*/ 5 w 6"/>
                <a:gd name="T7" fmla="*/ 4 h 7"/>
                <a:gd name="T8" fmla="*/ 5 w 6"/>
                <a:gd name="T9" fmla="*/ 6 h 7"/>
                <a:gd name="T10" fmla="*/ 5 w 6"/>
                <a:gd name="T11" fmla="*/ 7 h 7"/>
                <a:gd name="T12" fmla="*/ 6 w 6"/>
                <a:gd name="T13" fmla="*/ 6 h 7"/>
                <a:gd name="T14" fmla="*/ 5 w 6"/>
                <a:gd name="T15" fmla="*/ 3 h 7"/>
                <a:gd name="T16" fmla="*/ 4 w 6"/>
                <a:gd name="T17" fmla="*/ 2 h 7"/>
                <a:gd name="T18" fmla="*/ 4 w 6"/>
                <a:gd name="T19" fmla="*/ 2 h 7"/>
                <a:gd name="T20" fmla="*/ 3 w 6"/>
                <a:gd name="T21" fmla="*/ 1 h 7"/>
                <a:gd name="T22" fmla="*/ 1 w 6"/>
                <a:gd name="T23" fmla="*/ 0 h 7"/>
                <a:gd name="T24" fmla="*/ 1 w 6"/>
                <a:gd name="T25" fmla="*/ 0 h 7"/>
                <a:gd name="T26" fmla="*/ 0 w 6"/>
                <a:gd name="T27" fmla="*/ 1 h 7"/>
                <a:gd name="T28" fmla="*/ 0 w 6"/>
                <a:gd name="T29" fmla="*/ 1 h 7"/>
                <a:gd name="T30" fmla="*/ 0 w 6"/>
                <a:gd name="T31" fmla="*/ 1 h 7"/>
                <a:gd name="T32" fmla="*/ 1 w 6"/>
                <a:gd name="T33" fmla="*/ 2 h 7"/>
                <a:gd name="T34" fmla="*/ 3 w 6"/>
                <a:gd name="T35" fmla="*/ 2 h 7"/>
                <a:gd name="T36" fmla="*/ 4 w 6"/>
                <a:gd name="T37" fmla="*/ 3 h 7"/>
                <a:gd name="T38" fmla="*/ 5 w 6"/>
                <a:gd name="T39" fmla="*/ 3 h 7"/>
                <a:gd name="T40" fmla="*/ 5 w 6"/>
                <a:gd name="T41" fmla="*/ 3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 h="7">
                  <a:moveTo>
                    <a:pt x="6" y="6"/>
                  </a:moveTo>
                  <a:lnTo>
                    <a:pt x="6" y="5"/>
                  </a:lnTo>
                  <a:lnTo>
                    <a:pt x="6" y="4"/>
                  </a:lnTo>
                  <a:lnTo>
                    <a:pt x="5" y="4"/>
                  </a:lnTo>
                  <a:lnTo>
                    <a:pt x="5" y="6"/>
                  </a:lnTo>
                  <a:lnTo>
                    <a:pt x="5" y="7"/>
                  </a:lnTo>
                  <a:lnTo>
                    <a:pt x="6" y="6"/>
                  </a:lnTo>
                  <a:close/>
                  <a:moveTo>
                    <a:pt x="5" y="3"/>
                  </a:moveTo>
                  <a:lnTo>
                    <a:pt x="4" y="2"/>
                  </a:lnTo>
                  <a:lnTo>
                    <a:pt x="4" y="2"/>
                  </a:lnTo>
                  <a:lnTo>
                    <a:pt x="3" y="1"/>
                  </a:lnTo>
                  <a:lnTo>
                    <a:pt x="1" y="0"/>
                  </a:lnTo>
                  <a:lnTo>
                    <a:pt x="1" y="0"/>
                  </a:lnTo>
                  <a:lnTo>
                    <a:pt x="0" y="1"/>
                  </a:lnTo>
                  <a:lnTo>
                    <a:pt x="0" y="1"/>
                  </a:lnTo>
                  <a:lnTo>
                    <a:pt x="0" y="1"/>
                  </a:lnTo>
                  <a:lnTo>
                    <a:pt x="1" y="2"/>
                  </a:lnTo>
                  <a:lnTo>
                    <a:pt x="3" y="2"/>
                  </a:lnTo>
                  <a:lnTo>
                    <a:pt x="4" y="3"/>
                  </a:lnTo>
                  <a:lnTo>
                    <a:pt x="5" y="3"/>
                  </a:lnTo>
                  <a:lnTo>
                    <a:pt x="5"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4" name="Saint Lucia">
              <a:extLst>
                <a:ext uri="{FF2B5EF4-FFF2-40B4-BE49-F238E27FC236}">
                  <a16:creationId xmlns:a16="http://schemas.microsoft.com/office/drawing/2014/main" id="{6E69D334-C7FE-481A-80DC-E3A544421B66}"/>
                </a:ext>
              </a:extLst>
            </p:cNvPr>
            <p:cNvSpPr>
              <a:spLocks/>
            </p:cNvSpPr>
            <p:nvPr/>
          </p:nvSpPr>
          <p:spPr bwMode="auto">
            <a:xfrm>
              <a:off x="3979069" y="3530374"/>
              <a:ext cx="4762" cy="14288"/>
            </a:xfrm>
            <a:custGeom>
              <a:avLst/>
              <a:gdLst>
                <a:gd name="T0" fmla="*/ 3 w 3"/>
                <a:gd name="T1" fmla="*/ 7 h 9"/>
                <a:gd name="T2" fmla="*/ 3 w 3"/>
                <a:gd name="T3" fmla="*/ 2 h 9"/>
                <a:gd name="T4" fmla="*/ 3 w 3"/>
                <a:gd name="T5" fmla="*/ 0 h 9"/>
                <a:gd name="T6" fmla="*/ 3 w 3"/>
                <a:gd name="T7" fmla="*/ 0 h 9"/>
                <a:gd name="T8" fmla="*/ 2 w 3"/>
                <a:gd name="T9" fmla="*/ 2 h 9"/>
                <a:gd name="T10" fmla="*/ 0 w 3"/>
                <a:gd name="T11" fmla="*/ 4 h 9"/>
                <a:gd name="T12" fmla="*/ 0 w 3"/>
                <a:gd name="T13" fmla="*/ 6 h 9"/>
                <a:gd name="T14" fmla="*/ 0 w 3"/>
                <a:gd name="T15" fmla="*/ 8 h 9"/>
                <a:gd name="T16" fmla="*/ 2 w 3"/>
                <a:gd name="T17" fmla="*/ 9 h 9"/>
                <a:gd name="T18" fmla="*/ 3 w 3"/>
                <a:gd name="T19" fmla="*/ 7 h 9"/>
                <a:gd name="T20" fmla="*/ 3 w 3"/>
                <a:gd name="T21" fmla="*/ 7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9">
                  <a:moveTo>
                    <a:pt x="3" y="7"/>
                  </a:moveTo>
                  <a:lnTo>
                    <a:pt x="3" y="2"/>
                  </a:lnTo>
                  <a:lnTo>
                    <a:pt x="3" y="0"/>
                  </a:lnTo>
                  <a:lnTo>
                    <a:pt x="3" y="0"/>
                  </a:lnTo>
                  <a:lnTo>
                    <a:pt x="2" y="2"/>
                  </a:lnTo>
                  <a:lnTo>
                    <a:pt x="0" y="4"/>
                  </a:lnTo>
                  <a:lnTo>
                    <a:pt x="0" y="6"/>
                  </a:lnTo>
                  <a:lnTo>
                    <a:pt x="0" y="8"/>
                  </a:lnTo>
                  <a:lnTo>
                    <a:pt x="2" y="9"/>
                  </a:lnTo>
                  <a:lnTo>
                    <a:pt x="3" y="7"/>
                  </a:lnTo>
                  <a:lnTo>
                    <a:pt x="3"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5" name="Liechtenstein">
              <a:extLst>
                <a:ext uri="{FF2B5EF4-FFF2-40B4-BE49-F238E27FC236}">
                  <a16:creationId xmlns:a16="http://schemas.microsoft.com/office/drawing/2014/main" id="{86D45269-DF59-4650-94B6-E908D55D3387}"/>
                </a:ext>
              </a:extLst>
            </p:cNvPr>
            <p:cNvSpPr>
              <a:spLocks/>
            </p:cNvSpPr>
            <p:nvPr/>
          </p:nvSpPr>
          <p:spPr bwMode="auto">
            <a:xfrm>
              <a:off x="6274594" y="2284187"/>
              <a:ext cx="4762" cy="7938"/>
            </a:xfrm>
            <a:custGeom>
              <a:avLst/>
              <a:gdLst>
                <a:gd name="T0" fmla="*/ 3 w 3"/>
                <a:gd name="T1" fmla="*/ 5 h 5"/>
                <a:gd name="T2" fmla="*/ 3 w 3"/>
                <a:gd name="T3" fmla="*/ 5 h 5"/>
                <a:gd name="T4" fmla="*/ 3 w 3"/>
                <a:gd name="T5" fmla="*/ 4 h 5"/>
                <a:gd name="T6" fmla="*/ 3 w 3"/>
                <a:gd name="T7" fmla="*/ 3 h 5"/>
                <a:gd name="T8" fmla="*/ 2 w 3"/>
                <a:gd name="T9" fmla="*/ 3 h 5"/>
                <a:gd name="T10" fmla="*/ 2 w 3"/>
                <a:gd name="T11" fmla="*/ 2 h 5"/>
                <a:gd name="T12" fmla="*/ 2 w 3"/>
                <a:gd name="T13" fmla="*/ 1 h 5"/>
                <a:gd name="T14" fmla="*/ 1 w 3"/>
                <a:gd name="T15" fmla="*/ 1 h 5"/>
                <a:gd name="T16" fmla="*/ 1 w 3"/>
                <a:gd name="T17" fmla="*/ 0 h 5"/>
                <a:gd name="T18" fmla="*/ 1 w 3"/>
                <a:gd name="T19" fmla="*/ 0 h 5"/>
                <a:gd name="T20" fmla="*/ 0 w 3"/>
                <a:gd name="T21" fmla="*/ 2 h 5"/>
                <a:gd name="T22" fmla="*/ 0 w 3"/>
                <a:gd name="T23" fmla="*/ 4 h 5"/>
                <a:gd name="T24" fmla="*/ 1 w 3"/>
                <a:gd name="T25" fmla="*/ 5 h 5"/>
                <a:gd name="T26" fmla="*/ 1 w 3"/>
                <a:gd name="T27" fmla="*/ 5 h 5"/>
                <a:gd name="T28" fmla="*/ 3 w 3"/>
                <a:gd name="T29" fmla="*/ 5 h 5"/>
                <a:gd name="T30" fmla="*/ 3 w 3"/>
                <a:gd name="T3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5">
                  <a:moveTo>
                    <a:pt x="3" y="5"/>
                  </a:moveTo>
                  <a:lnTo>
                    <a:pt x="3" y="5"/>
                  </a:lnTo>
                  <a:lnTo>
                    <a:pt x="3" y="4"/>
                  </a:lnTo>
                  <a:lnTo>
                    <a:pt x="3" y="3"/>
                  </a:lnTo>
                  <a:lnTo>
                    <a:pt x="2" y="3"/>
                  </a:lnTo>
                  <a:lnTo>
                    <a:pt x="2" y="2"/>
                  </a:lnTo>
                  <a:lnTo>
                    <a:pt x="2" y="1"/>
                  </a:lnTo>
                  <a:lnTo>
                    <a:pt x="1" y="1"/>
                  </a:lnTo>
                  <a:lnTo>
                    <a:pt x="1" y="0"/>
                  </a:lnTo>
                  <a:lnTo>
                    <a:pt x="1" y="0"/>
                  </a:lnTo>
                  <a:lnTo>
                    <a:pt x="0" y="2"/>
                  </a:lnTo>
                  <a:lnTo>
                    <a:pt x="0" y="4"/>
                  </a:lnTo>
                  <a:lnTo>
                    <a:pt x="1" y="5"/>
                  </a:lnTo>
                  <a:lnTo>
                    <a:pt x="1" y="5"/>
                  </a:lnTo>
                  <a:lnTo>
                    <a:pt x="3" y="5"/>
                  </a:lnTo>
                  <a:lnTo>
                    <a:pt x="3"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6" name="Maldives">
              <a:extLst>
                <a:ext uri="{FF2B5EF4-FFF2-40B4-BE49-F238E27FC236}">
                  <a16:creationId xmlns:a16="http://schemas.microsoft.com/office/drawing/2014/main" id="{54A7709D-1FEA-49B2-89AC-0C09843E02C0}"/>
                </a:ext>
              </a:extLst>
            </p:cNvPr>
            <p:cNvSpPr>
              <a:spLocks noEditPoints="1"/>
            </p:cNvSpPr>
            <p:nvPr/>
          </p:nvSpPr>
          <p:spPr bwMode="auto">
            <a:xfrm>
              <a:off x="8439944" y="3901849"/>
              <a:ext cx="3175" cy="38100"/>
            </a:xfrm>
            <a:custGeom>
              <a:avLst/>
              <a:gdLst>
                <a:gd name="T0" fmla="*/ 0 w 2"/>
                <a:gd name="T1" fmla="*/ 24 h 24"/>
                <a:gd name="T2" fmla="*/ 1 w 2"/>
                <a:gd name="T3" fmla="*/ 24 h 24"/>
                <a:gd name="T4" fmla="*/ 1 w 2"/>
                <a:gd name="T5" fmla="*/ 23 h 24"/>
                <a:gd name="T6" fmla="*/ 0 w 2"/>
                <a:gd name="T7" fmla="*/ 23 h 24"/>
                <a:gd name="T8" fmla="*/ 0 w 2"/>
                <a:gd name="T9" fmla="*/ 23 h 24"/>
                <a:gd name="T10" fmla="*/ 0 w 2"/>
                <a:gd name="T11" fmla="*/ 24 h 24"/>
                <a:gd name="T12" fmla="*/ 0 w 2"/>
                <a:gd name="T13" fmla="*/ 24 h 24"/>
                <a:gd name="T14" fmla="*/ 0 w 2"/>
                <a:gd name="T15" fmla="*/ 24 h 24"/>
                <a:gd name="T16" fmla="*/ 0 w 2"/>
                <a:gd name="T17" fmla="*/ 24 h 24"/>
                <a:gd name="T18" fmla="*/ 2 w 2"/>
                <a:gd name="T19" fmla="*/ 2 h 24"/>
                <a:gd name="T20" fmla="*/ 2 w 2"/>
                <a:gd name="T21" fmla="*/ 1 h 24"/>
                <a:gd name="T22" fmla="*/ 2 w 2"/>
                <a:gd name="T23" fmla="*/ 1 h 24"/>
                <a:gd name="T24" fmla="*/ 2 w 2"/>
                <a:gd name="T25" fmla="*/ 0 h 24"/>
                <a:gd name="T26" fmla="*/ 2 w 2"/>
                <a:gd name="T27" fmla="*/ 0 h 24"/>
                <a:gd name="T28" fmla="*/ 2 w 2"/>
                <a:gd name="T29" fmla="*/ 0 h 24"/>
                <a:gd name="T30" fmla="*/ 2 w 2"/>
                <a:gd name="T31" fmla="*/ 0 h 24"/>
                <a:gd name="T32" fmla="*/ 1 w 2"/>
                <a:gd name="T33" fmla="*/ 1 h 24"/>
                <a:gd name="T34" fmla="*/ 1 w 2"/>
                <a:gd name="T35" fmla="*/ 1 h 24"/>
                <a:gd name="T36" fmla="*/ 1 w 2"/>
                <a:gd name="T37" fmla="*/ 1 h 24"/>
                <a:gd name="T38" fmla="*/ 1 w 2"/>
                <a:gd name="T39" fmla="*/ 2 h 24"/>
                <a:gd name="T40" fmla="*/ 1 w 2"/>
                <a:gd name="T41" fmla="*/ 2 h 24"/>
                <a:gd name="T42" fmla="*/ 2 w 2"/>
                <a:gd name="T43" fmla="*/ 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 h="24">
                  <a:moveTo>
                    <a:pt x="0" y="24"/>
                  </a:moveTo>
                  <a:lnTo>
                    <a:pt x="1" y="24"/>
                  </a:lnTo>
                  <a:lnTo>
                    <a:pt x="1" y="23"/>
                  </a:lnTo>
                  <a:lnTo>
                    <a:pt x="0" y="23"/>
                  </a:lnTo>
                  <a:lnTo>
                    <a:pt x="0" y="23"/>
                  </a:lnTo>
                  <a:lnTo>
                    <a:pt x="0" y="24"/>
                  </a:lnTo>
                  <a:lnTo>
                    <a:pt x="0" y="24"/>
                  </a:lnTo>
                  <a:lnTo>
                    <a:pt x="0" y="24"/>
                  </a:lnTo>
                  <a:lnTo>
                    <a:pt x="0" y="24"/>
                  </a:lnTo>
                  <a:close/>
                  <a:moveTo>
                    <a:pt x="2" y="2"/>
                  </a:moveTo>
                  <a:lnTo>
                    <a:pt x="2" y="1"/>
                  </a:lnTo>
                  <a:lnTo>
                    <a:pt x="2" y="1"/>
                  </a:lnTo>
                  <a:lnTo>
                    <a:pt x="2" y="0"/>
                  </a:lnTo>
                  <a:lnTo>
                    <a:pt x="2" y="0"/>
                  </a:lnTo>
                  <a:lnTo>
                    <a:pt x="2" y="0"/>
                  </a:lnTo>
                  <a:lnTo>
                    <a:pt x="2" y="0"/>
                  </a:lnTo>
                  <a:lnTo>
                    <a:pt x="1" y="1"/>
                  </a:lnTo>
                  <a:lnTo>
                    <a:pt x="1" y="1"/>
                  </a:lnTo>
                  <a:lnTo>
                    <a:pt x="1" y="1"/>
                  </a:lnTo>
                  <a:lnTo>
                    <a:pt x="1" y="2"/>
                  </a:lnTo>
                  <a:lnTo>
                    <a:pt x="1" y="2"/>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7" name="Malta">
              <a:extLst>
                <a:ext uri="{FF2B5EF4-FFF2-40B4-BE49-F238E27FC236}">
                  <a16:creationId xmlns:a16="http://schemas.microsoft.com/office/drawing/2014/main" id="{ED41B9EE-D2B3-4F46-82B2-248F7F2C0759}"/>
                </a:ext>
              </a:extLst>
            </p:cNvPr>
            <p:cNvSpPr>
              <a:spLocks noEditPoints="1"/>
            </p:cNvSpPr>
            <p:nvPr/>
          </p:nvSpPr>
          <p:spPr bwMode="auto">
            <a:xfrm>
              <a:off x="6439694" y="2700112"/>
              <a:ext cx="11112" cy="11113"/>
            </a:xfrm>
            <a:custGeom>
              <a:avLst/>
              <a:gdLst>
                <a:gd name="T0" fmla="*/ 7 w 7"/>
                <a:gd name="T1" fmla="*/ 6 h 7"/>
                <a:gd name="T2" fmla="*/ 7 w 7"/>
                <a:gd name="T3" fmla="*/ 5 h 7"/>
                <a:gd name="T4" fmla="*/ 5 w 7"/>
                <a:gd name="T5" fmla="*/ 3 h 7"/>
                <a:gd name="T6" fmla="*/ 3 w 7"/>
                <a:gd name="T7" fmla="*/ 3 h 7"/>
                <a:gd name="T8" fmla="*/ 3 w 7"/>
                <a:gd name="T9" fmla="*/ 5 h 7"/>
                <a:gd name="T10" fmla="*/ 5 w 7"/>
                <a:gd name="T11" fmla="*/ 7 h 7"/>
                <a:gd name="T12" fmla="*/ 7 w 7"/>
                <a:gd name="T13" fmla="*/ 7 h 7"/>
                <a:gd name="T14" fmla="*/ 7 w 7"/>
                <a:gd name="T15" fmla="*/ 6 h 7"/>
                <a:gd name="T16" fmla="*/ 7 w 7"/>
                <a:gd name="T17" fmla="*/ 6 h 7"/>
                <a:gd name="T18" fmla="*/ 2 w 7"/>
                <a:gd name="T19" fmla="*/ 1 h 7"/>
                <a:gd name="T20" fmla="*/ 2 w 7"/>
                <a:gd name="T21" fmla="*/ 1 h 7"/>
                <a:gd name="T22" fmla="*/ 2 w 7"/>
                <a:gd name="T23" fmla="*/ 0 h 7"/>
                <a:gd name="T24" fmla="*/ 1 w 7"/>
                <a:gd name="T25" fmla="*/ 0 h 7"/>
                <a:gd name="T26" fmla="*/ 0 w 7"/>
                <a:gd name="T27" fmla="*/ 0 h 7"/>
                <a:gd name="T28" fmla="*/ 0 w 7"/>
                <a:gd name="T29" fmla="*/ 1 h 7"/>
                <a:gd name="T30" fmla="*/ 1 w 7"/>
                <a:gd name="T31" fmla="*/ 2 h 7"/>
                <a:gd name="T32" fmla="*/ 2 w 7"/>
                <a:gd name="T33" fmla="*/ 1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 h="7">
                  <a:moveTo>
                    <a:pt x="7" y="6"/>
                  </a:moveTo>
                  <a:lnTo>
                    <a:pt x="7" y="5"/>
                  </a:lnTo>
                  <a:lnTo>
                    <a:pt x="5" y="3"/>
                  </a:lnTo>
                  <a:lnTo>
                    <a:pt x="3" y="3"/>
                  </a:lnTo>
                  <a:lnTo>
                    <a:pt x="3" y="5"/>
                  </a:lnTo>
                  <a:lnTo>
                    <a:pt x="5" y="7"/>
                  </a:lnTo>
                  <a:lnTo>
                    <a:pt x="7" y="7"/>
                  </a:lnTo>
                  <a:lnTo>
                    <a:pt x="7" y="6"/>
                  </a:lnTo>
                  <a:lnTo>
                    <a:pt x="7" y="6"/>
                  </a:lnTo>
                  <a:close/>
                  <a:moveTo>
                    <a:pt x="2" y="1"/>
                  </a:moveTo>
                  <a:lnTo>
                    <a:pt x="2" y="1"/>
                  </a:lnTo>
                  <a:lnTo>
                    <a:pt x="2" y="0"/>
                  </a:lnTo>
                  <a:lnTo>
                    <a:pt x="1" y="0"/>
                  </a:lnTo>
                  <a:lnTo>
                    <a:pt x="0" y="0"/>
                  </a:lnTo>
                  <a:lnTo>
                    <a:pt x="0" y="1"/>
                  </a:lnTo>
                  <a:lnTo>
                    <a:pt x="1" y="2"/>
                  </a:lnTo>
                  <a:lnTo>
                    <a:pt x="2"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8" name="Montserrat">
              <a:extLst>
                <a:ext uri="{FF2B5EF4-FFF2-40B4-BE49-F238E27FC236}">
                  <a16:creationId xmlns:a16="http://schemas.microsoft.com/office/drawing/2014/main" id="{B4779D8D-7D42-4C66-A39F-C585C29D776C}"/>
                </a:ext>
              </a:extLst>
            </p:cNvPr>
            <p:cNvSpPr>
              <a:spLocks/>
            </p:cNvSpPr>
            <p:nvPr/>
          </p:nvSpPr>
          <p:spPr bwMode="auto">
            <a:xfrm>
              <a:off x="3948906" y="3428774"/>
              <a:ext cx="1587" cy="3175"/>
            </a:xfrm>
            <a:custGeom>
              <a:avLst/>
              <a:gdLst>
                <a:gd name="T0" fmla="*/ 1 w 1"/>
                <a:gd name="T1" fmla="*/ 2 h 2"/>
                <a:gd name="T2" fmla="*/ 1 w 1"/>
                <a:gd name="T3" fmla="*/ 0 h 2"/>
                <a:gd name="T4" fmla="*/ 0 w 1"/>
                <a:gd name="T5" fmla="*/ 0 h 2"/>
                <a:gd name="T6" fmla="*/ 0 w 1"/>
                <a:gd name="T7" fmla="*/ 1 h 2"/>
                <a:gd name="T8" fmla="*/ 0 w 1"/>
                <a:gd name="T9" fmla="*/ 2 h 2"/>
                <a:gd name="T10" fmla="*/ 1 w 1"/>
                <a:gd name="T11" fmla="*/ 2 h 2"/>
                <a:gd name="T12" fmla="*/ 1 w 1"/>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 h="2">
                  <a:moveTo>
                    <a:pt x="1" y="2"/>
                  </a:moveTo>
                  <a:lnTo>
                    <a:pt x="1" y="0"/>
                  </a:lnTo>
                  <a:lnTo>
                    <a:pt x="0" y="0"/>
                  </a:lnTo>
                  <a:lnTo>
                    <a:pt x="0" y="1"/>
                  </a:lnTo>
                  <a:lnTo>
                    <a:pt x="0" y="2"/>
                  </a:lnTo>
                  <a:lnTo>
                    <a:pt x="1" y="2"/>
                  </a:lnTo>
                  <a:lnTo>
                    <a:pt x="1"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89" name="Mauritius">
              <a:extLst>
                <a:ext uri="{FF2B5EF4-FFF2-40B4-BE49-F238E27FC236}">
                  <a16:creationId xmlns:a16="http://schemas.microsoft.com/office/drawing/2014/main" id="{37F30451-D576-4D86-97E7-0DAFA597CD93}"/>
                </a:ext>
              </a:extLst>
            </p:cNvPr>
            <p:cNvSpPr>
              <a:spLocks/>
            </p:cNvSpPr>
            <p:nvPr/>
          </p:nvSpPr>
          <p:spPr bwMode="auto">
            <a:xfrm>
              <a:off x="7871619" y="4816248"/>
              <a:ext cx="14287" cy="20638"/>
            </a:xfrm>
            <a:custGeom>
              <a:avLst/>
              <a:gdLst>
                <a:gd name="T0" fmla="*/ 6 w 9"/>
                <a:gd name="T1" fmla="*/ 12 h 13"/>
                <a:gd name="T2" fmla="*/ 7 w 9"/>
                <a:gd name="T3" fmla="*/ 11 h 13"/>
                <a:gd name="T4" fmla="*/ 8 w 9"/>
                <a:gd name="T5" fmla="*/ 9 h 13"/>
                <a:gd name="T6" fmla="*/ 9 w 9"/>
                <a:gd name="T7" fmla="*/ 8 h 13"/>
                <a:gd name="T8" fmla="*/ 9 w 9"/>
                <a:gd name="T9" fmla="*/ 5 h 13"/>
                <a:gd name="T10" fmla="*/ 9 w 9"/>
                <a:gd name="T11" fmla="*/ 2 h 13"/>
                <a:gd name="T12" fmla="*/ 7 w 9"/>
                <a:gd name="T13" fmla="*/ 0 h 13"/>
                <a:gd name="T14" fmla="*/ 5 w 9"/>
                <a:gd name="T15" fmla="*/ 1 h 13"/>
                <a:gd name="T16" fmla="*/ 4 w 9"/>
                <a:gd name="T17" fmla="*/ 1 h 13"/>
                <a:gd name="T18" fmla="*/ 3 w 9"/>
                <a:gd name="T19" fmla="*/ 3 h 13"/>
                <a:gd name="T20" fmla="*/ 1 w 9"/>
                <a:gd name="T21" fmla="*/ 4 h 13"/>
                <a:gd name="T22" fmla="*/ 1 w 9"/>
                <a:gd name="T23" fmla="*/ 6 h 13"/>
                <a:gd name="T24" fmla="*/ 0 w 9"/>
                <a:gd name="T25" fmla="*/ 8 h 13"/>
                <a:gd name="T26" fmla="*/ 0 w 9"/>
                <a:gd name="T27" fmla="*/ 10 h 13"/>
                <a:gd name="T28" fmla="*/ 0 w 9"/>
                <a:gd name="T29" fmla="*/ 10 h 13"/>
                <a:gd name="T30" fmla="*/ 0 w 9"/>
                <a:gd name="T31" fmla="*/ 11 h 13"/>
                <a:gd name="T32" fmla="*/ 0 w 9"/>
                <a:gd name="T33" fmla="*/ 12 h 13"/>
                <a:gd name="T34" fmla="*/ 3 w 9"/>
                <a:gd name="T35" fmla="*/ 13 h 13"/>
                <a:gd name="T36" fmla="*/ 6 w 9"/>
                <a:gd name="T37" fmla="*/ 12 h 13"/>
                <a:gd name="T38" fmla="*/ 6 w 9"/>
                <a:gd name="T39" fmla="*/ 12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9" h="13">
                  <a:moveTo>
                    <a:pt x="6" y="12"/>
                  </a:moveTo>
                  <a:lnTo>
                    <a:pt x="7" y="11"/>
                  </a:lnTo>
                  <a:lnTo>
                    <a:pt x="8" y="9"/>
                  </a:lnTo>
                  <a:lnTo>
                    <a:pt x="9" y="8"/>
                  </a:lnTo>
                  <a:lnTo>
                    <a:pt x="9" y="5"/>
                  </a:lnTo>
                  <a:lnTo>
                    <a:pt x="9" y="2"/>
                  </a:lnTo>
                  <a:lnTo>
                    <a:pt x="7" y="0"/>
                  </a:lnTo>
                  <a:lnTo>
                    <a:pt x="5" y="1"/>
                  </a:lnTo>
                  <a:lnTo>
                    <a:pt x="4" y="1"/>
                  </a:lnTo>
                  <a:lnTo>
                    <a:pt x="3" y="3"/>
                  </a:lnTo>
                  <a:lnTo>
                    <a:pt x="1" y="4"/>
                  </a:lnTo>
                  <a:lnTo>
                    <a:pt x="1" y="6"/>
                  </a:lnTo>
                  <a:lnTo>
                    <a:pt x="0" y="8"/>
                  </a:lnTo>
                  <a:lnTo>
                    <a:pt x="0" y="10"/>
                  </a:lnTo>
                  <a:lnTo>
                    <a:pt x="0" y="10"/>
                  </a:lnTo>
                  <a:lnTo>
                    <a:pt x="0" y="11"/>
                  </a:lnTo>
                  <a:lnTo>
                    <a:pt x="0" y="12"/>
                  </a:lnTo>
                  <a:lnTo>
                    <a:pt x="3" y="13"/>
                  </a:lnTo>
                  <a:lnTo>
                    <a:pt x="6" y="12"/>
                  </a:lnTo>
                  <a:lnTo>
                    <a:pt x="6"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0" name="New Caledonia">
              <a:extLst>
                <a:ext uri="{FF2B5EF4-FFF2-40B4-BE49-F238E27FC236}">
                  <a16:creationId xmlns:a16="http://schemas.microsoft.com/office/drawing/2014/main" id="{7C9D784C-4CAF-4A37-8B2C-577658120CA3}"/>
                </a:ext>
              </a:extLst>
            </p:cNvPr>
            <p:cNvSpPr>
              <a:spLocks noEditPoints="1"/>
            </p:cNvSpPr>
            <p:nvPr/>
          </p:nvSpPr>
          <p:spPr bwMode="auto">
            <a:xfrm>
              <a:off x="11235531" y="4782911"/>
              <a:ext cx="249237" cy="133350"/>
            </a:xfrm>
            <a:custGeom>
              <a:avLst/>
              <a:gdLst>
                <a:gd name="T0" fmla="*/ 136 w 157"/>
                <a:gd name="T1" fmla="*/ 81 h 84"/>
                <a:gd name="T2" fmla="*/ 136 w 157"/>
                <a:gd name="T3" fmla="*/ 84 h 84"/>
                <a:gd name="T4" fmla="*/ 137 w 157"/>
                <a:gd name="T5" fmla="*/ 83 h 84"/>
                <a:gd name="T6" fmla="*/ 154 w 157"/>
                <a:gd name="T7" fmla="*/ 53 h 84"/>
                <a:gd name="T8" fmla="*/ 151 w 157"/>
                <a:gd name="T9" fmla="*/ 54 h 84"/>
                <a:gd name="T10" fmla="*/ 152 w 157"/>
                <a:gd name="T11" fmla="*/ 59 h 84"/>
                <a:gd name="T12" fmla="*/ 156 w 157"/>
                <a:gd name="T13" fmla="*/ 60 h 84"/>
                <a:gd name="T14" fmla="*/ 155 w 157"/>
                <a:gd name="T15" fmla="*/ 55 h 84"/>
                <a:gd name="T16" fmla="*/ 145 w 157"/>
                <a:gd name="T17" fmla="*/ 47 h 84"/>
                <a:gd name="T18" fmla="*/ 143 w 157"/>
                <a:gd name="T19" fmla="*/ 42 h 84"/>
                <a:gd name="T20" fmla="*/ 142 w 157"/>
                <a:gd name="T21" fmla="*/ 37 h 84"/>
                <a:gd name="T22" fmla="*/ 140 w 157"/>
                <a:gd name="T23" fmla="*/ 39 h 84"/>
                <a:gd name="T24" fmla="*/ 137 w 157"/>
                <a:gd name="T25" fmla="*/ 43 h 84"/>
                <a:gd name="T26" fmla="*/ 141 w 157"/>
                <a:gd name="T27" fmla="*/ 48 h 84"/>
                <a:gd name="T28" fmla="*/ 129 w 157"/>
                <a:gd name="T29" fmla="*/ 38 h 84"/>
                <a:gd name="T30" fmla="*/ 131 w 157"/>
                <a:gd name="T31" fmla="*/ 35 h 84"/>
                <a:gd name="T32" fmla="*/ 133 w 157"/>
                <a:gd name="T33" fmla="*/ 32 h 84"/>
                <a:gd name="T34" fmla="*/ 131 w 157"/>
                <a:gd name="T35" fmla="*/ 32 h 84"/>
                <a:gd name="T36" fmla="*/ 128 w 157"/>
                <a:gd name="T37" fmla="*/ 38 h 84"/>
                <a:gd name="T38" fmla="*/ 83 w 157"/>
                <a:gd name="T39" fmla="*/ 27 h 84"/>
                <a:gd name="T40" fmla="*/ 80 w 157"/>
                <a:gd name="T41" fmla="*/ 27 h 84"/>
                <a:gd name="T42" fmla="*/ 81 w 157"/>
                <a:gd name="T43" fmla="*/ 29 h 84"/>
                <a:gd name="T44" fmla="*/ 83 w 157"/>
                <a:gd name="T45" fmla="*/ 36 h 84"/>
                <a:gd name="T46" fmla="*/ 87 w 157"/>
                <a:gd name="T47" fmla="*/ 43 h 84"/>
                <a:gd name="T48" fmla="*/ 91 w 157"/>
                <a:gd name="T49" fmla="*/ 51 h 84"/>
                <a:gd name="T50" fmla="*/ 99 w 157"/>
                <a:gd name="T51" fmla="*/ 59 h 84"/>
                <a:gd name="T52" fmla="*/ 105 w 157"/>
                <a:gd name="T53" fmla="*/ 64 h 84"/>
                <a:gd name="T54" fmla="*/ 112 w 157"/>
                <a:gd name="T55" fmla="*/ 68 h 84"/>
                <a:gd name="T56" fmla="*/ 113 w 157"/>
                <a:gd name="T57" fmla="*/ 71 h 84"/>
                <a:gd name="T58" fmla="*/ 118 w 157"/>
                <a:gd name="T59" fmla="*/ 74 h 84"/>
                <a:gd name="T60" fmla="*/ 119 w 157"/>
                <a:gd name="T61" fmla="*/ 75 h 84"/>
                <a:gd name="T62" fmla="*/ 126 w 157"/>
                <a:gd name="T63" fmla="*/ 78 h 84"/>
                <a:gd name="T64" fmla="*/ 129 w 157"/>
                <a:gd name="T65" fmla="*/ 71 h 84"/>
                <a:gd name="T66" fmla="*/ 122 w 157"/>
                <a:gd name="T67" fmla="*/ 65 h 84"/>
                <a:gd name="T68" fmla="*/ 114 w 157"/>
                <a:gd name="T69" fmla="*/ 56 h 84"/>
                <a:gd name="T70" fmla="*/ 110 w 157"/>
                <a:gd name="T71" fmla="*/ 53 h 84"/>
                <a:gd name="T72" fmla="*/ 106 w 157"/>
                <a:gd name="T73" fmla="*/ 50 h 84"/>
                <a:gd name="T74" fmla="*/ 104 w 157"/>
                <a:gd name="T75" fmla="*/ 45 h 84"/>
                <a:gd name="T76" fmla="*/ 101 w 157"/>
                <a:gd name="T77" fmla="*/ 40 h 84"/>
                <a:gd name="T78" fmla="*/ 96 w 157"/>
                <a:gd name="T79" fmla="*/ 37 h 84"/>
                <a:gd name="T80" fmla="*/ 85 w 157"/>
                <a:gd name="T81" fmla="*/ 29 h 84"/>
                <a:gd name="T82" fmla="*/ 1 w 157"/>
                <a:gd name="T83" fmla="*/ 5 h 84"/>
                <a:gd name="T84" fmla="*/ 1 w 157"/>
                <a:gd name="T85"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57" h="84">
                  <a:moveTo>
                    <a:pt x="137" y="83"/>
                  </a:moveTo>
                  <a:lnTo>
                    <a:pt x="137" y="82"/>
                  </a:lnTo>
                  <a:lnTo>
                    <a:pt x="136" y="81"/>
                  </a:lnTo>
                  <a:lnTo>
                    <a:pt x="135" y="83"/>
                  </a:lnTo>
                  <a:lnTo>
                    <a:pt x="135" y="84"/>
                  </a:lnTo>
                  <a:lnTo>
                    <a:pt x="136" y="84"/>
                  </a:lnTo>
                  <a:lnTo>
                    <a:pt x="136" y="84"/>
                  </a:lnTo>
                  <a:lnTo>
                    <a:pt x="137" y="83"/>
                  </a:lnTo>
                  <a:lnTo>
                    <a:pt x="137" y="83"/>
                  </a:lnTo>
                  <a:close/>
                  <a:moveTo>
                    <a:pt x="155" y="55"/>
                  </a:moveTo>
                  <a:lnTo>
                    <a:pt x="154" y="55"/>
                  </a:lnTo>
                  <a:lnTo>
                    <a:pt x="154" y="53"/>
                  </a:lnTo>
                  <a:lnTo>
                    <a:pt x="155" y="53"/>
                  </a:lnTo>
                  <a:lnTo>
                    <a:pt x="153" y="53"/>
                  </a:lnTo>
                  <a:lnTo>
                    <a:pt x="151" y="54"/>
                  </a:lnTo>
                  <a:lnTo>
                    <a:pt x="151" y="57"/>
                  </a:lnTo>
                  <a:lnTo>
                    <a:pt x="151" y="59"/>
                  </a:lnTo>
                  <a:lnTo>
                    <a:pt x="152" y="59"/>
                  </a:lnTo>
                  <a:lnTo>
                    <a:pt x="152" y="61"/>
                  </a:lnTo>
                  <a:lnTo>
                    <a:pt x="153" y="61"/>
                  </a:lnTo>
                  <a:lnTo>
                    <a:pt x="156" y="60"/>
                  </a:lnTo>
                  <a:lnTo>
                    <a:pt x="157" y="55"/>
                  </a:lnTo>
                  <a:lnTo>
                    <a:pt x="155" y="55"/>
                  </a:lnTo>
                  <a:lnTo>
                    <a:pt x="155" y="55"/>
                  </a:lnTo>
                  <a:lnTo>
                    <a:pt x="155" y="55"/>
                  </a:lnTo>
                  <a:close/>
                  <a:moveTo>
                    <a:pt x="144" y="49"/>
                  </a:moveTo>
                  <a:lnTo>
                    <a:pt x="145" y="47"/>
                  </a:lnTo>
                  <a:lnTo>
                    <a:pt x="145" y="46"/>
                  </a:lnTo>
                  <a:lnTo>
                    <a:pt x="144" y="44"/>
                  </a:lnTo>
                  <a:lnTo>
                    <a:pt x="143" y="42"/>
                  </a:lnTo>
                  <a:lnTo>
                    <a:pt x="144" y="38"/>
                  </a:lnTo>
                  <a:lnTo>
                    <a:pt x="144" y="38"/>
                  </a:lnTo>
                  <a:lnTo>
                    <a:pt x="142" y="37"/>
                  </a:lnTo>
                  <a:lnTo>
                    <a:pt x="139" y="38"/>
                  </a:lnTo>
                  <a:lnTo>
                    <a:pt x="138" y="39"/>
                  </a:lnTo>
                  <a:lnTo>
                    <a:pt x="140" y="39"/>
                  </a:lnTo>
                  <a:lnTo>
                    <a:pt x="141" y="40"/>
                  </a:lnTo>
                  <a:lnTo>
                    <a:pt x="139" y="43"/>
                  </a:lnTo>
                  <a:lnTo>
                    <a:pt x="137" y="43"/>
                  </a:lnTo>
                  <a:lnTo>
                    <a:pt x="138" y="45"/>
                  </a:lnTo>
                  <a:lnTo>
                    <a:pt x="138" y="47"/>
                  </a:lnTo>
                  <a:lnTo>
                    <a:pt x="141" y="48"/>
                  </a:lnTo>
                  <a:lnTo>
                    <a:pt x="142" y="49"/>
                  </a:lnTo>
                  <a:lnTo>
                    <a:pt x="144" y="49"/>
                  </a:lnTo>
                  <a:close/>
                  <a:moveTo>
                    <a:pt x="129" y="38"/>
                  </a:moveTo>
                  <a:lnTo>
                    <a:pt x="130" y="36"/>
                  </a:lnTo>
                  <a:lnTo>
                    <a:pt x="131" y="36"/>
                  </a:lnTo>
                  <a:lnTo>
                    <a:pt x="131" y="35"/>
                  </a:lnTo>
                  <a:lnTo>
                    <a:pt x="131" y="34"/>
                  </a:lnTo>
                  <a:lnTo>
                    <a:pt x="132" y="33"/>
                  </a:lnTo>
                  <a:lnTo>
                    <a:pt x="133" y="32"/>
                  </a:lnTo>
                  <a:lnTo>
                    <a:pt x="132" y="31"/>
                  </a:lnTo>
                  <a:lnTo>
                    <a:pt x="131" y="31"/>
                  </a:lnTo>
                  <a:lnTo>
                    <a:pt x="131" y="32"/>
                  </a:lnTo>
                  <a:lnTo>
                    <a:pt x="130" y="35"/>
                  </a:lnTo>
                  <a:lnTo>
                    <a:pt x="130" y="36"/>
                  </a:lnTo>
                  <a:lnTo>
                    <a:pt x="128" y="38"/>
                  </a:lnTo>
                  <a:lnTo>
                    <a:pt x="129" y="38"/>
                  </a:lnTo>
                  <a:lnTo>
                    <a:pt x="129" y="38"/>
                  </a:lnTo>
                  <a:close/>
                  <a:moveTo>
                    <a:pt x="83" y="27"/>
                  </a:moveTo>
                  <a:lnTo>
                    <a:pt x="80" y="24"/>
                  </a:lnTo>
                  <a:lnTo>
                    <a:pt x="80" y="25"/>
                  </a:lnTo>
                  <a:lnTo>
                    <a:pt x="80" y="27"/>
                  </a:lnTo>
                  <a:lnTo>
                    <a:pt x="80" y="28"/>
                  </a:lnTo>
                  <a:lnTo>
                    <a:pt x="81" y="29"/>
                  </a:lnTo>
                  <a:lnTo>
                    <a:pt x="81" y="29"/>
                  </a:lnTo>
                  <a:lnTo>
                    <a:pt x="81" y="31"/>
                  </a:lnTo>
                  <a:lnTo>
                    <a:pt x="81" y="33"/>
                  </a:lnTo>
                  <a:lnTo>
                    <a:pt x="83" y="36"/>
                  </a:lnTo>
                  <a:lnTo>
                    <a:pt x="84" y="38"/>
                  </a:lnTo>
                  <a:lnTo>
                    <a:pt x="85" y="41"/>
                  </a:lnTo>
                  <a:lnTo>
                    <a:pt x="87" y="43"/>
                  </a:lnTo>
                  <a:lnTo>
                    <a:pt x="88" y="45"/>
                  </a:lnTo>
                  <a:lnTo>
                    <a:pt x="91" y="50"/>
                  </a:lnTo>
                  <a:lnTo>
                    <a:pt x="91" y="51"/>
                  </a:lnTo>
                  <a:lnTo>
                    <a:pt x="93" y="53"/>
                  </a:lnTo>
                  <a:lnTo>
                    <a:pt x="97" y="57"/>
                  </a:lnTo>
                  <a:lnTo>
                    <a:pt x="99" y="59"/>
                  </a:lnTo>
                  <a:lnTo>
                    <a:pt x="100" y="60"/>
                  </a:lnTo>
                  <a:lnTo>
                    <a:pt x="104" y="63"/>
                  </a:lnTo>
                  <a:lnTo>
                    <a:pt x="105" y="64"/>
                  </a:lnTo>
                  <a:lnTo>
                    <a:pt x="106" y="65"/>
                  </a:lnTo>
                  <a:lnTo>
                    <a:pt x="109" y="66"/>
                  </a:lnTo>
                  <a:lnTo>
                    <a:pt x="112" y="68"/>
                  </a:lnTo>
                  <a:lnTo>
                    <a:pt x="112" y="68"/>
                  </a:lnTo>
                  <a:lnTo>
                    <a:pt x="112" y="70"/>
                  </a:lnTo>
                  <a:lnTo>
                    <a:pt x="113" y="71"/>
                  </a:lnTo>
                  <a:lnTo>
                    <a:pt x="115" y="72"/>
                  </a:lnTo>
                  <a:lnTo>
                    <a:pt x="117" y="74"/>
                  </a:lnTo>
                  <a:lnTo>
                    <a:pt x="118" y="74"/>
                  </a:lnTo>
                  <a:lnTo>
                    <a:pt x="118" y="75"/>
                  </a:lnTo>
                  <a:lnTo>
                    <a:pt x="119" y="75"/>
                  </a:lnTo>
                  <a:lnTo>
                    <a:pt x="119" y="75"/>
                  </a:lnTo>
                  <a:lnTo>
                    <a:pt x="123" y="78"/>
                  </a:lnTo>
                  <a:lnTo>
                    <a:pt x="125" y="78"/>
                  </a:lnTo>
                  <a:lnTo>
                    <a:pt x="126" y="78"/>
                  </a:lnTo>
                  <a:lnTo>
                    <a:pt x="128" y="77"/>
                  </a:lnTo>
                  <a:lnTo>
                    <a:pt x="129" y="75"/>
                  </a:lnTo>
                  <a:lnTo>
                    <a:pt x="129" y="71"/>
                  </a:lnTo>
                  <a:lnTo>
                    <a:pt x="127" y="69"/>
                  </a:lnTo>
                  <a:lnTo>
                    <a:pt x="124" y="67"/>
                  </a:lnTo>
                  <a:lnTo>
                    <a:pt x="122" y="65"/>
                  </a:lnTo>
                  <a:lnTo>
                    <a:pt x="121" y="64"/>
                  </a:lnTo>
                  <a:lnTo>
                    <a:pt x="118" y="60"/>
                  </a:lnTo>
                  <a:lnTo>
                    <a:pt x="114" y="56"/>
                  </a:lnTo>
                  <a:lnTo>
                    <a:pt x="112" y="55"/>
                  </a:lnTo>
                  <a:lnTo>
                    <a:pt x="111" y="54"/>
                  </a:lnTo>
                  <a:lnTo>
                    <a:pt x="110" y="53"/>
                  </a:lnTo>
                  <a:lnTo>
                    <a:pt x="109" y="52"/>
                  </a:lnTo>
                  <a:lnTo>
                    <a:pt x="107" y="51"/>
                  </a:lnTo>
                  <a:lnTo>
                    <a:pt x="106" y="50"/>
                  </a:lnTo>
                  <a:lnTo>
                    <a:pt x="104" y="47"/>
                  </a:lnTo>
                  <a:lnTo>
                    <a:pt x="104" y="46"/>
                  </a:lnTo>
                  <a:lnTo>
                    <a:pt x="104" y="45"/>
                  </a:lnTo>
                  <a:lnTo>
                    <a:pt x="104" y="44"/>
                  </a:lnTo>
                  <a:lnTo>
                    <a:pt x="102" y="42"/>
                  </a:lnTo>
                  <a:lnTo>
                    <a:pt x="101" y="40"/>
                  </a:lnTo>
                  <a:lnTo>
                    <a:pt x="101" y="39"/>
                  </a:lnTo>
                  <a:lnTo>
                    <a:pt x="99" y="38"/>
                  </a:lnTo>
                  <a:lnTo>
                    <a:pt x="96" y="37"/>
                  </a:lnTo>
                  <a:lnTo>
                    <a:pt x="90" y="30"/>
                  </a:lnTo>
                  <a:lnTo>
                    <a:pt x="88" y="28"/>
                  </a:lnTo>
                  <a:lnTo>
                    <a:pt x="85" y="29"/>
                  </a:lnTo>
                  <a:lnTo>
                    <a:pt x="83" y="27"/>
                  </a:lnTo>
                  <a:lnTo>
                    <a:pt x="83" y="27"/>
                  </a:lnTo>
                  <a:close/>
                  <a:moveTo>
                    <a:pt x="1" y="5"/>
                  </a:moveTo>
                  <a:lnTo>
                    <a:pt x="2" y="3"/>
                  </a:lnTo>
                  <a:lnTo>
                    <a:pt x="2" y="0"/>
                  </a:lnTo>
                  <a:lnTo>
                    <a:pt x="1" y="2"/>
                  </a:lnTo>
                  <a:lnTo>
                    <a:pt x="0" y="6"/>
                  </a:lnTo>
                  <a:lnTo>
                    <a:pt x="1"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1" name="Marshall Islands">
              <a:extLst>
                <a:ext uri="{FF2B5EF4-FFF2-40B4-BE49-F238E27FC236}">
                  <a16:creationId xmlns:a16="http://schemas.microsoft.com/office/drawing/2014/main" id="{90EB2646-725D-4925-970F-0FFAF7B934FE}"/>
                </a:ext>
              </a:extLst>
            </p:cNvPr>
            <p:cNvSpPr>
              <a:spLocks/>
            </p:cNvSpPr>
            <p:nvPr/>
          </p:nvSpPr>
          <p:spPr bwMode="auto">
            <a:xfrm>
              <a:off x="11557794" y="4081237"/>
              <a:ext cx="0" cy="1588"/>
            </a:xfrm>
            <a:custGeom>
              <a:avLst/>
              <a:gdLst>
                <a:gd name="T0" fmla="*/ 0 h 1"/>
                <a:gd name="T1" fmla="*/ 0 h 1"/>
                <a:gd name="T2" fmla="*/ 0 h 1"/>
                <a:gd name="T3" fmla="*/ 0 h 1"/>
                <a:gd name="T4" fmla="*/ 0 h 1"/>
                <a:gd name="T5" fmla="*/ 0 h 1"/>
                <a:gd name="T6" fmla="*/ 1 h 1"/>
                <a:gd name="T7" fmla="*/ 0 h 1"/>
                <a:gd name="T8" fmla="*/ 0 h 1"/>
              </a:gdLst>
              <a:ahLst/>
              <a:cxnLst>
                <a:cxn ang="0">
                  <a:pos x="0" y="T0"/>
                </a:cxn>
                <a:cxn ang="0">
                  <a:pos x="0" y="T1"/>
                </a:cxn>
                <a:cxn ang="0">
                  <a:pos x="0" y="T2"/>
                </a:cxn>
                <a:cxn ang="0">
                  <a:pos x="0" y="T3"/>
                </a:cxn>
                <a:cxn ang="0">
                  <a:pos x="0" y="T4"/>
                </a:cxn>
                <a:cxn ang="0">
                  <a:pos x="0" y="T5"/>
                </a:cxn>
                <a:cxn ang="0">
                  <a:pos x="0" y="T6"/>
                </a:cxn>
                <a:cxn ang="0">
                  <a:pos x="0" y="T7"/>
                </a:cxn>
                <a:cxn ang="0">
                  <a:pos x="0" y="T8"/>
                </a:cxn>
              </a:cxnLst>
              <a:rect l="0" t="0" r="r" b="b"/>
              <a:pathLst>
                <a:path h="1">
                  <a:moveTo>
                    <a:pt x="0" y="0"/>
                  </a:moveTo>
                  <a:lnTo>
                    <a:pt x="0" y="0"/>
                  </a:lnTo>
                  <a:lnTo>
                    <a:pt x="0" y="0"/>
                  </a:lnTo>
                  <a:lnTo>
                    <a:pt x="0" y="0"/>
                  </a:lnTo>
                  <a:lnTo>
                    <a:pt x="0" y="0"/>
                  </a:lnTo>
                  <a:lnTo>
                    <a:pt x="0" y="0"/>
                  </a:lnTo>
                  <a:lnTo>
                    <a:pt x="0" y="1"/>
                  </a:lnTo>
                  <a:lnTo>
                    <a:pt x="0" y="0"/>
                  </a:lnTo>
                  <a:lnTo>
                    <a:pt x="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2" name="Pitcaim Islands">
              <a:extLst>
                <a:ext uri="{FF2B5EF4-FFF2-40B4-BE49-F238E27FC236}">
                  <a16:creationId xmlns:a16="http://schemas.microsoft.com/office/drawing/2014/main" id="{43C0CF56-5656-4BBD-81CA-BF49A1508FEA}"/>
                </a:ext>
              </a:extLst>
            </p:cNvPr>
            <p:cNvSpPr>
              <a:spLocks/>
            </p:cNvSpPr>
            <p:nvPr/>
          </p:nvSpPr>
          <p:spPr bwMode="auto">
            <a:xfrm>
              <a:off x="1828006" y="4979761"/>
              <a:ext cx="3175" cy="3175"/>
            </a:xfrm>
            <a:custGeom>
              <a:avLst/>
              <a:gdLst>
                <a:gd name="T0" fmla="*/ 2 w 2"/>
                <a:gd name="T1" fmla="*/ 2 h 2"/>
                <a:gd name="T2" fmla="*/ 2 w 2"/>
                <a:gd name="T3" fmla="*/ 1 h 2"/>
                <a:gd name="T4" fmla="*/ 1 w 2"/>
                <a:gd name="T5" fmla="*/ 0 h 2"/>
                <a:gd name="T6" fmla="*/ 1 w 2"/>
                <a:gd name="T7" fmla="*/ 0 h 2"/>
                <a:gd name="T8" fmla="*/ 0 w 2"/>
                <a:gd name="T9" fmla="*/ 0 h 2"/>
                <a:gd name="T10" fmla="*/ 1 w 2"/>
                <a:gd name="T11" fmla="*/ 1 h 2"/>
                <a:gd name="T12" fmla="*/ 1 w 2"/>
                <a:gd name="T13" fmla="*/ 2 h 2"/>
                <a:gd name="T14" fmla="*/ 2 w 2"/>
                <a:gd name="T15" fmla="*/ 2 h 2"/>
                <a:gd name="T16" fmla="*/ 2 w 2"/>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 h="2">
                  <a:moveTo>
                    <a:pt x="2" y="2"/>
                  </a:moveTo>
                  <a:lnTo>
                    <a:pt x="2" y="1"/>
                  </a:lnTo>
                  <a:lnTo>
                    <a:pt x="1" y="0"/>
                  </a:lnTo>
                  <a:lnTo>
                    <a:pt x="1" y="0"/>
                  </a:lnTo>
                  <a:lnTo>
                    <a:pt x="0" y="0"/>
                  </a:lnTo>
                  <a:lnTo>
                    <a:pt x="1" y="1"/>
                  </a:lnTo>
                  <a:lnTo>
                    <a:pt x="1" y="2"/>
                  </a:lnTo>
                  <a:lnTo>
                    <a:pt x="2" y="2"/>
                  </a:lnTo>
                  <a:lnTo>
                    <a:pt x="2"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3" name="Puerto Rico">
              <a:extLst>
                <a:ext uri="{FF2B5EF4-FFF2-40B4-BE49-F238E27FC236}">
                  <a16:creationId xmlns:a16="http://schemas.microsoft.com/office/drawing/2014/main" id="{488BB6C3-4873-49F7-B89E-4AD4909E51F9}"/>
                </a:ext>
              </a:extLst>
            </p:cNvPr>
            <p:cNvSpPr>
              <a:spLocks noEditPoints="1"/>
            </p:cNvSpPr>
            <p:nvPr/>
          </p:nvSpPr>
          <p:spPr bwMode="auto">
            <a:xfrm>
              <a:off x="3764756" y="3363686"/>
              <a:ext cx="85725" cy="22225"/>
            </a:xfrm>
            <a:custGeom>
              <a:avLst/>
              <a:gdLst>
                <a:gd name="T0" fmla="*/ 1 w 54"/>
                <a:gd name="T1" fmla="*/ 11 h 14"/>
                <a:gd name="T2" fmla="*/ 2 w 54"/>
                <a:gd name="T3" fmla="*/ 11 h 14"/>
                <a:gd name="T4" fmla="*/ 2 w 54"/>
                <a:gd name="T5" fmla="*/ 10 h 14"/>
                <a:gd name="T6" fmla="*/ 2 w 54"/>
                <a:gd name="T7" fmla="*/ 10 h 14"/>
                <a:gd name="T8" fmla="*/ 2 w 54"/>
                <a:gd name="T9" fmla="*/ 10 h 14"/>
                <a:gd name="T10" fmla="*/ 0 w 54"/>
                <a:gd name="T11" fmla="*/ 10 h 14"/>
                <a:gd name="T12" fmla="*/ 0 w 54"/>
                <a:gd name="T13" fmla="*/ 10 h 14"/>
                <a:gd name="T14" fmla="*/ 1 w 54"/>
                <a:gd name="T15" fmla="*/ 11 h 14"/>
                <a:gd name="T16" fmla="*/ 1 w 54"/>
                <a:gd name="T17" fmla="*/ 11 h 14"/>
                <a:gd name="T18" fmla="*/ 53 w 54"/>
                <a:gd name="T19" fmla="*/ 10 h 14"/>
                <a:gd name="T20" fmla="*/ 54 w 54"/>
                <a:gd name="T21" fmla="*/ 9 h 14"/>
                <a:gd name="T22" fmla="*/ 51 w 54"/>
                <a:gd name="T23" fmla="*/ 8 h 14"/>
                <a:gd name="T24" fmla="*/ 50 w 54"/>
                <a:gd name="T25" fmla="*/ 10 h 14"/>
                <a:gd name="T26" fmla="*/ 53 w 54"/>
                <a:gd name="T27" fmla="*/ 10 h 14"/>
                <a:gd name="T28" fmla="*/ 38 w 54"/>
                <a:gd name="T29" fmla="*/ 1 h 14"/>
                <a:gd name="T30" fmla="*/ 25 w 54"/>
                <a:gd name="T31" fmla="*/ 1 h 14"/>
                <a:gd name="T32" fmla="*/ 18 w 54"/>
                <a:gd name="T33" fmla="*/ 1 h 14"/>
                <a:gd name="T34" fmla="*/ 17 w 54"/>
                <a:gd name="T35" fmla="*/ 2 h 14"/>
                <a:gd name="T36" fmla="*/ 15 w 54"/>
                <a:gd name="T37" fmla="*/ 3 h 14"/>
                <a:gd name="T38" fmla="*/ 15 w 54"/>
                <a:gd name="T39" fmla="*/ 5 h 14"/>
                <a:gd name="T40" fmla="*/ 16 w 54"/>
                <a:gd name="T41" fmla="*/ 9 h 14"/>
                <a:gd name="T42" fmla="*/ 16 w 54"/>
                <a:gd name="T43" fmla="*/ 14 h 14"/>
                <a:gd name="T44" fmla="*/ 20 w 54"/>
                <a:gd name="T45" fmla="*/ 14 h 14"/>
                <a:gd name="T46" fmla="*/ 23 w 54"/>
                <a:gd name="T47" fmla="*/ 14 h 14"/>
                <a:gd name="T48" fmla="*/ 27 w 54"/>
                <a:gd name="T49" fmla="*/ 13 h 14"/>
                <a:gd name="T50" fmla="*/ 32 w 54"/>
                <a:gd name="T51" fmla="*/ 14 h 14"/>
                <a:gd name="T52" fmla="*/ 34 w 54"/>
                <a:gd name="T53" fmla="*/ 14 h 14"/>
                <a:gd name="T54" fmla="*/ 38 w 54"/>
                <a:gd name="T55" fmla="*/ 14 h 14"/>
                <a:gd name="T56" fmla="*/ 43 w 54"/>
                <a:gd name="T57" fmla="*/ 11 h 14"/>
                <a:gd name="T58" fmla="*/ 46 w 54"/>
                <a:gd name="T59" fmla="*/ 8 h 14"/>
                <a:gd name="T60" fmla="*/ 49 w 54"/>
                <a:gd name="T61" fmla="*/ 3 h 14"/>
                <a:gd name="T62" fmla="*/ 43 w 54"/>
                <a:gd name="T63" fmla="*/ 1 h 14"/>
                <a:gd name="T64" fmla="*/ 39 w 54"/>
                <a:gd name="T65" fmla="*/ 1 h 14"/>
                <a:gd name="T66" fmla="*/ 39 w 54"/>
                <a:gd name="T67" fmla="*/ 2 h 14"/>
                <a:gd name="T68" fmla="*/ 39 w 54"/>
                <a:gd name="T6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4" h="14">
                  <a:moveTo>
                    <a:pt x="1" y="11"/>
                  </a:moveTo>
                  <a:lnTo>
                    <a:pt x="1" y="11"/>
                  </a:lnTo>
                  <a:lnTo>
                    <a:pt x="1" y="11"/>
                  </a:lnTo>
                  <a:lnTo>
                    <a:pt x="2" y="11"/>
                  </a:lnTo>
                  <a:lnTo>
                    <a:pt x="2" y="10"/>
                  </a:lnTo>
                  <a:lnTo>
                    <a:pt x="2" y="10"/>
                  </a:lnTo>
                  <a:lnTo>
                    <a:pt x="2" y="10"/>
                  </a:lnTo>
                  <a:lnTo>
                    <a:pt x="2" y="10"/>
                  </a:lnTo>
                  <a:lnTo>
                    <a:pt x="2" y="10"/>
                  </a:lnTo>
                  <a:lnTo>
                    <a:pt x="2" y="10"/>
                  </a:lnTo>
                  <a:lnTo>
                    <a:pt x="0" y="10"/>
                  </a:lnTo>
                  <a:lnTo>
                    <a:pt x="0" y="10"/>
                  </a:lnTo>
                  <a:lnTo>
                    <a:pt x="0" y="10"/>
                  </a:lnTo>
                  <a:lnTo>
                    <a:pt x="0" y="10"/>
                  </a:lnTo>
                  <a:lnTo>
                    <a:pt x="1" y="11"/>
                  </a:lnTo>
                  <a:lnTo>
                    <a:pt x="1" y="11"/>
                  </a:lnTo>
                  <a:lnTo>
                    <a:pt x="1" y="11"/>
                  </a:lnTo>
                  <a:lnTo>
                    <a:pt x="1" y="11"/>
                  </a:lnTo>
                  <a:lnTo>
                    <a:pt x="1" y="11"/>
                  </a:lnTo>
                  <a:close/>
                  <a:moveTo>
                    <a:pt x="53" y="10"/>
                  </a:moveTo>
                  <a:lnTo>
                    <a:pt x="54" y="9"/>
                  </a:lnTo>
                  <a:lnTo>
                    <a:pt x="54" y="9"/>
                  </a:lnTo>
                  <a:lnTo>
                    <a:pt x="53" y="8"/>
                  </a:lnTo>
                  <a:lnTo>
                    <a:pt x="51" y="8"/>
                  </a:lnTo>
                  <a:lnTo>
                    <a:pt x="49" y="9"/>
                  </a:lnTo>
                  <a:lnTo>
                    <a:pt x="50" y="10"/>
                  </a:lnTo>
                  <a:lnTo>
                    <a:pt x="51" y="10"/>
                  </a:lnTo>
                  <a:lnTo>
                    <a:pt x="53" y="10"/>
                  </a:lnTo>
                  <a:close/>
                  <a:moveTo>
                    <a:pt x="39" y="1"/>
                  </a:moveTo>
                  <a:lnTo>
                    <a:pt x="38" y="1"/>
                  </a:lnTo>
                  <a:lnTo>
                    <a:pt x="38" y="1"/>
                  </a:lnTo>
                  <a:lnTo>
                    <a:pt x="25" y="1"/>
                  </a:lnTo>
                  <a:lnTo>
                    <a:pt x="19" y="0"/>
                  </a:lnTo>
                  <a:lnTo>
                    <a:pt x="18" y="1"/>
                  </a:lnTo>
                  <a:lnTo>
                    <a:pt x="17" y="1"/>
                  </a:lnTo>
                  <a:lnTo>
                    <a:pt x="17" y="2"/>
                  </a:lnTo>
                  <a:lnTo>
                    <a:pt x="16" y="2"/>
                  </a:lnTo>
                  <a:lnTo>
                    <a:pt x="15" y="3"/>
                  </a:lnTo>
                  <a:lnTo>
                    <a:pt x="15" y="4"/>
                  </a:lnTo>
                  <a:lnTo>
                    <a:pt x="15" y="5"/>
                  </a:lnTo>
                  <a:lnTo>
                    <a:pt x="16" y="7"/>
                  </a:lnTo>
                  <a:lnTo>
                    <a:pt x="16" y="9"/>
                  </a:lnTo>
                  <a:lnTo>
                    <a:pt x="15" y="13"/>
                  </a:lnTo>
                  <a:lnTo>
                    <a:pt x="16" y="14"/>
                  </a:lnTo>
                  <a:lnTo>
                    <a:pt x="19" y="13"/>
                  </a:lnTo>
                  <a:lnTo>
                    <a:pt x="20" y="14"/>
                  </a:lnTo>
                  <a:lnTo>
                    <a:pt x="21" y="14"/>
                  </a:lnTo>
                  <a:lnTo>
                    <a:pt x="23" y="14"/>
                  </a:lnTo>
                  <a:lnTo>
                    <a:pt x="25" y="13"/>
                  </a:lnTo>
                  <a:lnTo>
                    <a:pt x="27" y="13"/>
                  </a:lnTo>
                  <a:lnTo>
                    <a:pt x="29" y="13"/>
                  </a:lnTo>
                  <a:lnTo>
                    <a:pt x="32" y="14"/>
                  </a:lnTo>
                  <a:lnTo>
                    <a:pt x="33" y="14"/>
                  </a:lnTo>
                  <a:lnTo>
                    <a:pt x="34" y="14"/>
                  </a:lnTo>
                  <a:lnTo>
                    <a:pt x="35" y="14"/>
                  </a:lnTo>
                  <a:lnTo>
                    <a:pt x="38" y="14"/>
                  </a:lnTo>
                  <a:lnTo>
                    <a:pt x="40" y="13"/>
                  </a:lnTo>
                  <a:lnTo>
                    <a:pt x="43" y="11"/>
                  </a:lnTo>
                  <a:lnTo>
                    <a:pt x="45" y="9"/>
                  </a:lnTo>
                  <a:lnTo>
                    <a:pt x="46" y="8"/>
                  </a:lnTo>
                  <a:lnTo>
                    <a:pt x="49" y="6"/>
                  </a:lnTo>
                  <a:lnTo>
                    <a:pt x="49" y="3"/>
                  </a:lnTo>
                  <a:lnTo>
                    <a:pt x="46" y="2"/>
                  </a:lnTo>
                  <a:lnTo>
                    <a:pt x="43" y="1"/>
                  </a:lnTo>
                  <a:lnTo>
                    <a:pt x="39" y="1"/>
                  </a:lnTo>
                  <a:lnTo>
                    <a:pt x="39" y="1"/>
                  </a:lnTo>
                  <a:lnTo>
                    <a:pt x="39" y="2"/>
                  </a:lnTo>
                  <a:lnTo>
                    <a:pt x="39" y="2"/>
                  </a:lnTo>
                  <a:lnTo>
                    <a:pt x="39" y="1"/>
                  </a:lnTo>
                  <a:lnTo>
                    <a:pt x="39"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4" name="Singapore">
              <a:extLst>
                <a:ext uri="{FF2B5EF4-FFF2-40B4-BE49-F238E27FC236}">
                  <a16:creationId xmlns:a16="http://schemas.microsoft.com/office/drawing/2014/main" id="{8FF5ED45-B10D-4789-8E10-0F4AD8152FE0}"/>
                </a:ext>
              </a:extLst>
            </p:cNvPr>
            <p:cNvSpPr>
              <a:spLocks/>
            </p:cNvSpPr>
            <p:nvPr/>
          </p:nvSpPr>
          <p:spPr bwMode="auto">
            <a:xfrm>
              <a:off x="9449594" y="4008212"/>
              <a:ext cx="9525" cy="4763"/>
            </a:xfrm>
            <a:custGeom>
              <a:avLst/>
              <a:gdLst>
                <a:gd name="T0" fmla="*/ 6 w 6"/>
                <a:gd name="T1" fmla="*/ 3 h 3"/>
                <a:gd name="T2" fmla="*/ 6 w 6"/>
                <a:gd name="T3" fmla="*/ 2 h 3"/>
                <a:gd name="T4" fmla="*/ 6 w 6"/>
                <a:gd name="T5" fmla="*/ 1 h 3"/>
                <a:gd name="T6" fmla="*/ 5 w 6"/>
                <a:gd name="T7" fmla="*/ 1 h 3"/>
                <a:gd name="T8" fmla="*/ 3 w 6"/>
                <a:gd name="T9" fmla="*/ 0 h 3"/>
                <a:gd name="T10" fmla="*/ 1 w 6"/>
                <a:gd name="T11" fmla="*/ 0 h 3"/>
                <a:gd name="T12" fmla="*/ 0 w 6"/>
                <a:gd name="T13" fmla="*/ 3 h 3"/>
                <a:gd name="T14" fmla="*/ 3 w 6"/>
                <a:gd name="T15" fmla="*/ 3 h 3"/>
                <a:gd name="T16" fmla="*/ 6 w 6"/>
                <a:gd name="T17" fmla="*/ 3 h 3"/>
                <a:gd name="T18" fmla="*/ 6 w 6"/>
                <a:gd name="T19"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 h="3">
                  <a:moveTo>
                    <a:pt x="6" y="3"/>
                  </a:moveTo>
                  <a:lnTo>
                    <a:pt x="6" y="2"/>
                  </a:lnTo>
                  <a:lnTo>
                    <a:pt x="6" y="1"/>
                  </a:lnTo>
                  <a:lnTo>
                    <a:pt x="5" y="1"/>
                  </a:lnTo>
                  <a:lnTo>
                    <a:pt x="3" y="0"/>
                  </a:lnTo>
                  <a:lnTo>
                    <a:pt x="1" y="0"/>
                  </a:lnTo>
                  <a:lnTo>
                    <a:pt x="0" y="3"/>
                  </a:lnTo>
                  <a:lnTo>
                    <a:pt x="3" y="3"/>
                  </a:lnTo>
                  <a:lnTo>
                    <a:pt x="6" y="3"/>
                  </a:lnTo>
                  <a:lnTo>
                    <a:pt x="6"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5" name="Solomon Islands">
              <a:extLst>
                <a:ext uri="{FF2B5EF4-FFF2-40B4-BE49-F238E27FC236}">
                  <a16:creationId xmlns:a16="http://schemas.microsoft.com/office/drawing/2014/main" id="{307C1D36-EC21-42A8-8890-108BA66B9D4E}"/>
                </a:ext>
              </a:extLst>
            </p:cNvPr>
            <p:cNvSpPr>
              <a:spLocks noEditPoints="1"/>
            </p:cNvSpPr>
            <p:nvPr/>
          </p:nvSpPr>
          <p:spPr bwMode="auto">
            <a:xfrm>
              <a:off x="11170444" y="4311423"/>
              <a:ext cx="352425" cy="196850"/>
            </a:xfrm>
            <a:custGeom>
              <a:avLst/>
              <a:gdLst>
                <a:gd name="T0" fmla="*/ 220 w 222"/>
                <a:gd name="T1" fmla="*/ 121 h 124"/>
                <a:gd name="T2" fmla="*/ 88 w 222"/>
                <a:gd name="T3" fmla="*/ 121 h 124"/>
                <a:gd name="T4" fmla="*/ 80 w 222"/>
                <a:gd name="T5" fmla="*/ 119 h 124"/>
                <a:gd name="T6" fmla="*/ 87 w 222"/>
                <a:gd name="T7" fmla="*/ 123 h 124"/>
                <a:gd name="T8" fmla="*/ 210 w 222"/>
                <a:gd name="T9" fmla="*/ 97 h 124"/>
                <a:gd name="T10" fmla="*/ 202 w 222"/>
                <a:gd name="T11" fmla="*/ 98 h 124"/>
                <a:gd name="T12" fmla="*/ 207 w 222"/>
                <a:gd name="T13" fmla="*/ 99 h 124"/>
                <a:gd name="T14" fmla="*/ 117 w 222"/>
                <a:gd name="T15" fmla="*/ 89 h 124"/>
                <a:gd name="T16" fmla="*/ 112 w 222"/>
                <a:gd name="T17" fmla="*/ 89 h 124"/>
                <a:gd name="T18" fmla="*/ 121 w 222"/>
                <a:gd name="T19" fmla="*/ 99 h 124"/>
                <a:gd name="T20" fmla="*/ 129 w 222"/>
                <a:gd name="T21" fmla="*/ 99 h 124"/>
                <a:gd name="T22" fmla="*/ 120 w 222"/>
                <a:gd name="T23" fmla="*/ 91 h 124"/>
                <a:gd name="T24" fmla="*/ 114 w 222"/>
                <a:gd name="T25" fmla="*/ 67 h 124"/>
                <a:gd name="T26" fmla="*/ 117 w 222"/>
                <a:gd name="T27" fmla="*/ 75 h 124"/>
                <a:gd name="T28" fmla="*/ 76 w 222"/>
                <a:gd name="T29" fmla="*/ 66 h 124"/>
                <a:gd name="T30" fmla="*/ 80 w 222"/>
                <a:gd name="T31" fmla="*/ 76 h 124"/>
                <a:gd name="T32" fmla="*/ 101 w 222"/>
                <a:gd name="T33" fmla="*/ 78 h 124"/>
                <a:gd name="T34" fmla="*/ 95 w 222"/>
                <a:gd name="T35" fmla="*/ 69 h 124"/>
                <a:gd name="T36" fmla="*/ 89 w 222"/>
                <a:gd name="T37" fmla="*/ 57 h 124"/>
                <a:gd name="T38" fmla="*/ 91 w 222"/>
                <a:gd name="T39" fmla="*/ 61 h 124"/>
                <a:gd name="T40" fmla="*/ 90 w 222"/>
                <a:gd name="T41" fmla="*/ 57 h 124"/>
                <a:gd name="T42" fmla="*/ 69 w 222"/>
                <a:gd name="T43" fmla="*/ 57 h 124"/>
                <a:gd name="T44" fmla="*/ 67 w 222"/>
                <a:gd name="T45" fmla="*/ 59 h 124"/>
                <a:gd name="T46" fmla="*/ 35 w 222"/>
                <a:gd name="T47" fmla="*/ 50 h 124"/>
                <a:gd name="T48" fmla="*/ 37 w 222"/>
                <a:gd name="T49" fmla="*/ 52 h 124"/>
                <a:gd name="T50" fmla="*/ 47 w 222"/>
                <a:gd name="T51" fmla="*/ 52 h 124"/>
                <a:gd name="T52" fmla="*/ 47 w 222"/>
                <a:gd name="T53" fmla="*/ 48 h 124"/>
                <a:gd name="T54" fmla="*/ 43 w 222"/>
                <a:gd name="T55" fmla="*/ 47 h 124"/>
                <a:gd name="T56" fmla="*/ 47 w 222"/>
                <a:gd name="T57" fmla="*/ 50 h 124"/>
                <a:gd name="T58" fmla="*/ 33 w 222"/>
                <a:gd name="T59" fmla="*/ 43 h 124"/>
                <a:gd name="T60" fmla="*/ 32 w 222"/>
                <a:gd name="T61" fmla="*/ 50 h 124"/>
                <a:gd name="T62" fmla="*/ 78 w 222"/>
                <a:gd name="T63" fmla="*/ 42 h 124"/>
                <a:gd name="T64" fmla="*/ 103 w 222"/>
                <a:gd name="T65" fmla="*/ 40 h 124"/>
                <a:gd name="T66" fmla="*/ 102 w 222"/>
                <a:gd name="T67" fmla="*/ 46 h 124"/>
                <a:gd name="T68" fmla="*/ 110 w 222"/>
                <a:gd name="T69" fmla="*/ 66 h 124"/>
                <a:gd name="T70" fmla="*/ 112 w 222"/>
                <a:gd name="T71" fmla="*/ 61 h 124"/>
                <a:gd name="T72" fmla="*/ 106 w 222"/>
                <a:gd name="T73" fmla="*/ 52 h 124"/>
                <a:gd name="T74" fmla="*/ 41 w 222"/>
                <a:gd name="T75" fmla="*/ 38 h 124"/>
                <a:gd name="T76" fmla="*/ 33 w 222"/>
                <a:gd name="T77" fmla="*/ 36 h 124"/>
                <a:gd name="T78" fmla="*/ 32 w 222"/>
                <a:gd name="T79" fmla="*/ 39 h 124"/>
                <a:gd name="T80" fmla="*/ 40 w 222"/>
                <a:gd name="T81" fmla="*/ 46 h 124"/>
                <a:gd name="T82" fmla="*/ 41 w 222"/>
                <a:gd name="T83" fmla="*/ 38 h 124"/>
                <a:gd name="T84" fmla="*/ 16 w 222"/>
                <a:gd name="T85" fmla="*/ 33 h 124"/>
                <a:gd name="T86" fmla="*/ 30 w 222"/>
                <a:gd name="T87" fmla="*/ 34 h 124"/>
                <a:gd name="T88" fmla="*/ 24 w 222"/>
                <a:gd name="T89" fmla="*/ 34 h 124"/>
                <a:gd name="T90" fmla="*/ 19 w 222"/>
                <a:gd name="T91" fmla="*/ 30 h 124"/>
                <a:gd name="T92" fmla="*/ 16 w 222"/>
                <a:gd name="T93" fmla="*/ 24 h 124"/>
                <a:gd name="T94" fmla="*/ 19 w 222"/>
                <a:gd name="T95" fmla="*/ 31 h 124"/>
                <a:gd name="T96" fmla="*/ 76 w 222"/>
                <a:gd name="T97" fmla="*/ 34 h 124"/>
                <a:gd name="T98" fmla="*/ 67 w 222"/>
                <a:gd name="T99" fmla="*/ 28 h 124"/>
                <a:gd name="T100" fmla="*/ 60 w 222"/>
                <a:gd name="T101" fmla="*/ 27 h 124"/>
                <a:gd name="T102" fmla="*/ 69 w 222"/>
                <a:gd name="T103" fmla="*/ 36 h 124"/>
                <a:gd name="T104" fmla="*/ 84 w 222"/>
                <a:gd name="T105" fmla="*/ 46 h 124"/>
                <a:gd name="T106" fmla="*/ 0 w 222"/>
                <a:gd name="T107" fmla="*/ 9 h 124"/>
                <a:gd name="T108" fmla="*/ 36 w 222"/>
                <a:gd name="T109" fmla="*/ 17 h 124"/>
                <a:gd name="T110" fmla="*/ 28 w 222"/>
                <a:gd name="T111" fmla="*/ 7 h 124"/>
                <a:gd name="T112" fmla="*/ 18 w 222"/>
                <a:gd name="T113" fmla="*/ 4 h 124"/>
                <a:gd name="T114" fmla="*/ 33 w 222"/>
                <a:gd name="T115" fmla="*/ 18 h 1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222" h="124">
                  <a:moveTo>
                    <a:pt x="222" y="121"/>
                  </a:moveTo>
                  <a:lnTo>
                    <a:pt x="222" y="120"/>
                  </a:lnTo>
                  <a:lnTo>
                    <a:pt x="221" y="118"/>
                  </a:lnTo>
                  <a:lnTo>
                    <a:pt x="220" y="118"/>
                  </a:lnTo>
                  <a:lnTo>
                    <a:pt x="219" y="119"/>
                  </a:lnTo>
                  <a:lnTo>
                    <a:pt x="220" y="121"/>
                  </a:lnTo>
                  <a:lnTo>
                    <a:pt x="220" y="121"/>
                  </a:lnTo>
                  <a:lnTo>
                    <a:pt x="222" y="121"/>
                  </a:lnTo>
                  <a:lnTo>
                    <a:pt x="222" y="121"/>
                  </a:lnTo>
                  <a:close/>
                  <a:moveTo>
                    <a:pt x="89" y="123"/>
                  </a:moveTo>
                  <a:lnTo>
                    <a:pt x="89" y="122"/>
                  </a:lnTo>
                  <a:lnTo>
                    <a:pt x="88" y="121"/>
                  </a:lnTo>
                  <a:lnTo>
                    <a:pt x="80" y="116"/>
                  </a:lnTo>
                  <a:lnTo>
                    <a:pt x="78" y="116"/>
                  </a:lnTo>
                  <a:lnTo>
                    <a:pt x="78" y="116"/>
                  </a:lnTo>
                  <a:lnTo>
                    <a:pt x="78" y="117"/>
                  </a:lnTo>
                  <a:lnTo>
                    <a:pt x="78" y="118"/>
                  </a:lnTo>
                  <a:lnTo>
                    <a:pt x="80" y="119"/>
                  </a:lnTo>
                  <a:lnTo>
                    <a:pt x="80" y="119"/>
                  </a:lnTo>
                  <a:lnTo>
                    <a:pt x="81" y="120"/>
                  </a:lnTo>
                  <a:lnTo>
                    <a:pt x="84" y="121"/>
                  </a:lnTo>
                  <a:lnTo>
                    <a:pt x="86" y="122"/>
                  </a:lnTo>
                  <a:lnTo>
                    <a:pt x="86" y="123"/>
                  </a:lnTo>
                  <a:lnTo>
                    <a:pt x="87" y="123"/>
                  </a:lnTo>
                  <a:lnTo>
                    <a:pt x="88" y="124"/>
                  </a:lnTo>
                  <a:lnTo>
                    <a:pt x="89" y="123"/>
                  </a:lnTo>
                  <a:lnTo>
                    <a:pt x="89" y="123"/>
                  </a:lnTo>
                  <a:close/>
                  <a:moveTo>
                    <a:pt x="209" y="98"/>
                  </a:moveTo>
                  <a:lnTo>
                    <a:pt x="209" y="98"/>
                  </a:lnTo>
                  <a:lnTo>
                    <a:pt x="210" y="97"/>
                  </a:lnTo>
                  <a:lnTo>
                    <a:pt x="209" y="96"/>
                  </a:lnTo>
                  <a:lnTo>
                    <a:pt x="207" y="96"/>
                  </a:lnTo>
                  <a:lnTo>
                    <a:pt x="204" y="96"/>
                  </a:lnTo>
                  <a:lnTo>
                    <a:pt x="203" y="97"/>
                  </a:lnTo>
                  <a:lnTo>
                    <a:pt x="202" y="98"/>
                  </a:lnTo>
                  <a:lnTo>
                    <a:pt x="202" y="98"/>
                  </a:lnTo>
                  <a:lnTo>
                    <a:pt x="202" y="99"/>
                  </a:lnTo>
                  <a:lnTo>
                    <a:pt x="202" y="101"/>
                  </a:lnTo>
                  <a:lnTo>
                    <a:pt x="203" y="100"/>
                  </a:lnTo>
                  <a:lnTo>
                    <a:pt x="203" y="101"/>
                  </a:lnTo>
                  <a:lnTo>
                    <a:pt x="205" y="99"/>
                  </a:lnTo>
                  <a:lnTo>
                    <a:pt x="207" y="99"/>
                  </a:lnTo>
                  <a:lnTo>
                    <a:pt x="207" y="99"/>
                  </a:lnTo>
                  <a:lnTo>
                    <a:pt x="209" y="98"/>
                  </a:lnTo>
                  <a:lnTo>
                    <a:pt x="209" y="98"/>
                  </a:lnTo>
                  <a:close/>
                  <a:moveTo>
                    <a:pt x="117" y="90"/>
                  </a:moveTo>
                  <a:lnTo>
                    <a:pt x="117" y="89"/>
                  </a:lnTo>
                  <a:lnTo>
                    <a:pt x="117" y="89"/>
                  </a:lnTo>
                  <a:lnTo>
                    <a:pt x="114" y="86"/>
                  </a:lnTo>
                  <a:lnTo>
                    <a:pt x="112" y="85"/>
                  </a:lnTo>
                  <a:lnTo>
                    <a:pt x="110" y="85"/>
                  </a:lnTo>
                  <a:lnTo>
                    <a:pt x="109" y="87"/>
                  </a:lnTo>
                  <a:lnTo>
                    <a:pt x="109" y="89"/>
                  </a:lnTo>
                  <a:lnTo>
                    <a:pt x="112" y="89"/>
                  </a:lnTo>
                  <a:lnTo>
                    <a:pt x="113" y="89"/>
                  </a:lnTo>
                  <a:lnTo>
                    <a:pt x="113" y="92"/>
                  </a:lnTo>
                  <a:lnTo>
                    <a:pt x="114" y="93"/>
                  </a:lnTo>
                  <a:lnTo>
                    <a:pt x="114" y="94"/>
                  </a:lnTo>
                  <a:lnTo>
                    <a:pt x="118" y="97"/>
                  </a:lnTo>
                  <a:lnTo>
                    <a:pt x="121" y="99"/>
                  </a:lnTo>
                  <a:lnTo>
                    <a:pt x="123" y="99"/>
                  </a:lnTo>
                  <a:lnTo>
                    <a:pt x="125" y="100"/>
                  </a:lnTo>
                  <a:lnTo>
                    <a:pt x="127" y="100"/>
                  </a:lnTo>
                  <a:lnTo>
                    <a:pt x="129" y="100"/>
                  </a:lnTo>
                  <a:lnTo>
                    <a:pt x="131" y="100"/>
                  </a:lnTo>
                  <a:lnTo>
                    <a:pt x="129" y="99"/>
                  </a:lnTo>
                  <a:lnTo>
                    <a:pt x="129" y="97"/>
                  </a:lnTo>
                  <a:lnTo>
                    <a:pt x="127" y="93"/>
                  </a:lnTo>
                  <a:lnTo>
                    <a:pt x="126" y="92"/>
                  </a:lnTo>
                  <a:lnTo>
                    <a:pt x="124" y="92"/>
                  </a:lnTo>
                  <a:lnTo>
                    <a:pt x="122" y="91"/>
                  </a:lnTo>
                  <a:lnTo>
                    <a:pt x="120" y="91"/>
                  </a:lnTo>
                  <a:lnTo>
                    <a:pt x="117" y="90"/>
                  </a:lnTo>
                  <a:lnTo>
                    <a:pt x="117" y="90"/>
                  </a:lnTo>
                  <a:close/>
                  <a:moveTo>
                    <a:pt x="117" y="72"/>
                  </a:moveTo>
                  <a:lnTo>
                    <a:pt x="114" y="66"/>
                  </a:lnTo>
                  <a:lnTo>
                    <a:pt x="114" y="66"/>
                  </a:lnTo>
                  <a:lnTo>
                    <a:pt x="114" y="67"/>
                  </a:lnTo>
                  <a:lnTo>
                    <a:pt x="114" y="69"/>
                  </a:lnTo>
                  <a:lnTo>
                    <a:pt x="114" y="71"/>
                  </a:lnTo>
                  <a:lnTo>
                    <a:pt x="114" y="73"/>
                  </a:lnTo>
                  <a:lnTo>
                    <a:pt x="114" y="74"/>
                  </a:lnTo>
                  <a:lnTo>
                    <a:pt x="115" y="73"/>
                  </a:lnTo>
                  <a:lnTo>
                    <a:pt x="117" y="75"/>
                  </a:lnTo>
                  <a:lnTo>
                    <a:pt x="117" y="74"/>
                  </a:lnTo>
                  <a:lnTo>
                    <a:pt x="117" y="72"/>
                  </a:lnTo>
                  <a:close/>
                  <a:moveTo>
                    <a:pt x="80" y="64"/>
                  </a:moveTo>
                  <a:lnTo>
                    <a:pt x="78" y="63"/>
                  </a:lnTo>
                  <a:lnTo>
                    <a:pt x="77" y="65"/>
                  </a:lnTo>
                  <a:lnTo>
                    <a:pt x="76" y="66"/>
                  </a:lnTo>
                  <a:lnTo>
                    <a:pt x="76" y="68"/>
                  </a:lnTo>
                  <a:lnTo>
                    <a:pt x="76" y="69"/>
                  </a:lnTo>
                  <a:lnTo>
                    <a:pt x="77" y="72"/>
                  </a:lnTo>
                  <a:lnTo>
                    <a:pt x="78" y="74"/>
                  </a:lnTo>
                  <a:lnTo>
                    <a:pt x="80" y="75"/>
                  </a:lnTo>
                  <a:lnTo>
                    <a:pt x="80" y="76"/>
                  </a:lnTo>
                  <a:lnTo>
                    <a:pt x="84" y="76"/>
                  </a:lnTo>
                  <a:lnTo>
                    <a:pt x="90" y="77"/>
                  </a:lnTo>
                  <a:lnTo>
                    <a:pt x="93" y="78"/>
                  </a:lnTo>
                  <a:lnTo>
                    <a:pt x="97" y="79"/>
                  </a:lnTo>
                  <a:lnTo>
                    <a:pt x="99" y="79"/>
                  </a:lnTo>
                  <a:lnTo>
                    <a:pt x="101" y="78"/>
                  </a:lnTo>
                  <a:lnTo>
                    <a:pt x="101" y="78"/>
                  </a:lnTo>
                  <a:lnTo>
                    <a:pt x="101" y="75"/>
                  </a:lnTo>
                  <a:lnTo>
                    <a:pt x="100" y="74"/>
                  </a:lnTo>
                  <a:lnTo>
                    <a:pt x="98" y="73"/>
                  </a:lnTo>
                  <a:lnTo>
                    <a:pt x="97" y="71"/>
                  </a:lnTo>
                  <a:lnTo>
                    <a:pt x="95" y="69"/>
                  </a:lnTo>
                  <a:lnTo>
                    <a:pt x="92" y="66"/>
                  </a:lnTo>
                  <a:lnTo>
                    <a:pt x="86" y="66"/>
                  </a:lnTo>
                  <a:lnTo>
                    <a:pt x="84" y="67"/>
                  </a:lnTo>
                  <a:lnTo>
                    <a:pt x="80" y="64"/>
                  </a:lnTo>
                  <a:lnTo>
                    <a:pt x="80" y="64"/>
                  </a:lnTo>
                  <a:close/>
                  <a:moveTo>
                    <a:pt x="89" y="57"/>
                  </a:moveTo>
                  <a:lnTo>
                    <a:pt x="88" y="57"/>
                  </a:lnTo>
                  <a:lnTo>
                    <a:pt x="88" y="59"/>
                  </a:lnTo>
                  <a:lnTo>
                    <a:pt x="89" y="59"/>
                  </a:lnTo>
                  <a:lnTo>
                    <a:pt x="90" y="60"/>
                  </a:lnTo>
                  <a:lnTo>
                    <a:pt x="91" y="61"/>
                  </a:lnTo>
                  <a:lnTo>
                    <a:pt x="91" y="61"/>
                  </a:lnTo>
                  <a:lnTo>
                    <a:pt x="91" y="61"/>
                  </a:lnTo>
                  <a:lnTo>
                    <a:pt x="93" y="61"/>
                  </a:lnTo>
                  <a:lnTo>
                    <a:pt x="94" y="60"/>
                  </a:lnTo>
                  <a:lnTo>
                    <a:pt x="92" y="58"/>
                  </a:lnTo>
                  <a:lnTo>
                    <a:pt x="91" y="57"/>
                  </a:lnTo>
                  <a:lnTo>
                    <a:pt x="90" y="57"/>
                  </a:lnTo>
                  <a:lnTo>
                    <a:pt x="89" y="57"/>
                  </a:lnTo>
                  <a:lnTo>
                    <a:pt x="89" y="57"/>
                  </a:lnTo>
                  <a:close/>
                  <a:moveTo>
                    <a:pt x="69" y="60"/>
                  </a:moveTo>
                  <a:lnTo>
                    <a:pt x="70" y="59"/>
                  </a:lnTo>
                  <a:lnTo>
                    <a:pt x="70" y="57"/>
                  </a:lnTo>
                  <a:lnTo>
                    <a:pt x="69" y="57"/>
                  </a:lnTo>
                  <a:lnTo>
                    <a:pt x="68" y="57"/>
                  </a:lnTo>
                  <a:lnTo>
                    <a:pt x="67" y="57"/>
                  </a:lnTo>
                  <a:lnTo>
                    <a:pt x="66" y="57"/>
                  </a:lnTo>
                  <a:lnTo>
                    <a:pt x="65" y="59"/>
                  </a:lnTo>
                  <a:lnTo>
                    <a:pt x="66" y="59"/>
                  </a:lnTo>
                  <a:lnTo>
                    <a:pt x="67" y="59"/>
                  </a:lnTo>
                  <a:lnTo>
                    <a:pt x="68" y="60"/>
                  </a:lnTo>
                  <a:lnTo>
                    <a:pt x="69" y="60"/>
                  </a:lnTo>
                  <a:lnTo>
                    <a:pt x="69" y="60"/>
                  </a:lnTo>
                  <a:close/>
                  <a:moveTo>
                    <a:pt x="37" y="52"/>
                  </a:moveTo>
                  <a:lnTo>
                    <a:pt x="37" y="51"/>
                  </a:lnTo>
                  <a:lnTo>
                    <a:pt x="35" y="50"/>
                  </a:lnTo>
                  <a:lnTo>
                    <a:pt x="35" y="50"/>
                  </a:lnTo>
                  <a:lnTo>
                    <a:pt x="33" y="50"/>
                  </a:lnTo>
                  <a:lnTo>
                    <a:pt x="33" y="51"/>
                  </a:lnTo>
                  <a:lnTo>
                    <a:pt x="35" y="52"/>
                  </a:lnTo>
                  <a:lnTo>
                    <a:pt x="37" y="52"/>
                  </a:lnTo>
                  <a:lnTo>
                    <a:pt x="37" y="52"/>
                  </a:lnTo>
                  <a:lnTo>
                    <a:pt x="37" y="52"/>
                  </a:lnTo>
                  <a:close/>
                  <a:moveTo>
                    <a:pt x="48" y="52"/>
                  </a:moveTo>
                  <a:lnTo>
                    <a:pt x="50" y="52"/>
                  </a:lnTo>
                  <a:lnTo>
                    <a:pt x="49" y="52"/>
                  </a:lnTo>
                  <a:lnTo>
                    <a:pt x="49" y="50"/>
                  </a:lnTo>
                  <a:lnTo>
                    <a:pt x="47" y="52"/>
                  </a:lnTo>
                  <a:lnTo>
                    <a:pt x="48" y="52"/>
                  </a:lnTo>
                  <a:lnTo>
                    <a:pt x="48" y="52"/>
                  </a:lnTo>
                  <a:close/>
                  <a:moveTo>
                    <a:pt x="47" y="50"/>
                  </a:moveTo>
                  <a:lnTo>
                    <a:pt x="47" y="49"/>
                  </a:lnTo>
                  <a:lnTo>
                    <a:pt x="47" y="48"/>
                  </a:lnTo>
                  <a:lnTo>
                    <a:pt x="47" y="48"/>
                  </a:lnTo>
                  <a:lnTo>
                    <a:pt x="47" y="46"/>
                  </a:lnTo>
                  <a:lnTo>
                    <a:pt x="47" y="46"/>
                  </a:lnTo>
                  <a:lnTo>
                    <a:pt x="45" y="45"/>
                  </a:lnTo>
                  <a:lnTo>
                    <a:pt x="45" y="46"/>
                  </a:lnTo>
                  <a:lnTo>
                    <a:pt x="44" y="46"/>
                  </a:lnTo>
                  <a:lnTo>
                    <a:pt x="43" y="47"/>
                  </a:lnTo>
                  <a:lnTo>
                    <a:pt x="43" y="47"/>
                  </a:lnTo>
                  <a:lnTo>
                    <a:pt x="43" y="49"/>
                  </a:lnTo>
                  <a:lnTo>
                    <a:pt x="43" y="51"/>
                  </a:lnTo>
                  <a:lnTo>
                    <a:pt x="45" y="52"/>
                  </a:lnTo>
                  <a:lnTo>
                    <a:pt x="47" y="50"/>
                  </a:lnTo>
                  <a:lnTo>
                    <a:pt x="47" y="50"/>
                  </a:lnTo>
                  <a:close/>
                  <a:moveTo>
                    <a:pt x="32" y="50"/>
                  </a:moveTo>
                  <a:lnTo>
                    <a:pt x="31" y="49"/>
                  </a:lnTo>
                  <a:lnTo>
                    <a:pt x="32" y="47"/>
                  </a:lnTo>
                  <a:lnTo>
                    <a:pt x="32" y="46"/>
                  </a:lnTo>
                  <a:lnTo>
                    <a:pt x="33" y="44"/>
                  </a:lnTo>
                  <a:lnTo>
                    <a:pt x="33" y="43"/>
                  </a:lnTo>
                  <a:lnTo>
                    <a:pt x="32" y="43"/>
                  </a:lnTo>
                  <a:lnTo>
                    <a:pt x="29" y="46"/>
                  </a:lnTo>
                  <a:lnTo>
                    <a:pt x="29" y="47"/>
                  </a:lnTo>
                  <a:lnTo>
                    <a:pt x="31" y="50"/>
                  </a:lnTo>
                  <a:lnTo>
                    <a:pt x="32" y="51"/>
                  </a:lnTo>
                  <a:lnTo>
                    <a:pt x="32" y="50"/>
                  </a:lnTo>
                  <a:lnTo>
                    <a:pt x="32" y="50"/>
                  </a:lnTo>
                  <a:close/>
                  <a:moveTo>
                    <a:pt x="80" y="45"/>
                  </a:moveTo>
                  <a:lnTo>
                    <a:pt x="80" y="44"/>
                  </a:lnTo>
                  <a:lnTo>
                    <a:pt x="80" y="43"/>
                  </a:lnTo>
                  <a:lnTo>
                    <a:pt x="78" y="42"/>
                  </a:lnTo>
                  <a:lnTo>
                    <a:pt x="78" y="42"/>
                  </a:lnTo>
                  <a:lnTo>
                    <a:pt x="77" y="44"/>
                  </a:lnTo>
                  <a:lnTo>
                    <a:pt x="78" y="44"/>
                  </a:lnTo>
                  <a:lnTo>
                    <a:pt x="79" y="46"/>
                  </a:lnTo>
                  <a:lnTo>
                    <a:pt x="80" y="45"/>
                  </a:lnTo>
                  <a:lnTo>
                    <a:pt x="80" y="45"/>
                  </a:lnTo>
                  <a:close/>
                  <a:moveTo>
                    <a:pt x="103" y="40"/>
                  </a:moveTo>
                  <a:lnTo>
                    <a:pt x="103" y="40"/>
                  </a:lnTo>
                  <a:lnTo>
                    <a:pt x="102" y="41"/>
                  </a:lnTo>
                  <a:lnTo>
                    <a:pt x="101" y="41"/>
                  </a:lnTo>
                  <a:lnTo>
                    <a:pt x="100" y="41"/>
                  </a:lnTo>
                  <a:lnTo>
                    <a:pt x="100" y="42"/>
                  </a:lnTo>
                  <a:lnTo>
                    <a:pt x="102" y="46"/>
                  </a:lnTo>
                  <a:lnTo>
                    <a:pt x="101" y="48"/>
                  </a:lnTo>
                  <a:lnTo>
                    <a:pt x="103" y="56"/>
                  </a:lnTo>
                  <a:lnTo>
                    <a:pt x="103" y="61"/>
                  </a:lnTo>
                  <a:lnTo>
                    <a:pt x="106" y="64"/>
                  </a:lnTo>
                  <a:lnTo>
                    <a:pt x="106" y="65"/>
                  </a:lnTo>
                  <a:lnTo>
                    <a:pt x="110" y="66"/>
                  </a:lnTo>
                  <a:lnTo>
                    <a:pt x="112" y="71"/>
                  </a:lnTo>
                  <a:lnTo>
                    <a:pt x="113" y="71"/>
                  </a:lnTo>
                  <a:lnTo>
                    <a:pt x="113" y="70"/>
                  </a:lnTo>
                  <a:lnTo>
                    <a:pt x="113" y="68"/>
                  </a:lnTo>
                  <a:lnTo>
                    <a:pt x="111" y="65"/>
                  </a:lnTo>
                  <a:lnTo>
                    <a:pt x="112" y="61"/>
                  </a:lnTo>
                  <a:lnTo>
                    <a:pt x="111" y="60"/>
                  </a:lnTo>
                  <a:lnTo>
                    <a:pt x="111" y="59"/>
                  </a:lnTo>
                  <a:lnTo>
                    <a:pt x="110" y="56"/>
                  </a:lnTo>
                  <a:lnTo>
                    <a:pt x="108" y="53"/>
                  </a:lnTo>
                  <a:lnTo>
                    <a:pt x="106" y="53"/>
                  </a:lnTo>
                  <a:lnTo>
                    <a:pt x="106" y="52"/>
                  </a:lnTo>
                  <a:lnTo>
                    <a:pt x="106" y="50"/>
                  </a:lnTo>
                  <a:lnTo>
                    <a:pt x="107" y="49"/>
                  </a:lnTo>
                  <a:lnTo>
                    <a:pt x="108" y="48"/>
                  </a:lnTo>
                  <a:lnTo>
                    <a:pt x="103" y="40"/>
                  </a:lnTo>
                  <a:lnTo>
                    <a:pt x="103" y="40"/>
                  </a:lnTo>
                  <a:close/>
                  <a:moveTo>
                    <a:pt x="41" y="38"/>
                  </a:moveTo>
                  <a:lnTo>
                    <a:pt x="39" y="38"/>
                  </a:lnTo>
                  <a:lnTo>
                    <a:pt x="38" y="37"/>
                  </a:lnTo>
                  <a:lnTo>
                    <a:pt x="38" y="33"/>
                  </a:lnTo>
                  <a:lnTo>
                    <a:pt x="35" y="32"/>
                  </a:lnTo>
                  <a:lnTo>
                    <a:pt x="34" y="33"/>
                  </a:lnTo>
                  <a:lnTo>
                    <a:pt x="33" y="36"/>
                  </a:lnTo>
                  <a:lnTo>
                    <a:pt x="32" y="37"/>
                  </a:lnTo>
                  <a:lnTo>
                    <a:pt x="30" y="38"/>
                  </a:lnTo>
                  <a:lnTo>
                    <a:pt x="30" y="39"/>
                  </a:lnTo>
                  <a:lnTo>
                    <a:pt x="30" y="40"/>
                  </a:lnTo>
                  <a:lnTo>
                    <a:pt x="31" y="41"/>
                  </a:lnTo>
                  <a:lnTo>
                    <a:pt x="32" y="39"/>
                  </a:lnTo>
                  <a:lnTo>
                    <a:pt x="35" y="39"/>
                  </a:lnTo>
                  <a:lnTo>
                    <a:pt x="36" y="39"/>
                  </a:lnTo>
                  <a:lnTo>
                    <a:pt x="36" y="41"/>
                  </a:lnTo>
                  <a:lnTo>
                    <a:pt x="37" y="44"/>
                  </a:lnTo>
                  <a:lnTo>
                    <a:pt x="38" y="45"/>
                  </a:lnTo>
                  <a:lnTo>
                    <a:pt x="40" y="46"/>
                  </a:lnTo>
                  <a:lnTo>
                    <a:pt x="41" y="48"/>
                  </a:lnTo>
                  <a:lnTo>
                    <a:pt x="42" y="47"/>
                  </a:lnTo>
                  <a:lnTo>
                    <a:pt x="43" y="47"/>
                  </a:lnTo>
                  <a:lnTo>
                    <a:pt x="43" y="45"/>
                  </a:lnTo>
                  <a:lnTo>
                    <a:pt x="42" y="40"/>
                  </a:lnTo>
                  <a:lnTo>
                    <a:pt x="41" y="38"/>
                  </a:lnTo>
                  <a:lnTo>
                    <a:pt x="41" y="38"/>
                  </a:lnTo>
                  <a:close/>
                  <a:moveTo>
                    <a:pt x="17" y="38"/>
                  </a:moveTo>
                  <a:lnTo>
                    <a:pt x="17" y="36"/>
                  </a:lnTo>
                  <a:lnTo>
                    <a:pt x="17" y="32"/>
                  </a:lnTo>
                  <a:lnTo>
                    <a:pt x="16" y="33"/>
                  </a:lnTo>
                  <a:lnTo>
                    <a:pt x="16" y="33"/>
                  </a:lnTo>
                  <a:lnTo>
                    <a:pt x="16" y="35"/>
                  </a:lnTo>
                  <a:lnTo>
                    <a:pt x="17" y="38"/>
                  </a:lnTo>
                  <a:lnTo>
                    <a:pt x="17" y="38"/>
                  </a:lnTo>
                  <a:close/>
                  <a:moveTo>
                    <a:pt x="29" y="36"/>
                  </a:moveTo>
                  <a:lnTo>
                    <a:pt x="30" y="35"/>
                  </a:lnTo>
                  <a:lnTo>
                    <a:pt x="30" y="34"/>
                  </a:lnTo>
                  <a:lnTo>
                    <a:pt x="30" y="32"/>
                  </a:lnTo>
                  <a:lnTo>
                    <a:pt x="29" y="30"/>
                  </a:lnTo>
                  <a:lnTo>
                    <a:pt x="28" y="29"/>
                  </a:lnTo>
                  <a:lnTo>
                    <a:pt x="26" y="30"/>
                  </a:lnTo>
                  <a:lnTo>
                    <a:pt x="24" y="32"/>
                  </a:lnTo>
                  <a:lnTo>
                    <a:pt x="24" y="34"/>
                  </a:lnTo>
                  <a:lnTo>
                    <a:pt x="26" y="36"/>
                  </a:lnTo>
                  <a:lnTo>
                    <a:pt x="28" y="36"/>
                  </a:lnTo>
                  <a:lnTo>
                    <a:pt x="29" y="36"/>
                  </a:lnTo>
                  <a:lnTo>
                    <a:pt x="29" y="36"/>
                  </a:lnTo>
                  <a:close/>
                  <a:moveTo>
                    <a:pt x="19" y="31"/>
                  </a:moveTo>
                  <a:lnTo>
                    <a:pt x="19" y="30"/>
                  </a:lnTo>
                  <a:lnTo>
                    <a:pt x="21" y="27"/>
                  </a:lnTo>
                  <a:lnTo>
                    <a:pt x="22" y="26"/>
                  </a:lnTo>
                  <a:lnTo>
                    <a:pt x="20" y="25"/>
                  </a:lnTo>
                  <a:lnTo>
                    <a:pt x="19" y="24"/>
                  </a:lnTo>
                  <a:lnTo>
                    <a:pt x="17" y="24"/>
                  </a:lnTo>
                  <a:lnTo>
                    <a:pt x="16" y="24"/>
                  </a:lnTo>
                  <a:lnTo>
                    <a:pt x="16" y="26"/>
                  </a:lnTo>
                  <a:lnTo>
                    <a:pt x="18" y="28"/>
                  </a:lnTo>
                  <a:lnTo>
                    <a:pt x="18" y="30"/>
                  </a:lnTo>
                  <a:lnTo>
                    <a:pt x="19" y="30"/>
                  </a:lnTo>
                  <a:lnTo>
                    <a:pt x="19" y="32"/>
                  </a:lnTo>
                  <a:lnTo>
                    <a:pt x="19" y="31"/>
                  </a:lnTo>
                  <a:lnTo>
                    <a:pt x="19" y="31"/>
                  </a:lnTo>
                  <a:close/>
                  <a:moveTo>
                    <a:pt x="84" y="46"/>
                  </a:moveTo>
                  <a:lnTo>
                    <a:pt x="84" y="44"/>
                  </a:lnTo>
                  <a:lnTo>
                    <a:pt x="83" y="42"/>
                  </a:lnTo>
                  <a:lnTo>
                    <a:pt x="84" y="40"/>
                  </a:lnTo>
                  <a:lnTo>
                    <a:pt x="76" y="34"/>
                  </a:lnTo>
                  <a:lnTo>
                    <a:pt x="75" y="33"/>
                  </a:lnTo>
                  <a:lnTo>
                    <a:pt x="74" y="33"/>
                  </a:lnTo>
                  <a:lnTo>
                    <a:pt x="72" y="31"/>
                  </a:lnTo>
                  <a:lnTo>
                    <a:pt x="70" y="31"/>
                  </a:lnTo>
                  <a:lnTo>
                    <a:pt x="68" y="29"/>
                  </a:lnTo>
                  <a:lnTo>
                    <a:pt x="67" y="28"/>
                  </a:lnTo>
                  <a:lnTo>
                    <a:pt x="65" y="26"/>
                  </a:lnTo>
                  <a:lnTo>
                    <a:pt x="62" y="24"/>
                  </a:lnTo>
                  <a:lnTo>
                    <a:pt x="57" y="23"/>
                  </a:lnTo>
                  <a:lnTo>
                    <a:pt x="58" y="24"/>
                  </a:lnTo>
                  <a:lnTo>
                    <a:pt x="59" y="24"/>
                  </a:lnTo>
                  <a:lnTo>
                    <a:pt x="60" y="27"/>
                  </a:lnTo>
                  <a:lnTo>
                    <a:pt x="61" y="29"/>
                  </a:lnTo>
                  <a:lnTo>
                    <a:pt x="63" y="31"/>
                  </a:lnTo>
                  <a:lnTo>
                    <a:pt x="63" y="31"/>
                  </a:lnTo>
                  <a:lnTo>
                    <a:pt x="64" y="32"/>
                  </a:lnTo>
                  <a:lnTo>
                    <a:pt x="66" y="34"/>
                  </a:lnTo>
                  <a:lnTo>
                    <a:pt x="69" y="36"/>
                  </a:lnTo>
                  <a:lnTo>
                    <a:pt x="72" y="38"/>
                  </a:lnTo>
                  <a:lnTo>
                    <a:pt x="73" y="38"/>
                  </a:lnTo>
                  <a:lnTo>
                    <a:pt x="75" y="39"/>
                  </a:lnTo>
                  <a:lnTo>
                    <a:pt x="80" y="42"/>
                  </a:lnTo>
                  <a:lnTo>
                    <a:pt x="82" y="44"/>
                  </a:lnTo>
                  <a:lnTo>
                    <a:pt x="84" y="46"/>
                  </a:lnTo>
                  <a:lnTo>
                    <a:pt x="84" y="46"/>
                  </a:lnTo>
                  <a:lnTo>
                    <a:pt x="84" y="46"/>
                  </a:lnTo>
                  <a:close/>
                  <a:moveTo>
                    <a:pt x="3" y="11"/>
                  </a:moveTo>
                  <a:lnTo>
                    <a:pt x="4" y="10"/>
                  </a:lnTo>
                  <a:lnTo>
                    <a:pt x="1" y="9"/>
                  </a:lnTo>
                  <a:lnTo>
                    <a:pt x="0" y="9"/>
                  </a:lnTo>
                  <a:lnTo>
                    <a:pt x="0" y="11"/>
                  </a:lnTo>
                  <a:lnTo>
                    <a:pt x="1" y="12"/>
                  </a:lnTo>
                  <a:lnTo>
                    <a:pt x="3" y="11"/>
                  </a:lnTo>
                  <a:lnTo>
                    <a:pt x="3" y="11"/>
                  </a:lnTo>
                  <a:close/>
                  <a:moveTo>
                    <a:pt x="37" y="17"/>
                  </a:moveTo>
                  <a:lnTo>
                    <a:pt x="36" y="17"/>
                  </a:lnTo>
                  <a:lnTo>
                    <a:pt x="35" y="17"/>
                  </a:lnTo>
                  <a:lnTo>
                    <a:pt x="33" y="16"/>
                  </a:lnTo>
                  <a:lnTo>
                    <a:pt x="32" y="13"/>
                  </a:lnTo>
                  <a:lnTo>
                    <a:pt x="31" y="12"/>
                  </a:lnTo>
                  <a:lnTo>
                    <a:pt x="30" y="9"/>
                  </a:lnTo>
                  <a:lnTo>
                    <a:pt x="28" y="7"/>
                  </a:lnTo>
                  <a:lnTo>
                    <a:pt x="23" y="4"/>
                  </a:lnTo>
                  <a:lnTo>
                    <a:pt x="20" y="1"/>
                  </a:lnTo>
                  <a:lnTo>
                    <a:pt x="18" y="0"/>
                  </a:lnTo>
                  <a:lnTo>
                    <a:pt x="17" y="1"/>
                  </a:lnTo>
                  <a:lnTo>
                    <a:pt x="17" y="3"/>
                  </a:lnTo>
                  <a:lnTo>
                    <a:pt x="18" y="4"/>
                  </a:lnTo>
                  <a:lnTo>
                    <a:pt x="21" y="7"/>
                  </a:lnTo>
                  <a:lnTo>
                    <a:pt x="25" y="13"/>
                  </a:lnTo>
                  <a:lnTo>
                    <a:pt x="29" y="17"/>
                  </a:lnTo>
                  <a:lnTo>
                    <a:pt x="32" y="18"/>
                  </a:lnTo>
                  <a:lnTo>
                    <a:pt x="33" y="18"/>
                  </a:lnTo>
                  <a:lnTo>
                    <a:pt x="33" y="18"/>
                  </a:lnTo>
                  <a:lnTo>
                    <a:pt x="33" y="19"/>
                  </a:lnTo>
                  <a:lnTo>
                    <a:pt x="35" y="20"/>
                  </a:lnTo>
                  <a:lnTo>
                    <a:pt x="37" y="18"/>
                  </a:lnTo>
                  <a:lnTo>
                    <a:pt x="37" y="17"/>
                  </a:lnTo>
                  <a:lnTo>
                    <a:pt x="37" y="1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6" name="Sao Tome and Principe">
              <a:extLst>
                <a:ext uri="{FF2B5EF4-FFF2-40B4-BE49-F238E27FC236}">
                  <a16:creationId xmlns:a16="http://schemas.microsoft.com/office/drawing/2014/main" id="{62B7DA3B-A111-4DC9-92F8-02F6656F7D16}"/>
                </a:ext>
              </a:extLst>
            </p:cNvPr>
            <p:cNvSpPr>
              <a:spLocks noEditPoints="1"/>
            </p:cNvSpPr>
            <p:nvPr/>
          </p:nvSpPr>
          <p:spPr bwMode="auto">
            <a:xfrm>
              <a:off x="6211094" y="3998687"/>
              <a:ext cx="31750" cy="61913"/>
            </a:xfrm>
            <a:custGeom>
              <a:avLst/>
              <a:gdLst>
                <a:gd name="T0" fmla="*/ 4 w 20"/>
                <a:gd name="T1" fmla="*/ 37 h 39"/>
                <a:gd name="T2" fmla="*/ 5 w 20"/>
                <a:gd name="T3" fmla="*/ 34 h 39"/>
                <a:gd name="T4" fmla="*/ 5 w 20"/>
                <a:gd name="T5" fmla="*/ 32 h 39"/>
                <a:gd name="T6" fmla="*/ 4 w 20"/>
                <a:gd name="T7" fmla="*/ 30 h 39"/>
                <a:gd name="T8" fmla="*/ 4 w 20"/>
                <a:gd name="T9" fmla="*/ 30 h 39"/>
                <a:gd name="T10" fmla="*/ 2 w 20"/>
                <a:gd name="T11" fmla="*/ 32 h 39"/>
                <a:gd name="T12" fmla="*/ 0 w 20"/>
                <a:gd name="T13" fmla="*/ 34 h 39"/>
                <a:gd name="T14" fmla="*/ 0 w 20"/>
                <a:gd name="T15" fmla="*/ 35 h 39"/>
                <a:gd name="T16" fmla="*/ 1 w 20"/>
                <a:gd name="T17" fmla="*/ 37 h 39"/>
                <a:gd name="T18" fmla="*/ 1 w 20"/>
                <a:gd name="T19" fmla="*/ 38 h 39"/>
                <a:gd name="T20" fmla="*/ 2 w 20"/>
                <a:gd name="T21" fmla="*/ 39 h 39"/>
                <a:gd name="T22" fmla="*/ 4 w 20"/>
                <a:gd name="T23" fmla="*/ 37 h 39"/>
                <a:gd name="T24" fmla="*/ 4 w 20"/>
                <a:gd name="T25" fmla="*/ 37 h 39"/>
                <a:gd name="T26" fmla="*/ 20 w 20"/>
                <a:gd name="T27" fmla="*/ 3 h 39"/>
                <a:gd name="T28" fmla="*/ 20 w 20"/>
                <a:gd name="T29" fmla="*/ 1 h 39"/>
                <a:gd name="T30" fmla="*/ 20 w 20"/>
                <a:gd name="T31" fmla="*/ 0 h 39"/>
                <a:gd name="T32" fmla="*/ 20 w 20"/>
                <a:gd name="T33" fmla="*/ 0 h 39"/>
                <a:gd name="T34" fmla="*/ 20 w 20"/>
                <a:gd name="T35" fmla="*/ 0 h 39"/>
                <a:gd name="T36" fmla="*/ 19 w 20"/>
                <a:gd name="T37" fmla="*/ 0 h 39"/>
                <a:gd name="T38" fmla="*/ 18 w 20"/>
                <a:gd name="T39" fmla="*/ 2 h 39"/>
                <a:gd name="T40" fmla="*/ 18 w 20"/>
                <a:gd name="T41" fmla="*/ 3 h 39"/>
                <a:gd name="T42" fmla="*/ 19 w 20"/>
                <a:gd name="T43" fmla="*/ 4 h 39"/>
                <a:gd name="T44" fmla="*/ 20 w 20"/>
                <a:gd name="T45" fmla="*/ 3 h 39"/>
                <a:gd name="T46" fmla="*/ 20 w 20"/>
                <a:gd name="T47" fmla="*/ 3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0" h="39">
                  <a:moveTo>
                    <a:pt x="4" y="37"/>
                  </a:moveTo>
                  <a:lnTo>
                    <a:pt x="5" y="34"/>
                  </a:lnTo>
                  <a:lnTo>
                    <a:pt x="5" y="32"/>
                  </a:lnTo>
                  <a:lnTo>
                    <a:pt x="4" y="30"/>
                  </a:lnTo>
                  <a:lnTo>
                    <a:pt x="4" y="30"/>
                  </a:lnTo>
                  <a:lnTo>
                    <a:pt x="2" y="32"/>
                  </a:lnTo>
                  <a:lnTo>
                    <a:pt x="0" y="34"/>
                  </a:lnTo>
                  <a:lnTo>
                    <a:pt x="0" y="35"/>
                  </a:lnTo>
                  <a:lnTo>
                    <a:pt x="1" y="37"/>
                  </a:lnTo>
                  <a:lnTo>
                    <a:pt x="1" y="38"/>
                  </a:lnTo>
                  <a:lnTo>
                    <a:pt x="2" y="39"/>
                  </a:lnTo>
                  <a:lnTo>
                    <a:pt x="4" y="37"/>
                  </a:lnTo>
                  <a:lnTo>
                    <a:pt x="4" y="37"/>
                  </a:lnTo>
                  <a:close/>
                  <a:moveTo>
                    <a:pt x="20" y="3"/>
                  </a:moveTo>
                  <a:lnTo>
                    <a:pt x="20" y="1"/>
                  </a:lnTo>
                  <a:lnTo>
                    <a:pt x="20" y="0"/>
                  </a:lnTo>
                  <a:lnTo>
                    <a:pt x="20" y="0"/>
                  </a:lnTo>
                  <a:lnTo>
                    <a:pt x="20" y="0"/>
                  </a:lnTo>
                  <a:lnTo>
                    <a:pt x="19" y="0"/>
                  </a:lnTo>
                  <a:lnTo>
                    <a:pt x="18" y="2"/>
                  </a:lnTo>
                  <a:lnTo>
                    <a:pt x="18" y="3"/>
                  </a:lnTo>
                  <a:lnTo>
                    <a:pt x="19" y="4"/>
                  </a:lnTo>
                  <a:lnTo>
                    <a:pt x="20" y="3"/>
                  </a:lnTo>
                  <a:lnTo>
                    <a:pt x="2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nvGrpSpPr>
            <p:cNvPr id="197" name="Anguilla">
              <a:extLst>
                <a:ext uri="{FF2B5EF4-FFF2-40B4-BE49-F238E27FC236}">
                  <a16:creationId xmlns:a16="http://schemas.microsoft.com/office/drawing/2014/main" id="{4A74710F-847A-4D6D-9202-7ED07C6E4601}"/>
                </a:ext>
              </a:extLst>
            </p:cNvPr>
            <p:cNvGrpSpPr/>
            <p:nvPr/>
          </p:nvGrpSpPr>
          <p:grpSpPr>
            <a:xfrm>
              <a:off x="3921919" y="3373212"/>
              <a:ext cx="6350" cy="9525"/>
              <a:chOff x="3927475" y="3794126"/>
              <a:chExt cx="6350" cy="9525"/>
            </a:xfrm>
            <a:grpFill/>
          </p:grpSpPr>
          <p:sp>
            <p:nvSpPr>
              <p:cNvPr id="215" name="Freeform 2013">
                <a:extLst>
                  <a:ext uri="{FF2B5EF4-FFF2-40B4-BE49-F238E27FC236}">
                    <a16:creationId xmlns:a16="http://schemas.microsoft.com/office/drawing/2014/main" id="{50CA11B9-C706-4423-A626-5C83A27D2A8D}"/>
                  </a:ext>
                </a:extLst>
              </p:cNvPr>
              <p:cNvSpPr>
                <a:spLocks/>
              </p:cNvSpPr>
              <p:nvPr/>
            </p:nvSpPr>
            <p:spPr bwMode="auto">
              <a:xfrm>
                <a:off x="3927475" y="3794126"/>
                <a:ext cx="6350" cy="3175"/>
              </a:xfrm>
              <a:custGeom>
                <a:avLst/>
                <a:gdLst>
                  <a:gd name="T0" fmla="*/ 4 w 4"/>
                  <a:gd name="T1" fmla="*/ 1 h 2"/>
                  <a:gd name="T2" fmla="*/ 4 w 4"/>
                  <a:gd name="T3" fmla="*/ 0 h 2"/>
                  <a:gd name="T4" fmla="*/ 3 w 4"/>
                  <a:gd name="T5" fmla="*/ 0 h 2"/>
                  <a:gd name="T6" fmla="*/ 0 w 4"/>
                  <a:gd name="T7" fmla="*/ 2 h 2"/>
                  <a:gd name="T8" fmla="*/ 0 w 4"/>
                  <a:gd name="T9" fmla="*/ 2 h 2"/>
                  <a:gd name="T10" fmla="*/ 4 w 4"/>
                  <a:gd name="T11" fmla="*/ 1 h 2"/>
                </a:gdLst>
                <a:ahLst/>
                <a:cxnLst>
                  <a:cxn ang="0">
                    <a:pos x="T0" y="T1"/>
                  </a:cxn>
                  <a:cxn ang="0">
                    <a:pos x="T2" y="T3"/>
                  </a:cxn>
                  <a:cxn ang="0">
                    <a:pos x="T4" y="T5"/>
                  </a:cxn>
                  <a:cxn ang="0">
                    <a:pos x="T6" y="T7"/>
                  </a:cxn>
                  <a:cxn ang="0">
                    <a:pos x="T8" y="T9"/>
                  </a:cxn>
                  <a:cxn ang="0">
                    <a:pos x="T10" y="T11"/>
                  </a:cxn>
                </a:cxnLst>
                <a:rect l="0" t="0" r="r" b="b"/>
                <a:pathLst>
                  <a:path w="4" h="2">
                    <a:moveTo>
                      <a:pt x="4" y="1"/>
                    </a:moveTo>
                    <a:lnTo>
                      <a:pt x="4" y="0"/>
                    </a:lnTo>
                    <a:lnTo>
                      <a:pt x="3" y="0"/>
                    </a:lnTo>
                    <a:lnTo>
                      <a:pt x="0" y="2"/>
                    </a:lnTo>
                    <a:lnTo>
                      <a:pt x="0" y="2"/>
                    </a:lnTo>
                    <a:lnTo>
                      <a:pt x="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6" name="Freeform 202">
                <a:extLst>
                  <a:ext uri="{FF2B5EF4-FFF2-40B4-BE49-F238E27FC236}">
                    <a16:creationId xmlns:a16="http://schemas.microsoft.com/office/drawing/2014/main" id="{7BCD1AF0-AC3A-4911-959F-023BF35AC1E6}"/>
                  </a:ext>
                </a:extLst>
              </p:cNvPr>
              <p:cNvSpPr>
                <a:spLocks/>
              </p:cNvSpPr>
              <p:nvPr/>
            </p:nvSpPr>
            <p:spPr bwMode="auto">
              <a:xfrm>
                <a:off x="3927475" y="3802063"/>
                <a:ext cx="4762" cy="1588"/>
              </a:xfrm>
              <a:custGeom>
                <a:avLst/>
                <a:gdLst>
                  <a:gd name="T0" fmla="*/ 0 w 3"/>
                  <a:gd name="T1" fmla="*/ 0 h 1"/>
                  <a:gd name="T2" fmla="*/ 0 w 3"/>
                  <a:gd name="T3" fmla="*/ 0 h 1"/>
                  <a:gd name="T4" fmla="*/ 1 w 3"/>
                  <a:gd name="T5" fmla="*/ 1 h 1"/>
                  <a:gd name="T6" fmla="*/ 2 w 3"/>
                  <a:gd name="T7" fmla="*/ 1 h 1"/>
                  <a:gd name="T8" fmla="*/ 3 w 3"/>
                  <a:gd name="T9" fmla="*/ 1 h 1"/>
                  <a:gd name="T10" fmla="*/ 3 w 3"/>
                  <a:gd name="T11" fmla="*/ 0 h 1"/>
                  <a:gd name="T12" fmla="*/ 0 w 3"/>
                  <a:gd name="T13" fmla="*/ 0 h 1"/>
                </a:gdLst>
                <a:ahLst/>
                <a:cxnLst>
                  <a:cxn ang="0">
                    <a:pos x="T0" y="T1"/>
                  </a:cxn>
                  <a:cxn ang="0">
                    <a:pos x="T2" y="T3"/>
                  </a:cxn>
                  <a:cxn ang="0">
                    <a:pos x="T4" y="T5"/>
                  </a:cxn>
                  <a:cxn ang="0">
                    <a:pos x="T6" y="T7"/>
                  </a:cxn>
                  <a:cxn ang="0">
                    <a:pos x="T8" y="T9"/>
                  </a:cxn>
                  <a:cxn ang="0">
                    <a:pos x="T10" y="T11"/>
                  </a:cxn>
                  <a:cxn ang="0">
                    <a:pos x="T12" y="T13"/>
                  </a:cxn>
                </a:cxnLst>
                <a:rect l="0" t="0" r="r" b="b"/>
                <a:pathLst>
                  <a:path w="3" h="1">
                    <a:moveTo>
                      <a:pt x="0" y="0"/>
                    </a:moveTo>
                    <a:lnTo>
                      <a:pt x="0" y="0"/>
                    </a:lnTo>
                    <a:lnTo>
                      <a:pt x="1" y="1"/>
                    </a:lnTo>
                    <a:lnTo>
                      <a:pt x="2" y="1"/>
                    </a:lnTo>
                    <a:lnTo>
                      <a:pt x="3" y="1"/>
                    </a:lnTo>
                    <a:lnTo>
                      <a:pt x="3" y="0"/>
                    </a:lnTo>
                    <a:lnTo>
                      <a:pt x="0"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sp>
          <p:nvSpPr>
            <p:cNvPr id="198" name="Seychelles">
              <a:extLst>
                <a:ext uri="{FF2B5EF4-FFF2-40B4-BE49-F238E27FC236}">
                  <a16:creationId xmlns:a16="http://schemas.microsoft.com/office/drawing/2014/main" id="{FE4E5458-B85A-41E6-9A2A-DF2075179E9A}"/>
                </a:ext>
              </a:extLst>
            </p:cNvPr>
            <p:cNvSpPr>
              <a:spLocks/>
            </p:cNvSpPr>
            <p:nvPr/>
          </p:nvSpPr>
          <p:spPr bwMode="auto">
            <a:xfrm>
              <a:off x="7838281" y="4235223"/>
              <a:ext cx="6350" cy="6350"/>
            </a:xfrm>
            <a:custGeom>
              <a:avLst/>
              <a:gdLst>
                <a:gd name="T0" fmla="*/ 4 w 4"/>
                <a:gd name="T1" fmla="*/ 2 h 4"/>
                <a:gd name="T2" fmla="*/ 2 w 4"/>
                <a:gd name="T3" fmla="*/ 0 h 4"/>
                <a:gd name="T4" fmla="*/ 0 w 4"/>
                <a:gd name="T5" fmla="*/ 1 h 4"/>
                <a:gd name="T6" fmla="*/ 1 w 4"/>
                <a:gd name="T7" fmla="*/ 1 h 4"/>
                <a:gd name="T8" fmla="*/ 2 w 4"/>
                <a:gd name="T9" fmla="*/ 2 h 4"/>
                <a:gd name="T10" fmla="*/ 3 w 4"/>
                <a:gd name="T11" fmla="*/ 4 h 4"/>
                <a:gd name="T12" fmla="*/ 4 w 4"/>
                <a:gd name="T13" fmla="*/ 4 h 4"/>
                <a:gd name="T14" fmla="*/ 4 w 4"/>
                <a:gd name="T15" fmla="*/ 2 h 4"/>
                <a:gd name="T16" fmla="*/ 4 w 4"/>
                <a:gd name="T17" fmla="*/ 2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4">
                  <a:moveTo>
                    <a:pt x="4" y="2"/>
                  </a:moveTo>
                  <a:lnTo>
                    <a:pt x="2" y="0"/>
                  </a:lnTo>
                  <a:lnTo>
                    <a:pt x="0" y="1"/>
                  </a:lnTo>
                  <a:lnTo>
                    <a:pt x="1" y="1"/>
                  </a:lnTo>
                  <a:lnTo>
                    <a:pt x="2" y="2"/>
                  </a:lnTo>
                  <a:lnTo>
                    <a:pt x="3" y="4"/>
                  </a:lnTo>
                  <a:lnTo>
                    <a:pt x="4" y="4"/>
                  </a:lnTo>
                  <a:lnTo>
                    <a:pt x="4" y="2"/>
                  </a:lnTo>
                  <a:lnTo>
                    <a:pt x="4" y="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199" name="Turks and Caicos Islands">
              <a:extLst>
                <a:ext uri="{FF2B5EF4-FFF2-40B4-BE49-F238E27FC236}">
                  <a16:creationId xmlns:a16="http://schemas.microsoft.com/office/drawing/2014/main" id="{0E2864EE-4AAF-4DAE-AAD5-9C3613B1E178}"/>
                </a:ext>
              </a:extLst>
            </p:cNvPr>
            <p:cNvSpPr>
              <a:spLocks noEditPoints="1"/>
            </p:cNvSpPr>
            <p:nvPr/>
          </p:nvSpPr>
          <p:spPr bwMode="auto">
            <a:xfrm>
              <a:off x="3634581" y="3233511"/>
              <a:ext cx="23812" cy="7938"/>
            </a:xfrm>
            <a:custGeom>
              <a:avLst/>
              <a:gdLst>
                <a:gd name="T0" fmla="*/ 1 w 15"/>
                <a:gd name="T1" fmla="*/ 2 h 5"/>
                <a:gd name="T2" fmla="*/ 0 w 15"/>
                <a:gd name="T3" fmla="*/ 4 h 5"/>
                <a:gd name="T4" fmla="*/ 0 w 15"/>
                <a:gd name="T5" fmla="*/ 5 h 5"/>
                <a:gd name="T6" fmla="*/ 1 w 15"/>
                <a:gd name="T7" fmla="*/ 5 h 5"/>
                <a:gd name="T8" fmla="*/ 4 w 15"/>
                <a:gd name="T9" fmla="*/ 5 h 5"/>
                <a:gd name="T10" fmla="*/ 4 w 15"/>
                <a:gd name="T11" fmla="*/ 4 h 5"/>
                <a:gd name="T12" fmla="*/ 5 w 15"/>
                <a:gd name="T13" fmla="*/ 4 h 5"/>
                <a:gd name="T14" fmla="*/ 5 w 15"/>
                <a:gd name="T15" fmla="*/ 4 h 5"/>
                <a:gd name="T16" fmla="*/ 3 w 15"/>
                <a:gd name="T17" fmla="*/ 4 h 5"/>
                <a:gd name="T18" fmla="*/ 1 w 15"/>
                <a:gd name="T19" fmla="*/ 2 h 5"/>
                <a:gd name="T20" fmla="*/ 14 w 15"/>
                <a:gd name="T21" fmla="*/ 5 h 5"/>
                <a:gd name="T22" fmla="*/ 15 w 15"/>
                <a:gd name="T23" fmla="*/ 4 h 5"/>
                <a:gd name="T24" fmla="*/ 14 w 15"/>
                <a:gd name="T25" fmla="*/ 3 h 5"/>
                <a:gd name="T26" fmla="*/ 11 w 15"/>
                <a:gd name="T27" fmla="*/ 2 h 5"/>
                <a:gd name="T28" fmla="*/ 11 w 15"/>
                <a:gd name="T29" fmla="*/ 3 h 5"/>
                <a:gd name="T30" fmla="*/ 11 w 15"/>
                <a:gd name="T31" fmla="*/ 4 h 5"/>
                <a:gd name="T32" fmla="*/ 13 w 15"/>
                <a:gd name="T33" fmla="*/ 4 h 5"/>
                <a:gd name="T34" fmla="*/ 14 w 15"/>
                <a:gd name="T35" fmla="*/ 5 h 5"/>
                <a:gd name="T36" fmla="*/ 14 w 15"/>
                <a:gd name="T37" fmla="*/ 5 h 5"/>
                <a:gd name="T38" fmla="*/ 14 w 15"/>
                <a:gd name="T39" fmla="*/ 5 h 5"/>
                <a:gd name="T40" fmla="*/ 10 w 15"/>
                <a:gd name="T41" fmla="*/ 3 h 5"/>
                <a:gd name="T42" fmla="*/ 9 w 15"/>
                <a:gd name="T43" fmla="*/ 2 h 5"/>
                <a:gd name="T44" fmla="*/ 9 w 15"/>
                <a:gd name="T45" fmla="*/ 0 h 5"/>
                <a:gd name="T46" fmla="*/ 8 w 15"/>
                <a:gd name="T47" fmla="*/ 0 h 5"/>
                <a:gd name="T48" fmla="*/ 8 w 15"/>
                <a:gd name="T49" fmla="*/ 1 h 5"/>
                <a:gd name="T50" fmla="*/ 8 w 15"/>
                <a:gd name="T51" fmla="*/ 2 h 5"/>
                <a:gd name="T52" fmla="*/ 9 w 15"/>
                <a:gd name="T53" fmla="*/ 2 h 5"/>
                <a:gd name="T54" fmla="*/ 9 w 15"/>
                <a:gd name="T55" fmla="*/ 2 h 5"/>
                <a:gd name="T56" fmla="*/ 9 w 15"/>
                <a:gd name="T57" fmla="*/ 3 h 5"/>
                <a:gd name="T58" fmla="*/ 10 w 15"/>
                <a:gd name="T59" fmla="*/ 3 h 5"/>
                <a:gd name="T60" fmla="*/ 10 w 15"/>
                <a:gd name="T61"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 h="5">
                  <a:moveTo>
                    <a:pt x="1" y="2"/>
                  </a:moveTo>
                  <a:lnTo>
                    <a:pt x="0" y="4"/>
                  </a:lnTo>
                  <a:lnTo>
                    <a:pt x="0" y="5"/>
                  </a:lnTo>
                  <a:lnTo>
                    <a:pt x="1" y="5"/>
                  </a:lnTo>
                  <a:lnTo>
                    <a:pt x="4" y="5"/>
                  </a:lnTo>
                  <a:lnTo>
                    <a:pt x="4" y="4"/>
                  </a:lnTo>
                  <a:lnTo>
                    <a:pt x="5" y="4"/>
                  </a:lnTo>
                  <a:lnTo>
                    <a:pt x="5" y="4"/>
                  </a:lnTo>
                  <a:lnTo>
                    <a:pt x="3" y="4"/>
                  </a:lnTo>
                  <a:lnTo>
                    <a:pt x="1" y="2"/>
                  </a:lnTo>
                  <a:close/>
                  <a:moveTo>
                    <a:pt x="14" y="5"/>
                  </a:moveTo>
                  <a:lnTo>
                    <a:pt x="15" y="4"/>
                  </a:lnTo>
                  <a:lnTo>
                    <a:pt x="14" y="3"/>
                  </a:lnTo>
                  <a:lnTo>
                    <a:pt x="11" y="2"/>
                  </a:lnTo>
                  <a:lnTo>
                    <a:pt x="11" y="3"/>
                  </a:lnTo>
                  <a:lnTo>
                    <a:pt x="11" y="4"/>
                  </a:lnTo>
                  <a:lnTo>
                    <a:pt x="13" y="4"/>
                  </a:lnTo>
                  <a:lnTo>
                    <a:pt x="14" y="5"/>
                  </a:lnTo>
                  <a:lnTo>
                    <a:pt x="14" y="5"/>
                  </a:lnTo>
                  <a:lnTo>
                    <a:pt x="14" y="5"/>
                  </a:lnTo>
                  <a:close/>
                  <a:moveTo>
                    <a:pt x="10" y="3"/>
                  </a:moveTo>
                  <a:lnTo>
                    <a:pt x="9" y="2"/>
                  </a:lnTo>
                  <a:lnTo>
                    <a:pt x="9" y="0"/>
                  </a:lnTo>
                  <a:lnTo>
                    <a:pt x="8" y="0"/>
                  </a:lnTo>
                  <a:lnTo>
                    <a:pt x="8" y="1"/>
                  </a:lnTo>
                  <a:lnTo>
                    <a:pt x="8" y="2"/>
                  </a:lnTo>
                  <a:lnTo>
                    <a:pt x="9" y="2"/>
                  </a:lnTo>
                  <a:lnTo>
                    <a:pt x="9" y="2"/>
                  </a:lnTo>
                  <a:lnTo>
                    <a:pt x="9" y="3"/>
                  </a:lnTo>
                  <a:lnTo>
                    <a:pt x="10" y="3"/>
                  </a:lnTo>
                  <a:lnTo>
                    <a:pt x="10"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0" name="Trinidad and Tobago">
              <a:extLst>
                <a:ext uri="{FF2B5EF4-FFF2-40B4-BE49-F238E27FC236}">
                  <a16:creationId xmlns:a16="http://schemas.microsoft.com/office/drawing/2014/main" id="{8AADF590-AB00-48F8-8F89-357EA7A9B9AE}"/>
                </a:ext>
              </a:extLst>
            </p:cNvPr>
            <p:cNvSpPr>
              <a:spLocks noEditPoints="1"/>
            </p:cNvSpPr>
            <p:nvPr/>
          </p:nvSpPr>
          <p:spPr bwMode="auto">
            <a:xfrm>
              <a:off x="3942557" y="3633562"/>
              <a:ext cx="47625" cy="47625"/>
            </a:xfrm>
            <a:custGeom>
              <a:avLst/>
              <a:gdLst>
                <a:gd name="T0" fmla="*/ 19 w 30"/>
                <a:gd name="T1" fmla="*/ 29 h 30"/>
                <a:gd name="T2" fmla="*/ 19 w 30"/>
                <a:gd name="T3" fmla="*/ 28 h 30"/>
                <a:gd name="T4" fmla="*/ 19 w 30"/>
                <a:gd name="T5" fmla="*/ 27 h 30"/>
                <a:gd name="T6" fmla="*/ 20 w 30"/>
                <a:gd name="T7" fmla="*/ 25 h 30"/>
                <a:gd name="T8" fmla="*/ 19 w 30"/>
                <a:gd name="T9" fmla="*/ 23 h 30"/>
                <a:gd name="T10" fmla="*/ 19 w 30"/>
                <a:gd name="T11" fmla="*/ 21 h 30"/>
                <a:gd name="T12" fmla="*/ 19 w 30"/>
                <a:gd name="T13" fmla="*/ 19 h 30"/>
                <a:gd name="T14" fmla="*/ 19 w 30"/>
                <a:gd name="T15" fmla="*/ 16 h 30"/>
                <a:gd name="T16" fmla="*/ 20 w 30"/>
                <a:gd name="T17" fmla="*/ 15 h 30"/>
                <a:gd name="T18" fmla="*/ 22 w 30"/>
                <a:gd name="T19" fmla="*/ 13 h 30"/>
                <a:gd name="T20" fmla="*/ 18 w 30"/>
                <a:gd name="T21" fmla="*/ 13 h 30"/>
                <a:gd name="T22" fmla="*/ 16 w 30"/>
                <a:gd name="T23" fmla="*/ 14 h 30"/>
                <a:gd name="T24" fmla="*/ 12 w 30"/>
                <a:gd name="T25" fmla="*/ 14 h 30"/>
                <a:gd name="T26" fmla="*/ 10 w 30"/>
                <a:gd name="T27" fmla="*/ 14 h 30"/>
                <a:gd name="T28" fmla="*/ 8 w 30"/>
                <a:gd name="T29" fmla="*/ 14 h 30"/>
                <a:gd name="T30" fmla="*/ 6 w 30"/>
                <a:gd name="T31" fmla="*/ 15 h 30"/>
                <a:gd name="T32" fmla="*/ 6 w 30"/>
                <a:gd name="T33" fmla="*/ 15 h 30"/>
                <a:gd name="T34" fmla="*/ 8 w 30"/>
                <a:gd name="T35" fmla="*/ 16 h 30"/>
                <a:gd name="T36" fmla="*/ 9 w 30"/>
                <a:gd name="T37" fmla="*/ 17 h 30"/>
                <a:gd name="T38" fmla="*/ 10 w 30"/>
                <a:gd name="T39" fmla="*/ 18 h 30"/>
                <a:gd name="T40" fmla="*/ 10 w 30"/>
                <a:gd name="T41" fmla="*/ 19 h 30"/>
                <a:gd name="T42" fmla="*/ 9 w 30"/>
                <a:gd name="T43" fmla="*/ 26 h 30"/>
                <a:gd name="T44" fmla="*/ 8 w 30"/>
                <a:gd name="T45" fmla="*/ 27 h 30"/>
                <a:gd name="T46" fmla="*/ 6 w 30"/>
                <a:gd name="T47" fmla="*/ 27 h 30"/>
                <a:gd name="T48" fmla="*/ 5 w 30"/>
                <a:gd name="T49" fmla="*/ 28 h 30"/>
                <a:gd name="T50" fmla="*/ 0 w 30"/>
                <a:gd name="T51" fmla="*/ 30 h 30"/>
                <a:gd name="T52" fmla="*/ 3 w 30"/>
                <a:gd name="T53" fmla="*/ 30 h 30"/>
                <a:gd name="T54" fmla="*/ 6 w 30"/>
                <a:gd name="T55" fmla="*/ 30 h 30"/>
                <a:gd name="T56" fmla="*/ 15 w 30"/>
                <a:gd name="T57" fmla="*/ 30 h 30"/>
                <a:gd name="T58" fmla="*/ 19 w 30"/>
                <a:gd name="T59" fmla="*/ 29 h 30"/>
                <a:gd name="T60" fmla="*/ 19 w 30"/>
                <a:gd name="T61" fmla="*/ 29 h 30"/>
                <a:gd name="T62" fmla="*/ 26 w 30"/>
                <a:gd name="T63" fmla="*/ 4 h 30"/>
                <a:gd name="T64" fmla="*/ 30 w 30"/>
                <a:gd name="T65" fmla="*/ 2 h 30"/>
                <a:gd name="T66" fmla="*/ 30 w 30"/>
                <a:gd name="T67" fmla="*/ 0 h 30"/>
                <a:gd name="T68" fmla="*/ 29 w 30"/>
                <a:gd name="T69" fmla="*/ 0 h 30"/>
                <a:gd name="T70" fmla="*/ 26 w 30"/>
                <a:gd name="T71" fmla="*/ 2 h 30"/>
                <a:gd name="T72" fmla="*/ 25 w 30"/>
                <a:gd name="T73" fmla="*/ 4 h 30"/>
                <a:gd name="T74" fmla="*/ 25 w 30"/>
                <a:gd name="T75" fmla="*/ 4 h 30"/>
                <a:gd name="T76" fmla="*/ 26 w 30"/>
                <a:gd name="T77" fmla="*/ 4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0" h="30">
                  <a:moveTo>
                    <a:pt x="19" y="29"/>
                  </a:moveTo>
                  <a:lnTo>
                    <a:pt x="19" y="28"/>
                  </a:lnTo>
                  <a:lnTo>
                    <a:pt x="19" y="27"/>
                  </a:lnTo>
                  <a:lnTo>
                    <a:pt x="20" y="25"/>
                  </a:lnTo>
                  <a:lnTo>
                    <a:pt x="19" y="23"/>
                  </a:lnTo>
                  <a:lnTo>
                    <a:pt x="19" y="21"/>
                  </a:lnTo>
                  <a:lnTo>
                    <a:pt x="19" y="19"/>
                  </a:lnTo>
                  <a:lnTo>
                    <a:pt x="19" y="16"/>
                  </a:lnTo>
                  <a:lnTo>
                    <a:pt x="20" y="15"/>
                  </a:lnTo>
                  <a:lnTo>
                    <a:pt x="22" y="13"/>
                  </a:lnTo>
                  <a:lnTo>
                    <a:pt x="18" y="13"/>
                  </a:lnTo>
                  <a:lnTo>
                    <a:pt x="16" y="14"/>
                  </a:lnTo>
                  <a:lnTo>
                    <a:pt x="12" y="14"/>
                  </a:lnTo>
                  <a:lnTo>
                    <a:pt x="10" y="14"/>
                  </a:lnTo>
                  <a:lnTo>
                    <a:pt x="8" y="14"/>
                  </a:lnTo>
                  <a:lnTo>
                    <a:pt x="6" y="15"/>
                  </a:lnTo>
                  <a:lnTo>
                    <a:pt x="6" y="15"/>
                  </a:lnTo>
                  <a:lnTo>
                    <a:pt x="8" y="16"/>
                  </a:lnTo>
                  <a:lnTo>
                    <a:pt x="9" y="17"/>
                  </a:lnTo>
                  <a:lnTo>
                    <a:pt x="10" y="18"/>
                  </a:lnTo>
                  <a:lnTo>
                    <a:pt x="10" y="19"/>
                  </a:lnTo>
                  <a:lnTo>
                    <a:pt x="9" y="26"/>
                  </a:lnTo>
                  <a:lnTo>
                    <a:pt x="8" y="27"/>
                  </a:lnTo>
                  <a:lnTo>
                    <a:pt x="6" y="27"/>
                  </a:lnTo>
                  <a:lnTo>
                    <a:pt x="5" y="28"/>
                  </a:lnTo>
                  <a:lnTo>
                    <a:pt x="0" y="30"/>
                  </a:lnTo>
                  <a:lnTo>
                    <a:pt x="3" y="30"/>
                  </a:lnTo>
                  <a:lnTo>
                    <a:pt x="6" y="30"/>
                  </a:lnTo>
                  <a:lnTo>
                    <a:pt x="15" y="30"/>
                  </a:lnTo>
                  <a:lnTo>
                    <a:pt x="19" y="29"/>
                  </a:lnTo>
                  <a:lnTo>
                    <a:pt x="19" y="29"/>
                  </a:lnTo>
                  <a:close/>
                  <a:moveTo>
                    <a:pt x="26" y="4"/>
                  </a:moveTo>
                  <a:lnTo>
                    <a:pt x="30" y="2"/>
                  </a:lnTo>
                  <a:lnTo>
                    <a:pt x="30" y="0"/>
                  </a:lnTo>
                  <a:lnTo>
                    <a:pt x="29" y="0"/>
                  </a:lnTo>
                  <a:lnTo>
                    <a:pt x="26" y="2"/>
                  </a:lnTo>
                  <a:lnTo>
                    <a:pt x="25" y="4"/>
                  </a:lnTo>
                  <a:lnTo>
                    <a:pt x="25" y="4"/>
                  </a:lnTo>
                  <a:lnTo>
                    <a:pt x="26"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1" name="Saint Vincent and the Grenadines">
              <a:extLst>
                <a:ext uri="{FF2B5EF4-FFF2-40B4-BE49-F238E27FC236}">
                  <a16:creationId xmlns:a16="http://schemas.microsoft.com/office/drawing/2014/main" id="{3A8D10B9-5767-4027-9426-8EF99A72FF1D}"/>
                </a:ext>
              </a:extLst>
            </p:cNvPr>
            <p:cNvSpPr>
              <a:spLocks noEditPoints="1"/>
            </p:cNvSpPr>
            <p:nvPr/>
          </p:nvSpPr>
          <p:spPr bwMode="auto">
            <a:xfrm>
              <a:off x="3966369" y="3558948"/>
              <a:ext cx="9525" cy="25400"/>
            </a:xfrm>
            <a:custGeom>
              <a:avLst/>
              <a:gdLst>
                <a:gd name="T0" fmla="*/ 0 w 6"/>
                <a:gd name="T1" fmla="*/ 16 h 16"/>
                <a:gd name="T2" fmla="*/ 0 w 6"/>
                <a:gd name="T3" fmla="*/ 16 h 16"/>
                <a:gd name="T4" fmla="*/ 0 w 6"/>
                <a:gd name="T5" fmla="*/ 15 h 16"/>
                <a:gd name="T6" fmla="*/ 0 w 6"/>
                <a:gd name="T7" fmla="*/ 15 h 16"/>
                <a:gd name="T8" fmla="*/ 0 w 6"/>
                <a:gd name="T9" fmla="*/ 15 h 16"/>
                <a:gd name="T10" fmla="*/ 0 w 6"/>
                <a:gd name="T11" fmla="*/ 15 h 16"/>
                <a:gd name="T12" fmla="*/ 0 w 6"/>
                <a:gd name="T13" fmla="*/ 14 h 16"/>
                <a:gd name="T14" fmla="*/ 0 w 6"/>
                <a:gd name="T15" fmla="*/ 14 h 16"/>
                <a:gd name="T16" fmla="*/ 0 w 6"/>
                <a:gd name="T17" fmla="*/ 15 h 16"/>
                <a:gd name="T18" fmla="*/ 0 w 6"/>
                <a:gd name="T19" fmla="*/ 15 h 16"/>
                <a:gd name="T20" fmla="*/ 0 w 6"/>
                <a:gd name="T21" fmla="*/ 15 h 16"/>
                <a:gd name="T22" fmla="*/ 0 w 6"/>
                <a:gd name="T23" fmla="*/ 15 h 16"/>
                <a:gd name="T24" fmla="*/ 0 w 6"/>
                <a:gd name="T25" fmla="*/ 16 h 16"/>
                <a:gd name="T26" fmla="*/ 0 w 6"/>
                <a:gd name="T27" fmla="*/ 16 h 16"/>
                <a:gd name="T28" fmla="*/ 0 w 6"/>
                <a:gd name="T29" fmla="*/ 16 h 16"/>
                <a:gd name="T30" fmla="*/ 0 w 6"/>
                <a:gd name="T31" fmla="*/ 16 h 16"/>
                <a:gd name="T32" fmla="*/ 3 w 6"/>
                <a:gd name="T33" fmla="*/ 8 h 16"/>
                <a:gd name="T34" fmla="*/ 3 w 6"/>
                <a:gd name="T35" fmla="*/ 7 h 16"/>
                <a:gd name="T36" fmla="*/ 4 w 6"/>
                <a:gd name="T37" fmla="*/ 7 h 16"/>
                <a:gd name="T38" fmla="*/ 4 w 6"/>
                <a:gd name="T39" fmla="*/ 7 h 16"/>
                <a:gd name="T40" fmla="*/ 4 w 6"/>
                <a:gd name="T41" fmla="*/ 7 h 16"/>
                <a:gd name="T42" fmla="*/ 3 w 6"/>
                <a:gd name="T43" fmla="*/ 6 h 16"/>
                <a:gd name="T44" fmla="*/ 3 w 6"/>
                <a:gd name="T45" fmla="*/ 6 h 16"/>
                <a:gd name="T46" fmla="*/ 3 w 6"/>
                <a:gd name="T47" fmla="*/ 7 h 16"/>
                <a:gd name="T48" fmla="*/ 2 w 6"/>
                <a:gd name="T49" fmla="*/ 7 h 16"/>
                <a:gd name="T50" fmla="*/ 2 w 6"/>
                <a:gd name="T51" fmla="*/ 7 h 16"/>
                <a:gd name="T52" fmla="*/ 2 w 6"/>
                <a:gd name="T53" fmla="*/ 8 h 16"/>
                <a:gd name="T54" fmla="*/ 2 w 6"/>
                <a:gd name="T55" fmla="*/ 8 h 16"/>
                <a:gd name="T56" fmla="*/ 2 w 6"/>
                <a:gd name="T57" fmla="*/ 8 h 16"/>
                <a:gd name="T58" fmla="*/ 2 w 6"/>
                <a:gd name="T59" fmla="*/ 8 h 16"/>
                <a:gd name="T60" fmla="*/ 2 w 6"/>
                <a:gd name="T61" fmla="*/ 8 h 16"/>
                <a:gd name="T62" fmla="*/ 2 w 6"/>
                <a:gd name="T63" fmla="*/ 8 h 16"/>
                <a:gd name="T64" fmla="*/ 2 w 6"/>
                <a:gd name="T65" fmla="*/ 8 h 16"/>
                <a:gd name="T66" fmla="*/ 2 w 6"/>
                <a:gd name="T67" fmla="*/ 8 h 16"/>
                <a:gd name="T68" fmla="*/ 2 w 6"/>
                <a:gd name="T69" fmla="*/ 8 h 16"/>
                <a:gd name="T70" fmla="*/ 2 w 6"/>
                <a:gd name="T71" fmla="*/ 8 h 16"/>
                <a:gd name="T72" fmla="*/ 2 w 6"/>
                <a:gd name="T73" fmla="*/ 8 h 16"/>
                <a:gd name="T74" fmla="*/ 2 w 6"/>
                <a:gd name="T75" fmla="*/ 8 h 16"/>
                <a:gd name="T76" fmla="*/ 3 w 6"/>
                <a:gd name="T77" fmla="*/ 8 h 16"/>
                <a:gd name="T78" fmla="*/ 3 w 6"/>
                <a:gd name="T79" fmla="*/ 8 h 16"/>
                <a:gd name="T80" fmla="*/ 4 w 6"/>
                <a:gd name="T81" fmla="*/ 5 h 16"/>
                <a:gd name="T82" fmla="*/ 5 w 6"/>
                <a:gd name="T83" fmla="*/ 4 h 16"/>
                <a:gd name="T84" fmla="*/ 6 w 6"/>
                <a:gd name="T85" fmla="*/ 1 h 16"/>
                <a:gd name="T86" fmla="*/ 5 w 6"/>
                <a:gd name="T87" fmla="*/ 0 h 16"/>
                <a:gd name="T88" fmla="*/ 4 w 6"/>
                <a:gd name="T89" fmla="*/ 0 h 16"/>
                <a:gd name="T90" fmla="*/ 3 w 6"/>
                <a:gd name="T91" fmla="*/ 0 h 16"/>
                <a:gd name="T92" fmla="*/ 2 w 6"/>
                <a:gd name="T93" fmla="*/ 1 h 16"/>
                <a:gd name="T94" fmla="*/ 2 w 6"/>
                <a:gd name="T95" fmla="*/ 3 h 16"/>
                <a:gd name="T96" fmla="*/ 4 w 6"/>
                <a:gd name="T97" fmla="*/ 5 h 16"/>
                <a:gd name="T98" fmla="*/ 4 w 6"/>
                <a:gd name="T99" fmla="*/ 5 h 16"/>
                <a:gd name="T100" fmla="*/ 4 w 6"/>
                <a:gd name="T101"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6" h="16">
                  <a:moveTo>
                    <a:pt x="0" y="16"/>
                  </a:moveTo>
                  <a:lnTo>
                    <a:pt x="0" y="16"/>
                  </a:lnTo>
                  <a:lnTo>
                    <a:pt x="0" y="15"/>
                  </a:lnTo>
                  <a:lnTo>
                    <a:pt x="0" y="15"/>
                  </a:lnTo>
                  <a:lnTo>
                    <a:pt x="0" y="15"/>
                  </a:lnTo>
                  <a:lnTo>
                    <a:pt x="0" y="15"/>
                  </a:lnTo>
                  <a:lnTo>
                    <a:pt x="0" y="14"/>
                  </a:lnTo>
                  <a:lnTo>
                    <a:pt x="0" y="14"/>
                  </a:lnTo>
                  <a:lnTo>
                    <a:pt x="0" y="15"/>
                  </a:lnTo>
                  <a:lnTo>
                    <a:pt x="0" y="15"/>
                  </a:lnTo>
                  <a:lnTo>
                    <a:pt x="0" y="15"/>
                  </a:lnTo>
                  <a:lnTo>
                    <a:pt x="0" y="15"/>
                  </a:lnTo>
                  <a:lnTo>
                    <a:pt x="0" y="16"/>
                  </a:lnTo>
                  <a:lnTo>
                    <a:pt x="0" y="16"/>
                  </a:lnTo>
                  <a:lnTo>
                    <a:pt x="0" y="16"/>
                  </a:lnTo>
                  <a:lnTo>
                    <a:pt x="0" y="16"/>
                  </a:lnTo>
                  <a:close/>
                  <a:moveTo>
                    <a:pt x="3" y="8"/>
                  </a:moveTo>
                  <a:lnTo>
                    <a:pt x="3" y="7"/>
                  </a:lnTo>
                  <a:lnTo>
                    <a:pt x="4" y="7"/>
                  </a:lnTo>
                  <a:lnTo>
                    <a:pt x="4" y="7"/>
                  </a:lnTo>
                  <a:lnTo>
                    <a:pt x="4" y="7"/>
                  </a:lnTo>
                  <a:lnTo>
                    <a:pt x="3" y="6"/>
                  </a:lnTo>
                  <a:lnTo>
                    <a:pt x="3" y="6"/>
                  </a:lnTo>
                  <a:lnTo>
                    <a:pt x="3" y="7"/>
                  </a:lnTo>
                  <a:lnTo>
                    <a:pt x="2" y="7"/>
                  </a:lnTo>
                  <a:lnTo>
                    <a:pt x="2" y="7"/>
                  </a:lnTo>
                  <a:lnTo>
                    <a:pt x="2" y="8"/>
                  </a:lnTo>
                  <a:lnTo>
                    <a:pt x="2" y="8"/>
                  </a:lnTo>
                  <a:lnTo>
                    <a:pt x="2" y="8"/>
                  </a:lnTo>
                  <a:lnTo>
                    <a:pt x="2" y="8"/>
                  </a:lnTo>
                  <a:lnTo>
                    <a:pt x="2" y="8"/>
                  </a:lnTo>
                  <a:lnTo>
                    <a:pt x="2" y="8"/>
                  </a:lnTo>
                  <a:lnTo>
                    <a:pt x="2" y="8"/>
                  </a:lnTo>
                  <a:lnTo>
                    <a:pt x="2" y="8"/>
                  </a:lnTo>
                  <a:lnTo>
                    <a:pt x="2" y="8"/>
                  </a:lnTo>
                  <a:lnTo>
                    <a:pt x="2" y="8"/>
                  </a:lnTo>
                  <a:lnTo>
                    <a:pt x="2" y="8"/>
                  </a:lnTo>
                  <a:lnTo>
                    <a:pt x="2" y="8"/>
                  </a:lnTo>
                  <a:lnTo>
                    <a:pt x="3" y="8"/>
                  </a:lnTo>
                  <a:lnTo>
                    <a:pt x="3" y="8"/>
                  </a:lnTo>
                  <a:close/>
                  <a:moveTo>
                    <a:pt x="4" y="5"/>
                  </a:moveTo>
                  <a:lnTo>
                    <a:pt x="5" y="4"/>
                  </a:lnTo>
                  <a:lnTo>
                    <a:pt x="6" y="1"/>
                  </a:lnTo>
                  <a:lnTo>
                    <a:pt x="5" y="0"/>
                  </a:lnTo>
                  <a:lnTo>
                    <a:pt x="4" y="0"/>
                  </a:lnTo>
                  <a:lnTo>
                    <a:pt x="3" y="0"/>
                  </a:lnTo>
                  <a:lnTo>
                    <a:pt x="2" y="1"/>
                  </a:lnTo>
                  <a:lnTo>
                    <a:pt x="2" y="3"/>
                  </a:lnTo>
                  <a:lnTo>
                    <a:pt x="4" y="5"/>
                  </a:lnTo>
                  <a:lnTo>
                    <a:pt x="4" y="5"/>
                  </a:lnTo>
                  <a:lnTo>
                    <a:pt x="4" y="5"/>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2" name="British Virgin Islands">
              <a:extLst>
                <a:ext uri="{FF2B5EF4-FFF2-40B4-BE49-F238E27FC236}">
                  <a16:creationId xmlns:a16="http://schemas.microsoft.com/office/drawing/2014/main" id="{B00F3A35-81E9-4CD9-86D0-A95784223876}"/>
                </a:ext>
              </a:extLst>
            </p:cNvPr>
            <p:cNvSpPr>
              <a:spLocks noEditPoints="1"/>
            </p:cNvSpPr>
            <p:nvPr/>
          </p:nvSpPr>
          <p:spPr bwMode="auto">
            <a:xfrm>
              <a:off x="3872707" y="3355749"/>
              <a:ext cx="14287" cy="11113"/>
            </a:xfrm>
            <a:custGeom>
              <a:avLst/>
              <a:gdLst>
                <a:gd name="T0" fmla="*/ 2 w 9"/>
                <a:gd name="T1" fmla="*/ 7 h 7"/>
                <a:gd name="T2" fmla="*/ 3 w 9"/>
                <a:gd name="T3" fmla="*/ 7 h 7"/>
                <a:gd name="T4" fmla="*/ 2 w 9"/>
                <a:gd name="T5" fmla="*/ 6 h 7"/>
                <a:gd name="T6" fmla="*/ 1 w 9"/>
                <a:gd name="T7" fmla="*/ 6 h 7"/>
                <a:gd name="T8" fmla="*/ 0 w 9"/>
                <a:gd name="T9" fmla="*/ 7 h 7"/>
                <a:gd name="T10" fmla="*/ 0 w 9"/>
                <a:gd name="T11" fmla="*/ 7 h 7"/>
                <a:gd name="T12" fmla="*/ 2 w 9"/>
                <a:gd name="T13" fmla="*/ 7 h 7"/>
                <a:gd name="T14" fmla="*/ 2 w 9"/>
                <a:gd name="T15" fmla="*/ 7 h 7"/>
                <a:gd name="T16" fmla="*/ 6 w 9"/>
                <a:gd name="T17" fmla="*/ 6 h 7"/>
                <a:gd name="T18" fmla="*/ 8 w 9"/>
                <a:gd name="T19" fmla="*/ 5 h 7"/>
                <a:gd name="T20" fmla="*/ 6 w 9"/>
                <a:gd name="T21" fmla="*/ 6 h 7"/>
                <a:gd name="T22" fmla="*/ 5 w 9"/>
                <a:gd name="T23" fmla="*/ 6 h 7"/>
                <a:gd name="T24" fmla="*/ 5 w 9"/>
                <a:gd name="T25" fmla="*/ 6 h 7"/>
                <a:gd name="T26" fmla="*/ 6 w 9"/>
                <a:gd name="T27" fmla="*/ 6 h 7"/>
                <a:gd name="T28" fmla="*/ 6 w 9"/>
                <a:gd name="T29" fmla="*/ 6 h 7"/>
                <a:gd name="T30" fmla="*/ 6 w 9"/>
                <a:gd name="T31" fmla="*/ 6 h 7"/>
                <a:gd name="T32" fmla="*/ 9 w 9"/>
                <a:gd name="T33" fmla="*/ 0 h 7"/>
                <a:gd name="T34" fmla="*/ 9 w 9"/>
                <a:gd name="T35" fmla="*/ 0 h 7"/>
                <a:gd name="T36" fmla="*/ 7 w 9"/>
                <a:gd name="T37" fmla="*/ 0 h 7"/>
                <a:gd name="T38" fmla="*/ 7 w 9"/>
                <a:gd name="T39" fmla="*/ 0 h 7"/>
                <a:gd name="T40" fmla="*/ 7 w 9"/>
                <a:gd name="T41" fmla="*/ 0 h 7"/>
                <a:gd name="T42" fmla="*/ 8 w 9"/>
                <a:gd name="T43" fmla="*/ 0 h 7"/>
                <a:gd name="T44" fmla="*/ 9 w 9"/>
                <a:gd name="T45" fmla="*/ 0 h 7"/>
                <a:gd name="T46" fmla="*/ 9 w 9"/>
                <a:gd name="T47" fmla="*/ 0 h 7"/>
                <a:gd name="T48" fmla="*/ 9 w 9"/>
                <a:gd name="T49" fmla="*/ 0 h 7"/>
                <a:gd name="T50" fmla="*/ 9 w 9"/>
                <a:gd name="T51" fmla="*/ 0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9" h="7">
                  <a:moveTo>
                    <a:pt x="2" y="7"/>
                  </a:moveTo>
                  <a:lnTo>
                    <a:pt x="3" y="7"/>
                  </a:lnTo>
                  <a:lnTo>
                    <a:pt x="2" y="6"/>
                  </a:lnTo>
                  <a:lnTo>
                    <a:pt x="1" y="6"/>
                  </a:lnTo>
                  <a:lnTo>
                    <a:pt x="0" y="7"/>
                  </a:lnTo>
                  <a:lnTo>
                    <a:pt x="0" y="7"/>
                  </a:lnTo>
                  <a:lnTo>
                    <a:pt x="2" y="7"/>
                  </a:lnTo>
                  <a:lnTo>
                    <a:pt x="2" y="7"/>
                  </a:lnTo>
                  <a:close/>
                  <a:moveTo>
                    <a:pt x="6" y="6"/>
                  </a:moveTo>
                  <a:lnTo>
                    <a:pt x="8" y="5"/>
                  </a:lnTo>
                  <a:lnTo>
                    <a:pt x="6" y="6"/>
                  </a:lnTo>
                  <a:lnTo>
                    <a:pt x="5" y="6"/>
                  </a:lnTo>
                  <a:lnTo>
                    <a:pt x="5" y="6"/>
                  </a:lnTo>
                  <a:lnTo>
                    <a:pt x="6" y="6"/>
                  </a:lnTo>
                  <a:lnTo>
                    <a:pt x="6" y="6"/>
                  </a:lnTo>
                  <a:lnTo>
                    <a:pt x="6" y="6"/>
                  </a:lnTo>
                  <a:close/>
                  <a:moveTo>
                    <a:pt x="9" y="0"/>
                  </a:moveTo>
                  <a:lnTo>
                    <a:pt x="9" y="0"/>
                  </a:lnTo>
                  <a:lnTo>
                    <a:pt x="7" y="0"/>
                  </a:lnTo>
                  <a:lnTo>
                    <a:pt x="7" y="0"/>
                  </a:lnTo>
                  <a:lnTo>
                    <a:pt x="7" y="0"/>
                  </a:lnTo>
                  <a:lnTo>
                    <a:pt x="8" y="0"/>
                  </a:lnTo>
                  <a:lnTo>
                    <a:pt x="9" y="0"/>
                  </a:lnTo>
                  <a:lnTo>
                    <a:pt x="9" y="0"/>
                  </a:lnTo>
                  <a:lnTo>
                    <a:pt x="9" y="0"/>
                  </a:lnTo>
                  <a:lnTo>
                    <a:pt x="9" y="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3" name="Virgin Islands">
              <a:extLst>
                <a:ext uri="{FF2B5EF4-FFF2-40B4-BE49-F238E27FC236}">
                  <a16:creationId xmlns:a16="http://schemas.microsoft.com/office/drawing/2014/main" id="{0A525671-045A-492A-91BA-7A3D82C57E24}"/>
                </a:ext>
              </a:extLst>
            </p:cNvPr>
            <p:cNvSpPr>
              <a:spLocks noEditPoints="1"/>
            </p:cNvSpPr>
            <p:nvPr/>
          </p:nvSpPr>
          <p:spPr bwMode="auto">
            <a:xfrm>
              <a:off x="3861594" y="3368448"/>
              <a:ext cx="12700" cy="25400"/>
            </a:xfrm>
            <a:custGeom>
              <a:avLst/>
              <a:gdLst>
                <a:gd name="T0" fmla="*/ 5 w 8"/>
                <a:gd name="T1" fmla="*/ 14 h 16"/>
                <a:gd name="T2" fmla="*/ 2 w 8"/>
                <a:gd name="T3" fmla="*/ 14 h 16"/>
                <a:gd name="T4" fmla="*/ 1 w 8"/>
                <a:gd name="T5" fmla="*/ 16 h 16"/>
                <a:gd name="T6" fmla="*/ 6 w 8"/>
                <a:gd name="T7" fmla="*/ 16 h 16"/>
                <a:gd name="T8" fmla="*/ 8 w 8"/>
                <a:gd name="T9" fmla="*/ 15 h 16"/>
                <a:gd name="T10" fmla="*/ 6 w 8"/>
                <a:gd name="T11" fmla="*/ 15 h 16"/>
                <a:gd name="T12" fmla="*/ 5 w 8"/>
                <a:gd name="T13" fmla="*/ 14 h 16"/>
                <a:gd name="T14" fmla="*/ 5 w 8"/>
                <a:gd name="T15" fmla="*/ 14 h 16"/>
                <a:gd name="T16" fmla="*/ 7 w 8"/>
                <a:gd name="T17" fmla="*/ 1 h 16"/>
                <a:gd name="T18" fmla="*/ 6 w 8"/>
                <a:gd name="T19" fmla="*/ 0 h 16"/>
                <a:gd name="T20" fmla="*/ 5 w 8"/>
                <a:gd name="T21" fmla="*/ 1 h 16"/>
                <a:gd name="T22" fmla="*/ 5 w 8"/>
                <a:gd name="T23" fmla="*/ 1 h 16"/>
                <a:gd name="T24" fmla="*/ 7 w 8"/>
                <a:gd name="T25" fmla="*/ 1 h 16"/>
                <a:gd name="T26" fmla="*/ 7 w 8"/>
                <a:gd name="T27" fmla="*/ 1 h 16"/>
                <a:gd name="T28" fmla="*/ 4 w 8"/>
                <a:gd name="T29" fmla="*/ 1 h 16"/>
                <a:gd name="T30" fmla="*/ 3 w 8"/>
                <a:gd name="T31" fmla="*/ 0 h 16"/>
                <a:gd name="T32" fmla="*/ 2 w 8"/>
                <a:gd name="T33" fmla="*/ 0 h 16"/>
                <a:gd name="T34" fmla="*/ 0 w 8"/>
                <a:gd name="T35" fmla="*/ 0 h 16"/>
                <a:gd name="T36" fmla="*/ 2 w 8"/>
                <a:gd name="T37" fmla="*/ 1 h 16"/>
                <a:gd name="T38" fmla="*/ 4 w 8"/>
                <a:gd name="T39" fmla="*/ 1 h 16"/>
                <a:gd name="T40" fmla="*/ 4 w 8"/>
                <a:gd name="T41"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 h="16">
                  <a:moveTo>
                    <a:pt x="5" y="14"/>
                  </a:moveTo>
                  <a:lnTo>
                    <a:pt x="2" y="14"/>
                  </a:lnTo>
                  <a:lnTo>
                    <a:pt x="1" y="16"/>
                  </a:lnTo>
                  <a:lnTo>
                    <a:pt x="6" y="16"/>
                  </a:lnTo>
                  <a:lnTo>
                    <a:pt x="8" y="15"/>
                  </a:lnTo>
                  <a:lnTo>
                    <a:pt x="6" y="15"/>
                  </a:lnTo>
                  <a:lnTo>
                    <a:pt x="5" y="14"/>
                  </a:lnTo>
                  <a:lnTo>
                    <a:pt x="5" y="14"/>
                  </a:lnTo>
                  <a:close/>
                  <a:moveTo>
                    <a:pt x="7" y="1"/>
                  </a:moveTo>
                  <a:lnTo>
                    <a:pt x="6" y="0"/>
                  </a:lnTo>
                  <a:lnTo>
                    <a:pt x="5" y="1"/>
                  </a:lnTo>
                  <a:lnTo>
                    <a:pt x="5" y="1"/>
                  </a:lnTo>
                  <a:lnTo>
                    <a:pt x="7" y="1"/>
                  </a:lnTo>
                  <a:lnTo>
                    <a:pt x="7" y="1"/>
                  </a:lnTo>
                  <a:close/>
                  <a:moveTo>
                    <a:pt x="4" y="1"/>
                  </a:moveTo>
                  <a:lnTo>
                    <a:pt x="3" y="0"/>
                  </a:lnTo>
                  <a:lnTo>
                    <a:pt x="2" y="0"/>
                  </a:lnTo>
                  <a:lnTo>
                    <a:pt x="0" y="0"/>
                  </a:lnTo>
                  <a:lnTo>
                    <a:pt x="2" y="1"/>
                  </a:lnTo>
                  <a:lnTo>
                    <a:pt x="4" y="1"/>
                  </a:lnTo>
                  <a:lnTo>
                    <a:pt x="4" y="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4" name="Cyprus">
              <a:extLst>
                <a:ext uri="{FF2B5EF4-FFF2-40B4-BE49-F238E27FC236}">
                  <a16:creationId xmlns:a16="http://schemas.microsoft.com/office/drawing/2014/main" id="{56C40BD6-906B-4EC9-9D46-116740CB9F33}"/>
                </a:ext>
              </a:extLst>
            </p:cNvPr>
            <p:cNvSpPr>
              <a:spLocks/>
            </p:cNvSpPr>
            <p:nvPr/>
          </p:nvSpPr>
          <p:spPr bwMode="auto">
            <a:xfrm>
              <a:off x="7009607" y="2717574"/>
              <a:ext cx="68262" cy="41275"/>
            </a:xfrm>
            <a:custGeom>
              <a:avLst/>
              <a:gdLst>
                <a:gd name="T0" fmla="*/ 8 w 43"/>
                <a:gd name="T1" fmla="*/ 12 h 26"/>
                <a:gd name="T2" fmla="*/ 7 w 43"/>
                <a:gd name="T3" fmla="*/ 11 h 26"/>
                <a:gd name="T4" fmla="*/ 5 w 43"/>
                <a:gd name="T5" fmla="*/ 12 h 26"/>
                <a:gd name="T6" fmla="*/ 4 w 43"/>
                <a:gd name="T7" fmla="*/ 14 h 26"/>
                <a:gd name="T8" fmla="*/ 2 w 43"/>
                <a:gd name="T9" fmla="*/ 14 h 26"/>
                <a:gd name="T10" fmla="*/ 0 w 43"/>
                <a:gd name="T11" fmla="*/ 14 h 26"/>
                <a:gd name="T12" fmla="*/ 1 w 43"/>
                <a:gd name="T13" fmla="*/ 16 h 26"/>
                <a:gd name="T14" fmla="*/ 3 w 43"/>
                <a:gd name="T15" fmla="*/ 21 h 26"/>
                <a:gd name="T16" fmla="*/ 4 w 43"/>
                <a:gd name="T17" fmla="*/ 22 h 26"/>
                <a:gd name="T18" fmla="*/ 5 w 43"/>
                <a:gd name="T19" fmla="*/ 23 h 26"/>
                <a:gd name="T20" fmla="*/ 9 w 43"/>
                <a:gd name="T21" fmla="*/ 24 h 26"/>
                <a:gd name="T22" fmla="*/ 10 w 43"/>
                <a:gd name="T23" fmla="*/ 24 h 26"/>
                <a:gd name="T24" fmla="*/ 12 w 43"/>
                <a:gd name="T25" fmla="*/ 24 h 26"/>
                <a:gd name="T26" fmla="*/ 13 w 43"/>
                <a:gd name="T27" fmla="*/ 24 h 26"/>
                <a:gd name="T28" fmla="*/ 14 w 43"/>
                <a:gd name="T29" fmla="*/ 26 h 26"/>
                <a:gd name="T30" fmla="*/ 16 w 43"/>
                <a:gd name="T31" fmla="*/ 26 h 26"/>
                <a:gd name="T32" fmla="*/ 16 w 43"/>
                <a:gd name="T33" fmla="*/ 25 h 26"/>
                <a:gd name="T34" fmla="*/ 16 w 43"/>
                <a:gd name="T35" fmla="*/ 24 h 26"/>
                <a:gd name="T36" fmla="*/ 16 w 43"/>
                <a:gd name="T37" fmla="*/ 23 h 26"/>
                <a:gd name="T38" fmla="*/ 18 w 43"/>
                <a:gd name="T39" fmla="*/ 23 h 26"/>
                <a:gd name="T40" fmla="*/ 19 w 43"/>
                <a:gd name="T41" fmla="*/ 23 h 26"/>
                <a:gd name="T42" fmla="*/ 21 w 43"/>
                <a:gd name="T43" fmla="*/ 22 h 26"/>
                <a:gd name="T44" fmla="*/ 23 w 43"/>
                <a:gd name="T45" fmla="*/ 21 h 26"/>
                <a:gd name="T46" fmla="*/ 25 w 43"/>
                <a:gd name="T47" fmla="*/ 20 h 26"/>
                <a:gd name="T48" fmla="*/ 28 w 43"/>
                <a:gd name="T49" fmla="*/ 16 h 26"/>
                <a:gd name="T50" fmla="*/ 29 w 43"/>
                <a:gd name="T51" fmla="*/ 16 h 26"/>
                <a:gd name="T52" fmla="*/ 31 w 43"/>
                <a:gd name="T53" fmla="*/ 16 h 26"/>
                <a:gd name="T54" fmla="*/ 33 w 43"/>
                <a:gd name="T55" fmla="*/ 16 h 26"/>
                <a:gd name="T56" fmla="*/ 35 w 43"/>
                <a:gd name="T57" fmla="*/ 15 h 26"/>
                <a:gd name="T58" fmla="*/ 35 w 43"/>
                <a:gd name="T59" fmla="*/ 14 h 26"/>
                <a:gd name="T60" fmla="*/ 34 w 43"/>
                <a:gd name="T61" fmla="*/ 14 h 26"/>
                <a:gd name="T62" fmla="*/ 33 w 43"/>
                <a:gd name="T63" fmla="*/ 12 h 26"/>
                <a:gd name="T64" fmla="*/ 32 w 43"/>
                <a:gd name="T65" fmla="*/ 11 h 26"/>
                <a:gd name="T66" fmla="*/ 32 w 43"/>
                <a:gd name="T67" fmla="*/ 8 h 26"/>
                <a:gd name="T68" fmla="*/ 41 w 43"/>
                <a:gd name="T69" fmla="*/ 1 h 26"/>
                <a:gd name="T70" fmla="*/ 43 w 43"/>
                <a:gd name="T71" fmla="*/ 0 h 26"/>
                <a:gd name="T72" fmla="*/ 40 w 43"/>
                <a:gd name="T73" fmla="*/ 0 h 26"/>
                <a:gd name="T74" fmla="*/ 38 w 43"/>
                <a:gd name="T75" fmla="*/ 1 h 26"/>
                <a:gd name="T76" fmla="*/ 36 w 43"/>
                <a:gd name="T77" fmla="*/ 2 h 26"/>
                <a:gd name="T78" fmla="*/ 34 w 43"/>
                <a:gd name="T79" fmla="*/ 4 h 26"/>
                <a:gd name="T80" fmla="*/ 25 w 43"/>
                <a:gd name="T81" fmla="*/ 7 h 26"/>
                <a:gd name="T82" fmla="*/ 22 w 43"/>
                <a:gd name="T83" fmla="*/ 7 h 26"/>
                <a:gd name="T84" fmla="*/ 20 w 43"/>
                <a:gd name="T85" fmla="*/ 7 h 26"/>
                <a:gd name="T86" fmla="*/ 16 w 43"/>
                <a:gd name="T87" fmla="*/ 7 h 26"/>
                <a:gd name="T88" fmla="*/ 12 w 43"/>
                <a:gd name="T89" fmla="*/ 6 h 26"/>
                <a:gd name="T90" fmla="*/ 12 w 43"/>
                <a:gd name="T91" fmla="*/ 9 h 26"/>
                <a:gd name="T92" fmla="*/ 11 w 43"/>
                <a:gd name="T93" fmla="*/ 11 h 26"/>
                <a:gd name="T94" fmla="*/ 9 w 43"/>
                <a:gd name="T95" fmla="*/ 12 h 26"/>
                <a:gd name="T96" fmla="*/ 8 w 43"/>
                <a:gd name="T97" fmla="*/ 12 h 26"/>
                <a:gd name="T98" fmla="*/ 8 w 43"/>
                <a:gd name="T99" fmla="*/ 1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3" h="26">
                  <a:moveTo>
                    <a:pt x="8" y="12"/>
                  </a:moveTo>
                  <a:lnTo>
                    <a:pt x="7" y="11"/>
                  </a:lnTo>
                  <a:lnTo>
                    <a:pt x="5" y="12"/>
                  </a:lnTo>
                  <a:lnTo>
                    <a:pt x="4" y="14"/>
                  </a:lnTo>
                  <a:lnTo>
                    <a:pt x="2" y="14"/>
                  </a:lnTo>
                  <a:lnTo>
                    <a:pt x="0" y="14"/>
                  </a:lnTo>
                  <a:lnTo>
                    <a:pt x="1" y="16"/>
                  </a:lnTo>
                  <a:lnTo>
                    <a:pt x="3" y="21"/>
                  </a:lnTo>
                  <a:lnTo>
                    <a:pt x="4" y="22"/>
                  </a:lnTo>
                  <a:lnTo>
                    <a:pt x="5" y="23"/>
                  </a:lnTo>
                  <a:lnTo>
                    <a:pt x="9" y="24"/>
                  </a:lnTo>
                  <a:lnTo>
                    <a:pt x="10" y="24"/>
                  </a:lnTo>
                  <a:lnTo>
                    <a:pt x="12" y="24"/>
                  </a:lnTo>
                  <a:lnTo>
                    <a:pt x="13" y="24"/>
                  </a:lnTo>
                  <a:lnTo>
                    <a:pt x="14" y="26"/>
                  </a:lnTo>
                  <a:lnTo>
                    <a:pt x="16" y="26"/>
                  </a:lnTo>
                  <a:lnTo>
                    <a:pt x="16" y="25"/>
                  </a:lnTo>
                  <a:lnTo>
                    <a:pt x="16" y="24"/>
                  </a:lnTo>
                  <a:lnTo>
                    <a:pt x="16" y="23"/>
                  </a:lnTo>
                  <a:lnTo>
                    <a:pt x="18" y="23"/>
                  </a:lnTo>
                  <a:lnTo>
                    <a:pt x="19" y="23"/>
                  </a:lnTo>
                  <a:lnTo>
                    <a:pt x="21" y="22"/>
                  </a:lnTo>
                  <a:lnTo>
                    <a:pt x="23" y="21"/>
                  </a:lnTo>
                  <a:lnTo>
                    <a:pt x="25" y="20"/>
                  </a:lnTo>
                  <a:lnTo>
                    <a:pt x="28" y="16"/>
                  </a:lnTo>
                  <a:lnTo>
                    <a:pt x="29" y="16"/>
                  </a:lnTo>
                  <a:lnTo>
                    <a:pt x="31" y="16"/>
                  </a:lnTo>
                  <a:lnTo>
                    <a:pt x="33" y="16"/>
                  </a:lnTo>
                  <a:lnTo>
                    <a:pt x="35" y="15"/>
                  </a:lnTo>
                  <a:lnTo>
                    <a:pt x="35" y="14"/>
                  </a:lnTo>
                  <a:lnTo>
                    <a:pt x="34" y="14"/>
                  </a:lnTo>
                  <a:lnTo>
                    <a:pt x="33" y="12"/>
                  </a:lnTo>
                  <a:lnTo>
                    <a:pt x="32" y="11"/>
                  </a:lnTo>
                  <a:lnTo>
                    <a:pt x="32" y="8"/>
                  </a:lnTo>
                  <a:lnTo>
                    <a:pt x="41" y="1"/>
                  </a:lnTo>
                  <a:lnTo>
                    <a:pt x="43" y="0"/>
                  </a:lnTo>
                  <a:lnTo>
                    <a:pt x="40" y="0"/>
                  </a:lnTo>
                  <a:lnTo>
                    <a:pt x="38" y="1"/>
                  </a:lnTo>
                  <a:lnTo>
                    <a:pt x="36" y="2"/>
                  </a:lnTo>
                  <a:lnTo>
                    <a:pt x="34" y="4"/>
                  </a:lnTo>
                  <a:lnTo>
                    <a:pt x="25" y="7"/>
                  </a:lnTo>
                  <a:lnTo>
                    <a:pt x="22" y="7"/>
                  </a:lnTo>
                  <a:lnTo>
                    <a:pt x="20" y="7"/>
                  </a:lnTo>
                  <a:lnTo>
                    <a:pt x="16" y="7"/>
                  </a:lnTo>
                  <a:lnTo>
                    <a:pt x="12" y="6"/>
                  </a:lnTo>
                  <a:lnTo>
                    <a:pt x="12" y="9"/>
                  </a:lnTo>
                  <a:lnTo>
                    <a:pt x="11" y="11"/>
                  </a:lnTo>
                  <a:lnTo>
                    <a:pt x="9" y="12"/>
                  </a:lnTo>
                  <a:lnTo>
                    <a:pt x="8" y="12"/>
                  </a:lnTo>
                  <a:lnTo>
                    <a:pt x="8" y="12"/>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nvGrpSpPr>
            <p:cNvPr id="205" name="France">
              <a:extLst>
                <a:ext uri="{FF2B5EF4-FFF2-40B4-BE49-F238E27FC236}">
                  <a16:creationId xmlns:a16="http://schemas.microsoft.com/office/drawing/2014/main" id="{CBB3B7F2-832F-4283-8A53-17347323D0DE}"/>
                </a:ext>
              </a:extLst>
            </p:cNvPr>
            <p:cNvGrpSpPr/>
            <p:nvPr/>
          </p:nvGrpSpPr>
          <p:grpSpPr>
            <a:xfrm>
              <a:off x="1008856" y="2141312"/>
              <a:ext cx="6810376" cy="2725737"/>
              <a:chOff x="1014412" y="2562226"/>
              <a:chExt cx="6810376" cy="2725738"/>
            </a:xfrm>
            <a:grpFill/>
          </p:grpSpPr>
          <p:sp>
            <p:nvSpPr>
              <p:cNvPr id="208" name="Freeform 198">
                <a:extLst>
                  <a:ext uri="{FF2B5EF4-FFF2-40B4-BE49-F238E27FC236}">
                    <a16:creationId xmlns:a16="http://schemas.microsoft.com/office/drawing/2014/main" id="{EA3896D5-8D5F-4675-9166-B0492503047A}"/>
                  </a:ext>
                </a:extLst>
              </p:cNvPr>
              <p:cNvSpPr>
                <a:spLocks noEditPoints="1"/>
              </p:cNvSpPr>
              <p:nvPr/>
            </p:nvSpPr>
            <p:spPr bwMode="auto">
              <a:xfrm>
                <a:off x="1014412" y="4814888"/>
                <a:ext cx="515937" cy="455613"/>
              </a:xfrm>
              <a:custGeom>
                <a:avLst/>
                <a:gdLst>
                  <a:gd name="T0" fmla="*/ 288 w 325"/>
                  <a:gd name="T1" fmla="*/ 285 h 287"/>
                  <a:gd name="T2" fmla="*/ 290 w 325"/>
                  <a:gd name="T3" fmla="*/ 287 h 287"/>
                  <a:gd name="T4" fmla="*/ 322 w 325"/>
                  <a:gd name="T5" fmla="*/ 230 h 287"/>
                  <a:gd name="T6" fmla="*/ 321 w 325"/>
                  <a:gd name="T7" fmla="*/ 230 h 287"/>
                  <a:gd name="T8" fmla="*/ 325 w 325"/>
                  <a:gd name="T9" fmla="*/ 232 h 287"/>
                  <a:gd name="T10" fmla="*/ 231 w 325"/>
                  <a:gd name="T11" fmla="*/ 226 h 287"/>
                  <a:gd name="T12" fmla="*/ 233 w 325"/>
                  <a:gd name="T13" fmla="*/ 227 h 287"/>
                  <a:gd name="T14" fmla="*/ 307 w 325"/>
                  <a:gd name="T15" fmla="*/ 225 h 287"/>
                  <a:gd name="T16" fmla="*/ 227 w 325"/>
                  <a:gd name="T17" fmla="*/ 222 h 287"/>
                  <a:gd name="T18" fmla="*/ 227 w 325"/>
                  <a:gd name="T19" fmla="*/ 222 h 287"/>
                  <a:gd name="T20" fmla="*/ 227 w 325"/>
                  <a:gd name="T21" fmla="*/ 215 h 287"/>
                  <a:gd name="T22" fmla="*/ 228 w 325"/>
                  <a:gd name="T23" fmla="*/ 212 h 287"/>
                  <a:gd name="T24" fmla="*/ 229 w 325"/>
                  <a:gd name="T25" fmla="*/ 211 h 287"/>
                  <a:gd name="T26" fmla="*/ 227 w 325"/>
                  <a:gd name="T27" fmla="*/ 214 h 287"/>
                  <a:gd name="T28" fmla="*/ 227 w 325"/>
                  <a:gd name="T29" fmla="*/ 215 h 287"/>
                  <a:gd name="T30" fmla="*/ 49 w 325"/>
                  <a:gd name="T31" fmla="*/ 207 h 287"/>
                  <a:gd name="T32" fmla="*/ 44 w 325"/>
                  <a:gd name="T33" fmla="*/ 210 h 287"/>
                  <a:gd name="T34" fmla="*/ 52 w 325"/>
                  <a:gd name="T35" fmla="*/ 214 h 287"/>
                  <a:gd name="T36" fmla="*/ 54 w 325"/>
                  <a:gd name="T37" fmla="*/ 212 h 287"/>
                  <a:gd name="T38" fmla="*/ 41 w 325"/>
                  <a:gd name="T39" fmla="*/ 207 h 287"/>
                  <a:gd name="T40" fmla="*/ 38 w 325"/>
                  <a:gd name="T41" fmla="*/ 208 h 287"/>
                  <a:gd name="T42" fmla="*/ 40 w 325"/>
                  <a:gd name="T43" fmla="*/ 208 h 287"/>
                  <a:gd name="T44" fmla="*/ 2 w 325"/>
                  <a:gd name="T45" fmla="*/ 189 h 287"/>
                  <a:gd name="T46" fmla="*/ 3 w 325"/>
                  <a:gd name="T47" fmla="*/ 192 h 287"/>
                  <a:gd name="T48" fmla="*/ 166 w 325"/>
                  <a:gd name="T49" fmla="*/ 186 h 287"/>
                  <a:gd name="T50" fmla="*/ 168 w 325"/>
                  <a:gd name="T51" fmla="*/ 186 h 287"/>
                  <a:gd name="T52" fmla="*/ 162 w 325"/>
                  <a:gd name="T53" fmla="*/ 185 h 287"/>
                  <a:gd name="T54" fmla="*/ 2 w 325"/>
                  <a:gd name="T55" fmla="*/ 186 h 287"/>
                  <a:gd name="T56" fmla="*/ 1 w 325"/>
                  <a:gd name="T57" fmla="*/ 186 h 287"/>
                  <a:gd name="T58" fmla="*/ 2 w 325"/>
                  <a:gd name="T59" fmla="*/ 186 h 287"/>
                  <a:gd name="T60" fmla="*/ 121 w 325"/>
                  <a:gd name="T61" fmla="*/ 175 h 287"/>
                  <a:gd name="T62" fmla="*/ 121 w 325"/>
                  <a:gd name="T63" fmla="*/ 176 h 287"/>
                  <a:gd name="T64" fmla="*/ 124 w 325"/>
                  <a:gd name="T65" fmla="*/ 180 h 287"/>
                  <a:gd name="T66" fmla="*/ 185 w 325"/>
                  <a:gd name="T67" fmla="*/ 171 h 287"/>
                  <a:gd name="T68" fmla="*/ 185 w 325"/>
                  <a:gd name="T69" fmla="*/ 173 h 287"/>
                  <a:gd name="T70" fmla="*/ 129 w 325"/>
                  <a:gd name="T71" fmla="*/ 166 h 287"/>
                  <a:gd name="T72" fmla="*/ 130 w 325"/>
                  <a:gd name="T73" fmla="*/ 168 h 287"/>
                  <a:gd name="T74" fmla="*/ 246 w 325"/>
                  <a:gd name="T75" fmla="*/ 39 h 287"/>
                  <a:gd name="T76" fmla="*/ 246 w 325"/>
                  <a:gd name="T77" fmla="*/ 41 h 287"/>
                  <a:gd name="T78" fmla="*/ 234 w 325"/>
                  <a:gd name="T79" fmla="*/ 27 h 287"/>
                  <a:gd name="T80" fmla="*/ 236 w 325"/>
                  <a:gd name="T81" fmla="*/ 21 h 287"/>
                  <a:gd name="T82" fmla="*/ 236 w 325"/>
                  <a:gd name="T83" fmla="*/ 24 h 287"/>
                  <a:gd name="T84" fmla="*/ 236 w 325"/>
                  <a:gd name="T85" fmla="*/ 21 h 287"/>
                  <a:gd name="T86" fmla="*/ 213 w 325"/>
                  <a:gd name="T87" fmla="*/ 13 h 287"/>
                  <a:gd name="T88" fmla="*/ 213 w 325"/>
                  <a:gd name="T89" fmla="*/ 14 h 287"/>
                  <a:gd name="T90" fmla="*/ 224 w 325"/>
                  <a:gd name="T91" fmla="*/ 2 h 287"/>
                  <a:gd name="T92" fmla="*/ 222 w 325"/>
                  <a:gd name="T93" fmla="*/ 2 h 287"/>
                  <a:gd name="T94" fmla="*/ 213 w 325"/>
                  <a:gd name="T95" fmla="*/ 3 h 287"/>
                  <a:gd name="T96" fmla="*/ 209 w 325"/>
                  <a:gd name="T97" fmla="*/ 0 h 287"/>
                  <a:gd name="T98" fmla="*/ 211 w 325"/>
                  <a:gd name="T99" fmla="*/ 3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5" h="287">
                    <a:moveTo>
                      <a:pt x="290" y="287"/>
                    </a:moveTo>
                    <a:lnTo>
                      <a:pt x="289" y="285"/>
                    </a:lnTo>
                    <a:lnTo>
                      <a:pt x="289" y="284"/>
                    </a:lnTo>
                    <a:lnTo>
                      <a:pt x="288" y="285"/>
                    </a:lnTo>
                    <a:lnTo>
                      <a:pt x="289" y="285"/>
                    </a:lnTo>
                    <a:lnTo>
                      <a:pt x="289" y="286"/>
                    </a:lnTo>
                    <a:lnTo>
                      <a:pt x="289" y="287"/>
                    </a:lnTo>
                    <a:lnTo>
                      <a:pt x="290" y="287"/>
                    </a:lnTo>
                    <a:close/>
                    <a:moveTo>
                      <a:pt x="325" y="232"/>
                    </a:moveTo>
                    <a:lnTo>
                      <a:pt x="324" y="231"/>
                    </a:lnTo>
                    <a:lnTo>
                      <a:pt x="323" y="230"/>
                    </a:lnTo>
                    <a:lnTo>
                      <a:pt x="322" y="230"/>
                    </a:lnTo>
                    <a:lnTo>
                      <a:pt x="321" y="229"/>
                    </a:lnTo>
                    <a:lnTo>
                      <a:pt x="321" y="230"/>
                    </a:lnTo>
                    <a:lnTo>
                      <a:pt x="321" y="230"/>
                    </a:lnTo>
                    <a:lnTo>
                      <a:pt x="321" y="230"/>
                    </a:lnTo>
                    <a:lnTo>
                      <a:pt x="323" y="231"/>
                    </a:lnTo>
                    <a:lnTo>
                      <a:pt x="324" y="231"/>
                    </a:lnTo>
                    <a:lnTo>
                      <a:pt x="325" y="232"/>
                    </a:lnTo>
                    <a:lnTo>
                      <a:pt x="325" y="232"/>
                    </a:lnTo>
                    <a:lnTo>
                      <a:pt x="325" y="232"/>
                    </a:lnTo>
                    <a:lnTo>
                      <a:pt x="325" y="232"/>
                    </a:lnTo>
                    <a:close/>
                    <a:moveTo>
                      <a:pt x="233" y="227"/>
                    </a:moveTo>
                    <a:lnTo>
                      <a:pt x="231" y="226"/>
                    </a:lnTo>
                    <a:lnTo>
                      <a:pt x="231" y="227"/>
                    </a:lnTo>
                    <a:lnTo>
                      <a:pt x="233" y="228"/>
                    </a:lnTo>
                    <a:lnTo>
                      <a:pt x="233" y="228"/>
                    </a:lnTo>
                    <a:lnTo>
                      <a:pt x="233" y="227"/>
                    </a:lnTo>
                    <a:lnTo>
                      <a:pt x="233" y="227"/>
                    </a:lnTo>
                    <a:close/>
                    <a:moveTo>
                      <a:pt x="310" y="227"/>
                    </a:moveTo>
                    <a:lnTo>
                      <a:pt x="308" y="225"/>
                    </a:lnTo>
                    <a:lnTo>
                      <a:pt x="307" y="225"/>
                    </a:lnTo>
                    <a:lnTo>
                      <a:pt x="310" y="227"/>
                    </a:lnTo>
                    <a:lnTo>
                      <a:pt x="310" y="227"/>
                    </a:lnTo>
                    <a:close/>
                    <a:moveTo>
                      <a:pt x="229" y="224"/>
                    </a:moveTo>
                    <a:lnTo>
                      <a:pt x="227" y="222"/>
                    </a:lnTo>
                    <a:lnTo>
                      <a:pt x="227" y="221"/>
                    </a:lnTo>
                    <a:lnTo>
                      <a:pt x="226" y="220"/>
                    </a:lnTo>
                    <a:lnTo>
                      <a:pt x="226" y="221"/>
                    </a:lnTo>
                    <a:lnTo>
                      <a:pt x="227" y="222"/>
                    </a:lnTo>
                    <a:lnTo>
                      <a:pt x="228" y="224"/>
                    </a:lnTo>
                    <a:lnTo>
                      <a:pt x="229" y="224"/>
                    </a:lnTo>
                    <a:lnTo>
                      <a:pt x="229" y="224"/>
                    </a:lnTo>
                    <a:close/>
                    <a:moveTo>
                      <a:pt x="227" y="215"/>
                    </a:moveTo>
                    <a:lnTo>
                      <a:pt x="227" y="215"/>
                    </a:lnTo>
                    <a:lnTo>
                      <a:pt x="227" y="215"/>
                    </a:lnTo>
                    <a:lnTo>
                      <a:pt x="227" y="214"/>
                    </a:lnTo>
                    <a:lnTo>
                      <a:pt x="228" y="212"/>
                    </a:lnTo>
                    <a:lnTo>
                      <a:pt x="230" y="211"/>
                    </a:lnTo>
                    <a:lnTo>
                      <a:pt x="230" y="211"/>
                    </a:lnTo>
                    <a:lnTo>
                      <a:pt x="230" y="211"/>
                    </a:lnTo>
                    <a:lnTo>
                      <a:pt x="229" y="211"/>
                    </a:lnTo>
                    <a:lnTo>
                      <a:pt x="228" y="212"/>
                    </a:lnTo>
                    <a:lnTo>
                      <a:pt x="227" y="212"/>
                    </a:lnTo>
                    <a:lnTo>
                      <a:pt x="227" y="213"/>
                    </a:lnTo>
                    <a:lnTo>
                      <a:pt x="227" y="214"/>
                    </a:lnTo>
                    <a:lnTo>
                      <a:pt x="227" y="215"/>
                    </a:lnTo>
                    <a:lnTo>
                      <a:pt x="227" y="216"/>
                    </a:lnTo>
                    <a:lnTo>
                      <a:pt x="228" y="216"/>
                    </a:lnTo>
                    <a:lnTo>
                      <a:pt x="227" y="215"/>
                    </a:lnTo>
                    <a:lnTo>
                      <a:pt x="227" y="215"/>
                    </a:lnTo>
                    <a:close/>
                    <a:moveTo>
                      <a:pt x="51" y="211"/>
                    </a:moveTo>
                    <a:lnTo>
                      <a:pt x="50" y="209"/>
                    </a:lnTo>
                    <a:lnTo>
                      <a:pt x="49" y="207"/>
                    </a:lnTo>
                    <a:lnTo>
                      <a:pt x="46" y="207"/>
                    </a:lnTo>
                    <a:lnTo>
                      <a:pt x="44" y="208"/>
                    </a:lnTo>
                    <a:lnTo>
                      <a:pt x="44" y="209"/>
                    </a:lnTo>
                    <a:lnTo>
                      <a:pt x="44" y="210"/>
                    </a:lnTo>
                    <a:lnTo>
                      <a:pt x="46" y="212"/>
                    </a:lnTo>
                    <a:lnTo>
                      <a:pt x="48" y="212"/>
                    </a:lnTo>
                    <a:lnTo>
                      <a:pt x="51" y="212"/>
                    </a:lnTo>
                    <a:lnTo>
                      <a:pt x="52" y="214"/>
                    </a:lnTo>
                    <a:lnTo>
                      <a:pt x="53" y="215"/>
                    </a:lnTo>
                    <a:lnTo>
                      <a:pt x="55" y="215"/>
                    </a:lnTo>
                    <a:lnTo>
                      <a:pt x="55" y="214"/>
                    </a:lnTo>
                    <a:lnTo>
                      <a:pt x="54" y="212"/>
                    </a:lnTo>
                    <a:lnTo>
                      <a:pt x="51" y="211"/>
                    </a:lnTo>
                    <a:lnTo>
                      <a:pt x="51" y="211"/>
                    </a:lnTo>
                    <a:close/>
                    <a:moveTo>
                      <a:pt x="40" y="208"/>
                    </a:moveTo>
                    <a:lnTo>
                      <a:pt x="41" y="207"/>
                    </a:lnTo>
                    <a:lnTo>
                      <a:pt x="40" y="206"/>
                    </a:lnTo>
                    <a:lnTo>
                      <a:pt x="38" y="206"/>
                    </a:lnTo>
                    <a:lnTo>
                      <a:pt x="38" y="207"/>
                    </a:lnTo>
                    <a:lnTo>
                      <a:pt x="38" y="208"/>
                    </a:lnTo>
                    <a:lnTo>
                      <a:pt x="39" y="208"/>
                    </a:lnTo>
                    <a:lnTo>
                      <a:pt x="40" y="209"/>
                    </a:lnTo>
                    <a:lnTo>
                      <a:pt x="40" y="208"/>
                    </a:lnTo>
                    <a:lnTo>
                      <a:pt x="40" y="208"/>
                    </a:lnTo>
                    <a:close/>
                    <a:moveTo>
                      <a:pt x="3" y="192"/>
                    </a:moveTo>
                    <a:lnTo>
                      <a:pt x="4" y="192"/>
                    </a:lnTo>
                    <a:lnTo>
                      <a:pt x="3" y="190"/>
                    </a:lnTo>
                    <a:lnTo>
                      <a:pt x="2" y="189"/>
                    </a:lnTo>
                    <a:lnTo>
                      <a:pt x="2" y="189"/>
                    </a:lnTo>
                    <a:lnTo>
                      <a:pt x="2" y="192"/>
                    </a:lnTo>
                    <a:lnTo>
                      <a:pt x="3" y="192"/>
                    </a:lnTo>
                    <a:lnTo>
                      <a:pt x="3" y="192"/>
                    </a:lnTo>
                    <a:close/>
                    <a:moveTo>
                      <a:pt x="168" y="186"/>
                    </a:moveTo>
                    <a:lnTo>
                      <a:pt x="167" y="186"/>
                    </a:lnTo>
                    <a:lnTo>
                      <a:pt x="166" y="186"/>
                    </a:lnTo>
                    <a:lnTo>
                      <a:pt x="166" y="186"/>
                    </a:lnTo>
                    <a:lnTo>
                      <a:pt x="168" y="186"/>
                    </a:lnTo>
                    <a:lnTo>
                      <a:pt x="169" y="187"/>
                    </a:lnTo>
                    <a:lnTo>
                      <a:pt x="168" y="186"/>
                    </a:lnTo>
                    <a:lnTo>
                      <a:pt x="168" y="186"/>
                    </a:lnTo>
                    <a:close/>
                    <a:moveTo>
                      <a:pt x="165" y="186"/>
                    </a:moveTo>
                    <a:lnTo>
                      <a:pt x="164" y="186"/>
                    </a:lnTo>
                    <a:lnTo>
                      <a:pt x="163" y="185"/>
                    </a:lnTo>
                    <a:lnTo>
                      <a:pt x="162" y="185"/>
                    </a:lnTo>
                    <a:lnTo>
                      <a:pt x="164" y="186"/>
                    </a:lnTo>
                    <a:lnTo>
                      <a:pt x="165" y="186"/>
                    </a:lnTo>
                    <a:lnTo>
                      <a:pt x="165" y="186"/>
                    </a:lnTo>
                    <a:close/>
                    <a:moveTo>
                      <a:pt x="2" y="186"/>
                    </a:moveTo>
                    <a:lnTo>
                      <a:pt x="2" y="186"/>
                    </a:lnTo>
                    <a:lnTo>
                      <a:pt x="2" y="185"/>
                    </a:lnTo>
                    <a:lnTo>
                      <a:pt x="0" y="184"/>
                    </a:lnTo>
                    <a:lnTo>
                      <a:pt x="1" y="186"/>
                    </a:lnTo>
                    <a:lnTo>
                      <a:pt x="1" y="186"/>
                    </a:lnTo>
                    <a:lnTo>
                      <a:pt x="2" y="187"/>
                    </a:lnTo>
                    <a:lnTo>
                      <a:pt x="2" y="186"/>
                    </a:lnTo>
                    <a:lnTo>
                      <a:pt x="2" y="186"/>
                    </a:lnTo>
                    <a:close/>
                    <a:moveTo>
                      <a:pt x="124" y="179"/>
                    </a:moveTo>
                    <a:lnTo>
                      <a:pt x="123" y="178"/>
                    </a:lnTo>
                    <a:lnTo>
                      <a:pt x="122" y="177"/>
                    </a:lnTo>
                    <a:lnTo>
                      <a:pt x="121" y="175"/>
                    </a:lnTo>
                    <a:lnTo>
                      <a:pt x="120" y="173"/>
                    </a:lnTo>
                    <a:lnTo>
                      <a:pt x="120" y="174"/>
                    </a:lnTo>
                    <a:lnTo>
                      <a:pt x="121" y="175"/>
                    </a:lnTo>
                    <a:lnTo>
                      <a:pt x="121" y="176"/>
                    </a:lnTo>
                    <a:lnTo>
                      <a:pt x="122" y="177"/>
                    </a:lnTo>
                    <a:lnTo>
                      <a:pt x="123" y="178"/>
                    </a:lnTo>
                    <a:lnTo>
                      <a:pt x="124" y="180"/>
                    </a:lnTo>
                    <a:lnTo>
                      <a:pt x="124" y="180"/>
                    </a:lnTo>
                    <a:lnTo>
                      <a:pt x="124" y="179"/>
                    </a:lnTo>
                    <a:lnTo>
                      <a:pt x="124" y="179"/>
                    </a:lnTo>
                    <a:close/>
                    <a:moveTo>
                      <a:pt x="185" y="173"/>
                    </a:moveTo>
                    <a:lnTo>
                      <a:pt x="185" y="171"/>
                    </a:lnTo>
                    <a:lnTo>
                      <a:pt x="185" y="171"/>
                    </a:lnTo>
                    <a:lnTo>
                      <a:pt x="185" y="173"/>
                    </a:lnTo>
                    <a:lnTo>
                      <a:pt x="185" y="173"/>
                    </a:lnTo>
                    <a:lnTo>
                      <a:pt x="185" y="173"/>
                    </a:lnTo>
                    <a:close/>
                    <a:moveTo>
                      <a:pt x="130" y="168"/>
                    </a:moveTo>
                    <a:lnTo>
                      <a:pt x="129" y="166"/>
                    </a:lnTo>
                    <a:lnTo>
                      <a:pt x="129" y="166"/>
                    </a:lnTo>
                    <a:lnTo>
                      <a:pt x="129" y="166"/>
                    </a:lnTo>
                    <a:lnTo>
                      <a:pt x="130" y="168"/>
                    </a:lnTo>
                    <a:lnTo>
                      <a:pt x="130" y="169"/>
                    </a:lnTo>
                    <a:lnTo>
                      <a:pt x="130" y="168"/>
                    </a:lnTo>
                    <a:lnTo>
                      <a:pt x="130" y="168"/>
                    </a:lnTo>
                    <a:close/>
                    <a:moveTo>
                      <a:pt x="246" y="41"/>
                    </a:moveTo>
                    <a:lnTo>
                      <a:pt x="246" y="41"/>
                    </a:lnTo>
                    <a:lnTo>
                      <a:pt x="246" y="40"/>
                    </a:lnTo>
                    <a:lnTo>
                      <a:pt x="246" y="39"/>
                    </a:lnTo>
                    <a:lnTo>
                      <a:pt x="244" y="39"/>
                    </a:lnTo>
                    <a:lnTo>
                      <a:pt x="245" y="42"/>
                    </a:lnTo>
                    <a:lnTo>
                      <a:pt x="246" y="41"/>
                    </a:lnTo>
                    <a:lnTo>
                      <a:pt x="246" y="41"/>
                    </a:lnTo>
                    <a:close/>
                    <a:moveTo>
                      <a:pt x="236" y="28"/>
                    </a:moveTo>
                    <a:lnTo>
                      <a:pt x="235" y="27"/>
                    </a:lnTo>
                    <a:lnTo>
                      <a:pt x="235" y="27"/>
                    </a:lnTo>
                    <a:lnTo>
                      <a:pt x="234" y="27"/>
                    </a:lnTo>
                    <a:lnTo>
                      <a:pt x="234" y="28"/>
                    </a:lnTo>
                    <a:lnTo>
                      <a:pt x="236" y="28"/>
                    </a:lnTo>
                    <a:lnTo>
                      <a:pt x="236" y="28"/>
                    </a:lnTo>
                    <a:close/>
                    <a:moveTo>
                      <a:pt x="236" y="21"/>
                    </a:moveTo>
                    <a:lnTo>
                      <a:pt x="233" y="23"/>
                    </a:lnTo>
                    <a:lnTo>
                      <a:pt x="234" y="25"/>
                    </a:lnTo>
                    <a:lnTo>
                      <a:pt x="235" y="25"/>
                    </a:lnTo>
                    <a:lnTo>
                      <a:pt x="236" y="24"/>
                    </a:lnTo>
                    <a:lnTo>
                      <a:pt x="239" y="24"/>
                    </a:lnTo>
                    <a:lnTo>
                      <a:pt x="241" y="22"/>
                    </a:lnTo>
                    <a:lnTo>
                      <a:pt x="239" y="23"/>
                    </a:lnTo>
                    <a:lnTo>
                      <a:pt x="236" y="21"/>
                    </a:lnTo>
                    <a:lnTo>
                      <a:pt x="236" y="21"/>
                    </a:lnTo>
                    <a:close/>
                    <a:moveTo>
                      <a:pt x="213" y="14"/>
                    </a:moveTo>
                    <a:lnTo>
                      <a:pt x="214" y="13"/>
                    </a:lnTo>
                    <a:lnTo>
                      <a:pt x="213" y="13"/>
                    </a:lnTo>
                    <a:lnTo>
                      <a:pt x="212" y="14"/>
                    </a:lnTo>
                    <a:lnTo>
                      <a:pt x="212" y="14"/>
                    </a:lnTo>
                    <a:lnTo>
                      <a:pt x="213" y="15"/>
                    </a:lnTo>
                    <a:lnTo>
                      <a:pt x="213" y="14"/>
                    </a:lnTo>
                    <a:lnTo>
                      <a:pt x="213" y="14"/>
                    </a:lnTo>
                    <a:close/>
                    <a:moveTo>
                      <a:pt x="223" y="3"/>
                    </a:moveTo>
                    <a:lnTo>
                      <a:pt x="224" y="3"/>
                    </a:lnTo>
                    <a:lnTo>
                      <a:pt x="224" y="2"/>
                    </a:lnTo>
                    <a:lnTo>
                      <a:pt x="224" y="1"/>
                    </a:lnTo>
                    <a:lnTo>
                      <a:pt x="222" y="1"/>
                    </a:lnTo>
                    <a:lnTo>
                      <a:pt x="222" y="1"/>
                    </a:lnTo>
                    <a:lnTo>
                      <a:pt x="222" y="2"/>
                    </a:lnTo>
                    <a:lnTo>
                      <a:pt x="222" y="3"/>
                    </a:lnTo>
                    <a:lnTo>
                      <a:pt x="223" y="3"/>
                    </a:lnTo>
                    <a:lnTo>
                      <a:pt x="223" y="3"/>
                    </a:lnTo>
                    <a:close/>
                    <a:moveTo>
                      <a:pt x="213" y="3"/>
                    </a:moveTo>
                    <a:lnTo>
                      <a:pt x="213" y="1"/>
                    </a:lnTo>
                    <a:lnTo>
                      <a:pt x="213" y="1"/>
                    </a:lnTo>
                    <a:lnTo>
                      <a:pt x="213" y="0"/>
                    </a:lnTo>
                    <a:lnTo>
                      <a:pt x="209" y="0"/>
                    </a:lnTo>
                    <a:lnTo>
                      <a:pt x="209" y="0"/>
                    </a:lnTo>
                    <a:lnTo>
                      <a:pt x="209" y="1"/>
                    </a:lnTo>
                    <a:lnTo>
                      <a:pt x="209" y="3"/>
                    </a:lnTo>
                    <a:lnTo>
                      <a:pt x="211" y="3"/>
                    </a:lnTo>
                    <a:lnTo>
                      <a:pt x="213" y="3"/>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9" name="Freeform 213">
                <a:extLst>
                  <a:ext uri="{FF2B5EF4-FFF2-40B4-BE49-F238E27FC236}">
                    <a16:creationId xmlns:a16="http://schemas.microsoft.com/office/drawing/2014/main" id="{06F3CA8A-3AEB-4142-946A-C9F4E8C78B69}"/>
                  </a:ext>
                </a:extLst>
              </p:cNvPr>
              <p:cNvSpPr>
                <a:spLocks/>
              </p:cNvSpPr>
              <p:nvPr/>
            </p:nvSpPr>
            <p:spPr bwMode="auto">
              <a:xfrm>
                <a:off x="7491413" y="4960938"/>
                <a:ext cx="6350" cy="11113"/>
              </a:xfrm>
              <a:custGeom>
                <a:avLst/>
                <a:gdLst>
                  <a:gd name="T0" fmla="*/ 3 w 4"/>
                  <a:gd name="T1" fmla="*/ 7 h 7"/>
                  <a:gd name="T2" fmla="*/ 3 w 4"/>
                  <a:gd name="T3" fmla="*/ 6 h 7"/>
                  <a:gd name="T4" fmla="*/ 4 w 4"/>
                  <a:gd name="T5" fmla="*/ 5 h 7"/>
                  <a:gd name="T6" fmla="*/ 4 w 4"/>
                  <a:gd name="T7" fmla="*/ 4 h 7"/>
                  <a:gd name="T8" fmla="*/ 4 w 4"/>
                  <a:gd name="T9" fmla="*/ 2 h 7"/>
                  <a:gd name="T10" fmla="*/ 3 w 4"/>
                  <a:gd name="T11" fmla="*/ 1 h 7"/>
                  <a:gd name="T12" fmla="*/ 2 w 4"/>
                  <a:gd name="T13" fmla="*/ 1 h 7"/>
                  <a:gd name="T14" fmla="*/ 1 w 4"/>
                  <a:gd name="T15" fmla="*/ 0 h 7"/>
                  <a:gd name="T16" fmla="*/ 0 w 4"/>
                  <a:gd name="T17" fmla="*/ 1 h 7"/>
                  <a:gd name="T18" fmla="*/ 1 w 4"/>
                  <a:gd name="T19" fmla="*/ 3 h 7"/>
                  <a:gd name="T20" fmla="*/ 1 w 4"/>
                  <a:gd name="T21" fmla="*/ 4 h 7"/>
                  <a:gd name="T22" fmla="*/ 0 w 4"/>
                  <a:gd name="T23" fmla="*/ 6 h 7"/>
                  <a:gd name="T24" fmla="*/ 1 w 4"/>
                  <a:gd name="T25" fmla="*/ 6 h 7"/>
                  <a:gd name="T26" fmla="*/ 2 w 4"/>
                  <a:gd name="T27" fmla="*/ 7 h 7"/>
                  <a:gd name="T28" fmla="*/ 3 w 4"/>
                  <a:gd name="T29" fmla="*/ 7 h 7"/>
                  <a:gd name="T30" fmla="*/ 3 w 4"/>
                  <a:gd name="T31"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4" h="7">
                    <a:moveTo>
                      <a:pt x="3" y="7"/>
                    </a:moveTo>
                    <a:lnTo>
                      <a:pt x="3" y="6"/>
                    </a:lnTo>
                    <a:lnTo>
                      <a:pt x="4" y="5"/>
                    </a:lnTo>
                    <a:lnTo>
                      <a:pt x="4" y="4"/>
                    </a:lnTo>
                    <a:lnTo>
                      <a:pt x="4" y="2"/>
                    </a:lnTo>
                    <a:lnTo>
                      <a:pt x="3" y="1"/>
                    </a:lnTo>
                    <a:lnTo>
                      <a:pt x="2" y="1"/>
                    </a:lnTo>
                    <a:lnTo>
                      <a:pt x="1" y="0"/>
                    </a:lnTo>
                    <a:lnTo>
                      <a:pt x="0" y="1"/>
                    </a:lnTo>
                    <a:lnTo>
                      <a:pt x="1" y="3"/>
                    </a:lnTo>
                    <a:lnTo>
                      <a:pt x="1" y="4"/>
                    </a:lnTo>
                    <a:lnTo>
                      <a:pt x="0" y="6"/>
                    </a:lnTo>
                    <a:lnTo>
                      <a:pt x="1" y="6"/>
                    </a:lnTo>
                    <a:lnTo>
                      <a:pt x="2" y="7"/>
                    </a:lnTo>
                    <a:lnTo>
                      <a:pt x="3" y="7"/>
                    </a:lnTo>
                    <a:lnTo>
                      <a:pt x="3" y="7"/>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0" name="Freeform 169">
                <a:extLst>
                  <a:ext uri="{FF2B5EF4-FFF2-40B4-BE49-F238E27FC236}">
                    <a16:creationId xmlns:a16="http://schemas.microsoft.com/office/drawing/2014/main" id="{34E43910-FB73-4828-8C9B-56D5751E47C4}"/>
                  </a:ext>
                </a:extLst>
              </p:cNvPr>
              <p:cNvSpPr>
                <a:spLocks/>
              </p:cNvSpPr>
              <p:nvPr/>
            </p:nvSpPr>
            <p:spPr bwMode="auto">
              <a:xfrm>
                <a:off x="4186237" y="4265613"/>
                <a:ext cx="95250" cy="139700"/>
              </a:xfrm>
              <a:custGeom>
                <a:avLst/>
                <a:gdLst>
                  <a:gd name="T0" fmla="*/ 41 w 60"/>
                  <a:gd name="T1" fmla="*/ 78 h 88"/>
                  <a:gd name="T2" fmla="*/ 47 w 60"/>
                  <a:gd name="T3" fmla="*/ 60 h 88"/>
                  <a:gd name="T4" fmla="*/ 60 w 60"/>
                  <a:gd name="T5" fmla="*/ 38 h 88"/>
                  <a:gd name="T6" fmla="*/ 57 w 60"/>
                  <a:gd name="T7" fmla="*/ 28 h 88"/>
                  <a:gd name="T8" fmla="*/ 35 w 60"/>
                  <a:gd name="T9" fmla="*/ 8 h 88"/>
                  <a:gd name="T10" fmla="*/ 20 w 60"/>
                  <a:gd name="T11" fmla="*/ 3 h 88"/>
                  <a:gd name="T12" fmla="*/ 13 w 60"/>
                  <a:gd name="T13" fmla="*/ 0 h 88"/>
                  <a:gd name="T14" fmla="*/ 2 w 60"/>
                  <a:gd name="T15" fmla="*/ 21 h 88"/>
                  <a:gd name="T16" fmla="*/ 3 w 60"/>
                  <a:gd name="T17" fmla="*/ 37 h 88"/>
                  <a:gd name="T18" fmla="*/ 11 w 60"/>
                  <a:gd name="T19" fmla="*/ 50 h 88"/>
                  <a:gd name="T20" fmla="*/ 7 w 60"/>
                  <a:gd name="T21" fmla="*/ 61 h 88"/>
                  <a:gd name="T22" fmla="*/ 4 w 60"/>
                  <a:gd name="T23" fmla="*/ 72 h 88"/>
                  <a:gd name="T24" fmla="*/ 0 w 60"/>
                  <a:gd name="T25" fmla="*/ 82 h 88"/>
                  <a:gd name="T26" fmla="*/ 8 w 60"/>
                  <a:gd name="T27" fmla="*/ 87 h 88"/>
                  <a:gd name="T28" fmla="*/ 15 w 60"/>
                  <a:gd name="T29" fmla="*/ 80 h 88"/>
                  <a:gd name="T30" fmla="*/ 19 w 60"/>
                  <a:gd name="T31" fmla="*/ 81 h 88"/>
                  <a:gd name="T32" fmla="*/ 22 w 60"/>
                  <a:gd name="T33" fmla="*/ 88 h 88"/>
                  <a:gd name="T34" fmla="*/ 32 w 60"/>
                  <a:gd name="T35" fmla="*/ 86 h 88"/>
                  <a:gd name="T36" fmla="*/ 41 w 60"/>
                  <a:gd name="T37" fmla="*/ 78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0" h="88">
                    <a:moveTo>
                      <a:pt x="41" y="78"/>
                    </a:moveTo>
                    <a:lnTo>
                      <a:pt x="47" y="60"/>
                    </a:lnTo>
                    <a:lnTo>
                      <a:pt x="60" y="38"/>
                    </a:lnTo>
                    <a:lnTo>
                      <a:pt x="57" y="28"/>
                    </a:lnTo>
                    <a:lnTo>
                      <a:pt x="35" y="8"/>
                    </a:lnTo>
                    <a:lnTo>
                      <a:pt x="20" y="3"/>
                    </a:lnTo>
                    <a:lnTo>
                      <a:pt x="13" y="0"/>
                    </a:lnTo>
                    <a:lnTo>
                      <a:pt x="2" y="21"/>
                    </a:lnTo>
                    <a:lnTo>
                      <a:pt x="3" y="37"/>
                    </a:lnTo>
                    <a:lnTo>
                      <a:pt x="11" y="50"/>
                    </a:lnTo>
                    <a:lnTo>
                      <a:pt x="7" y="61"/>
                    </a:lnTo>
                    <a:lnTo>
                      <a:pt x="4" y="72"/>
                    </a:lnTo>
                    <a:lnTo>
                      <a:pt x="0" y="82"/>
                    </a:lnTo>
                    <a:lnTo>
                      <a:pt x="8" y="87"/>
                    </a:lnTo>
                    <a:lnTo>
                      <a:pt x="15" y="80"/>
                    </a:lnTo>
                    <a:lnTo>
                      <a:pt x="19" y="81"/>
                    </a:lnTo>
                    <a:lnTo>
                      <a:pt x="22" y="88"/>
                    </a:lnTo>
                    <a:lnTo>
                      <a:pt x="32" y="86"/>
                    </a:lnTo>
                    <a:lnTo>
                      <a:pt x="41" y="7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1" name="Freeform 213">
                <a:extLst>
                  <a:ext uri="{FF2B5EF4-FFF2-40B4-BE49-F238E27FC236}">
                    <a16:creationId xmlns:a16="http://schemas.microsoft.com/office/drawing/2014/main" id="{582D94E9-5126-48FF-B314-77197E4D54F4}"/>
                  </a:ext>
                </a:extLst>
              </p:cNvPr>
              <p:cNvSpPr>
                <a:spLocks noEditPoints="1"/>
              </p:cNvSpPr>
              <p:nvPr/>
            </p:nvSpPr>
            <p:spPr bwMode="auto">
              <a:xfrm>
                <a:off x="5865812" y="2562226"/>
                <a:ext cx="425450" cy="357188"/>
              </a:xfrm>
              <a:custGeom>
                <a:avLst/>
                <a:gdLst>
                  <a:gd name="T0" fmla="*/ 268 w 268"/>
                  <a:gd name="T1" fmla="*/ 208 h 225"/>
                  <a:gd name="T2" fmla="*/ 264 w 268"/>
                  <a:gd name="T3" fmla="*/ 188 h 225"/>
                  <a:gd name="T4" fmla="*/ 253 w 268"/>
                  <a:gd name="T5" fmla="*/ 197 h 225"/>
                  <a:gd name="T6" fmla="*/ 249 w 268"/>
                  <a:gd name="T7" fmla="*/ 206 h 225"/>
                  <a:gd name="T8" fmla="*/ 253 w 268"/>
                  <a:gd name="T9" fmla="*/ 222 h 225"/>
                  <a:gd name="T10" fmla="*/ 263 w 268"/>
                  <a:gd name="T11" fmla="*/ 225 h 225"/>
                  <a:gd name="T12" fmla="*/ 268 w 268"/>
                  <a:gd name="T13" fmla="*/ 208 h 225"/>
                  <a:gd name="T14" fmla="*/ 151 w 268"/>
                  <a:gd name="T15" fmla="*/ 18 h 225"/>
                  <a:gd name="T16" fmla="*/ 141 w 268"/>
                  <a:gd name="T17" fmla="*/ 9 h 225"/>
                  <a:gd name="T18" fmla="*/ 133 w 268"/>
                  <a:gd name="T19" fmla="*/ 9 h 225"/>
                  <a:gd name="T20" fmla="*/ 131 w 268"/>
                  <a:gd name="T21" fmla="*/ 0 h 225"/>
                  <a:gd name="T22" fmla="*/ 114 w 268"/>
                  <a:gd name="T23" fmla="*/ 5 h 225"/>
                  <a:gd name="T24" fmla="*/ 110 w 268"/>
                  <a:gd name="T25" fmla="*/ 24 h 225"/>
                  <a:gd name="T26" fmla="*/ 68 w 268"/>
                  <a:gd name="T27" fmla="*/ 41 h 225"/>
                  <a:gd name="T28" fmla="*/ 50 w 268"/>
                  <a:gd name="T29" fmla="*/ 32 h 225"/>
                  <a:gd name="T30" fmla="*/ 56 w 268"/>
                  <a:gd name="T31" fmla="*/ 58 h 225"/>
                  <a:gd name="T32" fmla="*/ 25 w 268"/>
                  <a:gd name="T33" fmla="*/ 52 h 225"/>
                  <a:gd name="T34" fmla="*/ 0 w 268"/>
                  <a:gd name="T35" fmla="*/ 57 h 225"/>
                  <a:gd name="T36" fmla="*/ 2 w 268"/>
                  <a:gd name="T37" fmla="*/ 74 h 225"/>
                  <a:gd name="T38" fmla="*/ 30 w 268"/>
                  <a:gd name="T39" fmla="*/ 83 h 225"/>
                  <a:gd name="T40" fmla="*/ 43 w 268"/>
                  <a:gd name="T41" fmla="*/ 95 h 225"/>
                  <a:gd name="T42" fmla="*/ 63 w 268"/>
                  <a:gd name="T43" fmla="*/ 119 h 225"/>
                  <a:gd name="T44" fmla="*/ 59 w 268"/>
                  <a:gd name="T45" fmla="*/ 165 h 225"/>
                  <a:gd name="T46" fmla="*/ 49 w 268"/>
                  <a:gd name="T47" fmla="*/ 179 h 225"/>
                  <a:gd name="T48" fmla="*/ 56 w 268"/>
                  <a:gd name="T49" fmla="*/ 188 h 225"/>
                  <a:gd name="T50" fmla="*/ 92 w 268"/>
                  <a:gd name="T51" fmla="*/ 198 h 225"/>
                  <a:gd name="T52" fmla="*/ 99 w 268"/>
                  <a:gd name="T53" fmla="*/ 194 h 225"/>
                  <a:gd name="T54" fmla="*/ 120 w 268"/>
                  <a:gd name="T55" fmla="*/ 204 h 225"/>
                  <a:gd name="T56" fmla="*/ 142 w 268"/>
                  <a:gd name="T57" fmla="*/ 201 h 225"/>
                  <a:gd name="T58" fmla="*/ 144 w 268"/>
                  <a:gd name="T59" fmla="*/ 187 h 225"/>
                  <a:gd name="T60" fmla="*/ 172 w 268"/>
                  <a:gd name="T61" fmla="*/ 180 h 225"/>
                  <a:gd name="T62" fmla="*/ 210 w 268"/>
                  <a:gd name="T63" fmla="*/ 185 h 225"/>
                  <a:gd name="T64" fmla="*/ 226 w 268"/>
                  <a:gd name="T65" fmla="*/ 173 h 225"/>
                  <a:gd name="T66" fmla="*/ 228 w 268"/>
                  <a:gd name="T67" fmla="*/ 163 h 225"/>
                  <a:gd name="T68" fmla="*/ 218 w 268"/>
                  <a:gd name="T69" fmla="*/ 160 h 225"/>
                  <a:gd name="T70" fmla="*/ 212 w 268"/>
                  <a:gd name="T71" fmla="*/ 141 h 225"/>
                  <a:gd name="T72" fmla="*/ 219 w 268"/>
                  <a:gd name="T73" fmla="*/ 135 h 225"/>
                  <a:gd name="T74" fmla="*/ 212 w 268"/>
                  <a:gd name="T75" fmla="*/ 126 h 225"/>
                  <a:gd name="T76" fmla="*/ 213 w 268"/>
                  <a:gd name="T77" fmla="*/ 120 h 225"/>
                  <a:gd name="T78" fmla="*/ 207 w 268"/>
                  <a:gd name="T79" fmla="*/ 109 h 225"/>
                  <a:gd name="T80" fmla="*/ 197 w 268"/>
                  <a:gd name="T81" fmla="*/ 113 h 225"/>
                  <a:gd name="T82" fmla="*/ 197 w 268"/>
                  <a:gd name="T83" fmla="*/ 102 h 225"/>
                  <a:gd name="T84" fmla="*/ 211 w 268"/>
                  <a:gd name="T85" fmla="*/ 89 h 225"/>
                  <a:gd name="T86" fmla="*/ 210 w 268"/>
                  <a:gd name="T87" fmla="*/ 83 h 225"/>
                  <a:gd name="T88" fmla="*/ 219 w 268"/>
                  <a:gd name="T89" fmla="*/ 85 h 225"/>
                  <a:gd name="T90" fmla="*/ 224 w 268"/>
                  <a:gd name="T91" fmla="*/ 81 h 225"/>
                  <a:gd name="T92" fmla="*/ 225 w 268"/>
                  <a:gd name="T93" fmla="*/ 65 h 225"/>
                  <a:gd name="T94" fmla="*/ 234 w 268"/>
                  <a:gd name="T95" fmla="*/ 50 h 225"/>
                  <a:gd name="T96" fmla="*/ 208 w 268"/>
                  <a:gd name="T97" fmla="*/ 45 h 225"/>
                  <a:gd name="T98" fmla="*/ 198 w 268"/>
                  <a:gd name="T99" fmla="*/ 39 h 225"/>
                  <a:gd name="T100" fmla="*/ 193 w 268"/>
                  <a:gd name="T101" fmla="*/ 39 h 225"/>
                  <a:gd name="T102" fmla="*/ 189 w 268"/>
                  <a:gd name="T103" fmla="*/ 38 h 225"/>
                  <a:gd name="T104" fmla="*/ 172 w 268"/>
                  <a:gd name="T105" fmla="*/ 27 h 225"/>
                  <a:gd name="T106" fmla="*/ 163 w 268"/>
                  <a:gd name="T107" fmla="*/ 28 h 225"/>
                  <a:gd name="T108" fmla="*/ 151 w 268"/>
                  <a:gd name="T109" fmla="*/ 18 h 225"/>
                  <a:gd name="T110" fmla="*/ 151 w 268"/>
                  <a:gd name="T111" fmla="*/ 18 h 2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8" h="225">
                    <a:moveTo>
                      <a:pt x="268" y="208"/>
                    </a:moveTo>
                    <a:lnTo>
                      <a:pt x="264" y="188"/>
                    </a:lnTo>
                    <a:lnTo>
                      <a:pt x="253" y="197"/>
                    </a:lnTo>
                    <a:lnTo>
                      <a:pt x="249" y="206"/>
                    </a:lnTo>
                    <a:lnTo>
                      <a:pt x="253" y="222"/>
                    </a:lnTo>
                    <a:lnTo>
                      <a:pt x="263" y="225"/>
                    </a:lnTo>
                    <a:lnTo>
                      <a:pt x="268" y="208"/>
                    </a:lnTo>
                    <a:close/>
                    <a:moveTo>
                      <a:pt x="151" y="18"/>
                    </a:moveTo>
                    <a:lnTo>
                      <a:pt x="141" y="9"/>
                    </a:lnTo>
                    <a:lnTo>
                      <a:pt x="133" y="9"/>
                    </a:lnTo>
                    <a:lnTo>
                      <a:pt x="131" y="0"/>
                    </a:lnTo>
                    <a:lnTo>
                      <a:pt x="114" y="5"/>
                    </a:lnTo>
                    <a:lnTo>
                      <a:pt x="110" y="24"/>
                    </a:lnTo>
                    <a:lnTo>
                      <a:pt x="68" y="41"/>
                    </a:lnTo>
                    <a:lnTo>
                      <a:pt x="50" y="32"/>
                    </a:lnTo>
                    <a:lnTo>
                      <a:pt x="56" y="58"/>
                    </a:lnTo>
                    <a:lnTo>
                      <a:pt x="25" y="52"/>
                    </a:lnTo>
                    <a:lnTo>
                      <a:pt x="0" y="57"/>
                    </a:lnTo>
                    <a:lnTo>
                      <a:pt x="2" y="74"/>
                    </a:lnTo>
                    <a:lnTo>
                      <a:pt x="30" y="83"/>
                    </a:lnTo>
                    <a:lnTo>
                      <a:pt x="43" y="95"/>
                    </a:lnTo>
                    <a:lnTo>
                      <a:pt x="63" y="119"/>
                    </a:lnTo>
                    <a:lnTo>
                      <a:pt x="59" y="165"/>
                    </a:lnTo>
                    <a:lnTo>
                      <a:pt x="49" y="179"/>
                    </a:lnTo>
                    <a:lnTo>
                      <a:pt x="56" y="188"/>
                    </a:lnTo>
                    <a:lnTo>
                      <a:pt x="92" y="198"/>
                    </a:lnTo>
                    <a:lnTo>
                      <a:pt x="99" y="194"/>
                    </a:lnTo>
                    <a:lnTo>
                      <a:pt x="120" y="204"/>
                    </a:lnTo>
                    <a:lnTo>
                      <a:pt x="142" y="201"/>
                    </a:lnTo>
                    <a:lnTo>
                      <a:pt x="144" y="187"/>
                    </a:lnTo>
                    <a:lnTo>
                      <a:pt x="172" y="180"/>
                    </a:lnTo>
                    <a:lnTo>
                      <a:pt x="210" y="185"/>
                    </a:lnTo>
                    <a:lnTo>
                      <a:pt x="226" y="173"/>
                    </a:lnTo>
                    <a:lnTo>
                      <a:pt x="228" y="163"/>
                    </a:lnTo>
                    <a:lnTo>
                      <a:pt x="218" y="160"/>
                    </a:lnTo>
                    <a:lnTo>
                      <a:pt x="212" y="141"/>
                    </a:lnTo>
                    <a:lnTo>
                      <a:pt x="219" y="135"/>
                    </a:lnTo>
                    <a:lnTo>
                      <a:pt x="212" y="126"/>
                    </a:lnTo>
                    <a:lnTo>
                      <a:pt x="213" y="120"/>
                    </a:lnTo>
                    <a:lnTo>
                      <a:pt x="207" y="109"/>
                    </a:lnTo>
                    <a:lnTo>
                      <a:pt x="197" y="113"/>
                    </a:lnTo>
                    <a:lnTo>
                      <a:pt x="197" y="102"/>
                    </a:lnTo>
                    <a:lnTo>
                      <a:pt x="211" y="89"/>
                    </a:lnTo>
                    <a:lnTo>
                      <a:pt x="210" y="83"/>
                    </a:lnTo>
                    <a:lnTo>
                      <a:pt x="219" y="85"/>
                    </a:lnTo>
                    <a:lnTo>
                      <a:pt x="224" y="81"/>
                    </a:lnTo>
                    <a:lnTo>
                      <a:pt x="225" y="65"/>
                    </a:lnTo>
                    <a:lnTo>
                      <a:pt x="234" y="50"/>
                    </a:lnTo>
                    <a:lnTo>
                      <a:pt x="208" y="45"/>
                    </a:lnTo>
                    <a:lnTo>
                      <a:pt x="198" y="39"/>
                    </a:lnTo>
                    <a:lnTo>
                      <a:pt x="193" y="39"/>
                    </a:lnTo>
                    <a:lnTo>
                      <a:pt x="189" y="38"/>
                    </a:lnTo>
                    <a:lnTo>
                      <a:pt x="172" y="27"/>
                    </a:lnTo>
                    <a:lnTo>
                      <a:pt x="163" y="28"/>
                    </a:lnTo>
                    <a:lnTo>
                      <a:pt x="151" y="18"/>
                    </a:lnTo>
                    <a:lnTo>
                      <a:pt x="151" y="1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2" name="Freeform 212">
                <a:extLst>
                  <a:ext uri="{FF2B5EF4-FFF2-40B4-BE49-F238E27FC236}">
                    <a16:creationId xmlns:a16="http://schemas.microsoft.com/office/drawing/2014/main" id="{CCDB980F-E719-476E-9231-F7D2F6FCCE9E}"/>
                  </a:ext>
                </a:extLst>
              </p:cNvPr>
              <p:cNvSpPr>
                <a:spLocks/>
              </p:cNvSpPr>
              <p:nvPr/>
            </p:nvSpPr>
            <p:spPr bwMode="auto">
              <a:xfrm>
                <a:off x="7805738" y="5270501"/>
                <a:ext cx="19050" cy="17463"/>
              </a:xfrm>
              <a:custGeom>
                <a:avLst/>
                <a:gdLst>
                  <a:gd name="T0" fmla="*/ 11 w 12"/>
                  <a:gd name="T1" fmla="*/ 11 h 11"/>
                  <a:gd name="T2" fmla="*/ 12 w 12"/>
                  <a:gd name="T3" fmla="*/ 9 h 11"/>
                  <a:gd name="T4" fmla="*/ 12 w 12"/>
                  <a:gd name="T5" fmla="*/ 7 h 11"/>
                  <a:gd name="T6" fmla="*/ 11 w 12"/>
                  <a:gd name="T7" fmla="*/ 4 h 11"/>
                  <a:gd name="T8" fmla="*/ 9 w 12"/>
                  <a:gd name="T9" fmla="*/ 1 h 11"/>
                  <a:gd name="T10" fmla="*/ 7 w 12"/>
                  <a:gd name="T11" fmla="*/ 0 h 11"/>
                  <a:gd name="T12" fmla="*/ 4 w 12"/>
                  <a:gd name="T13" fmla="*/ 0 h 11"/>
                  <a:gd name="T14" fmla="*/ 2 w 12"/>
                  <a:gd name="T15" fmla="*/ 1 h 11"/>
                  <a:gd name="T16" fmla="*/ 1 w 12"/>
                  <a:gd name="T17" fmla="*/ 3 h 11"/>
                  <a:gd name="T18" fmla="*/ 0 w 12"/>
                  <a:gd name="T19" fmla="*/ 4 h 11"/>
                  <a:gd name="T20" fmla="*/ 2 w 12"/>
                  <a:gd name="T21" fmla="*/ 8 h 11"/>
                  <a:gd name="T22" fmla="*/ 2 w 12"/>
                  <a:gd name="T23" fmla="*/ 9 h 11"/>
                  <a:gd name="T24" fmla="*/ 6 w 12"/>
                  <a:gd name="T25" fmla="*/ 11 h 11"/>
                  <a:gd name="T26" fmla="*/ 8 w 12"/>
                  <a:gd name="T27" fmla="*/ 11 h 11"/>
                  <a:gd name="T28" fmla="*/ 11 w 12"/>
                  <a:gd name="T29" fmla="*/ 11 h 11"/>
                  <a:gd name="T30" fmla="*/ 11 w 12"/>
                  <a:gd name="T31"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11">
                    <a:moveTo>
                      <a:pt x="11" y="11"/>
                    </a:moveTo>
                    <a:lnTo>
                      <a:pt x="12" y="9"/>
                    </a:lnTo>
                    <a:lnTo>
                      <a:pt x="12" y="7"/>
                    </a:lnTo>
                    <a:lnTo>
                      <a:pt x="11" y="4"/>
                    </a:lnTo>
                    <a:lnTo>
                      <a:pt x="9" y="1"/>
                    </a:lnTo>
                    <a:lnTo>
                      <a:pt x="7" y="0"/>
                    </a:lnTo>
                    <a:lnTo>
                      <a:pt x="4" y="0"/>
                    </a:lnTo>
                    <a:lnTo>
                      <a:pt x="2" y="1"/>
                    </a:lnTo>
                    <a:lnTo>
                      <a:pt x="1" y="3"/>
                    </a:lnTo>
                    <a:lnTo>
                      <a:pt x="0" y="4"/>
                    </a:lnTo>
                    <a:lnTo>
                      <a:pt x="2" y="8"/>
                    </a:lnTo>
                    <a:lnTo>
                      <a:pt x="2" y="9"/>
                    </a:lnTo>
                    <a:lnTo>
                      <a:pt x="6" y="11"/>
                    </a:lnTo>
                    <a:lnTo>
                      <a:pt x="8" y="11"/>
                    </a:lnTo>
                    <a:lnTo>
                      <a:pt x="11" y="11"/>
                    </a:lnTo>
                    <a:lnTo>
                      <a:pt x="11" y="11"/>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3" name="Freeform 214">
                <a:extLst>
                  <a:ext uri="{FF2B5EF4-FFF2-40B4-BE49-F238E27FC236}">
                    <a16:creationId xmlns:a16="http://schemas.microsoft.com/office/drawing/2014/main" id="{5C13C32E-7F81-4C24-8332-758121F38283}"/>
                  </a:ext>
                </a:extLst>
              </p:cNvPr>
              <p:cNvSpPr>
                <a:spLocks/>
              </p:cNvSpPr>
              <p:nvPr/>
            </p:nvSpPr>
            <p:spPr bwMode="auto">
              <a:xfrm>
                <a:off x="3981450" y="3921126"/>
                <a:ext cx="11112" cy="19050"/>
              </a:xfrm>
              <a:custGeom>
                <a:avLst/>
                <a:gdLst>
                  <a:gd name="T0" fmla="*/ 7 w 7"/>
                  <a:gd name="T1" fmla="*/ 10 h 12"/>
                  <a:gd name="T2" fmla="*/ 6 w 7"/>
                  <a:gd name="T3" fmla="*/ 7 h 12"/>
                  <a:gd name="T4" fmla="*/ 6 w 7"/>
                  <a:gd name="T5" fmla="*/ 6 h 12"/>
                  <a:gd name="T6" fmla="*/ 5 w 7"/>
                  <a:gd name="T7" fmla="*/ 5 h 12"/>
                  <a:gd name="T8" fmla="*/ 5 w 7"/>
                  <a:gd name="T9" fmla="*/ 4 h 12"/>
                  <a:gd name="T10" fmla="*/ 5 w 7"/>
                  <a:gd name="T11" fmla="*/ 3 h 12"/>
                  <a:gd name="T12" fmla="*/ 5 w 7"/>
                  <a:gd name="T13" fmla="*/ 3 h 12"/>
                  <a:gd name="T14" fmla="*/ 4 w 7"/>
                  <a:gd name="T15" fmla="*/ 1 h 12"/>
                  <a:gd name="T16" fmla="*/ 2 w 7"/>
                  <a:gd name="T17" fmla="*/ 0 h 12"/>
                  <a:gd name="T18" fmla="*/ 1 w 7"/>
                  <a:gd name="T19" fmla="*/ 0 h 12"/>
                  <a:gd name="T20" fmla="*/ 0 w 7"/>
                  <a:gd name="T21" fmla="*/ 1 h 12"/>
                  <a:gd name="T22" fmla="*/ 0 w 7"/>
                  <a:gd name="T23" fmla="*/ 2 h 12"/>
                  <a:gd name="T24" fmla="*/ 1 w 7"/>
                  <a:gd name="T25" fmla="*/ 6 h 12"/>
                  <a:gd name="T26" fmla="*/ 2 w 7"/>
                  <a:gd name="T27" fmla="*/ 6 h 12"/>
                  <a:gd name="T28" fmla="*/ 4 w 7"/>
                  <a:gd name="T29" fmla="*/ 7 h 12"/>
                  <a:gd name="T30" fmla="*/ 2 w 7"/>
                  <a:gd name="T31" fmla="*/ 9 h 12"/>
                  <a:gd name="T32" fmla="*/ 2 w 7"/>
                  <a:gd name="T33" fmla="*/ 9 h 12"/>
                  <a:gd name="T34" fmla="*/ 3 w 7"/>
                  <a:gd name="T35" fmla="*/ 10 h 12"/>
                  <a:gd name="T36" fmla="*/ 5 w 7"/>
                  <a:gd name="T37" fmla="*/ 10 h 12"/>
                  <a:gd name="T38" fmla="*/ 6 w 7"/>
                  <a:gd name="T39" fmla="*/ 12 h 12"/>
                  <a:gd name="T40" fmla="*/ 7 w 7"/>
                  <a:gd name="T41" fmla="*/ 11 h 12"/>
                  <a:gd name="T42" fmla="*/ 7 w 7"/>
                  <a:gd name="T43" fmla="*/ 10 h 12"/>
                  <a:gd name="T44" fmla="*/ 7 w 7"/>
                  <a:gd name="T45" fmla="*/ 1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 h="12">
                    <a:moveTo>
                      <a:pt x="7" y="10"/>
                    </a:moveTo>
                    <a:lnTo>
                      <a:pt x="6" y="7"/>
                    </a:lnTo>
                    <a:lnTo>
                      <a:pt x="6" y="6"/>
                    </a:lnTo>
                    <a:lnTo>
                      <a:pt x="5" y="5"/>
                    </a:lnTo>
                    <a:lnTo>
                      <a:pt x="5" y="4"/>
                    </a:lnTo>
                    <a:lnTo>
                      <a:pt x="5" y="3"/>
                    </a:lnTo>
                    <a:lnTo>
                      <a:pt x="5" y="3"/>
                    </a:lnTo>
                    <a:lnTo>
                      <a:pt x="4" y="1"/>
                    </a:lnTo>
                    <a:lnTo>
                      <a:pt x="2" y="0"/>
                    </a:lnTo>
                    <a:lnTo>
                      <a:pt x="1" y="0"/>
                    </a:lnTo>
                    <a:lnTo>
                      <a:pt x="0" y="1"/>
                    </a:lnTo>
                    <a:lnTo>
                      <a:pt x="0" y="2"/>
                    </a:lnTo>
                    <a:lnTo>
                      <a:pt x="1" y="6"/>
                    </a:lnTo>
                    <a:lnTo>
                      <a:pt x="2" y="6"/>
                    </a:lnTo>
                    <a:lnTo>
                      <a:pt x="4" y="7"/>
                    </a:lnTo>
                    <a:lnTo>
                      <a:pt x="2" y="9"/>
                    </a:lnTo>
                    <a:lnTo>
                      <a:pt x="2" y="9"/>
                    </a:lnTo>
                    <a:lnTo>
                      <a:pt x="3" y="10"/>
                    </a:lnTo>
                    <a:lnTo>
                      <a:pt x="5" y="10"/>
                    </a:lnTo>
                    <a:lnTo>
                      <a:pt x="6" y="12"/>
                    </a:lnTo>
                    <a:lnTo>
                      <a:pt x="7" y="11"/>
                    </a:lnTo>
                    <a:lnTo>
                      <a:pt x="7" y="10"/>
                    </a:lnTo>
                    <a:lnTo>
                      <a:pt x="7" y="10"/>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14" name="Freeform 215">
                <a:extLst>
                  <a:ext uri="{FF2B5EF4-FFF2-40B4-BE49-F238E27FC236}">
                    <a16:creationId xmlns:a16="http://schemas.microsoft.com/office/drawing/2014/main" id="{42946842-1A11-4D0E-A423-0E69ECF7061F}"/>
                  </a:ext>
                </a:extLst>
              </p:cNvPr>
              <p:cNvSpPr>
                <a:spLocks noEditPoints="1"/>
              </p:cNvSpPr>
              <p:nvPr/>
            </p:nvSpPr>
            <p:spPr bwMode="auto">
              <a:xfrm>
                <a:off x="3967163" y="3859213"/>
                <a:ext cx="20637" cy="23813"/>
              </a:xfrm>
              <a:custGeom>
                <a:avLst/>
                <a:gdLst>
                  <a:gd name="T0" fmla="*/ 11 w 13"/>
                  <a:gd name="T1" fmla="*/ 15 h 15"/>
                  <a:gd name="T2" fmla="*/ 11 w 13"/>
                  <a:gd name="T3" fmla="*/ 15 h 15"/>
                  <a:gd name="T4" fmla="*/ 11 w 13"/>
                  <a:gd name="T5" fmla="*/ 13 h 15"/>
                  <a:gd name="T6" fmla="*/ 11 w 13"/>
                  <a:gd name="T7" fmla="*/ 12 h 15"/>
                  <a:gd name="T8" fmla="*/ 10 w 13"/>
                  <a:gd name="T9" fmla="*/ 13 h 15"/>
                  <a:gd name="T10" fmla="*/ 9 w 13"/>
                  <a:gd name="T11" fmla="*/ 14 h 15"/>
                  <a:gd name="T12" fmla="*/ 9 w 13"/>
                  <a:gd name="T13" fmla="*/ 15 h 15"/>
                  <a:gd name="T14" fmla="*/ 9 w 13"/>
                  <a:gd name="T15" fmla="*/ 15 h 15"/>
                  <a:gd name="T16" fmla="*/ 11 w 13"/>
                  <a:gd name="T17" fmla="*/ 15 h 15"/>
                  <a:gd name="T18" fmla="*/ 11 w 13"/>
                  <a:gd name="T19" fmla="*/ 15 h 15"/>
                  <a:gd name="T20" fmla="*/ 3 w 13"/>
                  <a:gd name="T21" fmla="*/ 12 h 15"/>
                  <a:gd name="T22" fmla="*/ 4 w 13"/>
                  <a:gd name="T23" fmla="*/ 11 h 15"/>
                  <a:gd name="T24" fmla="*/ 4 w 13"/>
                  <a:gd name="T25" fmla="*/ 8 h 15"/>
                  <a:gd name="T26" fmla="*/ 4 w 13"/>
                  <a:gd name="T27" fmla="*/ 6 h 15"/>
                  <a:gd name="T28" fmla="*/ 3 w 13"/>
                  <a:gd name="T29" fmla="*/ 6 h 15"/>
                  <a:gd name="T30" fmla="*/ 3 w 13"/>
                  <a:gd name="T31" fmla="*/ 5 h 15"/>
                  <a:gd name="T32" fmla="*/ 0 w 13"/>
                  <a:gd name="T33" fmla="*/ 4 h 15"/>
                  <a:gd name="T34" fmla="*/ 0 w 13"/>
                  <a:gd name="T35" fmla="*/ 5 h 15"/>
                  <a:gd name="T36" fmla="*/ 0 w 13"/>
                  <a:gd name="T37" fmla="*/ 6 h 15"/>
                  <a:gd name="T38" fmla="*/ 0 w 13"/>
                  <a:gd name="T39" fmla="*/ 11 h 15"/>
                  <a:gd name="T40" fmla="*/ 0 w 13"/>
                  <a:gd name="T41" fmla="*/ 13 h 15"/>
                  <a:gd name="T42" fmla="*/ 1 w 13"/>
                  <a:gd name="T43" fmla="*/ 13 h 15"/>
                  <a:gd name="T44" fmla="*/ 3 w 13"/>
                  <a:gd name="T45" fmla="*/ 12 h 15"/>
                  <a:gd name="T46" fmla="*/ 3 w 13"/>
                  <a:gd name="T47" fmla="*/ 12 h 15"/>
                  <a:gd name="T48" fmla="*/ 9 w 13"/>
                  <a:gd name="T49" fmla="*/ 8 h 15"/>
                  <a:gd name="T50" fmla="*/ 13 w 13"/>
                  <a:gd name="T51" fmla="*/ 7 h 15"/>
                  <a:gd name="T52" fmla="*/ 9 w 13"/>
                  <a:gd name="T53" fmla="*/ 4 h 15"/>
                  <a:gd name="T54" fmla="*/ 8 w 13"/>
                  <a:gd name="T55" fmla="*/ 3 h 15"/>
                  <a:gd name="T56" fmla="*/ 8 w 13"/>
                  <a:gd name="T57" fmla="*/ 2 h 15"/>
                  <a:gd name="T58" fmla="*/ 7 w 13"/>
                  <a:gd name="T59" fmla="*/ 0 h 15"/>
                  <a:gd name="T60" fmla="*/ 6 w 13"/>
                  <a:gd name="T61" fmla="*/ 1 h 15"/>
                  <a:gd name="T62" fmla="*/ 5 w 13"/>
                  <a:gd name="T63" fmla="*/ 2 h 15"/>
                  <a:gd name="T64" fmla="*/ 6 w 13"/>
                  <a:gd name="T65" fmla="*/ 4 h 15"/>
                  <a:gd name="T66" fmla="*/ 5 w 13"/>
                  <a:gd name="T67" fmla="*/ 6 h 15"/>
                  <a:gd name="T68" fmla="*/ 5 w 13"/>
                  <a:gd name="T69" fmla="*/ 8 h 15"/>
                  <a:gd name="T70" fmla="*/ 7 w 13"/>
                  <a:gd name="T71" fmla="*/ 8 h 15"/>
                  <a:gd name="T72" fmla="*/ 9 w 13"/>
                  <a:gd name="T73" fmla="*/ 8 h 15"/>
                  <a:gd name="T74" fmla="*/ 9 w 13"/>
                  <a:gd name="T75" fmla="*/ 8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3" h="15">
                    <a:moveTo>
                      <a:pt x="11" y="15"/>
                    </a:moveTo>
                    <a:lnTo>
                      <a:pt x="11" y="15"/>
                    </a:lnTo>
                    <a:lnTo>
                      <a:pt x="11" y="13"/>
                    </a:lnTo>
                    <a:lnTo>
                      <a:pt x="11" y="12"/>
                    </a:lnTo>
                    <a:lnTo>
                      <a:pt x="10" y="13"/>
                    </a:lnTo>
                    <a:lnTo>
                      <a:pt x="9" y="14"/>
                    </a:lnTo>
                    <a:lnTo>
                      <a:pt x="9" y="15"/>
                    </a:lnTo>
                    <a:lnTo>
                      <a:pt x="9" y="15"/>
                    </a:lnTo>
                    <a:lnTo>
                      <a:pt x="11" y="15"/>
                    </a:lnTo>
                    <a:lnTo>
                      <a:pt x="11" y="15"/>
                    </a:lnTo>
                    <a:close/>
                    <a:moveTo>
                      <a:pt x="3" y="12"/>
                    </a:moveTo>
                    <a:lnTo>
                      <a:pt x="4" y="11"/>
                    </a:lnTo>
                    <a:lnTo>
                      <a:pt x="4" y="8"/>
                    </a:lnTo>
                    <a:lnTo>
                      <a:pt x="4" y="6"/>
                    </a:lnTo>
                    <a:lnTo>
                      <a:pt x="3" y="6"/>
                    </a:lnTo>
                    <a:lnTo>
                      <a:pt x="3" y="5"/>
                    </a:lnTo>
                    <a:lnTo>
                      <a:pt x="0" y="4"/>
                    </a:lnTo>
                    <a:lnTo>
                      <a:pt x="0" y="5"/>
                    </a:lnTo>
                    <a:lnTo>
                      <a:pt x="0" y="6"/>
                    </a:lnTo>
                    <a:lnTo>
                      <a:pt x="0" y="11"/>
                    </a:lnTo>
                    <a:lnTo>
                      <a:pt x="0" y="13"/>
                    </a:lnTo>
                    <a:lnTo>
                      <a:pt x="1" y="13"/>
                    </a:lnTo>
                    <a:lnTo>
                      <a:pt x="3" y="12"/>
                    </a:lnTo>
                    <a:lnTo>
                      <a:pt x="3" y="12"/>
                    </a:lnTo>
                    <a:close/>
                    <a:moveTo>
                      <a:pt x="9" y="8"/>
                    </a:moveTo>
                    <a:lnTo>
                      <a:pt x="13" y="7"/>
                    </a:lnTo>
                    <a:lnTo>
                      <a:pt x="9" y="4"/>
                    </a:lnTo>
                    <a:lnTo>
                      <a:pt x="8" y="3"/>
                    </a:lnTo>
                    <a:lnTo>
                      <a:pt x="8" y="2"/>
                    </a:lnTo>
                    <a:lnTo>
                      <a:pt x="7" y="0"/>
                    </a:lnTo>
                    <a:lnTo>
                      <a:pt x="6" y="1"/>
                    </a:lnTo>
                    <a:lnTo>
                      <a:pt x="5" y="2"/>
                    </a:lnTo>
                    <a:lnTo>
                      <a:pt x="6" y="4"/>
                    </a:lnTo>
                    <a:lnTo>
                      <a:pt x="5" y="6"/>
                    </a:lnTo>
                    <a:lnTo>
                      <a:pt x="5" y="8"/>
                    </a:lnTo>
                    <a:lnTo>
                      <a:pt x="7" y="8"/>
                    </a:lnTo>
                    <a:lnTo>
                      <a:pt x="9" y="8"/>
                    </a:lnTo>
                    <a:lnTo>
                      <a:pt x="9"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sp>
          <p:nvSpPr>
            <p:cNvPr id="206" name="Curacao">
              <a:extLst>
                <a:ext uri="{FF2B5EF4-FFF2-40B4-BE49-F238E27FC236}">
                  <a16:creationId xmlns:a16="http://schemas.microsoft.com/office/drawing/2014/main" id="{01A60209-9872-400C-A506-91142563B23F}"/>
                </a:ext>
              </a:extLst>
            </p:cNvPr>
            <p:cNvSpPr>
              <a:spLocks/>
            </p:cNvSpPr>
            <p:nvPr/>
          </p:nvSpPr>
          <p:spPr bwMode="auto">
            <a:xfrm>
              <a:off x="3733007" y="3598635"/>
              <a:ext cx="4762" cy="9525"/>
            </a:xfrm>
            <a:custGeom>
              <a:avLst/>
              <a:gdLst>
                <a:gd name="T0" fmla="*/ 3 w 3"/>
                <a:gd name="T1" fmla="*/ 4 h 6"/>
                <a:gd name="T2" fmla="*/ 3 w 3"/>
                <a:gd name="T3" fmla="*/ 1 h 6"/>
                <a:gd name="T4" fmla="*/ 0 w 3"/>
                <a:gd name="T5" fmla="*/ 0 h 6"/>
                <a:gd name="T6" fmla="*/ 0 w 3"/>
                <a:gd name="T7" fmla="*/ 1 h 6"/>
                <a:gd name="T8" fmla="*/ 0 w 3"/>
                <a:gd name="T9" fmla="*/ 2 h 6"/>
                <a:gd name="T10" fmla="*/ 2 w 3"/>
                <a:gd name="T11" fmla="*/ 2 h 6"/>
                <a:gd name="T12" fmla="*/ 2 w 3"/>
                <a:gd name="T13" fmla="*/ 3 h 6"/>
                <a:gd name="T14" fmla="*/ 2 w 3"/>
                <a:gd name="T15" fmla="*/ 5 h 6"/>
                <a:gd name="T16" fmla="*/ 2 w 3"/>
                <a:gd name="T17" fmla="*/ 6 h 6"/>
                <a:gd name="T18" fmla="*/ 3 w 3"/>
                <a:gd name="T19" fmla="*/ 4 h 6"/>
                <a:gd name="T20" fmla="*/ 3 w 3"/>
                <a:gd name="T21" fmla="*/ 4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 h="6">
                  <a:moveTo>
                    <a:pt x="3" y="4"/>
                  </a:moveTo>
                  <a:lnTo>
                    <a:pt x="3" y="1"/>
                  </a:lnTo>
                  <a:lnTo>
                    <a:pt x="0" y="0"/>
                  </a:lnTo>
                  <a:lnTo>
                    <a:pt x="0" y="1"/>
                  </a:lnTo>
                  <a:lnTo>
                    <a:pt x="0" y="2"/>
                  </a:lnTo>
                  <a:lnTo>
                    <a:pt x="2" y="2"/>
                  </a:lnTo>
                  <a:lnTo>
                    <a:pt x="2" y="3"/>
                  </a:lnTo>
                  <a:lnTo>
                    <a:pt x="2" y="5"/>
                  </a:lnTo>
                  <a:lnTo>
                    <a:pt x="2" y="6"/>
                  </a:lnTo>
                  <a:lnTo>
                    <a:pt x="3" y="4"/>
                  </a:lnTo>
                  <a:lnTo>
                    <a:pt x="3" y="4"/>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sp>
          <p:nvSpPr>
            <p:cNvPr id="207" name="Las Palmas de Gran Canaria">
              <a:extLst>
                <a:ext uri="{FF2B5EF4-FFF2-40B4-BE49-F238E27FC236}">
                  <a16:creationId xmlns:a16="http://schemas.microsoft.com/office/drawing/2014/main" id="{A5B1DAE5-6427-4704-BB45-42E23B66DBC5}"/>
                </a:ext>
              </a:extLst>
            </p:cNvPr>
            <p:cNvSpPr>
              <a:spLocks noEditPoints="1"/>
            </p:cNvSpPr>
            <p:nvPr/>
          </p:nvSpPr>
          <p:spPr bwMode="auto">
            <a:xfrm>
              <a:off x="5410994" y="2958874"/>
              <a:ext cx="153987" cy="60325"/>
            </a:xfrm>
            <a:custGeom>
              <a:avLst/>
              <a:gdLst>
                <a:gd name="T0" fmla="*/ 5 w 97"/>
                <a:gd name="T1" fmla="*/ 33 h 38"/>
                <a:gd name="T2" fmla="*/ 0 w 97"/>
                <a:gd name="T3" fmla="*/ 35 h 38"/>
                <a:gd name="T4" fmla="*/ 1 w 97"/>
                <a:gd name="T5" fmla="*/ 37 h 38"/>
                <a:gd name="T6" fmla="*/ 5 w 97"/>
                <a:gd name="T7" fmla="*/ 34 h 38"/>
                <a:gd name="T8" fmla="*/ 56 w 97"/>
                <a:gd name="T9" fmla="*/ 26 h 38"/>
                <a:gd name="T10" fmla="*/ 56 w 97"/>
                <a:gd name="T11" fmla="*/ 26 h 38"/>
                <a:gd name="T12" fmla="*/ 50 w 97"/>
                <a:gd name="T13" fmla="*/ 26 h 38"/>
                <a:gd name="T14" fmla="*/ 48 w 97"/>
                <a:gd name="T15" fmla="*/ 30 h 38"/>
                <a:gd name="T16" fmla="*/ 50 w 97"/>
                <a:gd name="T17" fmla="*/ 35 h 38"/>
                <a:gd name="T18" fmla="*/ 53 w 97"/>
                <a:gd name="T19" fmla="*/ 35 h 38"/>
                <a:gd name="T20" fmla="*/ 56 w 97"/>
                <a:gd name="T21" fmla="*/ 32 h 38"/>
                <a:gd name="T22" fmla="*/ 56 w 97"/>
                <a:gd name="T23" fmla="*/ 28 h 38"/>
                <a:gd name="T24" fmla="*/ 56 w 97"/>
                <a:gd name="T25" fmla="*/ 26 h 38"/>
                <a:gd name="T26" fmla="*/ 22 w 97"/>
                <a:gd name="T27" fmla="*/ 28 h 38"/>
                <a:gd name="T28" fmla="*/ 21 w 97"/>
                <a:gd name="T29" fmla="*/ 26 h 38"/>
                <a:gd name="T30" fmla="*/ 18 w 97"/>
                <a:gd name="T31" fmla="*/ 25 h 38"/>
                <a:gd name="T32" fmla="*/ 17 w 97"/>
                <a:gd name="T33" fmla="*/ 27 h 38"/>
                <a:gd name="T34" fmla="*/ 19 w 97"/>
                <a:gd name="T35" fmla="*/ 30 h 38"/>
                <a:gd name="T36" fmla="*/ 20 w 97"/>
                <a:gd name="T37" fmla="*/ 30 h 38"/>
                <a:gd name="T38" fmla="*/ 42 w 97"/>
                <a:gd name="T39" fmla="*/ 17 h 38"/>
                <a:gd name="T40" fmla="*/ 38 w 97"/>
                <a:gd name="T41" fmla="*/ 17 h 38"/>
                <a:gd name="T42" fmla="*/ 33 w 97"/>
                <a:gd name="T43" fmla="*/ 20 h 38"/>
                <a:gd name="T44" fmla="*/ 28 w 97"/>
                <a:gd name="T45" fmla="*/ 20 h 38"/>
                <a:gd name="T46" fmla="*/ 27 w 97"/>
                <a:gd name="T47" fmla="*/ 22 h 38"/>
                <a:gd name="T48" fmla="*/ 30 w 97"/>
                <a:gd name="T49" fmla="*/ 30 h 38"/>
                <a:gd name="T50" fmla="*/ 34 w 97"/>
                <a:gd name="T51" fmla="*/ 28 h 38"/>
                <a:gd name="T52" fmla="*/ 37 w 97"/>
                <a:gd name="T53" fmla="*/ 20 h 38"/>
                <a:gd name="T54" fmla="*/ 81 w 97"/>
                <a:gd name="T55" fmla="*/ 26 h 38"/>
                <a:gd name="T56" fmla="*/ 87 w 97"/>
                <a:gd name="T57" fmla="*/ 20 h 38"/>
                <a:gd name="T58" fmla="*/ 88 w 97"/>
                <a:gd name="T59" fmla="*/ 13 h 38"/>
                <a:gd name="T60" fmla="*/ 87 w 97"/>
                <a:gd name="T61" fmla="*/ 12 h 38"/>
                <a:gd name="T62" fmla="*/ 85 w 97"/>
                <a:gd name="T63" fmla="*/ 13 h 38"/>
                <a:gd name="T64" fmla="*/ 82 w 97"/>
                <a:gd name="T65" fmla="*/ 20 h 38"/>
                <a:gd name="T66" fmla="*/ 77 w 97"/>
                <a:gd name="T67" fmla="*/ 27 h 38"/>
                <a:gd name="T68" fmla="*/ 75 w 97"/>
                <a:gd name="T69" fmla="*/ 28 h 38"/>
                <a:gd name="T70" fmla="*/ 81 w 97"/>
                <a:gd name="T71" fmla="*/ 26 h 38"/>
                <a:gd name="T72" fmla="*/ 7 w 97"/>
                <a:gd name="T73" fmla="*/ 18 h 38"/>
                <a:gd name="T74" fmla="*/ 9 w 97"/>
                <a:gd name="T75" fmla="*/ 15 h 38"/>
                <a:gd name="T76" fmla="*/ 10 w 97"/>
                <a:gd name="T77" fmla="*/ 13 h 38"/>
                <a:gd name="T78" fmla="*/ 8 w 97"/>
                <a:gd name="T79" fmla="*/ 9 h 38"/>
                <a:gd name="T80" fmla="*/ 4 w 97"/>
                <a:gd name="T81" fmla="*/ 12 h 38"/>
                <a:gd name="T82" fmla="*/ 7 w 97"/>
                <a:gd name="T83" fmla="*/ 18 h 38"/>
                <a:gd name="T84" fmla="*/ 7 w 97"/>
                <a:gd name="T85" fmla="*/ 18 h 38"/>
                <a:gd name="T86" fmla="*/ 94 w 97"/>
                <a:gd name="T87" fmla="*/ 7 h 38"/>
                <a:gd name="T88" fmla="*/ 97 w 97"/>
                <a:gd name="T89" fmla="*/ 3 h 38"/>
                <a:gd name="T90" fmla="*/ 97 w 97"/>
                <a:gd name="T91" fmla="*/ 0 h 38"/>
                <a:gd name="T92" fmla="*/ 95 w 97"/>
                <a:gd name="T93" fmla="*/ 3 h 38"/>
                <a:gd name="T94" fmla="*/ 89 w 97"/>
                <a:gd name="T95" fmla="*/ 4 h 38"/>
                <a:gd name="T96" fmla="*/ 88 w 97"/>
                <a:gd name="T97" fmla="*/ 9 h 38"/>
                <a:gd name="T98" fmla="*/ 91 w 97"/>
                <a:gd name="T99" fmla="*/ 8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7" h="38">
                  <a:moveTo>
                    <a:pt x="5" y="34"/>
                  </a:moveTo>
                  <a:lnTo>
                    <a:pt x="5" y="33"/>
                  </a:lnTo>
                  <a:lnTo>
                    <a:pt x="2" y="35"/>
                  </a:lnTo>
                  <a:lnTo>
                    <a:pt x="0" y="35"/>
                  </a:lnTo>
                  <a:lnTo>
                    <a:pt x="1" y="36"/>
                  </a:lnTo>
                  <a:lnTo>
                    <a:pt x="1" y="37"/>
                  </a:lnTo>
                  <a:lnTo>
                    <a:pt x="3" y="38"/>
                  </a:lnTo>
                  <a:lnTo>
                    <a:pt x="5" y="34"/>
                  </a:lnTo>
                  <a:lnTo>
                    <a:pt x="5" y="34"/>
                  </a:lnTo>
                  <a:close/>
                  <a:moveTo>
                    <a:pt x="56" y="26"/>
                  </a:moveTo>
                  <a:lnTo>
                    <a:pt x="56" y="26"/>
                  </a:lnTo>
                  <a:lnTo>
                    <a:pt x="56" y="26"/>
                  </a:lnTo>
                  <a:lnTo>
                    <a:pt x="56" y="26"/>
                  </a:lnTo>
                  <a:lnTo>
                    <a:pt x="50" y="26"/>
                  </a:lnTo>
                  <a:lnTo>
                    <a:pt x="50" y="28"/>
                  </a:lnTo>
                  <a:lnTo>
                    <a:pt x="48" y="30"/>
                  </a:lnTo>
                  <a:lnTo>
                    <a:pt x="48" y="32"/>
                  </a:lnTo>
                  <a:lnTo>
                    <a:pt x="50" y="35"/>
                  </a:lnTo>
                  <a:lnTo>
                    <a:pt x="51" y="35"/>
                  </a:lnTo>
                  <a:lnTo>
                    <a:pt x="53" y="35"/>
                  </a:lnTo>
                  <a:lnTo>
                    <a:pt x="56" y="34"/>
                  </a:lnTo>
                  <a:lnTo>
                    <a:pt x="56" y="32"/>
                  </a:lnTo>
                  <a:lnTo>
                    <a:pt x="57" y="30"/>
                  </a:lnTo>
                  <a:lnTo>
                    <a:pt x="56" y="28"/>
                  </a:lnTo>
                  <a:lnTo>
                    <a:pt x="56" y="26"/>
                  </a:lnTo>
                  <a:lnTo>
                    <a:pt x="56" y="26"/>
                  </a:lnTo>
                  <a:close/>
                  <a:moveTo>
                    <a:pt x="20" y="30"/>
                  </a:moveTo>
                  <a:lnTo>
                    <a:pt x="22" y="28"/>
                  </a:lnTo>
                  <a:lnTo>
                    <a:pt x="22" y="27"/>
                  </a:lnTo>
                  <a:lnTo>
                    <a:pt x="21" y="26"/>
                  </a:lnTo>
                  <a:lnTo>
                    <a:pt x="19" y="25"/>
                  </a:lnTo>
                  <a:lnTo>
                    <a:pt x="18" y="25"/>
                  </a:lnTo>
                  <a:lnTo>
                    <a:pt x="18" y="26"/>
                  </a:lnTo>
                  <a:lnTo>
                    <a:pt x="17" y="27"/>
                  </a:lnTo>
                  <a:lnTo>
                    <a:pt x="18" y="29"/>
                  </a:lnTo>
                  <a:lnTo>
                    <a:pt x="19" y="30"/>
                  </a:lnTo>
                  <a:lnTo>
                    <a:pt x="20" y="30"/>
                  </a:lnTo>
                  <a:lnTo>
                    <a:pt x="20" y="30"/>
                  </a:lnTo>
                  <a:close/>
                  <a:moveTo>
                    <a:pt x="37" y="20"/>
                  </a:moveTo>
                  <a:lnTo>
                    <a:pt x="42" y="17"/>
                  </a:lnTo>
                  <a:lnTo>
                    <a:pt x="42" y="16"/>
                  </a:lnTo>
                  <a:lnTo>
                    <a:pt x="38" y="17"/>
                  </a:lnTo>
                  <a:lnTo>
                    <a:pt x="34" y="20"/>
                  </a:lnTo>
                  <a:lnTo>
                    <a:pt x="33" y="20"/>
                  </a:lnTo>
                  <a:lnTo>
                    <a:pt x="30" y="20"/>
                  </a:lnTo>
                  <a:lnTo>
                    <a:pt x="28" y="20"/>
                  </a:lnTo>
                  <a:lnTo>
                    <a:pt x="26" y="21"/>
                  </a:lnTo>
                  <a:lnTo>
                    <a:pt x="27" y="22"/>
                  </a:lnTo>
                  <a:lnTo>
                    <a:pt x="28" y="26"/>
                  </a:lnTo>
                  <a:lnTo>
                    <a:pt x="30" y="30"/>
                  </a:lnTo>
                  <a:lnTo>
                    <a:pt x="33" y="29"/>
                  </a:lnTo>
                  <a:lnTo>
                    <a:pt x="34" y="28"/>
                  </a:lnTo>
                  <a:lnTo>
                    <a:pt x="35" y="26"/>
                  </a:lnTo>
                  <a:lnTo>
                    <a:pt x="37" y="20"/>
                  </a:lnTo>
                  <a:lnTo>
                    <a:pt x="37" y="20"/>
                  </a:lnTo>
                  <a:close/>
                  <a:moveTo>
                    <a:pt x="81" y="26"/>
                  </a:moveTo>
                  <a:lnTo>
                    <a:pt x="86" y="24"/>
                  </a:lnTo>
                  <a:lnTo>
                    <a:pt x="87" y="20"/>
                  </a:lnTo>
                  <a:lnTo>
                    <a:pt x="88" y="16"/>
                  </a:lnTo>
                  <a:lnTo>
                    <a:pt x="88" y="13"/>
                  </a:lnTo>
                  <a:lnTo>
                    <a:pt x="87" y="12"/>
                  </a:lnTo>
                  <a:lnTo>
                    <a:pt x="87" y="12"/>
                  </a:lnTo>
                  <a:lnTo>
                    <a:pt x="86" y="12"/>
                  </a:lnTo>
                  <a:lnTo>
                    <a:pt x="85" y="13"/>
                  </a:lnTo>
                  <a:lnTo>
                    <a:pt x="85" y="15"/>
                  </a:lnTo>
                  <a:lnTo>
                    <a:pt x="82" y="20"/>
                  </a:lnTo>
                  <a:lnTo>
                    <a:pt x="80" y="24"/>
                  </a:lnTo>
                  <a:lnTo>
                    <a:pt x="77" y="27"/>
                  </a:lnTo>
                  <a:lnTo>
                    <a:pt x="74" y="28"/>
                  </a:lnTo>
                  <a:lnTo>
                    <a:pt x="75" y="28"/>
                  </a:lnTo>
                  <a:lnTo>
                    <a:pt x="78" y="28"/>
                  </a:lnTo>
                  <a:lnTo>
                    <a:pt x="81" y="26"/>
                  </a:lnTo>
                  <a:lnTo>
                    <a:pt x="81" y="26"/>
                  </a:lnTo>
                  <a:close/>
                  <a:moveTo>
                    <a:pt x="7" y="18"/>
                  </a:moveTo>
                  <a:lnTo>
                    <a:pt x="9" y="17"/>
                  </a:lnTo>
                  <a:lnTo>
                    <a:pt x="9" y="15"/>
                  </a:lnTo>
                  <a:lnTo>
                    <a:pt x="9" y="13"/>
                  </a:lnTo>
                  <a:lnTo>
                    <a:pt x="10" y="13"/>
                  </a:lnTo>
                  <a:lnTo>
                    <a:pt x="9" y="11"/>
                  </a:lnTo>
                  <a:lnTo>
                    <a:pt x="8" y="9"/>
                  </a:lnTo>
                  <a:lnTo>
                    <a:pt x="5" y="9"/>
                  </a:lnTo>
                  <a:lnTo>
                    <a:pt x="4" y="12"/>
                  </a:lnTo>
                  <a:lnTo>
                    <a:pt x="6" y="17"/>
                  </a:lnTo>
                  <a:lnTo>
                    <a:pt x="7" y="18"/>
                  </a:lnTo>
                  <a:lnTo>
                    <a:pt x="7" y="18"/>
                  </a:lnTo>
                  <a:lnTo>
                    <a:pt x="7" y="18"/>
                  </a:lnTo>
                  <a:close/>
                  <a:moveTo>
                    <a:pt x="91" y="8"/>
                  </a:moveTo>
                  <a:lnTo>
                    <a:pt x="94" y="7"/>
                  </a:lnTo>
                  <a:lnTo>
                    <a:pt x="96" y="5"/>
                  </a:lnTo>
                  <a:lnTo>
                    <a:pt x="97" y="3"/>
                  </a:lnTo>
                  <a:lnTo>
                    <a:pt x="97" y="2"/>
                  </a:lnTo>
                  <a:lnTo>
                    <a:pt x="97" y="0"/>
                  </a:lnTo>
                  <a:lnTo>
                    <a:pt x="96" y="1"/>
                  </a:lnTo>
                  <a:lnTo>
                    <a:pt x="95" y="3"/>
                  </a:lnTo>
                  <a:lnTo>
                    <a:pt x="93" y="3"/>
                  </a:lnTo>
                  <a:lnTo>
                    <a:pt x="89" y="4"/>
                  </a:lnTo>
                  <a:lnTo>
                    <a:pt x="89" y="5"/>
                  </a:lnTo>
                  <a:lnTo>
                    <a:pt x="88" y="9"/>
                  </a:lnTo>
                  <a:lnTo>
                    <a:pt x="89" y="9"/>
                  </a:lnTo>
                  <a:lnTo>
                    <a:pt x="91" y="8"/>
                  </a:lnTo>
                  <a:lnTo>
                    <a:pt x="91" y="8"/>
                  </a:lnTo>
                  <a:close/>
                </a:path>
              </a:pathLst>
            </a:custGeom>
            <a:grpFill/>
            <a:ln w="6350" cap="flat">
              <a:solidFill>
                <a:sysClr val="window" lastClr="FFFFFF">
                  <a:lumMod val="85000"/>
                </a:sysClr>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base" latinLnBrk="0" hangingPunct="1">
                <a:lnSpc>
                  <a:spcPct val="100000"/>
                </a:lnSpc>
                <a:spcBef>
                  <a:spcPct val="0"/>
                </a:spcBef>
                <a:spcAft>
                  <a:spcPct val="0"/>
                </a:spcAft>
                <a:buClrTx/>
                <a:buSzTx/>
                <a:buFontTx/>
                <a:buNone/>
                <a:tabLst/>
                <a:defRPr/>
              </a:pPr>
              <a:endParaRPr kumimoji="0" lang="en-US" sz="1943" b="0" i="0" u="none" strike="noStrike" kern="0" cap="none" spc="0" normalizeH="0" baseline="0" noProof="0" dirty="0">
                <a:ln>
                  <a:noFill/>
                </a:ln>
                <a:solidFill>
                  <a:prstClr val="black"/>
                </a:solidFill>
                <a:effectLst/>
                <a:uLnTx/>
                <a:uFillTx/>
              </a:endParaRPr>
            </a:p>
          </p:txBody>
        </p:sp>
      </p:grpSp>
      <p:grpSp>
        <p:nvGrpSpPr>
          <p:cNvPr id="219" name="Group 218">
            <a:extLst>
              <a:ext uri="{FF2B5EF4-FFF2-40B4-BE49-F238E27FC236}">
                <a16:creationId xmlns:a16="http://schemas.microsoft.com/office/drawing/2014/main" id="{BA446852-4FD1-4F45-A6CA-4682F8C8329A}"/>
              </a:ext>
            </a:extLst>
          </p:cNvPr>
          <p:cNvGrpSpPr/>
          <p:nvPr/>
        </p:nvGrpSpPr>
        <p:grpSpPr>
          <a:xfrm>
            <a:off x="1761553" y="2731367"/>
            <a:ext cx="296082" cy="296082"/>
            <a:chOff x="2145493" y="2382866"/>
            <a:chExt cx="296082" cy="296082"/>
          </a:xfrm>
        </p:grpSpPr>
        <p:sp>
          <p:nvSpPr>
            <p:cNvPr id="220" name="Teardrop 219">
              <a:extLst>
                <a:ext uri="{FF2B5EF4-FFF2-40B4-BE49-F238E27FC236}">
                  <a16:creationId xmlns:a16="http://schemas.microsoft.com/office/drawing/2014/main" id="{0C8B41C8-E543-4D0B-BAC5-DF0360B384C6}"/>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21" name="Oval 220">
              <a:extLst>
                <a:ext uri="{FF2B5EF4-FFF2-40B4-BE49-F238E27FC236}">
                  <a16:creationId xmlns:a16="http://schemas.microsoft.com/office/drawing/2014/main" id="{41F675E5-5779-4AF7-A91B-D86CBAA5B699}"/>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22" name="Rectangle 221">
            <a:extLst>
              <a:ext uri="{FF2B5EF4-FFF2-40B4-BE49-F238E27FC236}">
                <a16:creationId xmlns:a16="http://schemas.microsoft.com/office/drawing/2014/main" id="{0436BCA6-FAD4-4867-95DB-47C7B0774E0A}"/>
              </a:ext>
            </a:extLst>
          </p:cNvPr>
          <p:cNvSpPr/>
          <p:nvPr/>
        </p:nvSpPr>
        <p:spPr>
          <a:xfrm>
            <a:off x="2148200" y="2751911"/>
            <a:ext cx="1432142"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4. U.S.A, 60%, +9</a:t>
            </a:r>
          </a:p>
        </p:txBody>
      </p:sp>
      <p:sp>
        <p:nvSpPr>
          <p:cNvPr id="229" name="TextBox 228">
            <a:extLst>
              <a:ext uri="{FF2B5EF4-FFF2-40B4-BE49-F238E27FC236}">
                <a16:creationId xmlns:a16="http://schemas.microsoft.com/office/drawing/2014/main" id="{EB646686-7692-455E-AA45-846C77C23A5F}"/>
              </a:ext>
            </a:extLst>
          </p:cNvPr>
          <p:cNvSpPr txBox="1">
            <a:spLocks/>
          </p:cNvSpPr>
          <p:nvPr/>
        </p:nvSpPr>
        <p:spPr>
          <a:xfrm rot="16200000">
            <a:off x="10200837" y="4337434"/>
            <a:ext cx="1075615" cy="169277"/>
          </a:xfrm>
          <a:prstGeom prst="rect">
            <a:avLst/>
          </a:prstGeom>
          <a:noFill/>
        </p:spPr>
        <p:txBody>
          <a:bodyPr wrap="none" lIns="0" tIns="0" rIns="0" bIns="0" rtlCol="0">
            <a:spAutoFit/>
          </a:bodyPr>
          <a:lstStyle>
            <a:defPPr>
              <a:defRPr lang="en-US"/>
            </a:defPPr>
            <a:lvl1pPr algn="ctr">
              <a:defRPr sz="1600">
                <a:latin typeface="+mn-lt"/>
                <a:ea typeface="Open Sans Condensed Light" panose="020B0306030504020204" pitchFamily="34" charset="0"/>
                <a:cs typeface="Open Sans Condensed Light" panose="020B0306030504020204" pitchFamily="34" charset="0"/>
              </a:defRPr>
            </a:lvl1pPr>
          </a:lstStyle>
          <a:p>
            <a:pPr algn="l" defTabSz="914400" fontAlgn="base">
              <a:spcBef>
                <a:spcPct val="0"/>
              </a:spcBef>
              <a:spcAft>
                <a:spcPct val="0"/>
              </a:spcAft>
              <a:defRPr/>
            </a:pPr>
            <a:r>
              <a:rPr lang="en-US" sz="1100" dirty="0">
                <a:solidFill>
                  <a:prstClr val="white"/>
                </a:solidFill>
                <a:latin typeface="Calibri" panose="020F0502020204030204"/>
              </a:rPr>
              <a:t>Add your text here</a:t>
            </a:r>
          </a:p>
        </p:txBody>
      </p:sp>
      <p:sp>
        <p:nvSpPr>
          <p:cNvPr id="230" name="Title 1">
            <a:extLst>
              <a:ext uri="{FF2B5EF4-FFF2-40B4-BE49-F238E27FC236}">
                <a16:creationId xmlns:a16="http://schemas.microsoft.com/office/drawing/2014/main" id="{1BC35D95-2517-4D7A-9C70-02A9DB490952}"/>
              </a:ext>
            </a:extLst>
          </p:cNvPr>
          <p:cNvSpPr txBox="1">
            <a:spLocks/>
          </p:cNvSpPr>
          <p:nvPr/>
        </p:nvSpPr>
        <p:spPr bwMode="auto">
          <a:xfrm>
            <a:off x="269240" y="289511"/>
            <a:ext cx="11655840" cy="1107996"/>
          </a:xfrm>
          <a:prstGeom prst="rect">
            <a:avLst/>
          </a:prstGeom>
        </p:spPr>
        <p:txBody>
          <a:bodyPr>
            <a:spAutoFit/>
          </a:bodyPr>
          <a:lstStyle>
            <a:lvl1pPr algn="l" defTabSz="913800" rtl="0" eaLnBrk="1" fontAlgn="base" hangingPunct="1">
              <a:spcBef>
                <a:spcPct val="0"/>
              </a:spcBef>
              <a:spcAft>
                <a:spcPct val="0"/>
              </a:spcAft>
              <a:tabLst>
                <a:tab pos="275436" algn="l"/>
              </a:tabLst>
              <a:defRPr lang="en-US" sz="3200" b="1" kern="0" baseline="0" noProof="0" dirty="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algn="l" defTabSz="913800" rtl="0" eaLnBrk="1" fontAlgn="base" hangingPunct="1">
              <a:spcBef>
                <a:spcPct val="0"/>
              </a:spcBef>
              <a:spcAft>
                <a:spcPct val="0"/>
              </a:spcAft>
              <a:defRPr sz="1940" b="1">
                <a:solidFill>
                  <a:schemeClr val="tx2"/>
                </a:solidFill>
                <a:latin typeface="Arial" charset="0"/>
              </a:defRPr>
            </a:lvl2pPr>
            <a:lvl3pPr algn="l" defTabSz="913800" rtl="0" eaLnBrk="1" fontAlgn="base" hangingPunct="1">
              <a:spcBef>
                <a:spcPct val="0"/>
              </a:spcBef>
              <a:spcAft>
                <a:spcPct val="0"/>
              </a:spcAft>
              <a:defRPr sz="1940" b="1">
                <a:solidFill>
                  <a:schemeClr val="tx2"/>
                </a:solidFill>
                <a:latin typeface="Arial" charset="0"/>
              </a:defRPr>
            </a:lvl3pPr>
            <a:lvl4pPr algn="l" defTabSz="913800" rtl="0" eaLnBrk="1" fontAlgn="base" hangingPunct="1">
              <a:spcBef>
                <a:spcPct val="0"/>
              </a:spcBef>
              <a:spcAft>
                <a:spcPct val="0"/>
              </a:spcAft>
              <a:defRPr sz="1940" b="1">
                <a:solidFill>
                  <a:schemeClr val="tx2"/>
                </a:solidFill>
                <a:latin typeface="Arial" charset="0"/>
              </a:defRPr>
            </a:lvl4pPr>
            <a:lvl5pPr algn="l" defTabSz="913800" rtl="0" eaLnBrk="1" fontAlgn="base" hangingPunct="1">
              <a:spcBef>
                <a:spcPct val="0"/>
              </a:spcBef>
              <a:spcAft>
                <a:spcPct val="0"/>
              </a:spcAft>
              <a:defRPr sz="1940" b="1">
                <a:solidFill>
                  <a:schemeClr val="tx2"/>
                </a:solidFill>
                <a:latin typeface="Arial" charset="0"/>
              </a:defRPr>
            </a:lvl5pPr>
            <a:lvl6pPr marL="466621" algn="l" defTabSz="913800" rtl="0" eaLnBrk="1" fontAlgn="base" hangingPunct="1">
              <a:spcBef>
                <a:spcPct val="0"/>
              </a:spcBef>
              <a:spcAft>
                <a:spcPct val="0"/>
              </a:spcAft>
              <a:defRPr sz="1940" b="1">
                <a:solidFill>
                  <a:schemeClr val="tx2"/>
                </a:solidFill>
                <a:latin typeface="Arial" charset="0"/>
              </a:defRPr>
            </a:lvl6pPr>
            <a:lvl7pPr marL="933242" algn="l" defTabSz="913800" rtl="0" eaLnBrk="1" fontAlgn="base" hangingPunct="1">
              <a:spcBef>
                <a:spcPct val="0"/>
              </a:spcBef>
              <a:spcAft>
                <a:spcPct val="0"/>
              </a:spcAft>
              <a:defRPr sz="1940" b="1">
                <a:solidFill>
                  <a:schemeClr val="tx2"/>
                </a:solidFill>
                <a:latin typeface="Arial" charset="0"/>
              </a:defRPr>
            </a:lvl7pPr>
            <a:lvl8pPr marL="1399863" algn="l" defTabSz="913800" rtl="0" eaLnBrk="1" fontAlgn="base" hangingPunct="1">
              <a:spcBef>
                <a:spcPct val="0"/>
              </a:spcBef>
              <a:spcAft>
                <a:spcPct val="0"/>
              </a:spcAft>
              <a:defRPr sz="1940" b="1">
                <a:solidFill>
                  <a:schemeClr val="tx2"/>
                </a:solidFill>
                <a:latin typeface="Arial" charset="0"/>
              </a:defRPr>
            </a:lvl8pPr>
            <a:lvl9pPr marL="1866485" algn="l" defTabSz="913800" rtl="0" eaLnBrk="1" fontAlgn="base" hangingPunct="1">
              <a:spcBef>
                <a:spcPct val="0"/>
              </a:spcBef>
              <a:spcAft>
                <a:spcPct val="0"/>
              </a:spcAft>
              <a:defRPr sz="1940" b="1">
                <a:solidFill>
                  <a:schemeClr val="tx2"/>
                </a:solidFill>
                <a:latin typeface="Arial" charset="0"/>
              </a:defRPr>
            </a:lvl9pPr>
          </a:lstStyle>
          <a:p>
            <a:r>
              <a:rPr lang="en-US" sz="4400" b="0" dirty="0">
                <a:latin typeface="Arial" panose="020B0604020202020204" pitchFamily="34" charset="0"/>
                <a:cs typeface="Arial" panose="020B0604020202020204" pitchFamily="34" charset="0"/>
              </a:rPr>
              <a:t>Digital Civility Index</a:t>
            </a:r>
          </a:p>
          <a:p>
            <a:r>
              <a:rPr lang="en-US" sz="2200" b="0" dirty="0">
                <a:latin typeface="Arial" panose="020B0604020202020204" pitchFamily="34" charset="0"/>
                <a:cs typeface="Arial" panose="020B0604020202020204" pitchFamily="34" charset="0"/>
              </a:rPr>
              <a:t>Biggest moves of 2019</a:t>
            </a:r>
          </a:p>
        </p:txBody>
      </p:sp>
      <p:graphicFrame>
        <p:nvGraphicFramePr>
          <p:cNvPr id="231" name="Chart 230">
            <a:extLst>
              <a:ext uri="{FF2B5EF4-FFF2-40B4-BE49-F238E27FC236}">
                <a16:creationId xmlns:a16="http://schemas.microsoft.com/office/drawing/2014/main" id="{AE604E4D-4AA2-4B29-89EC-EC402E8AC5B5}"/>
              </a:ext>
            </a:extLst>
          </p:cNvPr>
          <p:cNvGraphicFramePr/>
          <p:nvPr>
            <p:extLst>
              <p:ext uri="{D42A27DB-BD31-4B8C-83A1-F6EECF244321}">
                <p14:modId xmlns:p14="http://schemas.microsoft.com/office/powerpoint/2010/main" val="1380285865"/>
              </p:ext>
            </p:extLst>
          </p:nvPr>
        </p:nvGraphicFramePr>
        <p:xfrm>
          <a:off x="9413631" y="1222535"/>
          <a:ext cx="2567354" cy="4967491"/>
        </p:xfrm>
        <a:graphic>
          <a:graphicData uri="http://schemas.openxmlformats.org/drawingml/2006/chart">
            <c:chart xmlns:c="http://schemas.openxmlformats.org/drawingml/2006/chart" xmlns:r="http://schemas.openxmlformats.org/officeDocument/2006/relationships" r:id="rId3"/>
          </a:graphicData>
        </a:graphic>
      </p:graphicFrame>
      <p:grpSp>
        <p:nvGrpSpPr>
          <p:cNvPr id="236" name="Group 235">
            <a:extLst>
              <a:ext uri="{FF2B5EF4-FFF2-40B4-BE49-F238E27FC236}">
                <a16:creationId xmlns:a16="http://schemas.microsoft.com/office/drawing/2014/main" id="{1D9ABEA0-9165-4906-861D-C423F5E44AF6}"/>
              </a:ext>
            </a:extLst>
          </p:cNvPr>
          <p:cNvGrpSpPr/>
          <p:nvPr/>
        </p:nvGrpSpPr>
        <p:grpSpPr>
          <a:xfrm>
            <a:off x="4507038" y="2172332"/>
            <a:ext cx="296082" cy="296082"/>
            <a:chOff x="4344083" y="1779386"/>
            <a:chExt cx="296082" cy="296082"/>
          </a:xfrm>
        </p:grpSpPr>
        <p:sp>
          <p:nvSpPr>
            <p:cNvPr id="237" name="Teardrop 236">
              <a:extLst>
                <a:ext uri="{FF2B5EF4-FFF2-40B4-BE49-F238E27FC236}">
                  <a16:creationId xmlns:a16="http://schemas.microsoft.com/office/drawing/2014/main" id="{BBC42DCF-8A61-419C-AF34-0D0CF6C9929A}"/>
                </a:ext>
              </a:extLst>
            </p:cNvPr>
            <p:cNvSpPr/>
            <p:nvPr/>
          </p:nvSpPr>
          <p:spPr>
            <a:xfrm rot="8100000">
              <a:off x="4344083" y="1779386"/>
              <a:ext cx="296082" cy="296082"/>
            </a:xfrm>
            <a:prstGeom prst="teardrop">
              <a:avLst>
                <a:gd name="adj" fmla="val 200000"/>
              </a:avLst>
            </a:prstGeom>
            <a:solidFill>
              <a:srgbClr val="28608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38" name="Oval 237">
              <a:extLst>
                <a:ext uri="{FF2B5EF4-FFF2-40B4-BE49-F238E27FC236}">
                  <a16:creationId xmlns:a16="http://schemas.microsoft.com/office/drawing/2014/main" id="{6253EB25-0489-4345-AEDB-5646936A8447}"/>
                </a:ext>
              </a:extLst>
            </p:cNvPr>
            <p:cNvSpPr/>
            <p:nvPr/>
          </p:nvSpPr>
          <p:spPr>
            <a:xfrm>
              <a:off x="4403082" y="183838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39" name="Rectangle 238">
            <a:extLst>
              <a:ext uri="{FF2B5EF4-FFF2-40B4-BE49-F238E27FC236}">
                <a16:creationId xmlns:a16="http://schemas.microsoft.com/office/drawing/2014/main" id="{D6231609-499A-4D1B-B9D4-EE9408F6800D}"/>
              </a:ext>
            </a:extLst>
          </p:cNvPr>
          <p:cNvSpPr/>
          <p:nvPr/>
        </p:nvSpPr>
        <p:spPr>
          <a:xfrm>
            <a:off x="4897279" y="1984920"/>
            <a:ext cx="1699349"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lang="en-IN" sz="1400" kern="0" dirty="0">
                <a:solidFill>
                  <a:prstClr val="white"/>
                </a:solidFill>
                <a:latin typeface="Calibri" panose="020F0502020204030204"/>
                <a:cs typeface="Arial" panose="020B0604020202020204" pitchFamily="34" charset="0"/>
              </a:rPr>
              <a:t>3</a:t>
            </a: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 Belgium, 66%, +9</a:t>
            </a:r>
          </a:p>
        </p:txBody>
      </p:sp>
      <p:grpSp>
        <p:nvGrpSpPr>
          <p:cNvPr id="240" name="Group 239">
            <a:extLst>
              <a:ext uri="{FF2B5EF4-FFF2-40B4-BE49-F238E27FC236}">
                <a16:creationId xmlns:a16="http://schemas.microsoft.com/office/drawing/2014/main" id="{91D71C9A-1269-47B0-AF5A-AA7A73465F6D}"/>
              </a:ext>
            </a:extLst>
          </p:cNvPr>
          <p:cNvGrpSpPr/>
          <p:nvPr/>
        </p:nvGrpSpPr>
        <p:grpSpPr>
          <a:xfrm>
            <a:off x="4428913" y="2324598"/>
            <a:ext cx="296082" cy="296082"/>
            <a:chOff x="4344083" y="1779386"/>
            <a:chExt cx="296082" cy="296082"/>
          </a:xfrm>
        </p:grpSpPr>
        <p:sp>
          <p:nvSpPr>
            <p:cNvPr id="241" name="Teardrop 240">
              <a:extLst>
                <a:ext uri="{FF2B5EF4-FFF2-40B4-BE49-F238E27FC236}">
                  <a16:creationId xmlns:a16="http://schemas.microsoft.com/office/drawing/2014/main" id="{F9240FD8-4052-44CA-85B2-2D900B21EC2A}"/>
                </a:ext>
              </a:extLst>
            </p:cNvPr>
            <p:cNvSpPr/>
            <p:nvPr/>
          </p:nvSpPr>
          <p:spPr>
            <a:xfrm rot="8100000">
              <a:off x="4344083" y="1779386"/>
              <a:ext cx="296082" cy="296082"/>
            </a:xfrm>
            <a:prstGeom prst="teardrop">
              <a:avLst>
                <a:gd name="adj" fmla="val 200000"/>
              </a:avLst>
            </a:prstGeom>
            <a:solidFill>
              <a:srgbClr val="28608C"/>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42" name="Oval 241">
              <a:extLst>
                <a:ext uri="{FF2B5EF4-FFF2-40B4-BE49-F238E27FC236}">
                  <a16:creationId xmlns:a16="http://schemas.microsoft.com/office/drawing/2014/main" id="{E461B643-DC7C-4B2B-9EF3-5E87CB6501D2}"/>
                </a:ext>
              </a:extLst>
            </p:cNvPr>
            <p:cNvSpPr/>
            <p:nvPr/>
          </p:nvSpPr>
          <p:spPr>
            <a:xfrm>
              <a:off x="4403082" y="183838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43" name="Rectangle 242">
            <a:extLst>
              <a:ext uri="{FF2B5EF4-FFF2-40B4-BE49-F238E27FC236}">
                <a16:creationId xmlns:a16="http://schemas.microsoft.com/office/drawing/2014/main" id="{EE645E74-8921-4660-810A-5B287EBACFDC}"/>
              </a:ext>
            </a:extLst>
          </p:cNvPr>
          <p:cNvSpPr/>
          <p:nvPr/>
        </p:nvSpPr>
        <p:spPr>
          <a:xfrm>
            <a:off x="4797654" y="2452436"/>
            <a:ext cx="1604388"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2. France, 62%, +10</a:t>
            </a:r>
          </a:p>
        </p:txBody>
      </p:sp>
      <p:sp>
        <p:nvSpPr>
          <p:cNvPr id="244" name="Rectangle 243">
            <a:extLst>
              <a:ext uri="{FF2B5EF4-FFF2-40B4-BE49-F238E27FC236}">
                <a16:creationId xmlns:a16="http://schemas.microsoft.com/office/drawing/2014/main" id="{29D2A61A-BE92-473B-9405-9D2A09F358D6}"/>
              </a:ext>
            </a:extLst>
          </p:cNvPr>
          <p:cNvSpPr/>
          <p:nvPr/>
        </p:nvSpPr>
        <p:spPr>
          <a:xfrm>
            <a:off x="4979230" y="3578702"/>
            <a:ext cx="1517622"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1. India, 71%, +12</a:t>
            </a:r>
          </a:p>
        </p:txBody>
      </p:sp>
      <p:grpSp>
        <p:nvGrpSpPr>
          <p:cNvPr id="486" name="Group 485">
            <a:extLst>
              <a:ext uri="{FF2B5EF4-FFF2-40B4-BE49-F238E27FC236}">
                <a16:creationId xmlns:a16="http://schemas.microsoft.com/office/drawing/2014/main" id="{ECB5104A-EA5C-4A1B-A18F-CED9CAAD1EF2}"/>
              </a:ext>
            </a:extLst>
          </p:cNvPr>
          <p:cNvGrpSpPr/>
          <p:nvPr/>
        </p:nvGrpSpPr>
        <p:grpSpPr>
          <a:xfrm>
            <a:off x="353093" y="5119675"/>
            <a:ext cx="2442618" cy="1755841"/>
            <a:chOff x="433477" y="4848375"/>
            <a:chExt cx="2190900" cy="1755841"/>
          </a:xfrm>
        </p:grpSpPr>
        <p:sp>
          <p:nvSpPr>
            <p:cNvPr id="487" name="TextBox 486">
              <a:extLst>
                <a:ext uri="{FF2B5EF4-FFF2-40B4-BE49-F238E27FC236}">
                  <a16:creationId xmlns:a16="http://schemas.microsoft.com/office/drawing/2014/main" id="{2FF5C2CC-5A7E-4A3D-98FF-00DA341F53B9}"/>
                </a:ext>
              </a:extLst>
            </p:cNvPr>
            <p:cNvSpPr txBox="1">
              <a:spLocks/>
            </p:cNvSpPr>
            <p:nvPr/>
          </p:nvSpPr>
          <p:spPr>
            <a:xfrm>
              <a:off x="433477" y="4848375"/>
              <a:ext cx="1841500" cy="553998"/>
            </a:xfrm>
            <a:prstGeom prst="rect">
              <a:avLst/>
            </a:prstGeom>
            <a:noFill/>
          </p:spPr>
          <p:txBody>
            <a:bodyPr wrap="square" lIns="0" tIns="0" rIns="0" bIns="0"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800" b="1" i="0" u="none" strike="noStrike" kern="1200" cap="none" spc="200" normalizeH="0" baseline="0" noProof="0" dirty="0">
                  <a:ln>
                    <a:noFill/>
                  </a:ln>
                  <a:solidFill>
                    <a:prstClr val="black"/>
                  </a:solidFill>
                  <a:effectLst/>
                  <a:uLnTx/>
                  <a:uFillTx/>
                  <a:latin typeface="+mj-lt"/>
                  <a:ea typeface="Titillium" charset="0"/>
                  <a:cs typeface="Titillium" charset="0"/>
                </a:rPr>
                <a:t>Top Risks 2019</a:t>
              </a:r>
            </a:p>
          </p:txBody>
        </p:sp>
        <p:sp>
          <p:nvSpPr>
            <p:cNvPr id="488" name="TextBox 487">
              <a:extLst>
                <a:ext uri="{FF2B5EF4-FFF2-40B4-BE49-F238E27FC236}">
                  <a16:creationId xmlns:a16="http://schemas.microsoft.com/office/drawing/2014/main" id="{5A7A769F-0BCD-484C-A237-D369FE2C04B3}"/>
                </a:ext>
              </a:extLst>
            </p:cNvPr>
            <p:cNvSpPr txBox="1">
              <a:spLocks/>
            </p:cNvSpPr>
            <p:nvPr/>
          </p:nvSpPr>
          <p:spPr>
            <a:xfrm>
              <a:off x="433477" y="5126888"/>
              <a:ext cx="2190900" cy="1477328"/>
            </a:xfrm>
            <a:prstGeom prst="rect">
              <a:avLst/>
            </a:prstGeom>
            <a:noFill/>
          </p:spPr>
          <p:txBody>
            <a:bodyPr wrap="square" lIns="0" tIns="0" rIns="0" bIns="0" rtlCol="0">
              <a:spAutoFit/>
            </a:bodyPr>
            <a:lstStyle>
              <a:defPPr>
                <a:defRPr lang="en-US"/>
              </a:defPPr>
              <a:lvl1pPr algn="ctr">
                <a:defRPr sz="1600">
                  <a:latin typeface="+mn-lt"/>
                  <a:ea typeface="Open Sans Condensed Light" panose="020B0306030504020204" pitchFamily="34" charset="0"/>
                  <a:cs typeface="Open Sans Condensed Light" panose="020B0306030504020204" pitchFamily="34" charset="0"/>
                </a:defRPr>
              </a:lvl1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Unwanted contact</a:t>
              </a:r>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prstClr val="black"/>
                  </a:solidFill>
                  <a:latin typeface="+mj-lt"/>
                </a:rPr>
                <a:t>Hoaxes, frauds &amp; scams</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Unwanted sexting</a:t>
              </a:r>
            </a:p>
            <a:p>
              <a:pPr marL="0" marR="0" lvl="0" indent="0" algn="l" defTabSz="914400" rtl="0" eaLnBrk="1" fontAlgn="base" latinLnBrk="0" hangingPunct="1">
                <a:lnSpc>
                  <a:spcPct val="100000"/>
                </a:lnSpc>
                <a:spcBef>
                  <a:spcPct val="0"/>
                </a:spcBef>
                <a:spcAft>
                  <a:spcPct val="0"/>
                </a:spcAft>
                <a:buClrTx/>
                <a:buSzTx/>
                <a:buFontTx/>
                <a:buNone/>
                <a:tabLst/>
                <a:defRPr/>
              </a:pPr>
              <a:r>
                <a:rPr lang="en-US" dirty="0">
                  <a:solidFill>
                    <a:prstClr val="black"/>
                  </a:solidFill>
                  <a:latin typeface="+mj-lt"/>
                </a:rPr>
                <a:t>Treated mean</a:t>
              </a:r>
            </a:p>
            <a:p>
              <a:pPr marL="0" marR="0" lvl="0" indent="0" algn="l" defTabSz="914400" rtl="0" eaLnBrk="1" fontAlgn="base" latinLnBrk="0" hangingPunct="1">
                <a:lnSpc>
                  <a:spcPct val="100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mj-lt"/>
                </a:rPr>
                <a:t>T</a:t>
              </a:r>
              <a:r>
                <a:rPr lang="en-US" dirty="0">
                  <a:solidFill>
                    <a:prstClr val="black"/>
                  </a:solidFill>
                  <a:latin typeface="+mj-lt"/>
                </a:rPr>
                <a:t>rolling</a:t>
              </a:r>
              <a:endParaRPr kumimoji="0" lang="en-US" sz="1600" b="0" i="0" u="none" strike="noStrike" kern="1200" cap="none" spc="0" normalizeH="0" baseline="0" noProof="0" dirty="0">
                <a:ln>
                  <a:noFill/>
                </a:ln>
                <a:solidFill>
                  <a:prstClr val="black"/>
                </a:solidFill>
                <a:effectLst/>
                <a:uLnTx/>
                <a:uFillTx/>
                <a:latin typeface="+mj-lt"/>
              </a:endParaRPr>
            </a:p>
          </p:txBody>
        </p:sp>
      </p:grpSp>
      <p:sp>
        <p:nvSpPr>
          <p:cNvPr id="500" name="Rectangle 499">
            <a:extLst>
              <a:ext uri="{FF2B5EF4-FFF2-40B4-BE49-F238E27FC236}">
                <a16:creationId xmlns:a16="http://schemas.microsoft.com/office/drawing/2014/main" id="{0491CE2D-46D5-4577-A7F9-ACF90907CFAD}"/>
              </a:ext>
            </a:extLst>
          </p:cNvPr>
          <p:cNvSpPr/>
          <p:nvPr/>
        </p:nvSpPr>
        <p:spPr>
          <a:xfrm>
            <a:off x="2617799" y="3879713"/>
            <a:ext cx="1732528"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5. Colombia, 80%, +8</a:t>
            </a:r>
          </a:p>
        </p:txBody>
      </p:sp>
      <p:grpSp>
        <p:nvGrpSpPr>
          <p:cNvPr id="508" name="Group 507">
            <a:extLst>
              <a:ext uri="{FF2B5EF4-FFF2-40B4-BE49-F238E27FC236}">
                <a16:creationId xmlns:a16="http://schemas.microsoft.com/office/drawing/2014/main" id="{6936115F-2C89-417E-9992-C1B6EE5CD3C1}"/>
              </a:ext>
            </a:extLst>
          </p:cNvPr>
          <p:cNvGrpSpPr/>
          <p:nvPr/>
        </p:nvGrpSpPr>
        <p:grpSpPr>
          <a:xfrm>
            <a:off x="6567006" y="3562068"/>
            <a:ext cx="296082" cy="296082"/>
            <a:chOff x="2145493" y="2382866"/>
            <a:chExt cx="296082" cy="296082"/>
          </a:xfrm>
        </p:grpSpPr>
        <p:sp>
          <p:nvSpPr>
            <p:cNvPr id="509" name="Teardrop 508">
              <a:extLst>
                <a:ext uri="{FF2B5EF4-FFF2-40B4-BE49-F238E27FC236}">
                  <a16:creationId xmlns:a16="http://schemas.microsoft.com/office/drawing/2014/main" id="{BC81E2C0-5E36-4B75-AF10-6D221375C394}"/>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510" name="Oval 509">
              <a:extLst>
                <a:ext uri="{FF2B5EF4-FFF2-40B4-BE49-F238E27FC236}">
                  <a16:creationId xmlns:a16="http://schemas.microsoft.com/office/drawing/2014/main" id="{867F5A82-1B43-46A2-8296-6FA9D0DFA0DD}"/>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511" name="Rectangle 510">
            <a:extLst>
              <a:ext uri="{FF2B5EF4-FFF2-40B4-BE49-F238E27FC236}">
                <a16:creationId xmlns:a16="http://schemas.microsoft.com/office/drawing/2014/main" id="{70FE8FB0-75AB-4ABE-8AB1-7854C5733010}"/>
              </a:ext>
            </a:extLst>
          </p:cNvPr>
          <p:cNvSpPr/>
          <p:nvPr/>
        </p:nvSpPr>
        <p:spPr>
          <a:xfrm>
            <a:off x="7773731" y="3496123"/>
            <a:ext cx="1653673" cy="323289"/>
          </a:xfrm>
          <a:prstGeom prst="rect">
            <a:avLst/>
          </a:prstGeom>
          <a:solidFill>
            <a:srgbClr val="3282BE"/>
          </a:solidFill>
          <a:ln w="9525" cap="flat" cmpd="sng" algn="ctr">
            <a:noFill/>
            <a:prstDash val="solid"/>
          </a:ln>
          <a:effectLst/>
        </p:spPr>
        <p:txBody>
          <a:bodyPr rtlCol="0" anchor="ctr"/>
          <a:lstStyle/>
          <a:p>
            <a:pPr marL="0" marR="0" lvl="0" indent="0" defTabSz="914400" eaLnBrk="1" fontAlgn="base" latinLnBrk="0" hangingPunct="1">
              <a:lnSpc>
                <a:spcPct val="100000"/>
              </a:lnSpc>
              <a:spcBef>
                <a:spcPct val="0"/>
              </a:spcBef>
              <a:spcAft>
                <a:spcPct val="0"/>
              </a:spcAft>
              <a:buClrTx/>
              <a:buSzTx/>
              <a:buFontTx/>
              <a:buNone/>
              <a:tabLst/>
              <a:defRPr/>
            </a:pPr>
            <a:r>
              <a:rPr kumimoji="0" lang="en-IN" sz="1400" b="0" i="0" u="none" strike="noStrike" kern="0" cap="none" spc="0" normalizeH="0" baseline="0" noProof="0" dirty="0">
                <a:ln>
                  <a:noFill/>
                </a:ln>
                <a:solidFill>
                  <a:prstClr val="white"/>
                </a:solidFill>
                <a:effectLst/>
                <a:uLnTx/>
                <a:uFillTx/>
                <a:latin typeface="Calibri" panose="020F0502020204030204"/>
                <a:ea typeface="+mn-ea"/>
                <a:cs typeface="Arial" panose="020B0604020202020204" pitchFamily="34" charset="0"/>
              </a:rPr>
              <a:t>6. Vietnam, 78%, +7</a:t>
            </a:r>
          </a:p>
        </p:txBody>
      </p:sp>
      <p:grpSp>
        <p:nvGrpSpPr>
          <p:cNvPr id="263" name="Group 262">
            <a:extLst>
              <a:ext uri="{FF2B5EF4-FFF2-40B4-BE49-F238E27FC236}">
                <a16:creationId xmlns:a16="http://schemas.microsoft.com/office/drawing/2014/main" id="{441CEC71-4236-463D-A96B-5AB729B8C067}"/>
              </a:ext>
            </a:extLst>
          </p:cNvPr>
          <p:cNvGrpSpPr/>
          <p:nvPr/>
        </p:nvGrpSpPr>
        <p:grpSpPr>
          <a:xfrm>
            <a:off x="2237925" y="3859758"/>
            <a:ext cx="296082" cy="296082"/>
            <a:chOff x="2145493" y="2382866"/>
            <a:chExt cx="296082" cy="296082"/>
          </a:xfrm>
        </p:grpSpPr>
        <p:sp>
          <p:nvSpPr>
            <p:cNvPr id="264" name="Teardrop 263">
              <a:extLst>
                <a:ext uri="{FF2B5EF4-FFF2-40B4-BE49-F238E27FC236}">
                  <a16:creationId xmlns:a16="http://schemas.microsoft.com/office/drawing/2014/main" id="{BF3BC270-F009-48DF-9278-9CA42DF29234}"/>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65" name="Oval 264">
              <a:extLst>
                <a:ext uri="{FF2B5EF4-FFF2-40B4-BE49-F238E27FC236}">
                  <a16:creationId xmlns:a16="http://schemas.microsoft.com/office/drawing/2014/main" id="{A6B4AEB5-4CEA-4ABA-AE79-EDC3C9C6AE5D}"/>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grpSp>
        <p:nvGrpSpPr>
          <p:cNvPr id="266" name="Group 265">
            <a:extLst>
              <a:ext uri="{FF2B5EF4-FFF2-40B4-BE49-F238E27FC236}">
                <a16:creationId xmlns:a16="http://schemas.microsoft.com/office/drawing/2014/main" id="{9D329FB3-62EB-45FA-8751-49F72AAD9B44}"/>
              </a:ext>
            </a:extLst>
          </p:cNvPr>
          <p:cNvGrpSpPr/>
          <p:nvPr/>
        </p:nvGrpSpPr>
        <p:grpSpPr>
          <a:xfrm>
            <a:off x="7422133" y="3476920"/>
            <a:ext cx="296082" cy="296082"/>
            <a:chOff x="2145493" y="2382866"/>
            <a:chExt cx="296082" cy="296082"/>
          </a:xfrm>
        </p:grpSpPr>
        <p:sp>
          <p:nvSpPr>
            <p:cNvPr id="267" name="Teardrop 266">
              <a:extLst>
                <a:ext uri="{FF2B5EF4-FFF2-40B4-BE49-F238E27FC236}">
                  <a16:creationId xmlns:a16="http://schemas.microsoft.com/office/drawing/2014/main" id="{B5A60008-5E20-4DA6-ABF5-9FD7BD826246}"/>
                </a:ext>
              </a:extLst>
            </p:cNvPr>
            <p:cNvSpPr/>
            <p:nvPr/>
          </p:nvSpPr>
          <p:spPr>
            <a:xfrm rot="8100000">
              <a:off x="2145493" y="2382866"/>
              <a:ext cx="296082" cy="296082"/>
            </a:xfrm>
            <a:prstGeom prst="teardrop">
              <a:avLst>
                <a:gd name="adj" fmla="val 200000"/>
              </a:avLst>
            </a:prstGeom>
            <a:solidFill>
              <a:srgbClr val="2860BE"/>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sp>
          <p:nvSpPr>
            <p:cNvPr id="268" name="Oval 267">
              <a:extLst>
                <a:ext uri="{FF2B5EF4-FFF2-40B4-BE49-F238E27FC236}">
                  <a16:creationId xmlns:a16="http://schemas.microsoft.com/office/drawing/2014/main" id="{29F01852-F62C-4A46-8B65-80AB3F737132}"/>
                </a:ext>
              </a:extLst>
            </p:cNvPr>
            <p:cNvSpPr/>
            <p:nvPr/>
          </p:nvSpPr>
          <p:spPr>
            <a:xfrm>
              <a:off x="2204492" y="2441865"/>
              <a:ext cx="178084" cy="178084"/>
            </a:xfrm>
            <a:prstGeom prst="ellipse">
              <a:avLst/>
            </a:prstGeom>
            <a:solidFill>
              <a:sysClr val="window" lastClr="FFFFFF"/>
            </a:solidFill>
            <a:ln w="9525" cap="flat" cmpd="sng" algn="ctr">
              <a:noFill/>
              <a:prstDash val="solid"/>
            </a:ln>
            <a:effectLst/>
          </p:spPr>
          <p:txBody>
            <a:bodyPr rtlCol="0" anchor="ctr"/>
            <a:lstStyle/>
            <a:p>
              <a:pPr marL="0" marR="0" lvl="0" indent="0" algn="ctr" defTabSz="914400" eaLnBrk="1" fontAlgn="base" latinLnBrk="0" hangingPunct="1">
                <a:lnSpc>
                  <a:spcPct val="100000"/>
                </a:lnSpc>
                <a:spcBef>
                  <a:spcPct val="0"/>
                </a:spcBef>
                <a:spcAft>
                  <a:spcPct val="0"/>
                </a:spcAft>
                <a:buClrTx/>
                <a:buSzTx/>
                <a:buFontTx/>
                <a:buNone/>
                <a:tabLst/>
                <a:defRPr/>
              </a:pPr>
              <a:endParaRPr kumimoji="0" lang="en-IN" sz="1600" b="1" i="0" u="none" strike="noStrike" kern="0" cap="none" spc="0" normalizeH="0" baseline="0" noProof="0" dirty="0">
                <a:ln>
                  <a:noFill/>
                </a:ln>
                <a:solidFill>
                  <a:srgbClr val="FFC000"/>
                </a:solidFill>
                <a:effectLst/>
                <a:uLnTx/>
                <a:uFillTx/>
                <a:latin typeface="Calibri" panose="020F0502020204030204"/>
                <a:ea typeface="+mn-ea"/>
                <a:cs typeface="+mn-cs"/>
              </a:endParaRPr>
            </a:p>
          </p:txBody>
        </p:sp>
      </p:grpSp>
      <p:sp>
        <p:nvSpPr>
          <p:cNvPr id="269" name="TextBox 268">
            <a:extLst>
              <a:ext uri="{FF2B5EF4-FFF2-40B4-BE49-F238E27FC236}">
                <a16:creationId xmlns:a16="http://schemas.microsoft.com/office/drawing/2014/main" id="{1C1620C6-C77C-4859-9EA7-25FDF926928C}"/>
              </a:ext>
            </a:extLst>
          </p:cNvPr>
          <p:cNvSpPr txBox="1"/>
          <p:nvPr/>
        </p:nvSpPr>
        <p:spPr>
          <a:xfrm>
            <a:off x="8650207" y="6208666"/>
            <a:ext cx="3483967" cy="433965"/>
          </a:xfrm>
          <a:prstGeom prst="rect">
            <a:avLst/>
          </a:prstGeom>
          <a:noFill/>
        </p:spPr>
        <p:txBody>
          <a:bodyPr wrap="none" lIns="182880" tIns="146304" rIns="182880" bIns="146304" rtlCol="0">
            <a:spAutoFit/>
          </a:bodyPr>
          <a:lstStyle/>
          <a:p>
            <a:pPr>
              <a:lnSpc>
                <a:spcPct val="90000"/>
              </a:lnSpc>
            </a:pPr>
            <a:r>
              <a:rPr lang="en-US" sz="1000" i="1" dirty="0">
                <a:solidFill>
                  <a:schemeClr val="bg1">
                    <a:lumMod val="50000"/>
                  </a:schemeClr>
                </a:solidFill>
                <a:latin typeface="Arial" panose="020B0604020202020204" pitchFamily="34" charset="0"/>
                <a:cs typeface="Arial" panose="020B0604020202020204" pitchFamily="34" charset="0"/>
              </a:rPr>
              <a:t>2017-2019 adjusted for YOY country lineup differences</a:t>
            </a:r>
          </a:p>
        </p:txBody>
      </p:sp>
      <p:sp>
        <p:nvSpPr>
          <p:cNvPr id="247" name="Slide Number Placeholder 38">
            <a:extLst>
              <a:ext uri="{FF2B5EF4-FFF2-40B4-BE49-F238E27FC236}">
                <a16:creationId xmlns:a16="http://schemas.microsoft.com/office/drawing/2014/main" id="{39E3565D-8795-43C5-86BA-62C58B91FB6E}"/>
              </a:ext>
            </a:extLst>
          </p:cNvPr>
          <p:cNvSpPr txBox="1">
            <a:spLocks/>
          </p:cNvSpPr>
          <p:nvPr/>
        </p:nvSpPr>
        <p:spPr>
          <a:xfrm>
            <a:off x="9291266" y="6520009"/>
            <a:ext cx="2901950" cy="371475"/>
          </a:xfrm>
          <a:prstGeom prst="rect">
            <a:avLst/>
          </a:prstGeom>
        </p:spPr>
        <p:txBody>
          <a:bodyPr/>
          <a:lstStyle>
            <a:defPPr>
              <a:defRPr lang="en-US"/>
            </a:defPPr>
            <a:lvl1pPr marL="0" algn="r" defTabSz="914286" rtl="0" eaLnBrk="1" latinLnBrk="0" hangingPunct="1">
              <a:defRPr sz="1200" kern="1200">
                <a:solidFill>
                  <a:schemeClr val="tx1">
                    <a:lumMod val="50000"/>
                    <a:lumOff val="50000"/>
                  </a:schemeClr>
                </a:solidFill>
                <a:latin typeface="+mn-lt"/>
                <a:ea typeface="+mn-ea"/>
                <a:cs typeface="+mn-cs"/>
              </a:defRPr>
            </a:lvl1pPr>
            <a:lvl2pPr marL="457144" algn="l" defTabSz="914286" rtl="0" eaLnBrk="1" latinLnBrk="0" hangingPunct="1">
              <a:defRPr sz="1800" kern="1200">
                <a:solidFill>
                  <a:schemeClr val="tx1"/>
                </a:solidFill>
                <a:latin typeface="+mn-lt"/>
                <a:ea typeface="+mn-ea"/>
                <a:cs typeface="+mn-cs"/>
              </a:defRPr>
            </a:lvl2pPr>
            <a:lvl3pPr marL="914286" algn="l" defTabSz="914286" rtl="0" eaLnBrk="1" latinLnBrk="0" hangingPunct="1">
              <a:defRPr sz="1800" kern="1200">
                <a:solidFill>
                  <a:schemeClr val="tx1"/>
                </a:solidFill>
                <a:latin typeface="+mn-lt"/>
                <a:ea typeface="+mn-ea"/>
                <a:cs typeface="+mn-cs"/>
              </a:defRPr>
            </a:lvl3pPr>
            <a:lvl4pPr marL="1371429" algn="l" defTabSz="914286" rtl="0" eaLnBrk="1" latinLnBrk="0" hangingPunct="1">
              <a:defRPr sz="1800" kern="1200">
                <a:solidFill>
                  <a:schemeClr val="tx1"/>
                </a:solidFill>
                <a:latin typeface="+mn-lt"/>
                <a:ea typeface="+mn-ea"/>
                <a:cs typeface="+mn-cs"/>
              </a:defRPr>
            </a:lvl4pPr>
            <a:lvl5pPr marL="1828571" algn="l" defTabSz="914286" rtl="0" eaLnBrk="1" latinLnBrk="0" hangingPunct="1">
              <a:defRPr sz="1800" kern="1200">
                <a:solidFill>
                  <a:schemeClr val="tx1"/>
                </a:solidFill>
                <a:latin typeface="+mn-lt"/>
                <a:ea typeface="+mn-ea"/>
                <a:cs typeface="+mn-cs"/>
              </a:defRPr>
            </a:lvl5pPr>
            <a:lvl6pPr marL="2285715" algn="l" defTabSz="914286" rtl="0" eaLnBrk="1" latinLnBrk="0" hangingPunct="1">
              <a:defRPr sz="1800" kern="1200">
                <a:solidFill>
                  <a:schemeClr val="tx1"/>
                </a:solidFill>
                <a:latin typeface="+mn-lt"/>
                <a:ea typeface="+mn-ea"/>
                <a:cs typeface="+mn-cs"/>
              </a:defRPr>
            </a:lvl6pPr>
            <a:lvl7pPr marL="2742857" algn="l" defTabSz="914286" rtl="0" eaLnBrk="1" latinLnBrk="0" hangingPunct="1">
              <a:defRPr sz="1800" kern="1200">
                <a:solidFill>
                  <a:schemeClr val="tx1"/>
                </a:solidFill>
                <a:latin typeface="+mn-lt"/>
                <a:ea typeface="+mn-ea"/>
                <a:cs typeface="+mn-cs"/>
              </a:defRPr>
            </a:lvl7pPr>
            <a:lvl8pPr marL="3200000" algn="l" defTabSz="914286" rtl="0" eaLnBrk="1" latinLnBrk="0" hangingPunct="1">
              <a:defRPr sz="1800" kern="1200">
                <a:solidFill>
                  <a:schemeClr val="tx1"/>
                </a:solidFill>
                <a:latin typeface="+mn-lt"/>
                <a:ea typeface="+mn-ea"/>
                <a:cs typeface="+mn-cs"/>
              </a:defRPr>
            </a:lvl8pPr>
            <a:lvl9pPr marL="3657144" algn="l" defTabSz="914286" rtl="0" eaLnBrk="1" latinLnBrk="0" hangingPunct="1">
              <a:defRPr sz="1800" kern="1200">
                <a:solidFill>
                  <a:schemeClr val="tx1"/>
                </a:solidFill>
                <a:latin typeface="+mn-lt"/>
                <a:ea typeface="+mn-ea"/>
                <a:cs typeface="+mn-cs"/>
              </a:defRPr>
            </a:lvl9pPr>
          </a:lstStyle>
          <a:p>
            <a:pPr>
              <a:defRPr/>
            </a:pPr>
            <a:fld id="{7EFC24D6-DB8F-6B44-BA5A-9BEC68C15CAA}" type="slidenum">
              <a:rPr lang="en-US" smtClean="0">
                <a:solidFill>
                  <a:prstClr val="black">
                    <a:lumMod val="50000"/>
                    <a:lumOff val="50000"/>
                  </a:prstClr>
                </a:solidFill>
                <a:latin typeface="Arial"/>
              </a:rPr>
              <a:pPr>
                <a:defRPr/>
              </a:pPr>
              <a:t>8</a:t>
            </a:fld>
            <a:endParaRPr lang="en-US" dirty="0">
              <a:solidFill>
                <a:prstClr val="black">
                  <a:lumMod val="50000"/>
                  <a:lumOff val="50000"/>
                </a:prstClr>
              </a:solidFill>
              <a:latin typeface="Arial"/>
            </a:endParaRPr>
          </a:p>
        </p:txBody>
      </p:sp>
    </p:spTree>
    <p:extLst>
      <p:ext uri="{BB962C8B-B14F-4D97-AF65-F5344CB8AC3E}">
        <p14:creationId xmlns:p14="http://schemas.microsoft.com/office/powerpoint/2010/main" val="773411715"/>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 name="Rectangle 34">
            <a:extLst>
              <a:ext uri="{FF2B5EF4-FFF2-40B4-BE49-F238E27FC236}">
                <a16:creationId xmlns:a16="http://schemas.microsoft.com/office/drawing/2014/main" id="{13B32D7C-ECB3-4525-A006-CC5C8272D602}"/>
              </a:ext>
            </a:extLst>
          </p:cNvPr>
          <p:cNvSpPr/>
          <p:nvPr/>
        </p:nvSpPr>
        <p:spPr bwMode="auto">
          <a:xfrm>
            <a:off x="555239" y="1365673"/>
            <a:ext cx="5422424" cy="4814535"/>
          </a:xfrm>
          <a:prstGeom prst="rect">
            <a:avLst/>
          </a:prstGeom>
          <a:solidFill>
            <a:schemeClr val="tx1"/>
          </a:solidFill>
          <a:ln w="12700">
            <a:solidFill>
              <a:schemeClr val="bg1">
                <a:lumMod val="50000"/>
                <a:lumOff val="50000"/>
              </a:schemeClr>
            </a:solidFill>
            <a:headEnd type="none" w="med" len="med"/>
            <a:tailEnd type="none" w="med" len="med"/>
          </a:ln>
          <a:effectLst>
            <a:outerShdw blurRad="50800" dist="381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graphicFrame>
        <p:nvGraphicFramePr>
          <p:cNvPr id="34" name="Chart 33">
            <a:extLst>
              <a:ext uri="{FF2B5EF4-FFF2-40B4-BE49-F238E27FC236}">
                <a16:creationId xmlns:a16="http://schemas.microsoft.com/office/drawing/2014/main" id="{1E3302CD-85D5-471C-85B3-EEC7DE8232A1}"/>
              </a:ext>
            </a:extLst>
          </p:cNvPr>
          <p:cNvGraphicFramePr/>
          <p:nvPr>
            <p:extLst>
              <p:ext uri="{D42A27DB-BD31-4B8C-83A1-F6EECF244321}">
                <p14:modId xmlns:p14="http://schemas.microsoft.com/office/powerpoint/2010/main" val="699103528"/>
              </p:ext>
            </p:extLst>
          </p:nvPr>
        </p:nvGraphicFramePr>
        <p:xfrm>
          <a:off x="555239" y="2655869"/>
          <a:ext cx="3287946" cy="3669394"/>
        </p:xfrm>
        <a:graphic>
          <a:graphicData uri="http://schemas.openxmlformats.org/drawingml/2006/chart">
            <c:chart xmlns:c="http://schemas.openxmlformats.org/drawingml/2006/chart" xmlns:r="http://schemas.openxmlformats.org/officeDocument/2006/relationships" r:id="rId3"/>
          </a:graphicData>
        </a:graphic>
      </p:graphicFrame>
      <p:sp>
        <p:nvSpPr>
          <p:cNvPr id="38" name="Rectangle 37">
            <a:extLst>
              <a:ext uri="{FF2B5EF4-FFF2-40B4-BE49-F238E27FC236}">
                <a16:creationId xmlns:a16="http://schemas.microsoft.com/office/drawing/2014/main" id="{971260AB-8A5E-4145-8A82-80F7C3355E0D}"/>
              </a:ext>
            </a:extLst>
          </p:cNvPr>
          <p:cNvSpPr/>
          <p:nvPr/>
        </p:nvSpPr>
        <p:spPr bwMode="auto">
          <a:xfrm>
            <a:off x="6331233" y="1363410"/>
            <a:ext cx="5422424" cy="4814535"/>
          </a:xfrm>
          <a:prstGeom prst="rect">
            <a:avLst/>
          </a:prstGeom>
          <a:solidFill>
            <a:schemeClr val="tx1"/>
          </a:solidFill>
          <a:ln w="12700">
            <a:solidFill>
              <a:schemeClr val="bg1">
                <a:lumMod val="50000"/>
                <a:lumOff val="50000"/>
              </a:schemeClr>
            </a:solidFill>
            <a:headEnd type="none" w="med" len="med"/>
            <a:tailEnd type="none" w="med" len="med"/>
          </a:ln>
          <a:effectLst>
            <a:outerShdw blurRad="50800" dist="38100" algn="tl" rotWithShape="0">
              <a:prstClr val="black">
                <a:alpha val="4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31" name="Rectangle 30">
            <a:extLst>
              <a:ext uri="{FF2B5EF4-FFF2-40B4-BE49-F238E27FC236}">
                <a16:creationId xmlns:a16="http://schemas.microsoft.com/office/drawing/2014/main" id="{112BBCC1-451C-423D-9150-C516120220F5}"/>
              </a:ext>
            </a:extLst>
          </p:cNvPr>
          <p:cNvSpPr/>
          <p:nvPr/>
        </p:nvSpPr>
        <p:spPr bwMode="auto">
          <a:xfrm>
            <a:off x="555239" y="1373937"/>
            <a:ext cx="2743200" cy="640080"/>
          </a:xfrm>
          <a:prstGeom prst="rect">
            <a:avLst/>
          </a:prstGeom>
          <a:solidFill>
            <a:srgbClr val="3282BE"/>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3529" dirty="0">
                <a:gradFill>
                  <a:gsLst>
                    <a:gs pos="0">
                      <a:srgbClr val="FFFFFF"/>
                    </a:gs>
                    <a:gs pos="100000">
                      <a:srgbClr val="FFFFFF"/>
                    </a:gs>
                  </a:gsLst>
                  <a:lin ang="5400000" scaled="0"/>
                </a:gradFill>
                <a:latin typeface="Impact" panose="020B0806030902050204" pitchFamily="34" charset="0"/>
                <a:ea typeface="Segoe UI" pitchFamily="34" charset="0"/>
                <a:cs typeface="Segoe UI" pitchFamily="34" charset="0"/>
              </a:rPr>
              <a:t>58</a:t>
            </a:r>
            <a:r>
              <a:rPr lang="en-US" sz="19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28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Intrusive</a:t>
            </a:r>
          </a:p>
        </p:txBody>
      </p:sp>
      <p:sp>
        <p:nvSpPr>
          <p:cNvPr id="32" name="Rectangle 31">
            <a:extLst>
              <a:ext uri="{FF2B5EF4-FFF2-40B4-BE49-F238E27FC236}">
                <a16:creationId xmlns:a16="http://schemas.microsoft.com/office/drawing/2014/main" id="{BFB54B6C-FA3C-4E86-9752-83DC0F6CCE9B}"/>
              </a:ext>
            </a:extLst>
          </p:cNvPr>
          <p:cNvSpPr/>
          <p:nvPr/>
        </p:nvSpPr>
        <p:spPr bwMode="auto">
          <a:xfrm>
            <a:off x="6331233" y="1363410"/>
            <a:ext cx="2926086" cy="640080"/>
          </a:xfrm>
          <a:prstGeom prst="rect">
            <a:avLst/>
          </a:prstGeom>
          <a:solidFill>
            <a:srgbClr val="DAA52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ctr" anchorCtr="0" forceAA="0" compatLnSpc="1">
            <a:prstTxWarp prst="textNoShape">
              <a:avLst/>
            </a:prstTxWarp>
            <a:noAutofit/>
          </a:bodyPr>
          <a:lstStyle/>
          <a:p>
            <a:pPr defTabSz="914102" fontAlgn="base">
              <a:lnSpc>
                <a:spcPct val="90000"/>
              </a:lnSpc>
              <a:spcBef>
                <a:spcPct val="0"/>
              </a:spcBef>
              <a:spcAft>
                <a:spcPct val="0"/>
              </a:spcAft>
            </a:pPr>
            <a:r>
              <a:rPr lang="en-US" sz="3529" dirty="0">
                <a:gradFill>
                  <a:gsLst>
                    <a:gs pos="0">
                      <a:srgbClr val="FFFFFF"/>
                    </a:gs>
                    <a:gs pos="100000">
                      <a:srgbClr val="FFFFFF"/>
                    </a:gs>
                  </a:gsLst>
                  <a:lin ang="5400000" scaled="0"/>
                </a:gradFill>
                <a:latin typeface="Impact" panose="020B0806030902050204" pitchFamily="34" charset="0"/>
                <a:ea typeface="Segoe UI" pitchFamily="34" charset="0"/>
                <a:cs typeface="Segoe UI" pitchFamily="34" charset="0"/>
              </a:rPr>
              <a:t>45</a:t>
            </a:r>
            <a:r>
              <a:rPr lang="en-US" sz="1961" dirty="0">
                <a:gradFill>
                  <a:gsLst>
                    <a:gs pos="0">
                      <a:srgbClr val="FFFFFF"/>
                    </a:gs>
                    <a:gs pos="100000">
                      <a:srgbClr val="FFFFFF"/>
                    </a:gs>
                  </a:gsLst>
                  <a:lin ang="5400000" scaled="0"/>
                </a:gradFill>
                <a:latin typeface="Segoe UI"/>
                <a:ea typeface="Segoe UI" pitchFamily="34" charset="0"/>
                <a:cs typeface="Segoe UI" pitchFamily="34" charset="0"/>
              </a:rPr>
              <a:t>% </a:t>
            </a:r>
            <a:r>
              <a:rPr lang="en-US" sz="2800" dirty="0">
                <a:gradFill>
                  <a:gsLst>
                    <a:gs pos="0">
                      <a:srgbClr val="FFFFFF"/>
                    </a:gs>
                    <a:gs pos="100000">
                      <a:srgbClr val="FFFFFF"/>
                    </a:gs>
                  </a:gsLst>
                  <a:lin ang="5400000" scaled="0"/>
                </a:gradFill>
                <a:latin typeface="Arial" panose="020B0604020202020204" pitchFamily="34" charset="0"/>
                <a:ea typeface="Segoe UI" pitchFamily="34" charset="0"/>
                <a:cs typeface="Arial" panose="020B0604020202020204" pitchFamily="34" charset="0"/>
              </a:rPr>
              <a:t>Behavioral</a:t>
            </a:r>
          </a:p>
        </p:txBody>
      </p:sp>
      <p:grpSp>
        <p:nvGrpSpPr>
          <p:cNvPr id="47" name="Group 46">
            <a:extLst>
              <a:ext uri="{FF2B5EF4-FFF2-40B4-BE49-F238E27FC236}">
                <a16:creationId xmlns:a16="http://schemas.microsoft.com/office/drawing/2014/main" id="{B294CC6C-EE94-4549-83A4-7132215EA237}"/>
              </a:ext>
            </a:extLst>
          </p:cNvPr>
          <p:cNvGrpSpPr/>
          <p:nvPr/>
        </p:nvGrpSpPr>
        <p:grpSpPr>
          <a:xfrm>
            <a:off x="3728529" y="2958354"/>
            <a:ext cx="2134993" cy="3114987"/>
            <a:chOff x="3803293" y="3841924"/>
            <a:chExt cx="2177804" cy="2231997"/>
          </a:xfrm>
        </p:grpSpPr>
        <p:sp>
          <p:nvSpPr>
            <p:cNvPr id="41" name="TextBox 40">
              <a:extLst>
                <a:ext uri="{FF2B5EF4-FFF2-40B4-BE49-F238E27FC236}">
                  <a16:creationId xmlns:a16="http://schemas.microsoft.com/office/drawing/2014/main" id="{B481CAE2-F209-43C7-A185-91B43B9FBA30}"/>
                </a:ext>
              </a:extLst>
            </p:cNvPr>
            <p:cNvSpPr txBox="1"/>
            <p:nvPr/>
          </p:nvSpPr>
          <p:spPr>
            <a:xfrm>
              <a:off x="3811870" y="3841924"/>
              <a:ext cx="1704954"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Unwanted contact</a:t>
              </a:r>
            </a:p>
          </p:txBody>
        </p:sp>
        <p:sp>
          <p:nvSpPr>
            <p:cNvPr id="42" name="TextBox 41">
              <a:extLst>
                <a:ext uri="{FF2B5EF4-FFF2-40B4-BE49-F238E27FC236}">
                  <a16:creationId xmlns:a16="http://schemas.microsoft.com/office/drawing/2014/main" id="{E6D225D8-02E2-4C68-BED4-104260DE8077}"/>
                </a:ext>
              </a:extLst>
            </p:cNvPr>
            <p:cNvSpPr txBox="1"/>
            <p:nvPr/>
          </p:nvSpPr>
          <p:spPr>
            <a:xfrm>
              <a:off x="3803293" y="4362349"/>
              <a:ext cx="2177804" cy="475463"/>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Hoaxes, scams &amp; frauds</a:t>
              </a:r>
            </a:p>
          </p:txBody>
        </p:sp>
        <p:sp>
          <p:nvSpPr>
            <p:cNvPr id="43" name="TextBox 42">
              <a:extLst>
                <a:ext uri="{FF2B5EF4-FFF2-40B4-BE49-F238E27FC236}">
                  <a16:creationId xmlns:a16="http://schemas.microsoft.com/office/drawing/2014/main" id="{96D7D2DB-96D8-437D-AAAC-FC4AF864A994}"/>
                </a:ext>
              </a:extLst>
            </p:cNvPr>
            <p:cNvSpPr txBox="1"/>
            <p:nvPr/>
          </p:nvSpPr>
          <p:spPr>
            <a:xfrm>
              <a:off x="3820508" y="5018779"/>
              <a:ext cx="1424108"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Discrimination</a:t>
              </a:r>
            </a:p>
          </p:txBody>
        </p:sp>
        <p:sp>
          <p:nvSpPr>
            <p:cNvPr id="44" name="TextBox 43">
              <a:extLst>
                <a:ext uri="{FF2B5EF4-FFF2-40B4-BE49-F238E27FC236}">
                  <a16:creationId xmlns:a16="http://schemas.microsoft.com/office/drawing/2014/main" id="{C9D52A70-C5AE-4E0E-8F9C-3E37A432E493}"/>
                </a:ext>
              </a:extLst>
            </p:cNvPr>
            <p:cNvSpPr txBox="1"/>
            <p:nvPr/>
          </p:nvSpPr>
          <p:spPr>
            <a:xfrm>
              <a:off x="3838454" y="5341757"/>
              <a:ext cx="1079462"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Misogyny</a:t>
              </a:r>
            </a:p>
          </p:txBody>
        </p:sp>
        <p:sp>
          <p:nvSpPr>
            <p:cNvPr id="45" name="TextBox 44">
              <a:extLst>
                <a:ext uri="{FF2B5EF4-FFF2-40B4-BE49-F238E27FC236}">
                  <a16:creationId xmlns:a16="http://schemas.microsoft.com/office/drawing/2014/main" id="{2800A241-E121-4810-8BD5-AD04ECFA476C}"/>
                </a:ext>
              </a:extLst>
            </p:cNvPr>
            <p:cNvSpPr txBox="1"/>
            <p:nvPr/>
          </p:nvSpPr>
          <p:spPr>
            <a:xfrm>
              <a:off x="3817006" y="5598406"/>
              <a:ext cx="1793696" cy="475515"/>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Terrorism recruiting</a:t>
              </a:r>
            </a:p>
          </p:txBody>
        </p:sp>
        <p:sp>
          <p:nvSpPr>
            <p:cNvPr id="46" name="TextBox 45">
              <a:extLst>
                <a:ext uri="{FF2B5EF4-FFF2-40B4-BE49-F238E27FC236}">
                  <a16:creationId xmlns:a16="http://schemas.microsoft.com/office/drawing/2014/main" id="{C5ECCDB5-D5C2-4D76-B37F-4CC465E0FA0A}"/>
                </a:ext>
              </a:extLst>
            </p:cNvPr>
            <p:cNvSpPr txBox="1"/>
            <p:nvPr/>
          </p:nvSpPr>
          <p:spPr>
            <a:xfrm>
              <a:off x="3827034" y="4791996"/>
              <a:ext cx="1307907" cy="475463"/>
            </a:xfrm>
            <a:prstGeom prst="rect">
              <a:avLst/>
            </a:prstGeom>
            <a:noFill/>
          </p:spPr>
          <p:txBody>
            <a:bodyPr wrap="none" lIns="179285" tIns="143428" rIns="179285" bIns="143428" rtlCol="0" anchor="ctr">
              <a:spAutoFit/>
            </a:bodyPr>
            <a:lstStyle/>
            <a:p>
              <a:pPr algn="ctr" defTabSz="914367">
                <a:lnSpc>
                  <a:spcPct val="90000"/>
                </a:lnSpc>
              </a:pPr>
              <a:r>
                <a:rPr lang="en-US" sz="1274" dirty="0">
                  <a:solidFill>
                    <a:srgbClr val="000000">
                      <a:lumMod val="50000"/>
                      <a:lumOff val="50000"/>
                    </a:srgbClr>
                  </a:solidFill>
                  <a:latin typeface="Arial" panose="020B0604020202020204" pitchFamily="34" charset="0"/>
                  <a:cs typeface="Arial" panose="020B0604020202020204" pitchFamily="34" charset="0"/>
                </a:rPr>
                <a:t>Hate speech</a:t>
              </a:r>
            </a:p>
          </p:txBody>
        </p:sp>
      </p:grpSp>
      <p:graphicFrame>
        <p:nvGraphicFramePr>
          <p:cNvPr id="48" name="Chart 47">
            <a:extLst>
              <a:ext uri="{FF2B5EF4-FFF2-40B4-BE49-F238E27FC236}">
                <a16:creationId xmlns:a16="http://schemas.microsoft.com/office/drawing/2014/main" id="{9BA73BF4-3F4D-4A15-BC18-BEDAA965FF91}"/>
              </a:ext>
            </a:extLst>
          </p:cNvPr>
          <p:cNvGraphicFramePr/>
          <p:nvPr>
            <p:extLst>
              <p:ext uri="{D42A27DB-BD31-4B8C-83A1-F6EECF244321}">
                <p14:modId xmlns:p14="http://schemas.microsoft.com/office/powerpoint/2010/main" val="2618731056"/>
              </p:ext>
            </p:extLst>
          </p:nvPr>
        </p:nvGraphicFramePr>
        <p:xfrm>
          <a:off x="6376443" y="2739563"/>
          <a:ext cx="3287946" cy="3585699"/>
        </p:xfrm>
        <a:graphic>
          <a:graphicData uri="http://schemas.openxmlformats.org/drawingml/2006/chart">
            <c:chart xmlns:c="http://schemas.openxmlformats.org/drawingml/2006/chart" xmlns:r="http://schemas.openxmlformats.org/officeDocument/2006/relationships" r:id="rId4"/>
          </a:graphicData>
        </a:graphic>
      </p:graphicFrame>
      <p:sp>
        <p:nvSpPr>
          <p:cNvPr id="26" name="Rectangle 25">
            <a:extLst>
              <a:ext uri="{FF2B5EF4-FFF2-40B4-BE49-F238E27FC236}">
                <a16:creationId xmlns:a16="http://schemas.microsoft.com/office/drawing/2014/main" id="{FAD69241-E641-44D5-854F-E3C53F384890}"/>
              </a:ext>
            </a:extLst>
          </p:cNvPr>
          <p:cNvSpPr/>
          <p:nvPr/>
        </p:nvSpPr>
        <p:spPr>
          <a:xfrm>
            <a:off x="1587" y="6547738"/>
            <a:ext cx="6216650" cy="246221"/>
          </a:xfrm>
          <a:prstGeom prst="rect">
            <a:avLst/>
          </a:prstGeom>
        </p:spPr>
        <p:txBody>
          <a:bodyPr>
            <a:spAutoFit/>
          </a:bodyPr>
          <a:lstStyle/>
          <a:p>
            <a:r>
              <a:rPr lang="en-US" sz="1000" i="1" dirty="0">
                <a:solidFill>
                  <a:schemeClr val="tx1">
                    <a:lumMod val="50000"/>
                  </a:schemeClr>
                </a:solidFill>
                <a:latin typeface="Arial" panose="020B0604020202020204" pitchFamily="34" charset="0"/>
                <a:cs typeface="Arial" panose="020B0604020202020204" pitchFamily="34" charset="0"/>
              </a:rPr>
              <a:t>Q2: Which of these has ever happened to you or to a friend/family member ONLINE?</a:t>
            </a:r>
          </a:p>
        </p:txBody>
      </p:sp>
      <p:sp>
        <p:nvSpPr>
          <p:cNvPr id="27" name="Text Placeholder 1">
            <a:extLst>
              <a:ext uri="{FF2B5EF4-FFF2-40B4-BE49-F238E27FC236}">
                <a16:creationId xmlns:a16="http://schemas.microsoft.com/office/drawing/2014/main" id="{0D86A246-E402-4C42-B54A-621C98E08171}"/>
              </a:ext>
            </a:extLst>
          </p:cNvPr>
          <p:cNvSpPr>
            <a:spLocks noGrp="1"/>
          </p:cNvSpPr>
          <p:nvPr>
            <p:ph type="body" sz="quarter" idx="10"/>
          </p:nvPr>
        </p:nvSpPr>
        <p:spPr>
          <a:xfrm>
            <a:off x="323529" y="304601"/>
            <a:ext cx="11573197" cy="794064"/>
          </a:xfrm>
        </p:spPr>
        <p:txBody>
          <a:bodyPr/>
          <a:lstStyle/>
          <a:p>
            <a:pPr algn="l"/>
            <a:r>
              <a:rPr lang="en-US" dirty="0"/>
              <a:t>Intrusive &amp; Behavioral Risk Trends</a:t>
            </a:r>
          </a:p>
        </p:txBody>
      </p:sp>
      <p:sp>
        <p:nvSpPr>
          <p:cNvPr id="28" name="TextBox 27">
            <a:extLst>
              <a:ext uri="{FF2B5EF4-FFF2-40B4-BE49-F238E27FC236}">
                <a16:creationId xmlns:a16="http://schemas.microsoft.com/office/drawing/2014/main" id="{8087D4C5-255E-4ABC-9CD2-C82D0FF00086}"/>
              </a:ext>
            </a:extLst>
          </p:cNvPr>
          <p:cNvSpPr txBox="1"/>
          <p:nvPr/>
        </p:nvSpPr>
        <p:spPr>
          <a:xfrm>
            <a:off x="555237" y="2019213"/>
            <a:ext cx="2723127" cy="566656"/>
          </a:xfrm>
          <a:prstGeom prst="rect">
            <a:avLst/>
          </a:prstGeom>
          <a:noFill/>
        </p:spPr>
        <p:txBody>
          <a:bodyPr wrap="square" lIns="179285" tIns="143428" rIns="179285" bIns="143428" rtlCol="0" anchor="ctr">
            <a:spAutoFit/>
          </a:bodyPr>
          <a:lstStyle/>
          <a:p>
            <a:pPr defTabSz="914367">
              <a:lnSpc>
                <a:spcPct val="90000"/>
              </a:lnSpc>
            </a:pPr>
            <a:r>
              <a:rPr lang="en-US" sz="2000" b="1" dirty="0">
                <a:solidFill>
                  <a:srgbClr val="000000">
                    <a:lumMod val="50000"/>
                    <a:lumOff val="50000"/>
                  </a:srgbClr>
                </a:solidFill>
                <a:latin typeface="Segoe UI"/>
              </a:rPr>
              <a:t>Intrusive, </a:t>
            </a:r>
            <a:r>
              <a:rPr lang="en-US" sz="1600" b="1" dirty="0">
                <a:solidFill>
                  <a:srgbClr val="000000">
                    <a:lumMod val="50000"/>
                    <a:lumOff val="50000"/>
                  </a:srgbClr>
                </a:solidFill>
                <a:latin typeface="Segoe UI"/>
              </a:rPr>
              <a:t>+2 YOY</a:t>
            </a:r>
          </a:p>
        </p:txBody>
      </p:sp>
      <p:grpSp>
        <p:nvGrpSpPr>
          <p:cNvPr id="29" name="Group 28">
            <a:extLst>
              <a:ext uri="{FF2B5EF4-FFF2-40B4-BE49-F238E27FC236}">
                <a16:creationId xmlns:a16="http://schemas.microsoft.com/office/drawing/2014/main" id="{486A694B-8A83-4B41-B51B-8AA9BBB76368}"/>
              </a:ext>
            </a:extLst>
          </p:cNvPr>
          <p:cNvGrpSpPr/>
          <p:nvPr/>
        </p:nvGrpSpPr>
        <p:grpSpPr>
          <a:xfrm>
            <a:off x="9709599" y="2739563"/>
            <a:ext cx="1790641" cy="2962598"/>
            <a:chOff x="10267791" y="3978359"/>
            <a:chExt cx="1790641" cy="1845773"/>
          </a:xfrm>
        </p:grpSpPr>
        <p:sp>
          <p:nvSpPr>
            <p:cNvPr id="33" name="TextBox 32">
              <a:extLst>
                <a:ext uri="{FF2B5EF4-FFF2-40B4-BE49-F238E27FC236}">
                  <a16:creationId xmlns:a16="http://schemas.microsoft.com/office/drawing/2014/main" id="{5853EF7A-2262-49B4-A49B-2A520C3453E4}"/>
                </a:ext>
              </a:extLst>
            </p:cNvPr>
            <p:cNvSpPr txBox="1"/>
            <p:nvPr/>
          </p:nvSpPr>
          <p:spPr>
            <a:xfrm>
              <a:off x="10267791" y="3978359"/>
              <a:ext cx="1405129" cy="475515"/>
            </a:xfrm>
            <a:prstGeom prst="rect">
              <a:avLst/>
            </a:prstGeom>
            <a:noFill/>
          </p:spPr>
          <p:txBody>
            <a:bodyPr wrap="none" lIns="182880" tIns="146304" rIns="182880" bIns="146304" rtlCol="0" anchor="ctr">
              <a:spAutoFit/>
            </a:bodyPr>
            <a:lstStyle/>
            <a:p>
              <a:pPr algn="ct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Treated mean</a:t>
              </a:r>
            </a:p>
          </p:txBody>
        </p:sp>
        <p:sp>
          <p:nvSpPr>
            <p:cNvPr id="36" name="TextBox 35">
              <a:extLst>
                <a:ext uri="{FF2B5EF4-FFF2-40B4-BE49-F238E27FC236}">
                  <a16:creationId xmlns:a16="http://schemas.microsoft.com/office/drawing/2014/main" id="{73C602A3-2753-4D88-866C-99AF57EC5B07}"/>
                </a:ext>
              </a:extLst>
            </p:cNvPr>
            <p:cNvSpPr txBox="1"/>
            <p:nvPr/>
          </p:nvSpPr>
          <p:spPr>
            <a:xfrm>
              <a:off x="10286183" y="4282628"/>
              <a:ext cx="907300" cy="475515"/>
            </a:xfrm>
            <a:prstGeom prst="rect">
              <a:avLst/>
            </a:prstGeom>
            <a:noFill/>
          </p:spPr>
          <p:txBody>
            <a:bodyPr wrap="none" lIns="182880" tIns="146304" rIns="182880" bIns="146304" rtlCol="0" anchor="ctr">
              <a:spAutoFit/>
            </a:bodyPr>
            <a:lstStyle/>
            <a:p>
              <a:pPr algn="ct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Trolling</a:t>
              </a:r>
            </a:p>
          </p:txBody>
        </p:sp>
        <p:sp>
          <p:nvSpPr>
            <p:cNvPr id="37" name="TextBox 36">
              <a:extLst>
                <a:ext uri="{FF2B5EF4-FFF2-40B4-BE49-F238E27FC236}">
                  <a16:creationId xmlns:a16="http://schemas.microsoft.com/office/drawing/2014/main" id="{9732565C-CFD7-4F6D-A76F-166825A7F87F}"/>
                </a:ext>
              </a:extLst>
            </p:cNvPr>
            <p:cNvSpPr txBox="1"/>
            <p:nvPr/>
          </p:nvSpPr>
          <p:spPr>
            <a:xfrm>
              <a:off x="10303765" y="4661626"/>
              <a:ext cx="1582676" cy="475515"/>
            </a:xfrm>
            <a:prstGeom prst="rect">
              <a:avLst/>
            </a:prstGeom>
            <a:noFill/>
          </p:spPr>
          <p:txBody>
            <a:bodyPr wrap="none" lIns="182880" tIns="146304" rIns="182880" bIns="146304" rtlCol="0" anchor="ctr">
              <a:spAutoFit/>
            </a:bodyPr>
            <a:lstStyle/>
            <a:p>
              <a:pPr algn="ct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Microaggression</a:t>
              </a:r>
            </a:p>
          </p:txBody>
        </p:sp>
        <p:sp>
          <p:nvSpPr>
            <p:cNvPr id="39" name="TextBox 38">
              <a:extLst>
                <a:ext uri="{FF2B5EF4-FFF2-40B4-BE49-F238E27FC236}">
                  <a16:creationId xmlns:a16="http://schemas.microsoft.com/office/drawing/2014/main" id="{D3CA3F52-4DF5-498A-A89D-D9F4EB7DE4CB}"/>
                </a:ext>
              </a:extLst>
            </p:cNvPr>
            <p:cNvSpPr txBox="1"/>
            <p:nvPr/>
          </p:nvSpPr>
          <p:spPr>
            <a:xfrm>
              <a:off x="10309451" y="4820543"/>
              <a:ext cx="1379224" cy="475515"/>
            </a:xfrm>
            <a:prstGeom prst="rect">
              <a:avLst/>
            </a:prstGeom>
            <a:noFill/>
          </p:spPr>
          <p:txBody>
            <a:bodyPr wrap="none" lIns="182880" tIns="146304" rIns="182880" bIns="146304" rtlCol="0" anchor="ctr">
              <a:spAutoFit/>
            </a:bodyPr>
            <a:lstStyle/>
            <a:p>
              <a:pPr algn="ct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Cyberbullying</a:t>
              </a:r>
            </a:p>
          </p:txBody>
        </p:sp>
        <p:sp>
          <p:nvSpPr>
            <p:cNvPr id="40" name="TextBox 39">
              <a:extLst>
                <a:ext uri="{FF2B5EF4-FFF2-40B4-BE49-F238E27FC236}">
                  <a16:creationId xmlns:a16="http://schemas.microsoft.com/office/drawing/2014/main" id="{224ADA0C-6325-4892-8B71-1EC01319A2A2}"/>
                </a:ext>
              </a:extLst>
            </p:cNvPr>
            <p:cNvSpPr txBox="1"/>
            <p:nvPr/>
          </p:nvSpPr>
          <p:spPr>
            <a:xfrm>
              <a:off x="10303765" y="5348617"/>
              <a:ext cx="1005147" cy="475515"/>
            </a:xfrm>
            <a:prstGeom prst="rect">
              <a:avLst/>
            </a:prstGeom>
            <a:noFill/>
          </p:spPr>
          <p:txBody>
            <a:bodyPr wrap="none" lIns="182880" tIns="146304" rIns="182880" bIns="146304" rtlCol="0" anchor="ctr">
              <a:spAutoFit/>
            </a:bodyPr>
            <a:lstStyle/>
            <a:p>
              <a:pPr algn="ct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Swatting</a:t>
              </a:r>
            </a:p>
          </p:txBody>
        </p:sp>
        <p:sp>
          <p:nvSpPr>
            <p:cNvPr id="50" name="TextBox 49">
              <a:extLst>
                <a:ext uri="{FF2B5EF4-FFF2-40B4-BE49-F238E27FC236}">
                  <a16:creationId xmlns:a16="http://schemas.microsoft.com/office/drawing/2014/main" id="{92C59A85-A28B-47C5-BFFB-0B5E025575F5}"/>
                </a:ext>
              </a:extLst>
            </p:cNvPr>
            <p:cNvSpPr txBox="1"/>
            <p:nvPr/>
          </p:nvSpPr>
          <p:spPr>
            <a:xfrm>
              <a:off x="10286472" y="4432157"/>
              <a:ext cx="1771960" cy="475515"/>
            </a:xfrm>
            <a:prstGeom prst="rect">
              <a:avLst/>
            </a:prstGeom>
            <a:noFill/>
          </p:spPr>
          <p:txBody>
            <a:bodyPr wrap="none" lIns="182880" tIns="146304" rIns="182880" bIns="146304" rtlCol="0" anchor="ctr">
              <a:spAutoFit/>
            </a:bodyPr>
            <a:lstStyle/>
            <a:p>
              <a:pPr>
                <a:lnSpc>
                  <a:spcPct val="90000"/>
                </a:lnSpc>
              </a:pPr>
              <a:r>
                <a:rPr lang="en-US" sz="1300" dirty="0">
                  <a:solidFill>
                    <a:schemeClr val="bg1">
                      <a:lumMod val="50000"/>
                      <a:lumOff val="50000"/>
                    </a:schemeClr>
                  </a:solidFill>
                  <a:latin typeface="Arial" panose="020B0604020202020204" pitchFamily="34" charset="0"/>
                  <a:cs typeface="Arial" panose="020B0604020202020204" pitchFamily="34" charset="0"/>
                </a:rPr>
                <a:t>Online harassment</a:t>
              </a:r>
            </a:p>
          </p:txBody>
        </p:sp>
      </p:grpSp>
      <p:sp>
        <p:nvSpPr>
          <p:cNvPr id="30" name="TextBox 29">
            <a:extLst>
              <a:ext uri="{FF2B5EF4-FFF2-40B4-BE49-F238E27FC236}">
                <a16:creationId xmlns:a16="http://schemas.microsoft.com/office/drawing/2014/main" id="{A5E86B8C-3683-4894-BF76-232EBE98324D}"/>
              </a:ext>
            </a:extLst>
          </p:cNvPr>
          <p:cNvSpPr txBox="1"/>
          <p:nvPr/>
        </p:nvSpPr>
        <p:spPr>
          <a:xfrm>
            <a:off x="6331232" y="1996885"/>
            <a:ext cx="2572517" cy="566656"/>
          </a:xfrm>
          <a:prstGeom prst="rect">
            <a:avLst/>
          </a:prstGeom>
          <a:noFill/>
        </p:spPr>
        <p:txBody>
          <a:bodyPr wrap="square" lIns="179285" tIns="143428" rIns="179285" bIns="143428" rtlCol="0" anchor="ctr">
            <a:spAutoFit/>
          </a:bodyPr>
          <a:lstStyle/>
          <a:p>
            <a:pPr algn="ctr" defTabSz="914367">
              <a:lnSpc>
                <a:spcPct val="90000"/>
              </a:lnSpc>
            </a:pPr>
            <a:r>
              <a:rPr lang="en-US" sz="2000" b="1" dirty="0">
                <a:solidFill>
                  <a:srgbClr val="000000">
                    <a:lumMod val="50000"/>
                    <a:lumOff val="50000"/>
                  </a:srgbClr>
                </a:solidFill>
                <a:latin typeface="Segoe UI"/>
              </a:rPr>
              <a:t>Behavioral,</a:t>
            </a:r>
            <a:r>
              <a:rPr lang="en-US" sz="1600" b="1" dirty="0">
                <a:solidFill>
                  <a:srgbClr val="000000">
                    <a:lumMod val="50000"/>
                    <a:lumOff val="50000"/>
                  </a:srgbClr>
                </a:solidFill>
                <a:latin typeface="Segoe UI"/>
              </a:rPr>
              <a:t>+5 YOY</a:t>
            </a:r>
          </a:p>
        </p:txBody>
      </p:sp>
      <p:sp>
        <p:nvSpPr>
          <p:cNvPr id="2" name="TextBox 1">
            <a:extLst>
              <a:ext uri="{FF2B5EF4-FFF2-40B4-BE49-F238E27FC236}">
                <a16:creationId xmlns:a16="http://schemas.microsoft.com/office/drawing/2014/main" id="{72D98F20-5DB6-49F2-9FAB-5535C65CC10E}"/>
              </a:ext>
            </a:extLst>
          </p:cNvPr>
          <p:cNvSpPr txBox="1"/>
          <p:nvPr/>
        </p:nvSpPr>
        <p:spPr>
          <a:xfrm>
            <a:off x="-79192" y="6249662"/>
            <a:ext cx="2926122" cy="433965"/>
          </a:xfrm>
          <a:prstGeom prst="rect">
            <a:avLst/>
          </a:prstGeom>
          <a:noFill/>
        </p:spPr>
        <p:txBody>
          <a:bodyPr wrap="none" lIns="182880" tIns="146304" rIns="182880" bIns="146304" rtlCol="0">
            <a:spAutoFit/>
          </a:bodyPr>
          <a:lstStyle/>
          <a:p>
            <a:pPr>
              <a:lnSpc>
                <a:spcPct val="90000"/>
              </a:lnSpc>
            </a:pPr>
            <a:r>
              <a:rPr lang="en-US" sz="1000" i="1" dirty="0">
                <a:solidFill>
                  <a:schemeClr val="tx1">
                    <a:lumMod val="50000"/>
                  </a:schemeClr>
                </a:solidFill>
                <a:latin typeface="Arial" panose="020B0604020202020204" pitchFamily="34" charset="0"/>
                <a:cs typeface="Arial" panose="020B0604020202020204" pitchFamily="34" charset="0"/>
              </a:rPr>
              <a:t>* Adjusted for YOY country lineup differences</a:t>
            </a:r>
          </a:p>
        </p:txBody>
      </p:sp>
      <p:sp>
        <p:nvSpPr>
          <p:cNvPr id="49" name="Slide Number Placeholder 2">
            <a:extLst>
              <a:ext uri="{FF2B5EF4-FFF2-40B4-BE49-F238E27FC236}">
                <a16:creationId xmlns:a16="http://schemas.microsoft.com/office/drawing/2014/main" id="{C89ECE64-11F8-439A-AAF1-A35EB67C1396}"/>
              </a:ext>
            </a:extLst>
          </p:cNvPr>
          <p:cNvSpPr>
            <a:spLocks noGrp="1"/>
          </p:cNvSpPr>
          <p:nvPr>
            <p:ph type="sldNum" sz="quarter" idx="4"/>
          </p:nvPr>
        </p:nvSpPr>
        <p:spPr>
          <a:xfrm>
            <a:off x="9280508" y="6520009"/>
            <a:ext cx="2901950" cy="371475"/>
          </a:xfrm>
        </p:spPr>
        <p:txBody>
          <a:bodyPr/>
          <a:lstStyle/>
          <a:p>
            <a:pPr marL="0" marR="0" lvl="0" indent="0" algn="r" defTabSz="914286" rtl="0" eaLnBrk="1" fontAlgn="auto" latinLnBrk="0" hangingPunct="1">
              <a:lnSpc>
                <a:spcPct val="100000"/>
              </a:lnSpc>
              <a:spcBef>
                <a:spcPts val="0"/>
              </a:spcBef>
              <a:spcAft>
                <a:spcPts val="0"/>
              </a:spcAft>
              <a:buClrTx/>
              <a:buSzTx/>
              <a:buFontTx/>
              <a:buNone/>
              <a:tabLst/>
              <a:defRPr/>
            </a:pPr>
            <a:fld id="{7EFC24D6-DB8F-6B44-BA5A-9BEC68C15CAA}" type="slidenum">
              <a:rPr kumimoji="0" lang="en-US" sz="1200" b="0" i="0" u="none" strike="noStrike" kern="1200" cap="none" spc="0" normalizeH="0" baseline="0" noProof="0" smtClean="0">
                <a:ln>
                  <a:noFill/>
                </a:ln>
                <a:solidFill>
                  <a:prstClr val="black">
                    <a:lumMod val="50000"/>
                    <a:lumOff val="50000"/>
                  </a:prstClr>
                </a:solidFill>
                <a:effectLst/>
                <a:uLnTx/>
                <a:uFillTx/>
                <a:latin typeface="Arial"/>
                <a:cs typeface="+mn-cs"/>
              </a:rPr>
              <a:pPr marL="0" marR="0" lvl="0" indent="0" algn="r" defTabSz="914286"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lumMod val="50000"/>
                  <a:lumOff val="50000"/>
                </a:prstClr>
              </a:solidFill>
              <a:effectLst/>
              <a:uLnTx/>
              <a:uFillTx/>
              <a:latin typeface="Arial"/>
              <a:cs typeface="+mn-cs"/>
            </a:endParaRPr>
          </a:p>
        </p:txBody>
      </p:sp>
    </p:spTree>
    <p:extLst>
      <p:ext uri="{BB962C8B-B14F-4D97-AF65-F5344CB8AC3E}">
        <p14:creationId xmlns:p14="http://schemas.microsoft.com/office/powerpoint/2010/main" val="2599277988"/>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EWHEUkb2HUuBSEvW2WOpN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Gdb9zDt2XUGOiZi2vmjNG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J9Wq1k2uPEiP00IpLWJ9YA"/>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f6iB4nK190S_NYBwEbrFX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iIc8b4RXEUOHU.m6RMcao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3lPSUmBaRke0IfIfxL.bG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AwF4h8ZRd0eShPfA5Mm8T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vii24HOWf02Q6pUyevoSL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CuXV1mXpskeBdPC9RRbTe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ORIhW3nE5U.0xjuRHL5FZ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mNEF8PwB5UaMn1DplTq7e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hPr4nrhh5kunukGBetMK8g"/>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h_9vwXCt_kaqt93_I_0wg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xsEFRAcLkUG4.D4yiQ0OM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cXceady1DkyYEHpqGJQso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DxmkzlL_06P3qdxRJN3N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oDVKhuvf20G3pxE3rPGRU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QykMnv3zlEKDSJGrmiFeo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ch5u6petYUq6GelXeFA7p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glBWZlsW60G25Gj2zTYvG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PoseDfpTpkWkGRU9ufGRs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2voTXi.a8k29hZwoKHVUrA"/>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4kqkn5jtNE.PxoBHZYul8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l_RfRG1DiEq46CiZYMcsT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riHtMxV1OUCVLbZgg8uBBQ"/>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H8FTXuruXkaeXH3pHZBUy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N8mKvu9F2UqOWV.jKpi8W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R2xfNTVk06iIOPzTtH.u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wYv8hXAZWkCYS8D5SyMVP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6dnLKf6o.E6SSCaRFPVIF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LWWH1kZKxkKh6YkXiGJ4a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5YITI98aT02LTNhyRpzW3A"/>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SRC4yckLzEOEh1LHcqJfW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mBgnIK8P9EqmjyWPHkKOq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wGWOSpdhYUuQ0lueYC19GA"/>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QVAgMGyR.0.2OBP8b8jxX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jttbYLyEbkyIVp3rqipD5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riRtM18uS0KZlPVn2g69C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NFDVC2Kjqk.9epEZDxgyh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KXH0bVZJpEGMZf1oyhtU1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pAlkKdPE6kKizLR6imONTQ"/>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h2El7XKhQEaGj_TUpF1RIQ"/>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GQnkx.cXnEmg7J6ZzXjID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Ye5vRv_W9US_Jg91xduhx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hVjk9Fd0FECf_dngJKzP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dSVi3DVEqU6FdN4pN_fkW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40_STKyxCUGMR26hUFMWZ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HPXPStkVLEencfHFvUpL3Q"/>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pVBpPsI.YpEOlT28RR7FXq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p423UtxJHGU.II7vimLHhe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p8NnBvIcDqUmcWbLh09a5o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pnE9zDjNe2UOKS9UpYyxPtg"/>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pe_0WeLBjf0O5HNxtwnif4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pCJV8WQ.O40iYLObvL.Pq5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pXDXrxKSxSUWBDb0Mnjj9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p.d42ChbI1Uq1B7Oakd4L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pxQoxi2A4qEG9IajKHVggF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pqqtVgvAf.UKwqbAXJ5Vqh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pePTGvVkcrkeatwczJ6U3e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pI9Z6R_IlP0CQp.5MQZhrU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pPT3Q5P56DUe4U8IETSWmo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p6IYc9rtgTk.Lb3AhQMaEkQ"/>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pvgGRM5HgUEyowuOeSpGswg"/>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pO1pnE4iAzEK4g4VTO65Ty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plpE2iZjvk0izMS45aud9M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PstLYQtC7EG0NYQ8m9lwC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IqnFM5I6J0KcPFM_OwMBu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SlCSiRqRAkmNr06KzdXAx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9NbF39aLrEq9kDegasBCQw"/>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BAHvb0wQkuUciZ8Q1G59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YkUT3dMkHk2g6Pi4xQ3h3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iO9xSqAF3UGld20e.g4Ly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IdLyZSnTR0e8ZObyykviR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PgzbX7xC706pVFmUYUl3a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WLrpX3Q7RUSh_wdv1Vjixg"/>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wMhkDa3qLEOMVFlevwgde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_c7CZEIGOkuLMDgUALFku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8v6jGyjCFECvDuetubeMy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37Vpfiz3Hkq5_b3Sm8PXf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kHIIXCG1tkaOTMCh23pIcg"/>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nvSbnGkMGkmR0WxtxOoCU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WlDnGgMBJUOosEVC6Jujp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ICYb3Kmxq0e4OB1bXPiDr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Kkm6O3J3L066EUBFzB3v5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YY8dSPdzlE.m_rpCioloP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A9Sizzi840.LiNTG8UVD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BhpuM940MUSeXxQBzkdz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uOgBt32EnUeho7Uz0f0VQA"/>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Hz8D.p_LkCxmMOrbfCI5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fNzO8sgqNUSkchh94pbPI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3eiSkaSTtEWXxL8UuMPPlQ"/>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9ERfcixgEkas50_0.lwgw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vdDxRufkSkWt0L5oOQv3G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3xO0CReBL0WiYmOhaNIl8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8embS9OBECTAZgtCVKf4Q"/>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Ow1if8U_kkGRbmTVFqmnH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6kLiWtjQUE.DY8EyBT7AB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i0CXi8y3rkWT2N0TNDcBLw"/>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7NC1z8NsBkKqhkcVXOqZU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w3ecyprNG0aR0tJL5e3Utg"/>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d.c8kkt4q0e.ZrLgD36kO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rIWgqzpZyk.0.Gd7n1AIy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Anl84YlLhUaaoYi7s90WF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zGDSpjFO8EWtLeIsaUqPEA"/>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Lsj2IPyFxECfvo1gw9Sbw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cgOX7j9NEmp0Lhi5xLJag"/>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_6s2zvHYdEil09VeTvEf6A"/>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rJotP6Di0eOWSDd30vk.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cFp9GFKhUieQsCqXlIHu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lFMEBUZEP0GsVgX8zaljo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UAHohiDLWEisxP_yOIOf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RhLH8BsF6EmK5vWXEpLfAg"/>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KkzJTor7Pk2ErGKMhi6Ihg"/>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mlgEnU6Npkmsawl6_T0dt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4S8Qg5sPv0SWAJvICnZTU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O5RKL946_k.T7OLgXmrI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KQ9_SNWUmkHMWMVVkgi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ybgP_BoBtU2W2fKf7zUfZw"/>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XcK3GWVLI0aoBoHVvTCiG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3c8TlB50x0q7MY2hclGu5Q"/>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aYkX4fT2hkyqieKGzVuJTg"/>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TFhZkNymx0WrQ9F2pEb9U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IVKoTKuU2kWJq5_mUo61Tg"/>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Ig0bAEKDlEOgKZqud9DGKA"/>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XvNkl4BDm0yeYT5nsgSpaA"/>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ztf9xI6RkEG2vzREIBYAG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i.8O33vRwk61GjtU.Oydw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WQMEWcD2nUmGveRDF3F1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xIjMNLu58kCkf8yt8SRDd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DGj8xQ7OMU6AiGciNqwDo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C.LNBYoZ.kCOuU7B2V4_vQ"/>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6x7zE5eyd0GFC.JEDQsbSA"/>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ptIdN4B_m4USf1SHNvQr38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peW3kVGSD8E2R3a_uiz4uy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p0.RqEUlRyk2rRfUd1Qemm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pETcNZB1xhkmdvAvNdP90h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pgqevLIyIkUaOHXXRiS7NX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phUk7_zEYFUqGR92W0eUF.Q"/>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pdDX_bzdjZEG.TwFxTGram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pGPqCnxqHdU68pN3zmniVYw"/>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pXDj4yuZlQ0ygwe55UkkzJA"/>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pt.CIAQe320ifVlq_jDHOSg"/>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pnMc5S_JgjUekhJoSO4cD0A"/>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phvAmX7t8pkO5M7P6nsgLUQ"/>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px2sHtCYT.U2.da0_MDqLF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pFy6Hc8C6QkelXfa25mKf3Q"/>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ppO3D8rKCMkKQtGGzdcwLyw"/>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pfJLpmmEE_UyDMzK4.SPAAg"/>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ph0FHMF2bY0yn4v0UCbatcg"/>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pTGdaV209d0KSl4RMuLFKX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pSjkXBK8mjE23Vdsi34RMpw"/>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phsmy8oAKY0aMgr4hUO575A"/>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p76sHzi_zQUif9tgOXAxHV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pQhBcrwO4PkSRxd6LjWcBlQ"/>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pasoRTT7bQUawpJs2XBcPQA"/>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p5mzXb9kwUE.wFZMRail7W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puLX9j0L28kq0sYEgosh9mw"/>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pzqRI8Yx3rkiRV0cBVP79F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315.xml><?xml version="1.0" encoding="utf-8"?>
<p:tagLst xmlns:a="http://schemas.openxmlformats.org/drawingml/2006/main" xmlns:r="http://schemas.openxmlformats.org/officeDocument/2006/relationships" xmlns:p="http://schemas.openxmlformats.org/presentationml/2006/main">
  <p:tag name="THINKCELLSHAPEDONOTDELETE" val="p__OE0SFeUEq0GuF.rd3AwA"/>
</p:tagLst>
</file>

<file path=ppt/tags/tag316.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317.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318.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319.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320.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321.xml><?xml version="1.0" encoding="utf-8"?>
<p:tagLst xmlns:a="http://schemas.openxmlformats.org/drawingml/2006/main" xmlns:r="http://schemas.openxmlformats.org/officeDocument/2006/relationships" xmlns:p="http://schemas.openxmlformats.org/presentationml/2006/main">
  <p:tag name="THINKCELLSHAPEDONOTDELETE" val="pQstHjDOu10Oyf0_PMzAymA"/>
</p:tagLst>
</file>

<file path=ppt/tags/tag322.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323.xml><?xml version="1.0" encoding="utf-8"?>
<p:tagLst xmlns:a="http://schemas.openxmlformats.org/drawingml/2006/main" xmlns:r="http://schemas.openxmlformats.org/officeDocument/2006/relationships" xmlns:p="http://schemas.openxmlformats.org/presentationml/2006/main">
  <p:tag name="THINKCELLSHAPEDONOTDELETE" val="pzLPAc.xljkqa9_1EATV0Lw"/>
</p:tagLst>
</file>

<file path=ppt/tags/tag324.xml><?xml version="1.0" encoding="utf-8"?>
<p:tagLst xmlns:a="http://schemas.openxmlformats.org/drawingml/2006/main" xmlns:r="http://schemas.openxmlformats.org/officeDocument/2006/relationships" xmlns:p="http://schemas.openxmlformats.org/presentationml/2006/main">
  <p:tag name="THINKCELLSHAPEDONOTDELETE" val="pJG4QtEbX6E6QN9jSC0trsA"/>
</p:tagLst>
</file>

<file path=ppt/tags/tag325.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326.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327.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328.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329.xml><?xml version="1.0" encoding="utf-8"?>
<p:tagLst xmlns:a="http://schemas.openxmlformats.org/drawingml/2006/main" xmlns:r="http://schemas.openxmlformats.org/officeDocument/2006/relationships" xmlns:p="http://schemas.openxmlformats.org/presentationml/2006/main">
  <p:tag name="THINKCELLSHAPEDONOTDELETE" val="pHn1_CYR57Eq88XT8VRrqn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330.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331.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332.xml><?xml version="1.0" encoding="utf-8"?>
<p:tagLst xmlns:a="http://schemas.openxmlformats.org/drawingml/2006/main" xmlns:r="http://schemas.openxmlformats.org/officeDocument/2006/relationships" xmlns:p="http://schemas.openxmlformats.org/presentationml/2006/main">
  <p:tag name="THINKCELLSHAPEDONOTDELETE" val="pD2aQQSOGbEaSvcTujzPv3A"/>
</p:tagLst>
</file>

<file path=ppt/tags/tag333.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334.xml><?xml version="1.0" encoding="utf-8"?>
<p:tagLst xmlns:a="http://schemas.openxmlformats.org/drawingml/2006/main" xmlns:r="http://schemas.openxmlformats.org/officeDocument/2006/relationships" xmlns:p="http://schemas.openxmlformats.org/presentationml/2006/main">
  <p:tag name="THINKCELLSHAPEDONOTDELETE" val="pSx0yX4eurEyR1btNlyBsTw"/>
</p:tagLst>
</file>

<file path=ppt/tags/tag335.xml><?xml version="1.0" encoding="utf-8"?>
<p:tagLst xmlns:a="http://schemas.openxmlformats.org/drawingml/2006/main" xmlns:r="http://schemas.openxmlformats.org/officeDocument/2006/relationships" xmlns:p="http://schemas.openxmlformats.org/presentationml/2006/main">
  <p:tag name="THINKCELLSHAPEDONOTDELETE" val="phe5nZU4uJESxRZHTwBKshw"/>
</p:tagLst>
</file>

<file path=ppt/tags/tag336.xml><?xml version="1.0" encoding="utf-8"?>
<p:tagLst xmlns:a="http://schemas.openxmlformats.org/drawingml/2006/main" xmlns:r="http://schemas.openxmlformats.org/officeDocument/2006/relationships" xmlns:p="http://schemas.openxmlformats.org/presentationml/2006/main">
  <p:tag name="THINKCELLSHAPEDONOTDELETE" val="pNEYOYIvuZUK7vL5D4InzcA"/>
</p:tagLst>
</file>

<file path=ppt/tags/tag337.xml><?xml version="1.0" encoding="utf-8"?>
<p:tagLst xmlns:a="http://schemas.openxmlformats.org/drawingml/2006/main" xmlns:r="http://schemas.openxmlformats.org/officeDocument/2006/relationships" xmlns:p="http://schemas.openxmlformats.org/presentationml/2006/main">
  <p:tag name="THINKCELLSHAPEDONOTDELETE" val="peT5xmm5wFUGFCBuzKaXYwg"/>
</p:tagLst>
</file>

<file path=ppt/tags/tag338.xml><?xml version="1.0" encoding="utf-8"?>
<p:tagLst xmlns:a="http://schemas.openxmlformats.org/drawingml/2006/main" xmlns:r="http://schemas.openxmlformats.org/officeDocument/2006/relationships" xmlns:p="http://schemas.openxmlformats.org/presentationml/2006/main">
  <p:tag name="THINKCELLSHAPEDONOTDELETE" val="pS_UU6.v9VkGNQri0dDfnWA"/>
</p:tagLst>
</file>

<file path=ppt/tags/tag339.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340.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341.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342.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343.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344.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345.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346.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347.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348.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349.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350.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351.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352.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353.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354.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355.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356.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357.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358.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359.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l1HM6e4rj0uhDZTKOz91Vg"/>
</p:tagLst>
</file>

<file path=ppt/tags/tag360.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361.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362.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363.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364.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365.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366.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367.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368.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369.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370.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371.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372.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373.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374.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375.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376.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377.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378.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379.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380.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381.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382.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383.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384.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385.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386.xml><?xml version="1.0" encoding="utf-8"?>
<p:tagLst xmlns:a="http://schemas.openxmlformats.org/drawingml/2006/main" xmlns:r="http://schemas.openxmlformats.org/officeDocument/2006/relationships" xmlns:p="http://schemas.openxmlformats.org/presentationml/2006/main">
  <p:tag name="THINKCELLSHAPEDONOTDELETE" val="pdKPu_r3.dEy2P8YDwWaROA"/>
</p:tagLst>
</file>

<file path=ppt/tags/tag387.xml><?xml version="1.0" encoding="utf-8"?>
<p:tagLst xmlns:a="http://schemas.openxmlformats.org/drawingml/2006/main" xmlns:r="http://schemas.openxmlformats.org/officeDocument/2006/relationships" xmlns:p="http://schemas.openxmlformats.org/presentationml/2006/main">
  <p:tag name="THINKCELLSHAPEDONOTDELETE" val="ph5IUtXOWaky.v0EENhvtIg"/>
</p:tagLst>
</file>

<file path=ppt/tags/tag388.xml><?xml version="1.0" encoding="utf-8"?>
<p:tagLst xmlns:a="http://schemas.openxmlformats.org/drawingml/2006/main" xmlns:r="http://schemas.openxmlformats.org/officeDocument/2006/relationships" xmlns:p="http://schemas.openxmlformats.org/presentationml/2006/main">
  <p:tag name="THINKCELLSHAPEDONOTDELETE" val="pompjSJuip06YNxTsDcyIcg"/>
</p:tagLst>
</file>

<file path=ppt/tags/tag389.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390.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391.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392.xml><?xml version="1.0" encoding="utf-8"?>
<p:tagLst xmlns:a="http://schemas.openxmlformats.org/drawingml/2006/main" xmlns:r="http://schemas.openxmlformats.org/officeDocument/2006/relationships" xmlns:p="http://schemas.openxmlformats.org/presentationml/2006/main">
  <p:tag name="THINKCELLSHAPEDONOTDELETE" val="p2_iABPtR.U6ET_bpHX8DbA"/>
</p:tagLst>
</file>

<file path=ppt/tags/tag393.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394.xml><?xml version="1.0" encoding="utf-8"?>
<p:tagLst xmlns:a="http://schemas.openxmlformats.org/drawingml/2006/main" xmlns:r="http://schemas.openxmlformats.org/officeDocument/2006/relationships" xmlns:p="http://schemas.openxmlformats.org/presentationml/2006/main">
  <p:tag name="THINKCELLSHAPEDONOTDELETE" val="pMMNComMW8k2NI54MPI6leQ"/>
</p:tagLst>
</file>

<file path=ppt/tags/tag39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396.xml><?xml version="1.0" encoding="utf-8"?>
<p:tagLst xmlns:a="http://schemas.openxmlformats.org/drawingml/2006/main" xmlns:r="http://schemas.openxmlformats.org/officeDocument/2006/relationships" xmlns:p="http://schemas.openxmlformats.org/presentationml/2006/main">
  <p:tag name="THINKCELLSHAPEDONOTDELETE" val="pOfX2_q3qPk.ZHDqIFCogTg"/>
</p:tagLst>
</file>

<file path=ppt/tags/tag397.xml><?xml version="1.0" encoding="utf-8"?>
<p:tagLst xmlns:a="http://schemas.openxmlformats.org/drawingml/2006/main" xmlns:r="http://schemas.openxmlformats.org/officeDocument/2006/relationships" xmlns:p="http://schemas.openxmlformats.org/presentationml/2006/main">
  <p:tag name="THINKCELLSHAPEDONOTDELETE" val="pI2cDZg77SUu4gr8K9dLweQ"/>
</p:tagLst>
</file>

<file path=ppt/tags/tag398.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9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KBUChXo_nUeXhYoxb.MpSg"/>
</p:tagLst>
</file>

<file path=ppt/tags/tag40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40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_VK9o_lBEiW_jjZq23vh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xNZJwjSc.kWzdZmgqa2zd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hiQ7WbpnNECUeu72B0vj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u2f7czwVlU.ZzMdN2hVjq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oJplmT8SUuXCeBLOSANy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an5_OKSj10u4EFHZym7rR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TmQiJJLXskSm_N3iYMcRq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NweG2Zf8v0mlvBios7Sy7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ThHZQlt7dkGLN3j24SarF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s6LLm4JPGkeBTbiuaXxfv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dQC.PDPTIUmydEN_FB7Ec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2VJVcvH4XkuNHaEqInWOm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9bXJxse70WBoNfG5VoES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vSYYtpjJgk217rT2rubEYw"/>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FieuV5hW5Eijg6ZeMel1T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iBMq1cpeEKIE4fDMB5b9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Paa21afFvU27.CePXGVSdw"/>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6aYWbkeG90uaf4h5uqXm0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3e3OXfCtikaP6GqJL_My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qx.VBm6MjUGslyaSVjam8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13zGpEE5ESAs3sCQE1YK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sOyNhhKT9EaZjP8ypRXz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_zd8n9dciU2lOOU_F6QPC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knXMM7W7Pken_E5zPJqO0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XT8xRARCy0WMujoBlFFh7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iSBDIz_ex0S45.vp57Z5Z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Mc4KfLJQEkapxtYUfKSrm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cxXEDzEFf023Cck6.kOYF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fMoMhEiskGS8dcTWyBy2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bXzRnfu8YE.TpKGz7DECr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iUlzBXtZFUW7k840.HSnW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TFKc4aMTWkexewir9tEgh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BMDZ7Da6s0OnTdZ11Ym4e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YcAtSbYuAEq27_e6TBVfj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MbDfUliNcE2s2JZ3l8B7i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L5FgiavccEymIkC4O2zxR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Cz_G0cRUUSPFfaI4HGfU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ttmTnk4TkSHQ52A11zsG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mXtIfkN5j0W7fAbt2bh2m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KqRhWOMcUk64nKp7R3Xsd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dIV.kMn0OEuzfLKA1PdTEQ"/>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IxkjNB.mOkmEv7mlHOgZIg"/>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Z1uLmJYrj0GNwUXFjqMTL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GIftQQhTdEamZKojTfCg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myix8h_E0OwFiDPNjCHk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B7n_HmIe2EK866vv2.bCd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Vuts24.8s06YbRlkYrra0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1528dKmeqk.2LlA0UzQ8B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heme/theme1.xml><?xml version="1.0" encoding="utf-8"?>
<a:theme xmlns:a="http://schemas.openxmlformats.org/drawingml/2006/main" name="Section Break Slide Master">
  <a:themeElements>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MSVID_Purple269_16x9_2012-08-18">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3.xml><?xml version="1.0" encoding="utf-8"?>
<a:theme xmlns:a="http://schemas.openxmlformats.org/drawingml/2006/main" name="Etihad Aviation Group_CF_AE0224">
  <a:themeElements>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noFill/>
        </a:ln>
      </a:spPr>
      <a:bodyPr rtlCol="0" anchor="ctr"/>
      <a:lstStyle>
        <a:defPPr algn="ctr">
          <a:defRPr sz="1600" b="1" dirty="0" err="1" smtClean="0">
            <a:solidFill>
              <a:schemeClr val="accent4"/>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311820"/>
        </a:dk2>
        <a:lt2>
          <a:srgbClr val="FFFFFF"/>
        </a:lt2>
        <a:accent1>
          <a:srgbClr val="F2C664"/>
        </a:accent1>
        <a:accent2>
          <a:srgbClr val="BE788E"/>
        </a:accent2>
        <a:accent3>
          <a:srgbClr val="8A4258"/>
        </a:accent3>
        <a:accent4>
          <a:srgbClr val="311820"/>
        </a:accent4>
        <a:accent5>
          <a:srgbClr val="E8A811"/>
        </a:accent5>
        <a:accent6>
          <a:srgbClr val="808080"/>
        </a:accent6>
        <a:hlink>
          <a:srgbClr val="8A4258"/>
        </a:hlink>
        <a:folHlink>
          <a:srgbClr val="31182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Etihad Aviation Group_CF_AE0224.potx" id="{D15E7A95-7415-47F1-8C1E-4B089085B7B8}" vid="{92E183D8-0F31-49CF-9C4C-AF572A94EA21}"/>
    </a:ext>
  </a:extLst>
</a:theme>
</file>

<file path=ppt/theme/theme4.xml><?xml version="1.0" encoding="utf-8"?>
<a:theme xmlns:a="http://schemas.openxmlformats.org/drawingml/2006/main" name="1_MSVID_Purple269_16x9_2012-08-18">
  <a:themeElements>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defRPr sz="2400" dirty="0" err="1" smtClean="0">
            <a:gradFill>
              <a:gsLst>
                <a:gs pos="2917">
                  <a:schemeClr val="tx1"/>
                </a:gs>
                <a:gs pos="30000">
                  <a:schemeClr val="tx1"/>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2.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9.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Decathlon">
    <a:dk1>
      <a:sysClr val="windowText" lastClr="000000"/>
    </a:dk1>
    <a:lt1>
      <a:sysClr val="window" lastClr="FFFFFF"/>
    </a:lt1>
    <a:dk2>
      <a:srgbClr val="44546A"/>
    </a:dk2>
    <a:lt2>
      <a:srgbClr val="E7E6E6"/>
    </a:lt2>
    <a:accent1>
      <a:srgbClr val="0072B5"/>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1.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2.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Custom 89">
    <a:dk1>
      <a:srgbClr val="000000"/>
    </a:dk1>
    <a:lt1>
      <a:srgbClr val="FFFFFF"/>
    </a:lt1>
    <a:dk2>
      <a:srgbClr val="505050"/>
    </a:dk2>
    <a:lt2>
      <a:srgbClr val="00BCF2"/>
    </a:lt2>
    <a:accent1>
      <a:srgbClr val="002050"/>
    </a:accent1>
    <a:accent2>
      <a:srgbClr val="009E49"/>
    </a:accent2>
    <a:accent3>
      <a:srgbClr val="00B294"/>
    </a:accent3>
    <a:accent4>
      <a:srgbClr val="0072C6"/>
    </a:accent4>
    <a:accent5>
      <a:srgbClr val="4668C5"/>
    </a:accent5>
    <a:accent6>
      <a:srgbClr val="00D8CC"/>
    </a:accent6>
    <a:hlink>
      <a:srgbClr val="00B294"/>
    </a:hlink>
    <a:folHlink>
      <a:srgbClr val="00D8CC"/>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Custom 1">
    <a:dk1>
      <a:sysClr val="windowText" lastClr="000000"/>
    </a:dk1>
    <a:lt1>
      <a:sysClr val="window" lastClr="FFFFFF"/>
    </a:lt1>
    <a:dk2>
      <a:srgbClr val="44546A"/>
    </a:dk2>
    <a:lt2>
      <a:srgbClr val="E7E6E6"/>
    </a:lt2>
    <a:accent1>
      <a:srgbClr val="3282BE"/>
    </a:accent1>
    <a:accent2>
      <a:srgbClr val="28608C"/>
    </a:accent2>
    <a:accent3>
      <a:srgbClr val="262626"/>
    </a:accent3>
    <a:accent4>
      <a:srgbClr val="2CB8AE"/>
    </a:accent4>
    <a:accent5>
      <a:srgbClr val="5CBE7A"/>
    </a:accent5>
    <a:accent6>
      <a:srgbClr val="82C650"/>
    </a:accent6>
    <a:hlink>
      <a:srgbClr val="FFFFFF"/>
    </a:hlink>
    <a:folHlink>
      <a:srgbClr val="FFFFFF"/>
    </a:folHlink>
  </a:clrScheme>
  <a:fontScheme name="MAX-THEME FONT">
    <a:majorFont>
      <a:latin typeface="Arial"/>
      <a:ea typeface="Arial Unicode MS"/>
      <a:cs typeface=""/>
    </a:majorFont>
    <a:minorFont>
      <a:latin typeface="Arial"/>
      <a:ea typeface="Arial Unicode MS"/>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748EF96341B6B4FACBAA5C0ADE80687" ma:contentTypeVersion="13" ma:contentTypeDescription="Create a new document." ma:contentTypeScope="" ma:versionID="654dcd76d8d49cabbb799f4fe4312eed">
  <xsd:schema xmlns:xsd="http://www.w3.org/2001/XMLSchema" xmlns:xs="http://www.w3.org/2001/XMLSchema" xmlns:p="http://schemas.microsoft.com/office/2006/metadata/properties" xmlns:ns3="d3bcf60d-40ce-4e00-8350-35486082a391" xmlns:ns4="9c53acb5-a6b4-4d2f-8a12-61ee8cea6cf1" targetNamespace="http://schemas.microsoft.com/office/2006/metadata/properties" ma:root="true" ma:fieldsID="29eeeaae1d7b5c0c1c86329d070b018f" ns3:_="" ns4:_="">
    <xsd:import namespace="d3bcf60d-40ce-4e00-8350-35486082a391"/>
    <xsd:import namespace="9c53acb5-a6b4-4d2f-8a12-61ee8cea6cf1"/>
    <xsd:element name="properties">
      <xsd:complexType>
        <xsd:sequence>
          <xsd:element name="documentManagement">
            <xsd:complexType>
              <xsd:all>
                <xsd:element ref="ns3:SharedWithUsers" minOccurs="0"/>
                <xsd:element ref="ns3:SharedWithDetails" minOccurs="0"/>
                <xsd:element ref="ns3:SharingHintHash" minOccurs="0"/>
                <xsd:element ref="ns3:LastSharedByUser" minOccurs="0"/>
                <xsd:element ref="ns3:LastSharedByTime" minOccurs="0"/>
                <xsd:element ref="ns4:MediaServiceMetadata" minOccurs="0"/>
                <xsd:element ref="ns4:MediaServiceFastMetadata" minOccurs="0"/>
                <xsd:element ref="ns4:MediaServiceAutoKeyPoints" minOccurs="0"/>
                <xsd:element ref="ns4:MediaServiceKeyPoints" minOccurs="0"/>
                <xsd:element ref="ns4:MediaServiceAutoTags" minOccurs="0"/>
                <xsd:element ref="ns4:MediaServiceOCR" minOccurs="0"/>
                <xsd:element ref="ns4:MediaServiceGenerationTime" minOccurs="0"/>
                <xsd:element ref="ns4: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3bcf60d-40ce-4e00-8350-35486082a391"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element name="LastSharedByUser" ma:index="11" nillable="true" ma:displayName="Last Shared By User" ma:hidden="true" ma:internalName="LastSharedByUser" ma:readOnly="true">
      <xsd:simpleType>
        <xsd:restriction base="dms:Note"/>
      </xsd:simpleType>
    </xsd:element>
    <xsd:element name="LastSharedByTime" ma:index="12" nillable="true" ma:displayName="Last Shared By Time" ma:hidden="true"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9c53acb5-a6b4-4d2f-8a12-61ee8cea6cf1" elementFormDefault="qualified">
    <xsd:import namespace="http://schemas.microsoft.com/office/2006/documentManagement/types"/>
    <xsd:import namespace="http://schemas.microsoft.com/office/infopath/2007/PartnerControls"/>
    <xsd:element name="MediaServiceMetadata" ma:index="13" nillable="true" ma:displayName="MediaServiceMetadata" ma:hidden="true" ma:internalName="MediaServiceMetadata" ma:readOnly="true">
      <xsd:simpleType>
        <xsd:restriction base="dms:Note"/>
      </xsd:simpleType>
    </xsd:element>
    <xsd:element name="MediaServiceFastMetadata" ma:index="14" nillable="true" ma:displayName="MediaServiceFastMetadata" ma:hidden="true" ma:internalName="MediaServiceFastMetadata" ma:readOnly="true">
      <xsd:simpleType>
        <xsd:restriction base="dms:Note"/>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AutoTags" ma:index="17" nillable="true" ma:displayName="Tags" ma:internalName="MediaServiceAutoTags" ma:readOnly="true">
      <xsd:simpleType>
        <xsd:restriction base="dms:Text"/>
      </xsd:simpleType>
    </xsd:element>
    <xsd:element name="MediaServiceOCR" ma:index="18" nillable="true" ma:displayName="Extracted Text" ma:internalName="MediaServiceOCR"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FE7B1B2D-9008-4FE0-BF1B-E75133A3893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3bcf60d-40ce-4e00-8350-35486082a391"/>
    <ds:schemaRef ds:uri="9c53acb5-a6b4-4d2f-8a12-61ee8cea6cf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6F666C15-B65A-4236-B047-BC4CFA006347}">
  <ds:schemaRefs>
    <ds:schemaRef ds:uri="http://schemas.microsoft.com/sharepoint/v3/contenttype/forms"/>
  </ds:schemaRefs>
</ds:datastoreItem>
</file>

<file path=customXml/itemProps3.xml><?xml version="1.0" encoding="utf-8"?>
<ds:datastoreItem xmlns:ds="http://schemas.openxmlformats.org/officeDocument/2006/customXml" ds:itemID="{18793EB5-CD69-4112-8856-2692A769AE0F}">
  <ds:schemaRefs>
    <ds:schemaRef ds:uri="http://schemas.microsoft.com/office/2006/metadata/properties"/>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otalTime>1</TotalTime>
  <Words>5621</Words>
  <Application>Microsoft Office PowerPoint</Application>
  <PresentationFormat>Widescreen</PresentationFormat>
  <Paragraphs>1337</Paragraphs>
  <Slides>50</Slides>
  <Notes>33</Notes>
  <HiddenSlides>0</HiddenSlides>
  <MMClips>0</MMClips>
  <ScaleCrop>false</ScaleCrop>
  <HeadingPairs>
    <vt:vector size="8" baseType="variant">
      <vt:variant>
        <vt:lpstr>Fonts Used</vt:lpstr>
      </vt:variant>
      <vt:variant>
        <vt:i4>11</vt:i4>
      </vt:variant>
      <vt:variant>
        <vt:lpstr>Theme</vt:lpstr>
      </vt:variant>
      <vt:variant>
        <vt:i4>4</vt:i4>
      </vt:variant>
      <vt:variant>
        <vt:lpstr>Embedded OLE Servers</vt:lpstr>
      </vt:variant>
      <vt:variant>
        <vt:i4>1</vt:i4>
      </vt:variant>
      <vt:variant>
        <vt:lpstr>Slide Titles</vt:lpstr>
      </vt:variant>
      <vt:variant>
        <vt:i4>50</vt:i4>
      </vt:variant>
    </vt:vector>
  </HeadingPairs>
  <TitlesOfParts>
    <vt:vector size="66" baseType="lpstr">
      <vt:lpstr>Arial</vt:lpstr>
      <vt:lpstr>Arial Narrow</vt:lpstr>
      <vt:lpstr>Calibri</vt:lpstr>
      <vt:lpstr>Calibri Light</vt:lpstr>
      <vt:lpstr>Impact</vt:lpstr>
      <vt:lpstr>Open Sans</vt:lpstr>
      <vt:lpstr>Segoe UI</vt:lpstr>
      <vt:lpstr>Segoe UI Light</vt:lpstr>
      <vt:lpstr>Titillium</vt:lpstr>
      <vt:lpstr>Wingdings</vt:lpstr>
      <vt:lpstr>Wingdings 3</vt:lpstr>
      <vt:lpstr>Section Break Slide Master</vt:lpstr>
      <vt:lpstr>MSVID_Purple269_16x9_2012-08-18</vt:lpstr>
      <vt:lpstr>Etihad Aviation Group_CF_AE0224</vt:lpstr>
      <vt:lpstr>1_MSVID_Purple269_16x9_2012-08-18</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Risks happened more recently</vt:lpstr>
      <vt:lpstr>Three in four experienced risks repeatedly (two times or mor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ree in four experienced a consequence</vt:lpstr>
      <vt:lpstr>Many actions were taken less often</vt:lpstr>
      <vt:lpstr>PowerPoint Presentation</vt:lpstr>
      <vt:lpstr>PowerPoint Presentation</vt:lpstr>
      <vt:lpstr>PowerPoint Presentation</vt:lpstr>
      <vt:lpstr>Finding &amp; getting help is becoming easier</vt:lpstr>
      <vt:lpstr>PowerPoint Presentation</vt:lpstr>
      <vt:lpstr>PowerPoint Presentation</vt:lpstr>
      <vt:lpstr>      Gen Z &amp; Millennials are at greater risk due to their activities online</vt:lpstr>
      <vt:lpstr>PowerPoint Presentation</vt:lpstr>
      <vt:lpstr>PowerPoint Presentation</vt:lpstr>
      <vt:lpstr>The best role models are Parents &amp; Teachers</vt:lpstr>
      <vt:lpstr>Many Teens are troubled when their parents post about them on social media</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Online risk definitions</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lppt.com;Googleslidesppt.com</dc:creator>
  <cp:lastModifiedBy>Debbie Walsh</cp:lastModifiedBy>
  <cp:revision>1446</cp:revision>
  <dcterms:created xsi:type="dcterms:W3CDTF">2018-04-24T17:14:44Z</dcterms:created>
  <dcterms:modified xsi:type="dcterms:W3CDTF">2020-02-07T20:20:2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f42aa342-8706-4288-bd11-ebb85995028c_Enabled">
    <vt:lpwstr>True</vt:lpwstr>
  </property>
  <property fmtid="{D5CDD505-2E9C-101B-9397-08002B2CF9AE}" pid="3" name="MSIP_Label_f42aa342-8706-4288-bd11-ebb85995028c_SiteId">
    <vt:lpwstr>72f988bf-86f1-41af-91ab-2d7cd011db47</vt:lpwstr>
  </property>
  <property fmtid="{D5CDD505-2E9C-101B-9397-08002B2CF9AE}" pid="4" name="MSIP_Label_f42aa342-8706-4288-bd11-ebb85995028c_Owner">
    <vt:lpwstr>v-dwalsh@microsoft.com</vt:lpwstr>
  </property>
  <property fmtid="{D5CDD505-2E9C-101B-9397-08002B2CF9AE}" pid="5" name="MSIP_Label_f42aa342-8706-4288-bd11-ebb85995028c_SetDate">
    <vt:lpwstr>2020-02-07T20:20:05.0062294Z</vt:lpwstr>
  </property>
  <property fmtid="{D5CDD505-2E9C-101B-9397-08002B2CF9AE}" pid="6" name="MSIP_Label_f42aa342-8706-4288-bd11-ebb85995028c_Name">
    <vt:lpwstr>General</vt:lpwstr>
  </property>
  <property fmtid="{D5CDD505-2E9C-101B-9397-08002B2CF9AE}" pid="7" name="MSIP_Label_f42aa342-8706-4288-bd11-ebb85995028c_Application">
    <vt:lpwstr>Microsoft Azure Information Protection</vt:lpwstr>
  </property>
  <property fmtid="{D5CDD505-2E9C-101B-9397-08002B2CF9AE}" pid="8" name="MSIP_Label_f42aa342-8706-4288-bd11-ebb85995028c_ActionId">
    <vt:lpwstr>b4101337-cc1f-4966-867c-1fc88b2e4d53</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y fmtid="{D5CDD505-2E9C-101B-9397-08002B2CF9AE}" pid="11" name="ContentTypeId">
    <vt:lpwstr>0x0101008748EF96341B6B4FACBAA5C0ADE80687</vt:lpwstr>
  </property>
</Properties>
</file>